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wmf" ContentType="image/x-w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7"/>
  </p:notesMasterIdLst>
  <p:handoutMasterIdLst>
    <p:handoutMasterId r:id="rId78"/>
  </p:handoutMasterIdLst>
  <p:sldIdLst>
    <p:sldId id="312" r:id="rId2"/>
    <p:sldId id="489" r:id="rId3"/>
    <p:sldId id="454" r:id="rId4"/>
    <p:sldId id="497" r:id="rId5"/>
    <p:sldId id="498" r:id="rId6"/>
    <p:sldId id="500" r:id="rId7"/>
    <p:sldId id="618" r:id="rId8"/>
    <p:sldId id="619" r:id="rId9"/>
    <p:sldId id="620" r:id="rId10"/>
    <p:sldId id="621" r:id="rId11"/>
    <p:sldId id="622" r:id="rId12"/>
    <p:sldId id="623" r:id="rId13"/>
    <p:sldId id="624" r:id="rId14"/>
    <p:sldId id="625" r:id="rId15"/>
    <p:sldId id="626" r:id="rId16"/>
    <p:sldId id="627" r:id="rId17"/>
    <p:sldId id="629" r:id="rId18"/>
    <p:sldId id="499" r:id="rId19"/>
    <p:sldId id="630" r:id="rId20"/>
    <p:sldId id="631" r:id="rId21"/>
    <p:sldId id="633" r:id="rId22"/>
    <p:sldId id="632" r:id="rId23"/>
    <p:sldId id="634" r:id="rId24"/>
    <p:sldId id="635" r:id="rId25"/>
    <p:sldId id="636" r:id="rId26"/>
    <p:sldId id="638" r:id="rId27"/>
    <p:sldId id="639" r:id="rId28"/>
    <p:sldId id="640" r:id="rId29"/>
    <p:sldId id="641" r:id="rId30"/>
    <p:sldId id="642" r:id="rId31"/>
    <p:sldId id="463" r:id="rId32"/>
    <p:sldId id="508" r:id="rId33"/>
    <p:sldId id="504" r:id="rId34"/>
    <p:sldId id="520" r:id="rId35"/>
    <p:sldId id="521" r:id="rId36"/>
    <p:sldId id="506" r:id="rId37"/>
    <p:sldId id="509" r:id="rId38"/>
    <p:sldId id="510" r:id="rId39"/>
    <p:sldId id="511" r:id="rId40"/>
    <p:sldId id="512" r:id="rId41"/>
    <p:sldId id="514" r:id="rId42"/>
    <p:sldId id="519" r:id="rId43"/>
    <p:sldId id="476" r:id="rId44"/>
    <p:sldId id="552" r:id="rId45"/>
    <p:sldId id="553" r:id="rId46"/>
    <p:sldId id="554" r:id="rId47"/>
    <p:sldId id="555" r:id="rId48"/>
    <p:sldId id="556" r:id="rId49"/>
    <p:sldId id="557" r:id="rId50"/>
    <p:sldId id="559" r:id="rId51"/>
    <p:sldId id="563" r:id="rId52"/>
    <p:sldId id="564" r:id="rId53"/>
    <p:sldId id="566" r:id="rId54"/>
    <p:sldId id="567" r:id="rId55"/>
    <p:sldId id="573" r:id="rId56"/>
    <p:sldId id="615" r:id="rId57"/>
    <p:sldId id="596" r:id="rId58"/>
    <p:sldId id="609" r:id="rId59"/>
    <p:sldId id="645" r:id="rId60"/>
    <p:sldId id="646" r:id="rId61"/>
    <p:sldId id="647" r:id="rId62"/>
    <p:sldId id="524" r:id="rId63"/>
    <p:sldId id="648" r:id="rId64"/>
    <p:sldId id="617" r:id="rId65"/>
    <p:sldId id="649" r:id="rId66"/>
    <p:sldId id="650" r:id="rId67"/>
    <p:sldId id="651" r:id="rId68"/>
    <p:sldId id="604" r:id="rId69"/>
    <p:sldId id="653" r:id="rId70"/>
    <p:sldId id="654" r:id="rId71"/>
    <p:sldId id="655" r:id="rId72"/>
    <p:sldId id="656" r:id="rId73"/>
    <p:sldId id="652" r:id="rId74"/>
    <p:sldId id="657" r:id="rId75"/>
    <p:sldId id="658" r:id="rId76"/>
  </p:sldIdLst>
  <p:sldSz cx="9144000" cy="6858000" type="screen4x3"/>
  <p:notesSz cx="6858000" cy="9945688"/>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003399"/>
    <a:srgbClr val="006600"/>
    <a:srgbClr val="56943E"/>
    <a:srgbClr val="FF8000"/>
    <a:srgbClr val="EB6A0A"/>
    <a:srgbClr val="D0DDC4"/>
    <a:srgbClr val="F5A449"/>
    <a:srgbClr val="FFFFFF"/>
    <a:srgbClr val="37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93" autoAdjust="0"/>
    <p:restoredTop sz="95560" autoAdjust="0"/>
  </p:normalViewPr>
  <p:slideViewPr>
    <p:cSldViewPr snapToGrid="0" snapToObjects="1">
      <p:cViewPr varScale="1">
        <p:scale>
          <a:sx n="88" d="100"/>
          <a:sy n="88" d="100"/>
        </p:scale>
        <p:origin x="-1458" y="-102"/>
      </p:cViewPr>
      <p:guideLst>
        <p:guide orient="horz" pos="2160"/>
        <p:guide pos="2880"/>
      </p:guideLst>
    </p:cSldViewPr>
  </p:slideViewPr>
  <p:outlineViewPr>
    <p:cViewPr>
      <p:scale>
        <a:sx n="33" d="100"/>
        <a:sy n="33" d="100"/>
      </p:scale>
      <p:origin x="0" y="8568"/>
    </p:cViewPr>
  </p:outlineViewPr>
  <p:notesTextViewPr>
    <p:cViewPr>
      <p:scale>
        <a:sx n="100" d="100"/>
        <a:sy n="100" d="100"/>
      </p:scale>
      <p:origin x="0" y="0"/>
    </p:cViewPr>
  </p:notesTextViewPr>
  <p:sorterViewPr>
    <p:cViewPr>
      <p:scale>
        <a:sx n="66" d="100"/>
        <a:sy n="66" d="100"/>
      </p:scale>
      <p:origin x="0" y="5988"/>
    </p:cViewPr>
  </p:sorterViewPr>
  <p:notesViewPr>
    <p:cSldViewPr snapToGrid="0" snapToObjects="1">
      <p:cViewPr varScale="1">
        <p:scale>
          <a:sx n="64" d="100"/>
          <a:sy n="64" d="100"/>
        </p:scale>
        <p:origin x="-3426" y="-114"/>
      </p:cViewPr>
      <p:guideLst>
        <p:guide orient="horz" pos="3132"/>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handoutMaster" Target="handoutMasters/handoutMaster1.xml"/><Relationship Id="rId8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o2pl\Desktop\Roadmap%20205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v>EU emissions without goal</c:v>
          </c:tx>
          <c:marker>
            <c:symbol val="none"/>
          </c:marker>
          <c:cat>
            <c:numRef>
              <c:f>Sheet1!$A$2:$A$45</c:f>
              <c:numCache>
                <c:formatCode>General</c:formatCode>
                <c:ptCount val="4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pt idx="17">
                  <c:v>2024</c:v>
                </c:pt>
                <c:pt idx="18">
                  <c:v>2025</c:v>
                </c:pt>
                <c:pt idx="19">
                  <c:v>2026</c:v>
                </c:pt>
                <c:pt idx="20">
                  <c:v>2027</c:v>
                </c:pt>
                <c:pt idx="21">
                  <c:v>2028</c:v>
                </c:pt>
                <c:pt idx="22">
                  <c:v>2029</c:v>
                </c:pt>
                <c:pt idx="23">
                  <c:v>2030</c:v>
                </c:pt>
                <c:pt idx="24">
                  <c:v>2031</c:v>
                </c:pt>
                <c:pt idx="25">
                  <c:v>2032</c:v>
                </c:pt>
                <c:pt idx="26">
                  <c:v>2033</c:v>
                </c:pt>
                <c:pt idx="27">
                  <c:v>2034</c:v>
                </c:pt>
                <c:pt idx="28">
                  <c:v>2035</c:v>
                </c:pt>
                <c:pt idx="29">
                  <c:v>2036</c:v>
                </c:pt>
                <c:pt idx="30">
                  <c:v>2037</c:v>
                </c:pt>
                <c:pt idx="31">
                  <c:v>2038</c:v>
                </c:pt>
                <c:pt idx="32">
                  <c:v>2039</c:v>
                </c:pt>
                <c:pt idx="33">
                  <c:v>2040</c:v>
                </c:pt>
                <c:pt idx="34">
                  <c:v>2041</c:v>
                </c:pt>
                <c:pt idx="35">
                  <c:v>2042</c:v>
                </c:pt>
                <c:pt idx="36">
                  <c:v>2043</c:v>
                </c:pt>
                <c:pt idx="37">
                  <c:v>2044</c:v>
                </c:pt>
                <c:pt idx="38">
                  <c:v>2045</c:v>
                </c:pt>
                <c:pt idx="39">
                  <c:v>2046</c:v>
                </c:pt>
                <c:pt idx="40">
                  <c:v>2047</c:v>
                </c:pt>
                <c:pt idx="41">
                  <c:v>2048</c:v>
                </c:pt>
                <c:pt idx="42">
                  <c:v>2049</c:v>
                </c:pt>
                <c:pt idx="43">
                  <c:v>2050</c:v>
                </c:pt>
              </c:numCache>
            </c:numRef>
          </c:cat>
          <c:val>
            <c:numRef>
              <c:f>Sheet1!$B$2:$B$45</c:f>
              <c:numCache>
                <c:formatCode>General</c:formatCode>
                <c:ptCount val="44"/>
                <c:pt idx="0">
                  <c:v>416</c:v>
                </c:pt>
                <c:pt idx="1">
                  <c:v>411</c:v>
                </c:pt>
                <c:pt idx="2">
                  <c:v>394</c:v>
                </c:pt>
                <c:pt idx="3">
                  <c:v>405</c:v>
                </c:pt>
                <c:pt idx="4">
                  <c:v>401</c:v>
                </c:pt>
                <c:pt idx="5" formatCode="0">
                  <c:v>397.47120000000001</c:v>
                </c:pt>
                <c:pt idx="6" formatCode="0">
                  <c:v>390.55520112000005</c:v>
                </c:pt>
                <c:pt idx="7" formatCode="0">
                  <c:v>383.75954062051204</c:v>
                </c:pt>
                <c:pt idx="8" formatCode="0">
                  <c:v>377.08212461371517</c:v>
                </c:pt>
                <c:pt idx="9" formatCode="0">
                  <c:v>370.52089564543655</c:v>
                </c:pt>
                <c:pt idx="10" formatCode="0">
                  <c:v>364.07383206120596</c:v>
                </c:pt>
                <c:pt idx="11" formatCode="0">
                  <c:v>357.73894738334099</c:v>
                </c:pt>
                <c:pt idx="12" formatCode="0">
                  <c:v>351.51428969887087</c:v>
                </c:pt>
                <c:pt idx="13" formatCode="0">
                  <c:v>345.39794105811052</c:v>
                </c:pt>
                <c:pt idx="14" formatCode="0">
                  <c:v>339.38801688369938</c:v>
                </c:pt>
                <c:pt idx="15" formatCode="0">
                  <c:v>333.482665389923</c:v>
                </c:pt>
                <c:pt idx="16" formatCode="0">
                  <c:v>327.68006701213835</c:v>
                </c:pt>
                <c:pt idx="17" formatCode="0">
                  <c:v>321.97843384612713</c:v>
                </c:pt>
                <c:pt idx="18" formatCode="0">
                  <c:v>316.37600909720453</c:v>
                </c:pt>
                <c:pt idx="19" formatCode="0">
                  <c:v>310.87106653891317</c:v>
                </c:pt>
                <c:pt idx="20" formatCode="0">
                  <c:v>305.4619099811361</c:v>
                </c:pt>
                <c:pt idx="21" formatCode="0">
                  <c:v>300.14687274746433</c:v>
                </c:pt>
                <c:pt idx="22" formatCode="0">
                  <c:v>294.92431716165845</c:v>
                </c:pt>
                <c:pt idx="23" formatCode="0">
                  <c:v>289.79263404304561</c:v>
                </c:pt>
                <c:pt idx="24" formatCode="0">
                  <c:v>284.75024221069663</c:v>
                </c:pt>
                <c:pt idx="25" formatCode="0">
                  <c:v>279.79558799623049</c:v>
                </c:pt>
                <c:pt idx="26" formatCode="0">
                  <c:v>274.9271447650961</c:v>
                </c:pt>
                <c:pt idx="27" formatCode="0">
                  <c:v>270.14341244618345</c:v>
                </c:pt>
                <c:pt idx="28" formatCode="0">
                  <c:v>265.44291706961985</c:v>
                </c:pt>
                <c:pt idx="29" formatCode="0">
                  <c:v>260.8242103126085</c:v>
                </c:pt>
                <c:pt idx="30" formatCode="0">
                  <c:v>256.28586905316911</c:v>
                </c:pt>
                <c:pt idx="31" formatCode="0">
                  <c:v>251.82649493164396</c:v>
                </c:pt>
                <c:pt idx="32" formatCode="0">
                  <c:v>247.44471391983336</c:v>
                </c:pt>
                <c:pt idx="33" formatCode="0">
                  <c:v>243.13917589762826</c:v>
                </c:pt>
                <c:pt idx="34" formatCode="0">
                  <c:v>238.90855423700953</c:v>
                </c:pt>
                <c:pt idx="35" formatCode="0">
                  <c:v>234.75154539328557</c:v>
                </c:pt>
                <c:pt idx="36" formatCode="0">
                  <c:v>230.6668685034424</c:v>
                </c:pt>
                <c:pt idx="37" formatCode="0">
                  <c:v>226.6532649914825</c:v>
                </c:pt>
                <c:pt idx="38" formatCode="0">
                  <c:v>222.7094981806307</c:v>
                </c:pt>
                <c:pt idx="39" formatCode="0">
                  <c:v>218.83435291228773</c:v>
                </c:pt>
                <c:pt idx="40" formatCode="0">
                  <c:v>215.02663517161392</c:v>
                </c:pt>
                <c:pt idx="41" formatCode="0">
                  <c:v>211.28517171962784</c:v>
                </c:pt>
                <c:pt idx="42" formatCode="0">
                  <c:v>207.60880973170632</c:v>
                </c:pt>
                <c:pt idx="43" formatCode="0">
                  <c:v>203.99641644237462</c:v>
                </c:pt>
              </c:numCache>
            </c:numRef>
          </c:val>
          <c:smooth val="0"/>
        </c:ser>
        <c:ser>
          <c:idx val="1"/>
          <c:order val="1"/>
          <c:tx>
            <c:v>EU emissions acc. to Roadmap 2050</c:v>
          </c:tx>
          <c:marker>
            <c:symbol val="none"/>
          </c:marker>
          <c:cat>
            <c:numRef>
              <c:f>Sheet1!$A$2:$A$45</c:f>
              <c:numCache>
                <c:formatCode>General</c:formatCode>
                <c:ptCount val="4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pt idx="17">
                  <c:v>2024</c:v>
                </c:pt>
                <c:pt idx="18">
                  <c:v>2025</c:v>
                </c:pt>
                <c:pt idx="19">
                  <c:v>2026</c:v>
                </c:pt>
                <c:pt idx="20">
                  <c:v>2027</c:v>
                </c:pt>
                <c:pt idx="21">
                  <c:v>2028</c:v>
                </c:pt>
                <c:pt idx="22">
                  <c:v>2029</c:v>
                </c:pt>
                <c:pt idx="23">
                  <c:v>2030</c:v>
                </c:pt>
                <c:pt idx="24">
                  <c:v>2031</c:v>
                </c:pt>
                <c:pt idx="25">
                  <c:v>2032</c:v>
                </c:pt>
                <c:pt idx="26">
                  <c:v>2033</c:v>
                </c:pt>
                <c:pt idx="27">
                  <c:v>2034</c:v>
                </c:pt>
                <c:pt idx="28">
                  <c:v>2035</c:v>
                </c:pt>
                <c:pt idx="29">
                  <c:v>2036</c:v>
                </c:pt>
                <c:pt idx="30">
                  <c:v>2037</c:v>
                </c:pt>
                <c:pt idx="31">
                  <c:v>2038</c:v>
                </c:pt>
                <c:pt idx="32">
                  <c:v>2039</c:v>
                </c:pt>
                <c:pt idx="33">
                  <c:v>2040</c:v>
                </c:pt>
                <c:pt idx="34">
                  <c:v>2041</c:v>
                </c:pt>
                <c:pt idx="35">
                  <c:v>2042</c:v>
                </c:pt>
                <c:pt idx="36">
                  <c:v>2043</c:v>
                </c:pt>
                <c:pt idx="37">
                  <c:v>2044</c:v>
                </c:pt>
                <c:pt idx="38">
                  <c:v>2045</c:v>
                </c:pt>
                <c:pt idx="39">
                  <c:v>2046</c:v>
                </c:pt>
                <c:pt idx="40">
                  <c:v>2047</c:v>
                </c:pt>
                <c:pt idx="41">
                  <c:v>2048</c:v>
                </c:pt>
                <c:pt idx="42">
                  <c:v>2049</c:v>
                </c:pt>
                <c:pt idx="43">
                  <c:v>2050</c:v>
                </c:pt>
              </c:numCache>
            </c:numRef>
          </c:cat>
          <c:val>
            <c:numRef>
              <c:f>Sheet1!$D$2:$D$45</c:f>
              <c:numCache>
                <c:formatCode>General</c:formatCode>
                <c:ptCount val="44"/>
                <c:pt idx="0">
                  <c:v>416</c:v>
                </c:pt>
                <c:pt idx="1">
                  <c:v>411</c:v>
                </c:pt>
                <c:pt idx="2">
                  <c:v>394</c:v>
                </c:pt>
                <c:pt idx="3">
                  <c:v>405</c:v>
                </c:pt>
                <c:pt idx="4">
                  <c:v>401</c:v>
                </c:pt>
                <c:pt idx="5" formatCode="0">
                  <c:v>397.47120000000001</c:v>
                </c:pt>
                <c:pt idx="6" formatCode="0">
                  <c:v>390.55520112000005</c:v>
                </c:pt>
                <c:pt idx="7" formatCode="0">
                  <c:v>383.75954062051204</c:v>
                </c:pt>
                <c:pt idx="8" formatCode="0">
                  <c:v>377.08212461371517</c:v>
                </c:pt>
                <c:pt idx="9" formatCode="0">
                  <c:v>370.52089564543655</c:v>
                </c:pt>
                <c:pt idx="10" formatCode="0">
                  <c:v>364.07383206120596</c:v>
                </c:pt>
                <c:pt idx="11" formatCode="0">
                  <c:v>357.73894738334099</c:v>
                </c:pt>
                <c:pt idx="12" formatCode="0">
                  <c:v>351.51428969887087</c:v>
                </c:pt>
                <c:pt idx="13" formatCode="0">
                  <c:v>345.39794105811052</c:v>
                </c:pt>
                <c:pt idx="14" formatCode="0">
                  <c:v>336.82791695666867</c:v>
                </c:pt>
                <c:pt idx="15" formatCode="0">
                  <c:v>328.25789285522683</c:v>
                </c:pt>
                <c:pt idx="16" formatCode="0">
                  <c:v>319.68786875378498</c:v>
                </c:pt>
                <c:pt idx="17" formatCode="0">
                  <c:v>311.11784465234314</c:v>
                </c:pt>
                <c:pt idx="18" formatCode="0">
                  <c:v>302.54782055090129</c:v>
                </c:pt>
                <c:pt idx="19" formatCode="0">
                  <c:v>293.97779644945945</c:v>
                </c:pt>
                <c:pt idx="20" formatCode="0">
                  <c:v>285.4077723480176</c:v>
                </c:pt>
                <c:pt idx="21" formatCode="0">
                  <c:v>276.83774824657576</c:v>
                </c:pt>
                <c:pt idx="22" formatCode="0">
                  <c:v>268.26772414513391</c:v>
                </c:pt>
                <c:pt idx="23" formatCode="0">
                  <c:v>259.69770004369212</c:v>
                </c:pt>
                <c:pt idx="24" formatCode="0">
                  <c:v>250.99782709222845</c:v>
                </c:pt>
                <c:pt idx="25" formatCode="0">
                  <c:v>242.29795414076477</c:v>
                </c:pt>
                <c:pt idx="26" formatCode="0">
                  <c:v>233.5980811893011</c:v>
                </c:pt>
                <c:pt idx="27" formatCode="0">
                  <c:v>224.89820823783742</c:v>
                </c:pt>
                <c:pt idx="28" formatCode="0">
                  <c:v>216.19833528637375</c:v>
                </c:pt>
                <c:pt idx="29" formatCode="0">
                  <c:v>207.49846233491007</c:v>
                </c:pt>
                <c:pt idx="30" formatCode="0">
                  <c:v>198.7985893834464</c:v>
                </c:pt>
                <c:pt idx="31" formatCode="0">
                  <c:v>190.09871643198272</c:v>
                </c:pt>
                <c:pt idx="32" formatCode="0">
                  <c:v>181.39884348051905</c:v>
                </c:pt>
                <c:pt idx="33" formatCode="0">
                  <c:v>172.69897052905526</c:v>
                </c:pt>
                <c:pt idx="34" formatCode="0">
                  <c:v>164.06402200260248</c:v>
                </c:pt>
                <c:pt idx="35" formatCode="0">
                  <c:v>155.42907347614971</c:v>
                </c:pt>
                <c:pt idx="36" formatCode="0">
                  <c:v>146.79412494969694</c:v>
                </c:pt>
                <c:pt idx="37" formatCode="0">
                  <c:v>138.15917642324416</c:v>
                </c:pt>
                <c:pt idx="38" formatCode="0">
                  <c:v>129.52422789679139</c:v>
                </c:pt>
                <c:pt idx="39" formatCode="0">
                  <c:v>120.88927937033863</c:v>
                </c:pt>
                <c:pt idx="40" formatCode="0">
                  <c:v>112.25433084388587</c:v>
                </c:pt>
                <c:pt idx="41" formatCode="0">
                  <c:v>103.61938231743311</c:v>
                </c:pt>
                <c:pt idx="42" formatCode="0">
                  <c:v>94.984433790980347</c:v>
                </c:pt>
                <c:pt idx="43" formatCode="0">
                  <c:v>86.34948526452763</c:v>
                </c:pt>
              </c:numCache>
            </c:numRef>
          </c:val>
          <c:smooth val="0"/>
        </c:ser>
        <c:ser>
          <c:idx val="2"/>
          <c:order val="2"/>
          <c:tx>
            <c:v>world emissions</c:v>
          </c:tx>
          <c:marker>
            <c:symbol val="none"/>
          </c:marker>
          <c:cat>
            <c:numRef>
              <c:f>Sheet1!$A$2:$A$45</c:f>
              <c:numCache>
                <c:formatCode>General</c:formatCode>
                <c:ptCount val="4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pt idx="14">
                  <c:v>2021</c:v>
                </c:pt>
                <c:pt idx="15">
                  <c:v>2022</c:v>
                </c:pt>
                <c:pt idx="16">
                  <c:v>2023</c:v>
                </c:pt>
                <c:pt idx="17">
                  <c:v>2024</c:v>
                </c:pt>
                <c:pt idx="18">
                  <c:v>2025</c:v>
                </c:pt>
                <c:pt idx="19">
                  <c:v>2026</c:v>
                </c:pt>
                <c:pt idx="20">
                  <c:v>2027</c:v>
                </c:pt>
                <c:pt idx="21">
                  <c:v>2028</c:v>
                </c:pt>
                <c:pt idx="22">
                  <c:v>2029</c:v>
                </c:pt>
                <c:pt idx="23">
                  <c:v>2030</c:v>
                </c:pt>
                <c:pt idx="24">
                  <c:v>2031</c:v>
                </c:pt>
                <c:pt idx="25">
                  <c:v>2032</c:v>
                </c:pt>
                <c:pt idx="26">
                  <c:v>2033</c:v>
                </c:pt>
                <c:pt idx="27">
                  <c:v>2034</c:v>
                </c:pt>
                <c:pt idx="28">
                  <c:v>2035</c:v>
                </c:pt>
                <c:pt idx="29">
                  <c:v>2036</c:v>
                </c:pt>
                <c:pt idx="30">
                  <c:v>2037</c:v>
                </c:pt>
                <c:pt idx="31">
                  <c:v>2038</c:v>
                </c:pt>
                <c:pt idx="32">
                  <c:v>2039</c:v>
                </c:pt>
                <c:pt idx="33">
                  <c:v>2040</c:v>
                </c:pt>
                <c:pt idx="34">
                  <c:v>2041</c:v>
                </c:pt>
                <c:pt idx="35">
                  <c:v>2042</c:v>
                </c:pt>
                <c:pt idx="36">
                  <c:v>2043</c:v>
                </c:pt>
                <c:pt idx="37">
                  <c:v>2044</c:v>
                </c:pt>
                <c:pt idx="38">
                  <c:v>2045</c:v>
                </c:pt>
                <c:pt idx="39">
                  <c:v>2046</c:v>
                </c:pt>
                <c:pt idx="40">
                  <c:v>2047</c:v>
                </c:pt>
                <c:pt idx="41">
                  <c:v>2048</c:v>
                </c:pt>
                <c:pt idx="42">
                  <c:v>2049</c:v>
                </c:pt>
                <c:pt idx="43">
                  <c:v>2050</c:v>
                </c:pt>
              </c:numCache>
            </c:numRef>
          </c:cat>
          <c:val>
            <c:numRef>
              <c:f>Sheet1!$E$2:$E$45</c:f>
              <c:numCache>
                <c:formatCode>General</c:formatCode>
                <c:ptCount val="44"/>
                <c:pt idx="0">
                  <c:v>3140</c:v>
                </c:pt>
                <c:pt idx="1">
                  <c:v>3160</c:v>
                </c:pt>
                <c:pt idx="2">
                  <c:v>3120</c:v>
                </c:pt>
                <c:pt idx="3">
                  <c:v>3300</c:v>
                </c:pt>
                <c:pt idx="4">
                  <c:v>3450</c:v>
                </c:pt>
                <c:pt idx="5" formatCode="0">
                  <c:v>3533.49</c:v>
                </c:pt>
                <c:pt idx="6" formatCode="0">
                  <c:v>3619.000458</c:v>
                </c:pt>
                <c:pt idx="7" formatCode="0">
                  <c:v>3706.5802690835999</c:v>
                </c:pt>
                <c:pt idx="8" formatCode="0">
                  <c:v>3796.2795115954232</c:v>
                </c:pt>
                <c:pt idx="9" formatCode="0">
                  <c:v>3888.1494757760324</c:v>
                </c:pt>
                <c:pt idx="10" formatCode="0">
                  <c:v>3982.2426930898123</c:v>
                </c:pt>
                <c:pt idx="11" formatCode="0">
                  <c:v>4078.6129662625858</c:v>
                </c:pt>
                <c:pt idx="12" formatCode="0">
                  <c:v>4177.31540004614</c:v>
                </c:pt>
                <c:pt idx="13" formatCode="0">
                  <c:v>4278.4064327272563</c:v>
                </c:pt>
                <c:pt idx="14" formatCode="0">
                  <c:v>4381.9438683992557</c:v>
                </c:pt>
                <c:pt idx="15" formatCode="0">
                  <c:v>4487.9869100145179</c:v>
                </c:pt>
                <c:pt idx="16" formatCode="0">
                  <c:v>4596.5961932368691</c:v>
                </c:pt>
                <c:pt idx="17" formatCode="0">
                  <c:v>4707.8338211132013</c:v>
                </c:pt>
                <c:pt idx="18" formatCode="0">
                  <c:v>4821.7633995841406</c:v>
                </c:pt>
                <c:pt idx="19" formatCode="0">
                  <c:v>4938.4500738540764</c:v>
                </c:pt>
                <c:pt idx="20" formatCode="0">
                  <c:v>5057.9605656413451</c:v>
                </c:pt>
                <c:pt idx="21" formatCode="0">
                  <c:v>5180.3632113298654</c:v>
                </c:pt>
                <c:pt idx="22" formatCode="0">
                  <c:v>5305.7280010440481</c:v>
                </c:pt>
                <c:pt idx="23" formatCode="0">
                  <c:v>5434.1266186693138</c:v>
                </c:pt>
                <c:pt idx="24" formatCode="0">
                  <c:v>5565.6324828411116</c:v>
                </c:pt>
                <c:pt idx="25" formatCode="0">
                  <c:v>5700.3207889258665</c:v>
                </c:pt>
                <c:pt idx="26" formatCode="0">
                  <c:v>5838.268552017872</c:v>
                </c:pt>
                <c:pt idx="27" formatCode="0">
                  <c:v>5979.5546509767046</c:v>
                </c:pt>
                <c:pt idx="28" formatCode="0">
                  <c:v>6124.2598735303409</c:v>
                </c:pt>
                <c:pt idx="29" formatCode="0">
                  <c:v>6272.4669624697754</c:v>
                </c:pt>
                <c:pt idx="30" formatCode="0">
                  <c:v>6424.2606629615439</c:v>
                </c:pt>
                <c:pt idx="31" formatCode="0">
                  <c:v>6579.7277710052131</c:v>
                </c:pt>
                <c:pt idx="32" formatCode="0">
                  <c:v>6738.9571830635396</c:v>
                </c:pt>
                <c:pt idx="33" formatCode="0">
                  <c:v>6902.0399468936776</c:v>
                </c:pt>
                <c:pt idx="34" formatCode="0">
                  <c:v>7069.0693136085047</c:v>
                </c:pt>
                <c:pt idx="35" formatCode="0">
                  <c:v>7240.1407909978307</c:v>
                </c:pt>
                <c:pt idx="36" formatCode="0">
                  <c:v>7415.3521981399781</c:v>
                </c:pt>
                <c:pt idx="37" formatCode="0">
                  <c:v>7594.8037213349653</c:v>
                </c:pt>
                <c:pt idx="38" formatCode="0">
                  <c:v>7778.5979713912711</c:v>
                </c:pt>
                <c:pt idx="39" formatCode="0">
                  <c:v>7966.8400422989398</c:v>
                </c:pt>
                <c:pt idx="40" formatCode="0">
                  <c:v>8159.6375713225743</c:v>
                </c:pt>
                <c:pt idx="41" formatCode="0">
                  <c:v>8357.1008005485801</c:v>
                </c:pt>
                <c:pt idx="42" formatCode="0">
                  <c:v>8559.3426399218552</c:v>
                </c:pt>
                <c:pt idx="43" formatCode="0">
                  <c:v>8766.4787318079634</c:v>
                </c:pt>
              </c:numCache>
            </c:numRef>
          </c:val>
          <c:smooth val="0"/>
        </c:ser>
        <c:dLbls>
          <c:showLegendKey val="0"/>
          <c:showVal val="0"/>
          <c:showCatName val="0"/>
          <c:showSerName val="0"/>
          <c:showPercent val="0"/>
          <c:showBubbleSize val="0"/>
        </c:dLbls>
        <c:marker val="1"/>
        <c:smooth val="0"/>
        <c:axId val="66577920"/>
        <c:axId val="66579456"/>
      </c:lineChart>
      <c:catAx>
        <c:axId val="66577920"/>
        <c:scaling>
          <c:orientation val="minMax"/>
        </c:scaling>
        <c:delete val="0"/>
        <c:axPos val="b"/>
        <c:numFmt formatCode="General" sourceLinked="1"/>
        <c:majorTickMark val="out"/>
        <c:minorTickMark val="none"/>
        <c:tickLblPos val="nextTo"/>
        <c:crossAx val="66579456"/>
        <c:crosses val="autoZero"/>
        <c:auto val="1"/>
        <c:lblAlgn val="ctr"/>
        <c:lblOffset val="100"/>
        <c:noMultiLvlLbl val="0"/>
      </c:catAx>
      <c:valAx>
        <c:axId val="66579456"/>
        <c:scaling>
          <c:orientation val="minMax"/>
          <c:max val="10000"/>
        </c:scaling>
        <c:delete val="0"/>
        <c:axPos val="l"/>
        <c:numFmt formatCode="General" sourceLinked="1"/>
        <c:majorTickMark val="out"/>
        <c:minorTickMark val="none"/>
        <c:tickLblPos val="nextTo"/>
        <c:crossAx val="66577920"/>
        <c:crosses val="autoZero"/>
        <c:crossBetween val="between"/>
        <c:majorUnit val="1000"/>
      </c:valAx>
    </c:plotArea>
    <c:legend>
      <c:legendPos val="t"/>
      <c:layout/>
      <c:overlay val="0"/>
    </c:legend>
    <c:plotVisOnly val="1"/>
    <c:dispBlanksAs val="gap"/>
    <c:showDLblsOverMax val="0"/>
  </c:chart>
  <c:spPr>
    <a:ln>
      <a:noFill/>
    </a:ln>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image" Target="../media/image15.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96888"/>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ＭＳ Ｐゴシック" charset="-128"/>
                <a:cs typeface="+mn-cs"/>
              </a:defRPr>
            </a:lvl1pPr>
          </a:lstStyle>
          <a:p>
            <a:pPr>
              <a:defRPr/>
            </a:pPr>
            <a:fld id="{3545B6FD-8FB7-4844-B496-1D025B7300F5}" type="datetime1">
              <a:rPr lang="cs-CZ"/>
              <a:pPr>
                <a:defRPr/>
              </a:pPr>
              <a:t>7.10.2013</a:t>
            </a:fld>
            <a:endParaRPr lang="en-US"/>
          </a:p>
        </p:txBody>
      </p:sp>
      <p:sp>
        <p:nvSpPr>
          <p:cNvPr id="4" name="Footer Placeholder 3"/>
          <p:cNvSpPr>
            <a:spLocks noGrp="1"/>
          </p:cNvSpPr>
          <p:nvPr>
            <p:ph type="ftr" sz="quarter" idx="2"/>
          </p:nvPr>
        </p:nvSpPr>
        <p:spPr>
          <a:xfrm>
            <a:off x="0" y="9447213"/>
            <a:ext cx="2971800" cy="496887"/>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r>
              <a:rPr lang="en-US"/>
              <a:t>www.vsb.cz</a:t>
            </a:r>
          </a:p>
        </p:txBody>
      </p:sp>
      <p:sp>
        <p:nvSpPr>
          <p:cNvPr id="5" name="Slide Number Placeholder 4"/>
          <p:cNvSpPr>
            <a:spLocks noGrp="1"/>
          </p:cNvSpPr>
          <p:nvPr>
            <p:ph type="sldNum" sz="quarter" idx="3"/>
          </p:nvPr>
        </p:nvSpPr>
        <p:spPr>
          <a:xfrm>
            <a:off x="3884613" y="9447213"/>
            <a:ext cx="29718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ＭＳ Ｐゴシック" charset="-128"/>
                <a:cs typeface="+mn-cs"/>
              </a:defRPr>
            </a:lvl1pPr>
          </a:lstStyle>
          <a:p>
            <a:pPr>
              <a:defRPr/>
            </a:pPr>
            <a:fld id="{76E466A9-6988-4A9D-B29C-AD9EF0067CB9}" type="slidenum">
              <a:rPr lang="en-US"/>
              <a:pPr>
                <a:defRPr/>
              </a:pPr>
              <a:t>‹#›</a:t>
            </a:fld>
            <a:endParaRPr lang="en-US"/>
          </a:p>
        </p:txBody>
      </p:sp>
    </p:spTree>
    <p:extLst>
      <p:ext uri="{BB962C8B-B14F-4D97-AF65-F5344CB8AC3E}">
        <p14:creationId xmlns:p14="http://schemas.microsoft.com/office/powerpoint/2010/main" val="190712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6888"/>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96888"/>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ea typeface="ＭＳ Ｐゴシック" charset="-128"/>
                <a:cs typeface="+mn-cs"/>
              </a:defRPr>
            </a:lvl1pPr>
          </a:lstStyle>
          <a:p>
            <a:pPr>
              <a:defRPr/>
            </a:pPr>
            <a:fld id="{64C03F3E-1F8E-4201-9DBD-BFF8AC1E6AEA}" type="datetime1">
              <a:rPr lang="cs-CZ"/>
              <a:pPr>
                <a:defRPr/>
              </a:pPr>
              <a:t>7.10.2013</a:t>
            </a:fld>
            <a:endParaRPr lang="en-US"/>
          </a:p>
        </p:txBody>
      </p:sp>
      <p:sp>
        <p:nvSpPr>
          <p:cNvPr id="4" name="Slide Image Placeholder 3"/>
          <p:cNvSpPr>
            <a:spLocks noGrp="1" noRot="1" noChangeAspect="1"/>
          </p:cNvSpPr>
          <p:nvPr>
            <p:ph type="sldImg" idx="2"/>
          </p:nvPr>
        </p:nvSpPr>
        <p:spPr>
          <a:xfrm>
            <a:off x="942975" y="746125"/>
            <a:ext cx="4972050" cy="37290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724400"/>
            <a:ext cx="5486400" cy="4475163"/>
          </a:xfrm>
          <a:prstGeom prst="rect">
            <a:avLst/>
          </a:prstGeom>
        </p:spPr>
        <p:txBody>
          <a:bodyPr vert="horz" lIns="91440" tIns="45720" rIns="91440" bIns="45720" rtlCol="0">
            <a:normAutofit/>
          </a:bodyPr>
          <a:lstStyle/>
          <a:p>
            <a:pPr lvl="0"/>
            <a:r>
              <a:rPr lang="cs-CZ" noProof="0"/>
              <a:t>Click to edit Master text styles</a:t>
            </a:r>
          </a:p>
          <a:p>
            <a:pPr lvl="1"/>
            <a:r>
              <a:rPr lang="cs-CZ" noProof="0"/>
              <a:t>Second level</a:t>
            </a:r>
          </a:p>
          <a:p>
            <a:pPr lvl="2"/>
            <a:r>
              <a:rPr lang="cs-CZ" noProof="0"/>
              <a:t>Third level</a:t>
            </a:r>
          </a:p>
          <a:p>
            <a:pPr lvl="3"/>
            <a:r>
              <a:rPr lang="cs-CZ" noProof="0"/>
              <a:t>Fourth level</a:t>
            </a:r>
          </a:p>
          <a:p>
            <a:pPr lvl="4"/>
            <a:r>
              <a:rPr lang="cs-CZ" noProof="0"/>
              <a:t>Fifth level</a:t>
            </a:r>
            <a:endParaRPr lang="en-US" noProof="0"/>
          </a:p>
        </p:txBody>
      </p:sp>
      <p:sp>
        <p:nvSpPr>
          <p:cNvPr id="6" name="Footer Placeholder 5"/>
          <p:cNvSpPr>
            <a:spLocks noGrp="1"/>
          </p:cNvSpPr>
          <p:nvPr>
            <p:ph type="ftr" sz="quarter" idx="4"/>
          </p:nvPr>
        </p:nvSpPr>
        <p:spPr>
          <a:xfrm>
            <a:off x="0" y="9447213"/>
            <a:ext cx="2971800" cy="496887"/>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r>
              <a:rPr lang="en-US"/>
              <a:t>www.vsb.cz</a:t>
            </a:r>
          </a:p>
        </p:txBody>
      </p:sp>
      <p:sp>
        <p:nvSpPr>
          <p:cNvPr id="7" name="Slide Number Placeholder 6"/>
          <p:cNvSpPr>
            <a:spLocks noGrp="1"/>
          </p:cNvSpPr>
          <p:nvPr>
            <p:ph type="sldNum" sz="quarter" idx="5"/>
          </p:nvPr>
        </p:nvSpPr>
        <p:spPr>
          <a:xfrm>
            <a:off x="3884613" y="9447213"/>
            <a:ext cx="2971800" cy="496887"/>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ea typeface="ＭＳ Ｐゴシック" charset="-128"/>
                <a:cs typeface="+mn-cs"/>
              </a:defRPr>
            </a:lvl1pPr>
          </a:lstStyle>
          <a:p>
            <a:pPr>
              <a:defRPr/>
            </a:pPr>
            <a:fld id="{8EB2F876-3359-48B7-BFEA-CBBAF7B4FC01}" type="slidenum">
              <a:rPr lang="en-US"/>
              <a:pPr>
                <a:defRPr/>
              </a:pPr>
              <a:t>‹#›</a:t>
            </a:fld>
            <a:endParaRPr lang="en-US"/>
          </a:p>
        </p:txBody>
      </p:sp>
    </p:spTree>
    <p:extLst>
      <p:ext uri="{BB962C8B-B14F-4D97-AF65-F5344CB8AC3E}">
        <p14:creationId xmlns:p14="http://schemas.microsoft.com/office/powerpoint/2010/main" val="3791256083"/>
      </p:ext>
    </p:extLst>
  </p:cSld>
  <p:clrMap bg1="lt1" tx1="dk1" bg2="lt2" tx2="dk2" accent1="accent1" accent2="accent2" accent3="accent3" accent4="accent4" accent5="accent5" accent6="accent6" hlink="hlink" folHlink="folHlink"/>
  <p:hf hd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89158">
              <a:defRPr/>
            </a:pPr>
            <a:endParaRPr lang="cs-CZ" sz="1400" dirty="0"/>
          </a:p>
          <a:p>
            <a:endParaRPr lang="cs-CZ" dirty="0"/>
          </a:p>
        </p:txBody>
      </p:sp>
      <p:sp>
        <p:nvSpPr>
          <p:cNvPr id="4" name="Slide Number Placeholder 3"/>
          <p:cNvSpPr>
            <a:spLocks noGrp="1"/>
          </p:cNvSpPr>
          <p:nvPr>
            <p:ph type="sldNum" sz="quarter" idx="10"/>
          </p:nvPr>
        </p:nvSpPr>
        <p:spPr/>
        <p:txBody>
          <a:bodyPr/>
          <a:lstStyle/>
          <a:p>
            <a:fld id="{75468C84-2FC5-46FE-BA26-7B3689FB1E6D}" type="slidenum">
              <a:rPr lang="cs-CZ" smtClean="0"/>
              <a:pPr/>
              <a:t>21</a:t>
            </a:fld>
            <a:endParaRPr lang="cs-CZ"/>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endParaRPr lang="en-US" sz="800" b="1" i="1" dirty="0"/>
          </a:p>
        </p:txBody>
      </p:sp>
    </p:spTree>
    <p:extLst>
      <p:ext uri="{BB962C8B-B14F-4D97-AF65-F5344CB8AC3E}">
        <p14:creationId xmlns:p14="http://schemas.microsoft.com/office/powerpoint/2010/main" val="1222189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r>
              <a:rPr lang="cs-CZ" dirty="0" smtClean="0">
                <a:latin typeface="Arial" pitchFamily="34" charset="0"/>
              </a:rPr>
              <a:t>Obrázek ilustruje několik priorit EU v rámci budování energetické infrastruktury. </a:t>
            </a:r>
          </a:p>
          <a:p>
            <a:r>
              <a:rPr lang="cs-CZ" dirty="0" smtClean="0">
                <a:latin typeface="Arial" pitchFamily="34" charset="0"/>
              </a:rPr>
              <a:t>Podstatné je, že evropská infrastruktura se zaměřuje zejména na integraci OZE (vítr na severu a CSP na jihu do Evropy),</a:t>
            </a:r>
            <a:r>
              <a:rPr lang="cs-CZ" baseline="0" dirty="0" smtClean="0">
                <a:latin typeface="Arial" pitchFamily="34" charset="0"/>
              </a:rPr>
              <a:t> nicméně téměř nebere v úvahu dopady do stability a bezpečnosti chodu sítí.</a:t>
            </a:r>
            <a:endParaRPr lang="cs-CZ" dirty="0" smtClean="0">
              <a:latin typeface="Arial" pitchFamily="34" charset="0"/>
            </a:endParaRPr>
          </a:p>
          <a:p>
            <a:endParaRPr lang="cs-CZ" dirty="0"/>
          </a:p>
        </p:txBody>
      </p:sp>
      <p:sp>
        <p:nvSpPr>
          <p:cNvPr id="4" name="Zástupný symbol pro číslo snímku 3"/>
          <p:cNvSpPr>
            <a:spLocks noGrp="1"/>
          </p:cNvSpPr>
          <p:nvPr>
            <p:ph type="sldNum" sz="quarter" idx="10"/>
          </p:nvPr>
        </p:nvSpPr>
        <p:spPr/>
        <p:txBody>
          <a:bodyPr/>
          <a:lstStyle/>
          <a:p>
            <a:pPr>
              <a:defRPr/>
            </a:pPr>
            <a:fld id="{F6A22DC8-D496-4A48-854A-18604CC5F97A}" type="slidenum">
              <a:rPr lang="cs-CZ" smtClean="0"/>
              <a:pPr>
                <a:defRPr/>
              </a:pPr>
              <a:t>25</a:t>
            </a:fld>
            <a:endParaRPr lang="cs-CZ"/>
          </a:p>
        </p:txBody>
      </p:sp>
    </p:spTree>
    <p:extLst>
      <p:ext uri="{BB962C8B-B14F-4D97-AF65-F5344CB8AC3E}">
        <p14:creationId xmlns:p14="http://schemas.microsoft.com/office/powerpoint/2010/main" val="3940259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Zástupný symbol pro obrázek snímku 1"/>
          <p:cNvSpPr>
            <a:spLocks noGrp="1" noRot="1" noChangeAspect="1" noTextEdit="1"/>
          </p:cNvSpPr>
          <p:nvPr>
            <p:ph type="sldImg"/>
          </p:nvPr>
        </p:nvSpPr>
        <p:spPr>
          <a:ln/>
        </p:spPr>
      </p:sp>
      <p:sp>
        <p:nvSpPr>
          <p:cNvPr id="24579" name="Zástupný symbol pro poznámky 2"/>
          <p:cNvSpPr>
            <a:spLocks noGrp="1"/>
          </p:cNvSpPr>
          <p:nvPr>
            <p:ph type="body" idx="1"/>
          </p:nvPr>
        </p:nvSpPr>
        <p:spPr>
          <a:noFill/>
        </p:spPr>
        <p:txBody>
          <a:bodyPr/>
          <a:lstStyle/>
          <a:p>
            <a:r>
              <a:rPr lang="en-US" smtClean="0"/>
              <a:t>IPCC – International Panel </a:t>
            </a:r>
            <a:r>
              <a:rPr lang="cs-CZ" smtClean="0"/>
              <a:t>f</a:t>
            </a:r>
            <a:r>
              <a:rPr lang="en-US" smtClean="0"/>
              <a:t>or Climate Change </a:t>
            </a:r>
          </a:p>
          <a:p>
            <a:r>
              <a:rPr lang="cs-CZ" smtClean="0"/>
              <a:t>Mezinárodní panel pro klimatické změny</a:t>
            </a:r>
          </a:p>
        </p:txBody>
      </p:sp>
      <p:sp>
        <p:nvSpPr>
          <p:cNvPr id="24580" name="Zástupný symbol pro číslo snímku 3"/>
          <p:cNvSpPr>
            <a:spLocks noGrp="1"/>
          </p:cNvSpPr>
          <p:nvPr>
            <p:ph type="sldNum" sz="quarter" idx="5"/>
          </p:nvPr>
        </p:nvSpPr>
        <p:spPr>
          <a:noFill/>
        </p:spPr>
        <p:txBody>
          <a:bodyPr/>
          <a:lstStyle>
            <a:lvl1pPr defTabSz="922338" eaLnBrk="0" hangingPunct="0">
              <a:defRPr>
                <a:solidFill>
                  <a:schemeClr val="tx1"/>
                </a:solidFill>
                <a:latin typeface="Arial" charset="0"/>
              </a:defRPr>
            </a:lvl1pPr>
            <a:lvl2pPr marL="742950" indent="-285750" defTabSz="922338" eaLnBrk="0" hangingPunct="0">
              <a:defRPr>
                <a:solidFill>
                  <a:schemeClr val="tx1"/>
                </a:solidFill>
                <a:latin typeface="Arial" charset="0"/>
              </a:defRPr>
            </a:lvl2pPr>
            <a:lvl3pPr marL="1143000" indent="-228600" defTabSz="922338" eaLnBrk="0" hangingPunct="0">
              <a:defRPr>
                <a:solidFill>
                  <a:schemeClr val="tx1"/>
                </a:solidFill>
                <a:latin typeface="Arial" charset="0"/>
              </a:defRPr>
            </a:lvl3pPr>
            <a:lvl4pPr marL="1600200" indent="-228600" defTabSz="922338" eaLnBrk="0" hangingPunct="0">
              <a:defRPr>
                <a:solidFill>
                  <a:schemeClr val="tx1"/>
                </a:solidFill>
                <a:latin typeface="Arial" charset="0"/>
              </a:defRPr>
            </a:lvl4pPr>
            <a:lvl5pPr marL="2057400" indent="-228600" defTabSz="922338" eaLnBrk="0" hangingPunct="0">
              <a:defRPr>
                <a:solidFill>
                  <a:schemeClr val="tx1"/>
                </a:solidFill>
                <a:latin typeface="Arial" charset="0"/>
              </a:defRPr>
            </a:lvl5pPr>
            <a:lvl6pPr marL="2514600" indent="-228600" defTabSz="922338" eaLnBrk="0" fontAlgn="base" hangingPunct="0">
              <a:spcBef>
                <a:spcPct val="0"/>
              </a:spcBef>
              <a:spcAft>
                <a:spcPct val="0"/>
              </a:spcAft>
              <a:defRPr>
                <a:solidFill>
                  <a:schemeClr val="tx1"/>
                </a:solidFill>
                <a:latin typeface="Arial" charset="0"/>
              </a:defRPr>
            </a:lvl6pPr>
            <a:lvl7pPr marL="2971800" indent="-228600" defTabSz="922338" eaLnBrk="0" fontAlgn="base" hangingPunct="0">
              <a:spcBef>
                <a:spcPct val="0"/>
              </a:spcBef>
              <a:spcAft>
                <a:spcPct val="0"/>
              </a:spcAft>
              <a:defRPr>
                <a:solidFill>
                  <a:schemeClr val="tx1"/>
                </a:solidFill>
                <a:latin typeface="Arial" charset="0"/>
              </a:defRPr>
            </a:lvl7pPr>
            <a:lvl8pPr marL="3429000" indent="-228600" defTabSz="922338" eaLnBrk="0" fontAlgn="base" hangingPunct="0">
              <a:spcBef>
                <a:spcPct val="0"/>
              </a:spcBef>
              <a:spcAft>
                <a:spcPct val="0"/>
              </a:spcAft>
              <a:defRPr>
                <a:solidFill>
                  <a:schemeClr val="tx1"/>
                </a:solidFill>
                <a:latin typeface="Arial" charset="0"/>
              </a:defRPr>
            </a:lvl8pPr>
            <a:lvl9pPr marL="3886200" indent="-228600" defTabSz="922338" eaLnBrk="0" fontAlgn="base" hangingPunct="0">
              <a:spcBef>
                <a:spcPct val="0"/>
              </a:spcBef>
              <a:spcAft>
                <a:spcPct val="0"/>
              </a:spcAft>
              <a:defRPr>
                <a:solidFill>
                  <a:schemeClr val="tx1"/>
                </a:solidFill>
                <a:latin typeface="Arial" charset="0"/>
              </a:defRPr>
            </a:lvl9pPr>
          </a:lstStyle>
          <a:p>
            <a:pPr eaLnBrk="1" hangingPunct="1"/>
            <a:fld id="{4906394D-9430-4A0C-A512-211B246F3A17}" type="slidenum">
              <a:rPr lang="cs-CZ" smtClean="0"/>
              <a:pPr eaLnBrk="1" hangingPunct="1"/>
              <a:t>73</a:t>
            </a:fld>
            <a:endParaRPr lang="cs-CZ"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05300" y="3740150"/>
            <a:ext cx="4591049" cy="1431925"/>
          </a:xfrm>
        </p:spPr>
        <p:txBody>
          <a:bodyPr anchor="t"/>
          <a:lstStyle>
            <a:lvl1pPr algn="r">
              <a:defRPr sz="2800" b="0" spc="-150" baseline="0">
                <a:solidFill>
                  <a:schemeClr val="tx1"/>
                </a:solidFill>
                <a:latin typeface="Cillian" pitchFamily="50" charset="-18"/>
              </a:defRPr>
            </a:lvl1pPr>
          </a:lstStyle>
          <a:p>
            <a:r>
              <a:rPr lang="en-US" noProof="0" dirty="0" smtClean="0"/>
              <a:t>Click to edit Master title style</a:t>
            </a:r>
            <a:endParaRPr lang="en-US" noProof="0" dirty="0"/>
          </a:p>
        </p:txBody>
      </p:sp>
      <p:sp>
        <p:nvSpPr>
          <p:cNvPr id="3" name="Subtitle 2"/>
          <p:cNvSpPr>
            <a:spLocks noGrp="1"/>
          </p:cNvSpPr>
          <p:nvPr>
            <p:ph type="subTitle" idx="1"/>
          </p:nvPr>
        </p:nvSpPr>
        <p:spPr>
          <a:xfrm>
            <a:off x="3448050" y="5990897"/>
            <a:ext cx="4524375" cy="746453"/>
          </a:xfrm>
        </p:spPr>
        <p:txBody>
          <a:bodyPr/>
          <a:lstStyle>
            <a:lvl1pPr marL="0" indent="0" algn="ctr">
              <a:lnSpc>
                <a:spcPts val="1800"/>
              </a:lnSpc>
              <a:buNone/>
              <a:defRPr sz="18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171847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TwoObj">
  <p:cSld name="Nadpis, text a 2 obsahy">
    <p:spTree>
      <p:nvGrpSpPr>
        <p:cNvPr id="1" name=""/>
        <p:cNvGrpSpPr/>
        <p:nvPr/>
      </p:nvGrpSpPr>
      <p:grpSpPr>
        <a:xfrm>
          <a:off x="0" y="0"/>
          <a:ext cx="0" cy="0"/>
          <a:chOff x="0" y="0"/>
          <a:chExt cx="0" cy="0"/>
        </a:xfrm>
      </p:grpSpPr>
      <p:sp>
        <p:nvSpPr>
          <p:cNvPr id="2" name="Nadpis 1"/>
          <p:cNvSpPr>
            <a:spLocks noGrp="1"/>
          </p:cNvSpPr>
          <p:nvPr>
            <p:ph type="title"/>
          </p:nvPr>
        </p:nvSpPr>
        <p:spPr>
          <a:xfrm>
            <a:off x="444500" y="446088"/>
            <a:ext cx="8256588" cy="971550"/>
          </a:xfrm>
        </p:spPr>
        <p:txBody>
          <a:bodyPr/>
          <a:lstStyle/>
          <a:p>
            <a:r>
              <a:rPr lang="cs-CZ" smtClean="0"/>
              <a:t>Klepnutím lze upravit styl předlohy nadpisů.</a:t>
            </a:r>
            <a:endParaRPr lang="cs-CZ"/>
          </a:p>
        </p:txBody>
      </p:sp>
      <p:sp>
        <p:nvSpPr>
          <p:cNvPr id="3" name="Zástupný symbol pro text 2"/>
          <p:cNvSpPr>
            <a:spLocks noGrp="1"/>
          </p:cNvSpPr>
          <p:nvPr>
            <p:ph type="body" sz="half" idx="1"/>
          </p:nvPr>
        </p:nvSpPr>
        <p:spPr>
          <a:xfrm>
            <a:off x="444500" y="1600200"/>
            <a:ext cx="4044950" cy="4500563"/>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quarter" idx="2"/>
          </p:nvPr>
        </p:nvSpPr>
        <p:spPr>
          <a:xfrm>
            <a:off x="4641850" y="1600200"/>
            <a:ext cx="4044950" cy="2173288"/>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5" name="Zástupný symbol pro obsah 4"/>
          <p:cNvSpPr>
            <a:spLocks noGrp="1"/>
          </p:cNvSpPr>
          <p:nvPr>
            <p:ph sz="quarter" idx="3"/>
          </p:nvPr>
        </p:nvSpPr>
        <p:spPr>
          <a:xfrm>
            <a:off x="4641850" y="3925888"/>
            <a:ext cx="4044950" cy="2174875"/>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extLst>
      <p:ext uri="{BB962C8B-B14F-4D97-AF65-F5344CB8AC3E}">
        <p14:creationId xmlns:p14="http://schemas.microsoft.com/office/powerpoint/2010/main" val="1840024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Úvodní snímek">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Nadpis 1"/>
          <p:cNvSpPr>
            <a:spLocks noGrp="1"/>
          </p:cNvSpPr>
          <p:nvPr>
            <p:ph type="ctrTitle"/>
          </p:nvPr>
        </p:nvSpPr>
        <p:spPr>
          <a:xfrm>
            <a:off x="321868" y="2619703"/>
            <a:ext cx="6291073" cy="1390650"/>
          </a:xfrm>
        </p:spPr>
        <p:txBody>
          <a:bodyPr anchor="ctr"/>
          <a:lstStyle>
            <a:lvl1pPr algn="r">
              <a:defRPr lang="cs-CZ" sz="4800" b="0" kern="1200" spc="-150" baseline="0" dirty="0">
                <a:solidFill>
                  <a:srgbClr val="EB6A0A"/>
                </a:solidFill>
                <a:effectLst/>
                <a:latin typeface="Cillian" pitchFamily="50" charset="-18"/>
                <a:ea typeface="ＭＳ Ｐゴシック" charset="-128"/>
                <a:cs typeface="Cillian" pitchFamily="50" charset="-18"/>
              </a:defRPr>
            </a:lvl1pPr>
          </a:lstStyle>
          <a:p>
            <a:r>
              <a:rPr lang="cs-CZ" dirty="0" smtClean="0"/>
              <a:t>Kliknutím lze upravit styl.</a:t>
            </a:r>
            <a:endParaRPr lang="cs-CZ" dirty="0"/>
          </a:p>
        </p:txBody>
      </p:sp>
      <p:sp>
        <p:nvSpPr>
          <p:cNvPr id="3" name="Podnadpis 2"/>
          <p:cNvSpPr>
            <a:spLocks noGrp="1"/>
          </p:cNvSpPr>
          <p:nvPr>
            <p:ph type="subTitle" idx="1"/>
          </p:nvPr>
        </p:nvSpPr>
        <p:spPr>
          <a:xfrm>
            <a:off x="1291259" y="4135440"/>
            <a:ext cx="4155034" cy="1752600"/>
          </a:xfrm>
        </p:spPr>
        <p:txBody>
          <a:bodyPr/>
          <a:lstStyle>
            <a:lvl1pPr marL="0" indent="0" algn="r">
              <a:buNone/>
              <a:defRPr sz="2800"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dirty="0" smtClean="0"/>
              <a:t>Kliknutím lze upravit styl předlohy.</a:t>
            </a:r>
            <a:endParaRPr lang="cs-CZ" dirty="0"/>
          </a:p>
        </p:txBody>
      </p:sp>
      <p:sp>
        <p:nvSpPr>
          <p:cNvPr id="11" name="Zástupný symbol pro text 10"/>
          <p:cNvSpPr>
            <a:spLocks noGrp="1" noChangeAspect="1"/>
          </p:cNvSpPr>
          <p:nvPr>
            <p:ph type="body" sz="quarter" idx="13"/>
          </p:nvPr>
        </p:nvSpPr>
        <p:spPr>
          <a:xfrm>
            <a:off x="441730" y="215900"/>
            <a:ext cx="1721984" cy="1931549"/>
          </a:xfrm>
        </p:spPr>
        <p:txBody>
          <a:bodyPr/>
          <a:lstStyle>
            <a:lvl1pPr marL="0" indent="0">
              <a:buNone/>
              <a:defRPr lang="cs-CZ" sz="9600" b="0" i="0" cap="none" baseline="0" smtClean="0">
                <a:solidFill>
                  <a:srgbClr val="D0DDC4"/>
                </a:solidFill>
              </a:defRPr>
            </a:lvl1pPr>
          </a:lstStyle>
          <a:p>
            <a:pPr lvl="0"/>
            <a:r>
              <a:rPr lang="cs-CZ" dirty="0" smtClean="0"/>
              <a:t>Klepnutím lze upravit styly předlohy textu.</a:t>
            </a:r>
          </a:p>
        </p:txBody>
      </p:sp>
      <p:sp>
        <p:nvSpPr>
          <p:cNvPr id="5" name="Zástupný symbol pro číslo snímku 5"/>
          <p:cNvSpPr>
            <a:spLocks noGrp="1"/>
          </p:cNvSpPr>
          <p:nvPr>
            <p:ph type="sldNum" sz="quarter" idx="14"/>
          </p:nvPr>
        </p:nvSpPr>
        <p:spPr/>
        <p:txBody>
          <a:bodyPr/>
          <a:lstStyle>
            <a:lvl1pPr>
              <a:defRPr sz="1000"/>
            </a:lvl1pPr>
          </a:lstStyle>
          <a:p>
            <a:pPr>
              <a:defRPr/>
            </a:pPr>
            <a:fld id="{2EB74E38-B7CA-4A1D-907E-9B5C98AB8E61}" type="slidenum">
              <a:rPr lang="cs-CZ"/>
              <a:pPr>
                <a:defRPr/>
              </a:pPr>
              <a:t>‹#›</a:t>
            </a:fld>
            <a:endParaRPr lang="cs-CZ"/>
          </a:p>
        </p:txBody>
      </p:sp>
      <p:sp>
        <p:nvSpPr>
          <p:cNvPr id="6" name="Zástupný symbol pro zápatí 3"/>
          <p:cNvSpPr>
            <a:spLocks noGrp="1"/>
          </p:cNvSpPr>
          <p:nvPr>
            <p:ph type="ftr" sz="quarter" idx="15"/>
          </p:nvPr>
        </p:nvSpPr>
        <p:spPr/>
        <p:txBody>
          <a:bodyPr/>
          <a:lstStyle>
            <a:lvl1pPr>
              <a:defRPr/>
            </a:lvl1pPr>
          </a:lstStyle>
          <a:p>
            <a:pPr>
              <a:defRPr/>
            </a:pPr>
            <a:r>
              <a:rPr lang="en-US"/>
              <a:t>www.vsb.cz</a:t>
            </a:r>
            <a:endParaRPr lang="en-US" dirty="0"/>
          </a:p>
        </p:txBody>
      </p:sp>
      <p:pic>
        <p:nvPicPr>
          <p:cNvPr id="10" name="Obrázek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97289" y="215900"/>
            <a:ext cx="739660" cy="857250"/>
          </a:xfrm>
          <a:prstGeom prst="rect">
            <a:avLst/>
          </a:prstGeom>
        </p:spPr>
      </p:pic>
      <p:pic>
        <p:nvPicPr>
          <p:cNvPr id="12" name="obrázek 1" descr="Popis: ene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867840" y="275483"/>
            <a:ext cx="723020" cy="73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55907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noProof="0" smtClean="0"/>
              <a:t>Click to edit Master title style</a:t>
            </a:r>
            <a:endParaRPr lang="en-US" noProof="0"/>
          </a:p>
        </p:txBody>
      </p:sp>
      <p:sp>
        <p:nvSpPr>
          <p:cNvPr id="7" name="Zástupný symbol pro obsah 2"/>
          <p:cNvSpPr>
            <a:spLocks noGrp="1"/>
          </p:cNvSpPr>
          <p:nvPr>
            <p:ph idx="1"/>
          </p:nvPr>
        </p:nvSpPr>
        <p:spPr>
          <a:xfrm>
            <a:off x="219075" y="1247775"/>
            <a:ext cx="7854950" cy="5262561"/>
          </a:xfrm>
        </p:spPr>
        <p:txBody>
          <a:bodyPr/>
          <a:lstStyle>
            <a:lvl1pPr marL="342900" indent="-342900">
              <a:buClr>
                <a:schemeClr val="tx2"/>
              </a:buClr>
              <a:buFont typeface="Wingdings" pitchFamily="2" charset="2"/>
              <a:buChar char="§"/>
              <a:defRPr/>
            </a:lvl1pPr>
            <a:lvl2pPr marL="742950" indent="-285750">
              <a:buClr>
                <a:schemeClr val="tx2"/>
              </a:buClr>
              <a:buFont typeface="Wingdings" pitchFamily="2" charset="2"/>
              <a:buChar char="§"/>
              <a:defRPr/>
            </a:lvl2pPr>
            <a:lvl3pPr marL="1143000" indent="-228600">
              <a:buClr>
                <a:schemeClr val="bg2"/>
              </a:buClr>
              <a:buFont typeface="Wingdings" pitchFamily="2" charset="2"/>
              <a:buChar char="§"/>
              <a:defRPr/>
            </a:lvl3pPr>
            <a:lvl5pPr marL="2057400" indent="-228600">
              <a:buFont typeface="Arial" pitchFamily="34" charset="0"/>
              <a:buChar char="-"/>
              <a:defRPr/>
            </a:lvl5pPr>
          </a:lstStyle>
          <a:p>
            <a:pPr lvl="0"/>
            <a:r>
              <a:rPr lang="cs-CZ" dirty="0" smtClean="0"/>
              <a:t>Klik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4" name="Slide Number Placeholder 5"/>
          <p:cNvSpPr>
            <a:spLocks noGrp="1"/>
          </p:cNvSpPr>
          <p:nvPr>
            <p:ph type="sldNum" sz="quarter" idx="10"/>
          </p:nvPr>
        </p:nvSpPr>
        <p:spPr/>
        <p:txBody>
          <a:bodyPr/>
          <a:lstStyle>
            <a:lvl1pPr>
              <a:defRPr/>
            </a:lvl1pPr>
          </a:lstStyle>
          <a:p>
            <a:pPr>
              <a:defRPr/>
            </a:pPr>
            <a:fld id="{089097A8-AE1A-4F76-B3BE-C32FF53B8624}" type="slidenum">
              <a:rPr lang="en-US"/>
              <a:pPr>
                <a:defRPr/>
              </a:pPr>
              <a:t>‹#›</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www.vsb.cz</a:t>
            </a:r>
            <a:endParaRPr lang="en-US" dirty="0"/>
          </a:p>
        </p:txBody>
      </p:sp>
      <p:pic>
        <p:nvPicPr>
          <p:cNvPr id="6" name="Obráze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69013" y="1574800"/>
            <a:ext cx="1217614" cy="3699256"/>
          </a:xfrm>
          <a:prstGeom prst="rect">
            <a:avLst/>
          </a:prstGeom>
        </p:spPr>
      </p:pic>
      <p:pic>
        <p:nvPicPr>
          <p:cNvPr id="8" name="Obráze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4026" y="142875"/>
            <a:ext cx="739660" cy="857250"/>
          </a:xfrm>
          <a:prstGeom prst="rect">
            <a:avLst/>
          </a:prstGeom>
        </p:spPr>
      </p:pic>
    </p:spTree>
    <p:extLst>
      <p:ext uri="{BB962C8B-B14F-4D97-AF65-F5344CB8AC3E}">
        <p14:creationId xmlns:p14="http://schemas.microsoft.com/office/powerpoint/2010/main" val="30615496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b="1"/>
            </a:lvl1pPr>
          </a:lstStyle>
          <a:p>
            <a:r>
              <a:rPr lang="en-US" noProof="0" smtClean="0"/>
              <a:t>Click to edit Master title style</a:t>
            </a:r>
            <a:endParaRPr lang="en-US" noProof="0"/>
          </a:p>
        </p:txBody>
      </p:sp>
      <p:sp>
        <p:nvSpPr>
          <p:cNvPr id="3" name="Slide Number Placeholder 5"/>
          <p:cNvSpPr>
            <a:spLocks noGrp="1"/>
          </p:cNvSpPr>
          <p:nvPr>
            <p:ph type="sldNum" sz="quarter" idx="10"/>
          </p:nvPr>
        </p:nvSpPr>
        <p:spPr/>
        <p:txBody>
          <a:bodyPr/>
          <a:lstStyle>
            <a:lvl1pPr>
              <a:defRPr/>
            </a:lvl1pPr>
          </a:lstStyle>
          <a:p>
            <a:pPr>
              <a:defRPr/>
            </a:pPr>
            <a:fld id="{8DC3CFA4-B7E3-4271-9B07-7FBEE21321F1}" type="slidenum">
              <a:rPr lang="en-US"/>
              <a:pPr>
                <a:defRPr/>
              </a:pPr>
              <a:t>‹#›</a:t>
            </a:fld>
            <a:endParaRPr lang="en-US" dirty="0"/>
          </a:p>
        </p:txBody>
      </p:sp>
      <p:sp>
        <p:nvSpPr>
          <p:cNvPr id="4" name="Footer Placeholder 4"/>
          <p:cNvSpPr>
            <a:spLocks noGrp="1"/>
          </p:cNvSpPr>
          <p:nvPr>
            <p:ph type="ftr" sz="quarter" idx="11"/>
          </p:nvPr>
        </p:nvSpPr>
        <p:spPr/>
        <p:txBody>
          <a:bodyPr/>
          <a:lstStyle>
            <a:lvl1pPr>
              <a:defRPr/>
            </a:lvl1pPr>
          </a:lstStyle>
          <a:p>
            <a:pPr>
              <a:defRPr/>
            </a:pPr>
            <a:r>
              <a:rPr lang="en-US"/>
              <a:t>www.vsb.cz</a:t>
            </a:r>
            <a:endParaRPr lang="en-US" dirty="0"/>
          </a:p>
        </p:txBody>
      </p:sp>
      <p:pic>
        <p:nvPicPr>
          <p:cNvPr id="8" name="Obráze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4026" y="142875"/>
            <a:ext cx="739660" cy="857250"/>
          </a:xfrm>
          <a:prstGeom prst="rect">
            <a:avLst/>
          </a:prstGeom>
        </p:spPr>
      </p:pic>
      <p:pic>
        <p:nvPicPr>
          <p:cNvPr id="9" name="obrázek 1" descr="Popis: ene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9858" y="226038"/>
            <a:ext cx="723020" cy="73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0028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noProof="0" dirty="0" smtClean="0"/>
              <a:t>Click to edit Master title style</a:t>
            </a:r>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8DC3CFA4-B7E3-4271-9B07-7FBEE21321F1}" type="slidenum">
              <a:rPr lang="en-US"/>
              <a:pPr>
                <a:defRPr/>
              </a:pPr>
              <a:t>‹#›</a:t>
            </a:fld>
            <a:endParaRPr lang="en-US" dirty="0"/>
          </a:p>
        </p:txBody>
      </p:sp>
      <p:sp>
        <p:nvSpPr>
          <p:cNvPr id="4" name="Footer Placeholder 4"/>
          <p:cNvSpPr>
            <a:spLocks noGrp="1"/>
          </p:cNvSpPr>
          <p:nvPr>
            <p:ph type="ftr" sz="quarter" idx="11"/>
          </p:nvPr>
        </p:nvSpPr>
        <p:spPr/>
        <p:txBody>
          <a:bodyPr/>
          <a:lstStyle>
            <a:lvl1pPr>
              <a:defRPr/>
            </a:lvl1pPr>
          </a:lstStyle>
          <a:p>
            <a:pPr>
              <a:defRPr/>
            </a:pPr>
            <a:r>
              <a:rPr lang="en-US"/>
              <a:t>www.vsb.cz</a:t>
            </a:r>
            <a:endParaRPr lang="en-US" dirty="0"/>
          </a:p>
        </p:txBody>
      </p:sp>
      <p:pic>
        <p:nvPicPr>
          <p:cNvPr id="5" name="Obrázek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85115" y="190035"/>
            <a:ext cx="720080" cy="810090"/>
          </a:xfrm>
          <a:prstGeom prst="rect">
            <a:avLst/>
          </a:prstGeom>
        </p:spPr>
      </p:pic>
      <p:pic>
        <p:nvPicPr>
          <p:cNvPr id="6" name="obrázek 1" descr="Popis: ene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9858" y="226038"/>
            <a:ext cx="723020" cy="73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5859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D7B86628-823B-4818-8470-E60C6FA07BA6}" type="slidenum">
              <a:rPr lang="en-US"/>
              <a:pPr>
                <a:defRPr/>
              </a:pPr>
              <a:t>‹#›</a:t>
            </a:fld>
            <a:endParaRPr lang="en-US" dirty="0"/>
          </a:p>
        </p:txBody>
      </p:sp>
      <p:sp>
        <p:nvSpPr>
          <p:cNvPr id="3" name="Footer Placeholder 4"/>
          <p:cNvSpPr>
            <a:spLocks noGrp="1"/>
          </p:cNvSpPr>
          <p:nvPr>
            <p:ph type="ftr" sz="quarter" idx="11"/>
          </p:nvPr>
        </p:nvSpPr>
        <p:spPr/>
        <p:txBody>
          <a:bodyPr/>
          <a:lstStyle>
            <a:lvl1pPr>
              <a:defRPr/>
            </a:lvl1pPr>
          </a:lstStyle>
          <a:p>
            <a:pPr>
              <a:defRPr/>
            </a:pPr>
            <a:r>
              <a:rPr lang="en-US"/>
              <a:t>www.vsb.cz</a:t>
            </a:r>
            <a:endParaRPr lang="en-US" dirty="0"/>
          </a:p>
        </p:txBody>
      </p:sp>
      <p:pic>
        <p:nvPicPr>
          <p:cNvPr id="4" name="Obráze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4026" y="142875"/>
            <a:ext cx="739660" cy="857250"/>
          </a:xfrm>
          <a:prstGeom prst="rect">
            <a:avLst/>
          </a:prstGeom>
        </p:spPr>
      </p:pic>
      <p:pic>
        <p:nvPicPr>
          <p:cNvPr id="5" name="Obrázek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53398" y="142875"/>
            <a:ext cx="747602" cy="857250"/>
          </a:xfrm>
          <a:prstGeom prst="rect">
            <a:avLst/>
          </a:prstGeom>
        </p:spPr>
      </p:pic>
    </p:spTree>
    <p:extLst>
      <p:ext uri="{BB962C8B-B14F-4D97-AF65-F5344CB8AC3E}">
        <p14:creationId xmlns:p14="http://schemas.microsoft.com/office/powerpoint/2010/main" val="1027322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lgn="ctr">
              <a:defRPr b="1"/>
            </a:lvl1pPr>
          </a:lstStyle>
          <a:p>
            <a:r>
              <a:rPr lang="cs-CZ" dirty="0" smtClean="0"/>
              <a:t>Kliknutím lze upravit styl.</a:t>
            </a:r>
            <a:endParaRPr lang="cs-CZ" dirty="0"/>
          </a:p>
        </p:txBody>
      </p:sp>
      <p:sp>
        <p:nvSpPr>
          <p:cNvPr id="3" name="Zástupný symbol pro obsah 2"/>
          <p:cNvSpPr>
            <a:spLocks noGrp="1"/>
          </p:cNvSpPr>
          <p:nvPr>
            <p:ph idx="1"/>
          </p:nvPr>
        </p:nvSpPr>
        <p:spPr>
          <a:xfrm>
            <a:off x="219075" y="1247775"/>
            <a:ext cx="8686800" cy="5262561"/>
          </a:xfrm>
        </p:spPr>
        <p:txBody>
          <a:bodyPr/>
          <a:lstStyle>
            <a:lvl1pPr marL="342900" indent="-342900">
              <a:buClr>
                <a:schemeClr val="tx2"/>
              </a:buClr>
              <a:buFont typeface="Wingdings" pitchFamily="2" charset="2"/>
              <a:buChar char="§"/>
              <a:defRPr/>
            </a:lvl1pPr>
            <a:lvl2pPr marL="742950" indent="-285750">
              <a:buClr>
                <a:schemeClr val="tx2"/>
              </a:buClr>
              <a:buFont typeface="Wingdings" pitchFamily="2" charset="2"/>
              <a:buChar char="§"/>
              <a:defRPr/>
            </a:lvl2pPr>
            <a:lvl3pPr marL="1143000" indent="-228600">
              <a:buClr>
                <a:schemeClr val="bg2"/>
              </a:buClr>
              <a:buFont typeface="Wingdings" pitchFamily="2" charset="2"/>
              <a:buChar char="§"/>
              <a:defRPr/>
            </a:lvl3pPr>
            <a:lvl5pPr marL="2057400" indent="-228600">
              <a:buFont typeface="Arial" pitchFamily="34" charset="0"/>
              <a:buChar char="-"/>
              <a:defRPr/>
            </a:lvl5pPr>
          </a:lstStyle>
          <a:p>
            <a:pPr lvl="0"/>
            <a:r>
              <a:rPr lang="cs-CZ" dirty="0" smtClean="0"/>
              <a:t>Kliknutím lze upravit styly předlohy textu.</a:t>
            </a:r>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
        <p:nvSpPr>
          <p:cNvPr id="6" name="Slide Number Placeholder 5"/>
          <p:cNvSpPr txBox="1">
            <a:spLocks/>
          </p:cNvSpPr>
          <p:nvPr userDrawn="1"/>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a:t>
            </a:fld>
            <a:endParaRPr lang="en-US" dirty="0"/>
          </a:p>
        </p:txBody>
      </p:sp>
      <p:sp>
        <p:nvSpPr>
          <p:cNvPr id="7" name="Footer Placeholder 4"/>
          <p:cNvSpPr txBox="1">
            <a:spLocks/>
          </p:cNvSpPr>
          <p:nvPr userDrawn="1"/>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pic>
        <p:nvPicPr>
          <p:cNvPr id="4" name="Obrázek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4026" y="142875"/>
            <a:ext cx="739660" cy="857250"/>
          </a:xfrm>
          <a:prstGeom prst="rect">
            <a:avLst/>
          </a:prstGeom>
        </p:spPr>
      </p:pic>
      <p:pic>
        <p:nvPicPr>
          <p:cNvPr id="8" name="obrázek 1" descr="Popis: enet"/>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59858" y="226038"/>
            <a:ext cx="723020" cy="738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2428934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Úvodní snímek">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Nadpis 1"/>
          <p:cNvSpPr>
            <a:spLocks noGrp="1"/>
          </p:cNvSpPr>
          <p:nvPr>
            <p:ph type="ctrTitle"/>
          </p:nvPr>
        </p:nvSpPr>
        <p:spPr>
          <a:xfrm>
            <a:off x="321868" y="2619703"/>
            <a:ext cx="6291073" cy="1390650"/>
          </a:xfrm>
        </p:spPr>
        <p:txBody>
          <a:bodyPr anchor="ctr"/>
          <a:lstStyle>
            <a:lvl1pPr algn="r">
              <a:defRPr lang="cs-CZ" sz="4800" b="0" kern="1200" spc="-150" baseline="0" dirty="0">
                <a:solidFill>
                  <a:srgbClr val="EB6A0A"/>
                </a:solidFill>
                <a:effectLst/>
                <a:latin typeface="Cillian" pitchFamily="50" charset="-18"/>
                <a:ea typeface="ＭＳ Ｐゴシック" charset="-128"/>
                <a:cs typeface="Cillian" pitchFamily="50" charset="-18"/>
              </a:defRPr>
            </a:lvl1pPr>
          </a:lstStyle>
          <a:p>
            <a:r>
              <a:rPr lang="cs-CZ" dirty="0" smtClean="0"/>
              <a:t>Kliknutím lze upravit styl.</a:t>
            </a:r>
            <a:endParaRPr lang="cs-CZ" dirty="0"/>
          </a:p>
        </p:txBody>
      </p:sp>
      <p:sp>
        <p:nvSpPr>
          <p:cNvPr id="3" name="Podnadpis 2"/>
          <p:cNvSpPr>
            <a:spLocks noGrp="1"/>
          </p:cNvSpPr>
          <p:nvPr>
            <p:ph type="subTitle" idx="1"/>
          </p:nvPr>
        </p:nvSpPr>
        <p:spPr>
          <a:xfrm>
            <a:off x="1291259" y="4135440"/>
            <a:ext cx="4155034" cy="1752600"/>
          </a:xfrm>
        </p:spPr>
        <p:txBody>
          <a:bodyPr/>
          <a:lstStyle>
            <a:lvl1pPr marL="0" indent="0" algn="r">
              <a:buNone/>
              <a:defRPr sz="2800" baseline="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cs-CZ" dirty="0" smtClean="0"/>
              <a:t>Kliknutím lze upravit styl předlohy.</a:t>
            </a:r>
            <a:endParaRPr lang="cs-CZ" dirty="0"/>
          </a:p>
        </p:txBody>
      </p:sp>
      <p:sp>
        <p:nvSpPr>
          <p:cNvPr id="11" name="Zástupný symbol pro text 10"/>
          <p:cNvSpPr>
            <a:spLocks noGrp="1" noChangeAspect="1"/>
          </p:cNvSpPr>
          <p:nvPr>
            <p:ph type="body" sz="quarter" idx="13"/>
          </p:nvPr>
        </p:nvSpPr>
        <p:spPr>
          <a:xfrm>
            <a:off x="441730" y="215900"/>
            <a:ext cx="1721984" cy="1931549"/>
          </a:xfrm>
        </p:spPr>
        <p:txBody>
          <a:bodyPr/>
          <a:lstStyle>
            <a:lvl1pPr marL="0" indent="0">
              <a:buNone/>
              <a:defRPr lang="cs-CZ" sz="9600" b="0" i="0" cap="none" baseline="0" smtClean="0">
                <a:solidFill>
                  <a:srgbClr val="D0DDC4"/>
                </a:solidFill>
              </a:defRPr>
            </a:lvl1pPr>
          </a:lstStyle>
          <a:p>
            <a:pPr lvl="0"/>
            <a:r>
              <a:rPr lang="cs-CZ" dirty="0" smtClean="0"/>
              <a:t>Klepnutím lze upravit styly předlohy textu.</a:t>
            </a:r>
          </a:p>
        </p:txBody>
      </p:sp>
      <p:sp>
        <p:nvSpPr>
          <p:cNvPr id="5" name="Zástupný symbol pro číslo snímku 5"/>
          <p:cNvSpPr>
            <a:spLocks noGrp="1"/>
          </p:cNvSpPr>
          <p:nvPr>
            <p:ph type="sldNum" sz="quarter" idx="14"/>
          </p:nvPr>
        </p:nvSpPr>
        <p:spPr/>
        <p:txBody>
          <a:bodyPr/>
          <a:lstStyle>
            <a:lvl1pPr>
              <a:defRPr sz="1000"/>
            </a:lvl1pPr>
          </a:lstStyle>
          <a:p>
            <a:pPr>
              <a:defRPr/>
            </a:pPr>
            <a:fld id="{2EB74E38-B7CA-4A1D-907E-9B5C98AB8E61}" type="slidenum">
              <a:rPr lang="cs-CZ"/>
              <a:pPr>
                <a:defRPr/>
              </a:pPr>
              <a:t>‹#›</a:t>
            </a:fld>
            <a:endParaRPr lang="cs-CZ"/>
          </a:p>
        </p:txBody>
      </p:sp>
      <p:sp>
        <p:nvSpPr>
          <p:cNvPr id="6" name="Zástupný symbol pro zápatí 3"/>
          <p:cNvSpPr>
            <a:spLocks noGrp="1"/>
          </p:cNvSpPr>
          <p:nvPr>
            <p:ph type="ftr" sz="quarter" idx="15"/>
          </p:nvPr>
        </p:nvSpPr>
        <p:spPr/>
        <p:txBody>
          <a:bodyPr/>
          <a:lstStyle>
            <a:lvl1pPr>
              <a:defRPr/>
            </a:lvl1pPr>
          </a:lstStyle>
          <a:p>
            <a:pPr>
              <a:defRPr/>
            </a:pPr>
            <a:r>
              <a:rPr lang="en-US"/>
              <a:t>www.vsb.cz</a:t>
            </a:r>
            <a:endParaRPr lang="en-US" dirty="0"/>
          </a:p>
        </p:txBody>
      </p:sp>
      <p:pic>
        <p:nvPicPr>
          <p:cNvPr id="4" name="Obrázek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9113" y="5942757"/>
            <a:ext cx="3709987" cy="810701"/>
          </a:xfrm>
          <a:prstGeom prst="rect">
            <a:avLst/>
          </a:prstGeom>
        </p:spPr>
      </p:pic>
      <p:pic>
        <p:nvPicPr>
          <p:cNvPr id="9" name="Obrázek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707563" y="160676"/>
            <a:ext cx="739660" cy="857250"/>
          </a:xfrm>
          <a:prstGeom prst="rect">
            <a:avLst/>
          </a:prstGeom>
        </p:spPr>
      </p:pic>
    </p:spTree>
    <p:extLst>
      <p:ext uri="{BB962C8B-B14F-4D97-AF65-F5344CB8AC3E}">
        <p14:creationId xmlns:p14="http://schemas.microsoft.com/office/powerpoint/2010/main" val="197620275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cSld name="Nadpis, text a obsah">
    <p:spTree>
      <p:nvGrpSpPr>
        <p:cNvPr id="1" name=""/>
        <p:cNvGrpSpPr/>
        <p:nvPr/>
      </p:nvGrpSpPr>
      <p:grpSpPr>
        <a:xfrm>
          <a:off x="0" y="0"/>
          <a:ext cx="0" cy="0"/>
          <a:chOff x="0" y="0"/>
          <a:chExt cx="0" cy="0"/>
        </a:xfrm>
      </p:grpSpPr>
      <p:sp>
        <p:nvSpPr>
          <p:cNvPr id="2" name="Nadpis 1"/>
          <p:cNvSpPr>
            <a:spLocks noGrp="1"/>
          </p:cNvSpPr>
          <p:nvPr>
            <p:ph type="title"/>
          </p:nvPr>
        </p:nvSpPr>
        <p:spPr>
          <a:xfrm>
            <a:off x="444500" y="446088"/>
            <a:ext cx="8256588" cy="971550"/>
          </a:xfrm>
        </p:spPr>
        <p:txBody>
          <a:bodyPr/>
          <a:lstStyle/>
          <a:p>
            <a:r>
              <a:rPr lang="cs-CZ" smtClean="0"/>
              <a:t>Klepnutím lze upravit styl předlohy nadpisů.</a:t>
            </a:r>
            <a:endParaRPr lang="cs-CZ"/>
          </a:p>
        </p:txBody>
      </p:sp>
      <p:sp>
        <p:nvSpPr>
          <p:cNvPr id="3" name="Zástupný symbol pro text 2"/>
          <p:cNvSpPr>
            <a:spLocks noGrp="1"/>
          </p:cNvSpPr>
          <p:nvPr>
            <p:ph type="body" sz="half" idx="1"/>
          </p:nvPr>
        </p:nvSpPr>
        <p:spPr>
          <a:xfrm>
            <a:off x="444500" y="1600200"/>
            <a:ext cx="4044950" cy="4500563"/>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
        <p:nvSpPr>
          <p:cNvPr id="4" name="Zástupný symbol pro obsah 3"/>
          <p:cNvSpPr>
            <a:spLocks noGrp="1"/>
          </p:cNvSpPr>
          <p:nvPr>
            <p:ph sz="half" idx="2"/>
          </p:nvPr>
        </p:nvSpPr>
        <p:spPr>
          <a:xfrm>
            <a:off x="4641850" y="1600200"/>
            <a:ext cx="4044950" cy="4500563"/>
          </a:xfrm>
        </p:spPr>
        <p:txBody>
          <a:bodyPr/>
          <a:lstStyle/>
          <a:p>
            <a:pPr lvl="0"/>
            <a:r>
              <a:rPr lang="cs-CZ" smtClean="0"/>
              <a:t>Klepnutím lze upravit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a:p>
        </p:txBody>
      </p:sp>
    </p:spTree>
    <p:extLst>
      <p:ext uri="{BB962C8B-B14F-4D97-AF65-F5344CB8AC3E}">
        <p14:creationId xmlns:p14="http://schemas.microsoft.com/office/powerpoint/2010/main" val="3626000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69938" y="142875"/>
            <a:ext cx="7304087" cy="857250"/>
          </a:xfrm>
          <a:prstGeom prst="rect">
            <a:avLst/>
          </a:prstGeom>
          <a:noFill/>
          <a:ln>
            <a:noFill/>
          </a:ln>
          <a:extLst/>
        </p:spPr>
        <p:txBody>
          <a:bodyPr vert="horz" wrap="square" lIns="91440" tIns="45720" rIns="91440" bIns="4572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257175" y="1009650"/>
            <a:ext cx="8629650" cy="5116513"/>
          </a:xfrm>
          <a:prstGeom prst="rect">
            <a:avLst/>
          </a:prstGeom>
          <a:noFill/>
          <a:ln>
            <a:noFill/>
          </a:ln>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6" name="Slide Number Placeholder 5"/>
          <p:cNvSpPr>
            <a:spLocks noGrp="1"/>
          </p:cNvSpPr>
          <p:nvPr>
            <p:ph type="sldNum" sz="quarter" idx="4"/>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lvl1pPr algn="l">
              <a:defRPr sz="1000">
                <a:solidFill>
                  <a:schemeClr val="bg2">
                    <a:lumMod val="60000"/>
                    <a:lumOff val="40000"/>
                  </a:schemeClr>
                </a:solidFill>
                <a:latin typeface="Cillian" pitchFamily="50" charset="-18"/>
                <a:ea typeface="ＭＳ Ｐゴシック" charset="-128"/>
                <a:cs typeface="+mn-cs"/>
              </a:defRPr>
            </a:lvl1pPr>
          </a:lstStyle>
          <a:p>
            <a:pPr>
              <a:defRPr/>
            </a:pPr>
            <a:fld id="{F8B59096-49CC-47DF-89C6-8A5C6C864931}" type="slidenum">
              <a:rPr lang="en-US"/>
              <a:pPr>
                <a:defRPr/>
              </a:pPr>
              <a:t>‹#›</a:t>
            </a:fld>
            <a:endParaRPr lang="en-US" dirty="0"/>
          </a:p>
        </p:txBody>
      </p:sp>
      <p:sp>
        <p:nvSpPr>
          <p:cNvPr id="11" name="Footer Placeholder 4"/>
          <p:cNvSpPr>
            <a:spLocks noGrp="1"/>
          </p:cNvSpPr>
          <p:nvPr>
            <p:ph type="ftr" sz="quarter" idx="3"/>
          </p:nvPr>
        </p:nvSpPr>
        <p:spPr>
          <a:xfrm>
            <a:off x="6229350" y="6548438"/>
            <a:ext cx="2895600" cy="365125"/>
          </a:xfrm>
          <a:prstGeom prst="rect">
            <a:avLst/>
          </a:prstGeom>
        </p:spPr>
        <p:txBody>
          <a:bodyPr/>
          <a:lstStyle>
            <a:lvl1pPr algn="r" fontAlgn="auto">
              <a:spcBef>
                <a:spcPts val="0"/>
              </a:spcBef>
              <a:spcAft>
                <a:spcPts val="0"/>
              </a:spcAft>
              <a:defRPr sz="1200">
                <a:solidFill>
                  <a:schemeClr val="bg2"/>
                </a:solidFill>
                <a:latin typeface="Cillian" pitchFamily="50" charset="-18"/>
                <a:ea typeface="+mn-ea"/>
                <a:cs typeface="+mn-cs"/>
              </a:defRPr>
            </a:lvl1pPr>
          </a:lstStyle>
          <a:p>
            <a:pPr>
              <a:defRPr/>
            </a:pPr>
            <a:r>
              <a:rPr lang="en-US"/>
              <a:t>www.vsb.cz</a:t>
            </a:r>
            <a:endParaRPr lang="en-US" dirty="0"/>
          </a:p>
        </p:txBody>
      </p:sp>
    </p:spTree>
  </p:cSld>
  <p:clrMap bg1="lt1" tx1="dk1" bg2="lt2" tx2="dk2" accent1="accent1" accent2="accent2" accent3="accent3" accent4="accent4" accent5="accent5" accent6="accent6" hlink="hlink" folHlink="folHlink"/>
  <p:sldLayoutIdLst>
    <p:sldLayoutId id="2147483904" r:id="rId1"/>
    <p:sldLayoutId id="2147483907" r:id="rId2"/>
    <p:sldLayoutId id="2147483901" r:id="rId3"/>
    <p:sldLayoutId id="2147483908" r:id="rId4"/>
    <p:sldLayoutId id="2147483902" r:id="rId5"/>
    <p:sldLayoutId id="2147483903" r:id="rId6"/>
    <p:sldLayoutId id="2147483906" r:id="rId7"/>
    <p:sldLayoutId id="2147483909" r:id="rId8"/>
    <p:sldLayoutId id="2147483910" r:id="rId9"/>
    <p:sldLayoutId id="2147483911" r:id="rId10"/>
  </p:sldLayoutIdLst>
  <p:timing>
    <p:tnLst>
      <p:par>
        <p:cTn id="1" dur="indefinite" restart="never" nodeType="tmRoot"/>
      </p:par>
    </p:tnLst>
  </p:timing>
  <p:hf hdr="0" dt="0"/>
  <p:txStyles>
    <p:titleStyle>
      <a:lvl1pPr algn="l" defTabSz="457200" rtl="0" eaLnBrk="0" fontAlgn="base" hangingPunct="0">
        <a:spcBef>
          <a:spcPct val="0"/>
        </a:spcBef>
        <a:spcAft>
          <a:spcPct val="0"/>
        </a:spcAft>
        <a:defRPr sz="3200" kern="1200" spc="-100">
          <a:solidFill>
            <a:schemeClr val="tx1"/>
          </a:solidFill>
          <a:latin typeface="Cillian" pitchFamily="50" charset="-18"/>
          <a:ea typeface="ＭＳ Ｐゴシック" charset="-128"/>
          <a:cs typeface="Cillian" pitchFamily="50" charset="-18"/>
        </a:defRPr>
      </a:lvl1pPr>
      <a:lvl2pPr algn="l" defTabSz="457200" rtl="0" eaLnBrk="0" fontAlgn="base" hangingPunct="0">
        <a:spcBef>
          <a:spcPct val="0"/>
        </a:spcBef>
        <a:spcAft>
          <a:spcPct val="0"/>
        </a:spcAft>
        <a:defRPr sz="3200">
          <a:solidFill>
            <a:schemeClr val="tx1"/>
          </a:solidFill>
          <a:latin typeface="Cillian"/>
          <a:ea typeface="ＭＳ Ｐゴシック" charset="-128"/>
          <a:cs typeface="Cillian"/>
        </a:defRPr>
      </a:lvl2pPr>
      <a:lvl3pPr algn="l" defTabSz="457200" rtl="0" eaLnBrk="0" fontAlgn="base" hangingPunct="0">
        <a:spcBef>
          <a:spcPct val="0"/>
        </a:spcBef>
        <a:spcAft>
          <a:spcPct val="0"/>
        </a:spcAft>
        <a:defRPr sz="3200">
          <a:solidFill>
            <a:schemeClr val="tx1"/>
          </a:solidFill>
          <a:latin typeface="Cillian"/>
          <a:ea typeface="ＭＳ Ｐゴシック" charset="-128"/>
          <a:cs typeface="Cillian"/>
        </a:defRPr>
      </a:lvl3pPr>
      <a:lvl4pPr algn="l" defTabSz="457200" rtl="0" eaLnBrk="0" fontAlgn="base" hangingPunct="0">
        <a:spcBef>
          <a:spcPct val="0"/>
        </a:spcBef>
        <a:spcAft>
          <a:spcPct val="0"/>
        </a:spcAft>
        <a:defRPr sz="3200">
          <a:solidFill>
            <a:schemeClr val="tx1"/>
          </a:solidFill>
          <a:latin typeface="Cillian"/>
          <a:ea typeface="ＭＳ Ｐゴシック" charset="-128"/>
          <a:cs typeface="Cillian"/>
        </a:defRPr>
      </a:lvl4pPr>
      <a:lvl5pPr algn="l" defTabSz="457200" rtl="0" eaLnBrk="0" fontAlgn="base" hangingPunct="0">
        <a:spcBef>
          <a:spcPct val="0"/>
        </a:spcBef>
        <a:spcAft>
          <a:spcPct val="0"/>
        </a:spcAft>
        <a:defRPr sz="3200">
          <a:solidFill>
            <a:schemeClr val="tx1"/>
          </a:solidFill>
          <a:latin typeface="Cillian"/>
          <a:ea typeface="ＭＳ Ｐゴシック" charset="-128"/>
          <a:cs typeface="Cillian"/>
        </a:defRPr>
      </a:lvl5pPr>
      <a:lvl6pPr marL="457200" algn="ctr" defTabSz="457200" rtl="0" fontAlgn="base">
        <a:spcBef>
          <a:spcPct val="0"/>
        </a:spcBef>
        <a:spcAft>
          <a:spcPct val="0"/>
        </a:spcAft>
        <a:defRPr sz="4400" b="1">
          <a:solidFill>
            <a:srgbClr val="226043"/>
          </a:solidFill>
          <a:latin typeface="Calibri" charset="0"/>
          <a:ea typeface="ＭＳ Ｐゴシック" charset="-128"/>
        </a:defRPr>
      </a:lvl6pPr>
      <a:lvl7pPr marL="914400" algn="ctr" defTabSz="457200" rtl="0" fontAlgn="base">
        <a:spcBef>
          <a:spcPct val="0"/>
        </a:spcBef>
        <a:spcAft>
          <a:spcPct val="0"/>
        </a:spcAft>
        <a:defRPr sz="4400" b="1">
          <a:solidFill>
            <a:srgbClr val="226043"/>
          </a:solidFill>
          <a:latin typeface="Calibri" charset="0"/>
          <a:ea typeface="ＭＳ Ｐゴシック" charset="-128"/>
        </a:defRPr>
      </a:lvl7pPr>
      <a:lvl8pPr marL="1371600" algn="ctr" defTabSz="457200" rtl="0" fontAlgn="base">
        <a:spcBef>
          <a:spcPct val="0"/>
        </a:spcBef>
        <a:spcAft>
          <a:spcPct val="0"/>
        </a:spcAft>
        <a:defRPr sz="4400" b="1">
          <a:solidFill>
            <a:srgbClr val="226043"/>
          </a:solidFill>
          <a:latin typeface="Calibri" charset="0"/>
          <a:ea typeface="ＭＳ Ｐゴシック" charset="-128"/>
        </a:defRPr>
      </a:lvl8pPr>
      <a:lvl9pPr marL="1828800" algn="ctr" defTabSz="457200" rtl="0" fontAlgn="base">
        <a:spcBef>
          <a:spcPct val="0"/>
        </a:spcBef>
        <a:spcAft>
          <a:spcPct val="0"/>
        </a:spcAft>
        <a:defRPr sz="4400" b="1">
          <a:solidFill>
            <a:srgbClr val="226043"/>
          </a:solidFill>
          <a:latin typeface="Calibri"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2800" kern="1200" spc="-100">
          <a:solidFill>
            <a:schemeClr val="bg2"/>
          </a:solidFill>
          <a:latin typeface="Cillian" pitchFamily="50" charset="-18"/>
          <a:ea typeface="ＭＳ Ｐゴシック" charset="-128"/>
          <a:cs typeface="Cillian" pitchFamily="50" charset="-18"/>
        </a:defRPr>
      </a:lvl1pPr>
      <a:lvl2pPr marL="742950" indent="-285750" algn="l" defTabSz="457200" rtl="0" eaLnBrk="0" fontAlgn="base" hangingPunct="0">
        <a:spcBef>
          <a:spcPct val="20000"/>
        </a:spcBef>
        <a:spcAft>
          <a:spcPct val="0"/>
        </a:spcAft>
        <a:buFont typeface="Arial" charset="0"/>
        <a:buChar char="–"/>
        <a:defRPr sz="2400" kern="1200" spc="-100">
          <a:solidFill>
            <a:schemeClr val="bg2"/>
          </a:solidFill>
          <a:latin typeface="Cillian" pitchFamily="50" charset="-18"/>
          <a:ea typeface="ＭＳ Ｐゴシック" charset="-128"/>
          <a:cs typeface="Cillian" pitchFamily="50" charset="-18"/>
        </a:defRPr>
      </a:lvl2pPr>
      <a:lvl3pPr marL="1143000" indent="-228600" algn="l" defTabSz="457200" rtl="0" eaLnBrk="0" fontAlgn="base" hangingPunct="0">
        <a:spcBef>
          <a:spcPct val="20000"/>
        </a:spcBef>
        <a:spcAft>
          <a:spcPct val="0"/>
        </a:spcAft>
        <a:buFont typeface="Arial" charset="0"/>
        <a:buChar char="•"/>
        <a:defRPr sz="2000" kern="1200" spc="-100">
          <a:solidFill>
            <a:schemeClr val="bg2"/>
          </a:solidFill>
          <a:latin typeface="Cillian" pitchFamily="50" charset="-18"/>
          <a:ea typeface="ＭＳ Ｐゴシック" charset="-128"/>
          <a:cs typeface="Cillian" pitchFamily="50" charset="-18"/>
        </a:defRPr>
      </a:lvl3pPr>
      <a:lvl4pPr marL="1600200" indent="-228600" algn="l" defTabSz="457200" rtl="0" eaLnBrk="0" fontAlgn="base" hangingPunct="0">
        <a:spcBef>
          <a:spcPct val="20000"/>
        </a:spcBef>
        <a:spcAft>
          <a:spcPct val="0"/>
        </a:spcAft>
        <a:buFont typeface="Arial" charset="0"/>
        <a:buChar char="–"/>
        <a:defRPr kern="1200" spc="-100">
          <a:solidFill>
            <a:schemeClr val="bg2"/>
          </a:solidFill>
          <a:latin typeface="Cillian" pitchFamily="50" charset="-18"/>
          <a:ea typeface="ＭＳ Ｐゴシック" charset="-128"/>
          <a:cs typeface="Cillian" pitchFamily="50" charset="-18"/>
        </a:defRPr>
      </a:lvl4pPr>
      <a:lvl5pPr marL="2057400" indent="-228600" algn="l" defTabSz="457200" rtl="0" eaLnBrk="0" fontAlgn="base" hangingPunct="0">
        <a:spcBef>
          <a:spcPct val="20000"/>
        </a:spcBef>
        <a:spcAft>
          <a:spcPct val="0"/>
        </a:spcAft>
        <a:buFont typeface="Arial" charset="0"/>
        <a:buChar char="»"/>
        <a:defRPr kern="1200" spc="-100">
          <a:solidFill>
            <a:schemeClr val="bg2"/>
          </a:solidFill>
          <a:latin typeface="Cillian" pitchFamily="50" charset="-18"/>
          <a:ea typeface="ＭＳ Ｐゴシック" charset="-128"/>
          <a:cs typeface="Cillian" pitchFamily="50" charset="-1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7.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9.w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chart" Target="../charts/chart1.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53.emf"/><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4.wmf"/><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5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67.jpeg"/><Relationship Id="rId1" Type="http://schemas.openxmlformats.org/officeDocument/2006/relationships/slideLayout" Target="../slideLayouts/slideLayout4.xml"/><Relationship Id="rId4" Type="http://schemas.openxmlformats.org/officeDocument/2006/relationships/image" Target="../media/image79.jpeg"/></Relationships>
</file>

<file path=ppt/slides/_rels/slide53.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4.xml"/><Relationship Id="rId1" Type="http://schemas.openxmlformats.org/officeDocument/2006/relationships/vmlDrawing" Target="../drawings/vmlDrawing4.vml"/><Relationship Id="rId4" Type="http://schemas.openxmlformats.org/officeDocument/2006/relationships/image" Target="../media/image81.emf"/></Relationships>
</file>

<file path=ppt/slides/_rels/slide5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emf"/><Relationship Id="rId1" Type="http://schemas.openxmlformats.org/officeDocument/2006/relationships/slideLayout" Target="../slideLayouts/slideLayout7.xml"/><Relationship Id="rId5" Type="http://schemas.openxmlformats.org/officeDocument/2006/relationships/image" Target="../media/image86.jpg"/><Relationship Id="rId4" Type="http://schemas.openxmlformats.org/officeDocument/2006/relationships/image" Target="../media/image85.jp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87.emf"/><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4.xml"/><Relationship Id="rId1" Type="http://schemas.openxmlformats.org/officeDocument/2006/relationships/vmlDrawing" Target="../drawings/vmlDrawing1.v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2" Type="http://schemas.openxmlformats.org/officeDocument/2006/relationships/image" Target="../media/image91.gif"/><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93.jpeg"/><Relationship Id="rId1" Type="http://schemas.openxmlformats.org/officeDocument/2006/relationships/slideLayout" Target="../slideLayouts/slideLayout7.xml"/><Relationship Id="rId4" Type="http://schemas.openxmlformats.org/officeDocument/2006/relationships/image" Target="../media/image94.png"/></Relationships>
</file>

<file path=ppt/slides/_rels/slide67.xml.rels><?xml version="1.0" encoding="UTF-8" standalone="yes"?>
<Relationships xmlns="http://schemas.openxmlformats.org/package/2006/relationships"><Relationship Id="rId2" Type="http://schemas.openxmlformats.org/officeDocument/2006/relationships/image" Target="../media/image95.gif"/><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image" Target="../media/image97.jpeg"/><Relationship Id="rId7" Type="http://schemas.openxmlformats.org/officeDocument/2006/relationships/image" Target="../media/image101.png"/><Relationship Id="rId2" Type="http://schemas.openxmlformats.org/officeDocument/2006/relationships/image" Target="../media/image96.jpeg"/><Relationship Id="rId1" Type="http://schemas.openxmlformats.org/officeDocument/2006/relationships/slideLayout" Target="../slideLayouts/slideLayout7.xml"/><Relationship Id="rId6" Type="http://schemas.openxmlformats.org/officeDocument/2006/relationships/image" Target="../media/image100.jpeg"/><Relationship Id="rId5" Type="http://schemas.openxmlformats.org/officeDocument/2006/relationships/image" Target="../media/image99.png"/><Relationship Id="rId4" Type="http://schemas.openxmlformats.org/officeDocument/2006/relationships/image" Target="../media/image98.jpeg"/><Relationship Id="rId9" Type="http://schemas.openxmlformats.org/officeDocument/2006/relationships/image" Target="../media/image103.jpeg"/></Relationships>
</file>

<file path=ppt/slides/_rels/slide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8" Type="http://schemas.openxmlformats.org/officeDocument/2006/relationships/hyperlink" Target="http://www.kohleprotest.de/" TargetMode="External"/><Relationship Id="rId13" Type="http://schemas.openxmlformats.org/officeDocument/2006/relationships/hyperlink" Target="http://kohle-protest.de/argumente/" TargetMode="External"/><Relationship Id="rId3" Type="http://schemas.openxmlformats.org/officeDocument/2006/relationships/image" Target="../media/image105.png"/><Relationship Id="rId7" Type="http://schemas.openxmlformats.org/officeDocument/2006/relationships/image" Target="../media/image108.png"/><Relationship Id="rId12" Type="http://schemas.openxmlformats.org/officeDocument/2006/relationships/image" Target="../media/image111.png"/><Relationship Id="rId2" Type="http://schemas.openxmlformats.org/officeDocument/2006/relationships/image" Target="../media/image104.jpeg"/><Relationship Id="rId16" Type="http://schemas.openxmlformats.org/officeDocument/2006/relationships/image" Target="../media/image113.pn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hyperlink" Target="http://www.stadtwerke-kohlefrei.de/" TargetMode="External"/><Relationship Id="rId5" Type="http://schemas.openxmlformats.org/officeDocument/2006/relationships/hyperlink" Target="http://www.kohle-protest.de/karte/" TargetMode="External"/><Relationship Id="rId15" Type="http://schemas.openxmlformats.org/officeDocument/2006/relationships/hyperlink" Target="http://www.nein-zu-datteln4.de/" TargetMode="External"/><Relationship Id="rId10" Type="http://schemas.openxmlformats.org/officeDocument/2006/relationships/image" Target="../media/image110.jpeg"/><Relationship Id="rId4" Type="http://schemas.openxmlformats.org/officeDocument/2006/relationships/image" Target="../media/image106.jpeg"/><Relationship Id="rId9" Type="http://schemas.openxmlformats.org/officeDocument/2006/relationships/image" Target="../media/image109.jpeg"/><Relationship Id="rId14" Type="http://schemas.openxmlformats.org/officeDocument/2006/relationships/image" Target="../media/image112.png"/></Relationships>
</file>

<file path=ppt/slides/_rels/slide71.xml.rels><?xml version="1.0" encoding="UTF-8" standalone="yes"?>
<Relationships xmlns="http://schemas.openxmlformats.org/package/2006/relationships"><Relationship Id="rId8" Type="http://schemas.openxmlformats.org/officeDocument/2006/relationships/image" Target="../media/image120.jpeg"/><Relationship Id="rId3" Type="http://schemas.openxmlformats.org/officeDocument/2006/relationships/image" Target="../media/image115.jpeg"/><Relationship Id="rId7" Type="http://schemas.openxmlformats.org/officeDocument/2006/relationships/image" Target="../media/image119.jpeg"/><Relationship Id="rId2" Type="http://schemas.openxmlformats.org/officeDocument/2006/relationships/image" Target="../media/image114.png"/><Relationship Id="rId1" Type="http://schemas.openxmlformats.org/officeDocument/2006/relationships/slideLayout" Target="../slideLayouts/slideLayout7.xml"/><Relationship Id="rId6" Type="http://schemas.openxmlformats.org/officeDocument/2006/relationships/image" Target="../media/image118.png"/><Relationship Id="rId11" Type="http://schemas.openxmlformats.org/officeDocument/2006/relationships/image" Target="../media/image122.gif"/><Relationship Id="rId5" Type="http://schemas.openxmlformats.org/officeDocument/2006/relationships/image" Target="../media/image117.jpeg"/><Relationship Id="rId10" Type="http://schemas.openxmlformats.org/officeDocument/2006/relationships/image" Target="../media/image121.png"/><Relationship Id="rId4" Type="http://schemas.openxmlformats.org/officeDocument/2006/relationships/image" Target="../media/image116.jpeg"/><Relationship Id="rId9" Type="http://schemas.openxmlformats.org/officeDocument/2006/relationships/hyperlink" Target="http://www.cafepress.com/windwatch"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image" Target="../media/image123.png"/><Relationship Id="rId1" Type="http://schemas.openxmlformats.org/officeDocument/2006/relationships/slideLayout" Target="../slideLayouts/slideLayout7.xml"/><Relationship Id="rId4" Type="http://schemas.openxmlformats.org/officeDocument/2006/relationships/image" Target="../media/image125.jpeg"/></Relationships>
</file>

<file path=ppt/slides/_rels/slide73.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95.gi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Microsoft_Excel_97-2003_Worksheet2.xls"/><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oleObject" Target="../embeddings/Microsoft_Excel_97-2003_Worksheet3.xls"/><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oleObject" Target="../embeddings/Microsoft_Excel_97-2003_Worksheet4.xls"/><Relationship Id="rId2" Type="http://schemas.openxmlformats.org/officeDocument/2006/relationships/slideLayout" Target="../slideLayouts/slideLayout7.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oleObject" Target="../embeddings/Microsoft_Excel_97-2003_Worksheet5.xls"/><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1"/>
          <p:cNvSpPr>
            <a:spLocks noGrp="1"/>
          </p:cNvSpPr>
          <p:nvPr>
            <p:ph type="ctrTitle"/>
          </p:nvPr>
        </p:nvSpPr>
        <p:spPr>
          <a:xfrm>
            <a:off x="576943" y="2242457"/>
            <a:ext cx="7957457" cy="1330559"/>
          </a:xfrm>
        </p:spPr>
        <p:txBody>
          <a:bodyPr>
            <a:normAutofit/>
          </a:bodyPr>
          <a:lstStyle/>
          <a:p>
            <a:pPr algn="ctr"/>
            <a:r>
              <a:rPr lang="cs-CZ" sz="3600" b="1" dirty="0" smtClean="0">
                <a:solidFill>
                  <a:srgbClr val="000000"/>
                </a:solidFill>
              </a:rPr>
              <a:t>Energetika ČR – Quo </a:t>
            </a:r>
            <a:r>
              <a:rPr lang="cs-CZ" sz="3600" b="1" dirty="0" err="1" smtClean="0">
                <a:solidFill>
                  <a:srgbClr val="000000"/>
                </a:solidFill>
              </a:rPr>
              <a:t>Vadis</a:t>
            </a:r>
            <a:r>
              <a:rPr lang="cs-CZ" sz="3600" b="1" dirty="0" smtClean="0">
                <a:solidFill>
                  <a:srgbClr val="000000"/>
                </a:solidFill>
              </a:rPr>
              <a:t>? </a:t>
            </a:r>
            <a:endParaRPr lang="cs-CZ" sz="2200" b="1" dirty="0">
              <a:solidFill>
                <a:srgbClr val="000000"/>
              </a:solidFill>
            </a:endParaRPr>
          </a:p>
        </p:txBody>
      </p:sp>
      <p:sp>
        <p:nvSpPr>
          <p:cNvPr id="7" name="Podnadpis 4"/>
          <p:cNvSpPr>
            <a:spLocks noGrp="1"/>
          </p:cNvSpPr>
          <p:nvPr>
            <p:ph type="subTitle" idx="1"/>
          </p:nvPr>
        </p:nvSpPr>
        <p:spPr>
          <a:xfrm>
            <a:off x="3448050" y="5157193"/>
            <a:ext cx="4524375" cy="1580158"/>
          </a:xfrm>
        </p:spPr>
        <p:txBody>
          <a:bodyPr>
            <a:normAutofit/>
          </a:bodyPr>
          <a:lstStyle/>
          <a:p>
            <a:r>
              <a:rPr lang="cs-CZ" sz="2000" b="1" dirty="0" smtClean="0">
                <a:solidFill>
                  <a:srgbClr val="000000"/>
                </a:solidFill>
              </a:rPr>
              <a:t>Roman Portužák</a:t>
            </a:r>
          </a:p>
          <a:p>
            <a:r>
              <a:rPr lang="cs-CZ" sz="2000" b="1" dirty="0" smtClean="0">
                <a:solidFill>
                  <a:srgbClr val="000000"/>
                </a:solidFill>
              </a:rPr>
              <a:t>7.10.2013</a:t>
            </a:r>
            <a:endParaRPr lang="cs-CZ" dirty="0">
              <a:solidFill>
                <a:srgbClr val="00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20" name="Nadpis 1"/>
          <p:cNvSpPr>
            <a:spLocks noGrp="1"/>
          </p:cNvSpPr>
          <p:nvPr>
            <p:ph type="title"/>
          </p:nvPr>
        </p:nvSpPr>
        <p:spPr>
          <a:xfrm>
            <a:off x="1643063" y="274638"/>
            <a:ext cx="6097587" cy="490537"/>
          </a:xfrm>
        </p:spPr>
        <p:txBody>
          <a:bodyPr/>
          <a:lstStyle/>
          <a:p>
            <a:r>
              <a:rPr lang="cs-CZ" dirty="0" smtClean="0"/>
              <a:t>Uhlí v Evropě 2011</a:t>
            </a:r>
          </a:p>
        </p:txBody>
      </p:sp>
      <p:grpSp>
        <p:nvGrpSpPr>
          <p:cNvPr id="32" name="Group 3"/>
          <p:cNvGrpSpPr>
            <a:grpSpLocks/>
          </p:cNvGrpSpPr>
          <p:nvPr/>
        </p:nvGrpSpPr>
        <p:grpSpPr bwMode="auto">
          <a:xfrm>
            <a:off x="467544" y="1082676"/>
            <a:ext cx="8208912" cy="5226644"/>
            <a:chOff x="335205" y="75224"/>
            <a:chExt cx="8210424" cy="6299113"/>
          </a:xfrm>
        </p:grpSpPr>
        <p:grpSp>
          <p:nvGrpSpPr>
            <p:cNvPr id="33" name="Group 4"/>
            <p:cNvGrpSpPr>
              <a:grpSpLocks/>
            </p:cNvGrpSpPr>
            <p:nvPr/>
          </p:nvGrpSpPr>
          <p:grpSpPr bwMode="auto">
            <a:xfrm>
              <a:off x="335205" y="571061"/>
              <a:ext cx="8210424" cy="5803276"/>
              <a:chOff x="335205" y="571061"/>
              <a:chExt cx="8210424" cy="5803276"/>
            </a:xfrm>
          </p:grpSpPr>
          <p:pic>
            <p:nvPicPr>
              <p:cNvPr id="3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t="2" b="362"/>
              <a:stretch>
                <a:fillRect/>
              </a:stretch>
            </p:blipFill>
            <p:spPr bwMode="auto">
              <a:xfrm>
                <a:off x="335205" y="571061"/>
                <a:ext cx="4128405" cy="5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r="893" b="363"/>
              <a:stretch>
                <a:fillRect/>
              </a:stretch>
            </p:blipFill>
            <p:spPr bwMode="auto">
              <a:xfrm>
                <a:off x="4454084" y="571062"/>
                <a:ext cx="4091545" cy="5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4"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r="711" b="3091"/>
            <a:stretch>
              <a:fillRect/>
            </a:stretch>
          </p:blipFill>
          <p:spPr bwMode="auto">
            <a:xfrm>
              <a:off x="335205" y="3222792"/>
              <a:ext cx="1864233" cy="708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6296" y="249944"/>
              <a:ext cx="198000" cy="29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8"/>
            <p:cNvPicPr>
              <a:picLocks noChangeArrowheads="1"/>
            </p:cNvPicPr>
            <p:nvPr/>
          </p:nvPicPr>
          <p:blipFill>
            <a:blip r:embed="rId6">
              <a:extLst>
                <a:ext uri="{28A0092B-C50C-407E-A947-70E740481C1C}">
                  <a14:useLocalDpi xmlns:a14="http://schemas.microsoft.com/office/drawing/2010/main" val="0"/>
                </a:ext>
              </a:extLst>
            </a:blip>
            <a:srcRect b="15260"/>
            <a:stretch>
              <a:fillRect/>
            </a:stretch>
          </p:blipFill>
          <p:spPr bwMode="auto">
            <a:xfrm>
              <a:off x="4222017" y="271884"/>
              <a:ext cx="205200" cy="91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8"/>
            <p:cNvSpPr txBox="1"/>
            <p:nvPr/>
          </p:nvSpPr>
          <p:spPr>
            <a:xfrm>
              <a:off x="4130442" y="97728"/>
              <a:ext cx="376246" cy="230223"/>
            </a:xfrm>
            <a:prstGeom prst="rect">
              <a:avLst/>
            </a:prstGeom>
            <a:noFill/>
          </p:spPr>
          <p:txBody>
            <a:bodyPr wrap="none">
              <a:spAutoFit/>
            </a:bodyPr>
            <a:lstStyle/>
            <a:p>
              <a:pPr eaLnBrk="0" hangingPunct="0">
                <a:lnSpc>
                  <a:spcPct val="150000"/>
                </a:lnSpc>
                <a:spcBef>
                  <a:spcPct val="30000"/>
                </a:spcBef>
                <a:defRPr/>
              </a:pPr>
              <a:r>
                <a:rPr lang="en-GB" sz="600" dirty="0">
                  <a:solidFill>
                    <a:schemeClr val="bg1">
                      <a:lumMod val="50000"/>
                    </a:schemeClr>
                  </a:solidFill>
                  <a:cs typeface="+mn-cs"/>
                </a:rPr>
                <a:t>176.5</a:t>
              </a:r>
            </a:p>
          </p:txBody>
        </p:sp>
        <p:sp>
          <p:nvSpPr>
            <p:cNvPr id="38" name="TextBox 9"/>
            <p:cNvSpPr txBox="1"/>
            <p:nvPr/>
          </p:nvSpPr>
          <p:spPr>
            <a:xfrm>
              <a:off x="5641126" y="75224"/>
              <a:ext cx="333491" cy="230224"/>
            </a:xfrm>
            <a:prstGeom prst="rect">
              <a:avLst/>
            </a:prstGeom>
            <a:noFill/>
          </p:spPr>
          <p:txBody>
            <a:bodyPr wrap="none">
              <a:spAutoFit/>
            </a:bodyPr>
            <a:lstStyle/>
            <a:p>
              <a:pPr eaLnBrk="0" hangingPunct="0">
                <a:lnSpc>
                  <a:spcPct val="150000"/>
                </a:lnSpc>
                <a:spcBef>
                  <a:spcPct val="30000"/>
                </a:spcBef>
                <a:defRPr/>
              </a:pPr>
              <a:r>
                <a:rPr lang="en-GB" sz="600" dirty="0">
                  <a:solidFill>
                    <a:schemeClr val="bg1">
                      <a:lumMod val="50000"/>
                    </a:schemeClr>
                  </a:solidFill>
                  <a:cs typeface="+mn-cs"/>
                </a:rPr>
                <a:t>75.7</a:t>
              </a:r>
            </a:p>
          </p:txBody>
        </p:sp>
      </p:grpSp>
      <p:sp>
        <p:nvSpPr>
          <p:cNvPr id="41" name="Rectangle 3"/>
          <p:cNvSpPr txBox="1">
            <a:spLocks noChangeArrowheads="1"/>
          </p:cNvSpPr>
          <p:nvPr/>
        </p:nvSpPr>
        <p:spPr bwMode="auto">
          <a:xfrm>
            <a:off x="0" y="3756025"/>
            <a:ext cx="3131840" cy="808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9" tIns="0" rIns="0" bIns="0"/>
          <a:lstStyle>
            <a:lvl1pPr marL="342900" indent="-34290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300"/>
              </a:spcBef>
              <a:buClr>
                <a:srgbClr val="570F16"/>
              </a:buClr>
              <a:buFont typeface="Arial" pitchFamily="34" charset="0"/>
              <a:buChar char="■"/>
            </a:pPr>
            <a:r>
              <a:rPr lang="cs-CZ" sz="1600" b="1" dirty="0" smtClean="0">
                <a:solidFill>
                  <a:srgbClr val="000000"/>
                </a:solidFill>
                <a:latin typeface="Arial Narrow" pitchFamily="34" charset="0"/>
              </a:rPr>
              <a:t>Těžba hnědého uhlí </a:t>
            </a:r>
            <a:r>
              <a:rPr lang="en-US" sz="1600" b="1" dirty="0" smtClean="0">
                <a:solidFill>
                  <a:srgbClr val="000000"/>
                </a:solidFill>
                <a:latin typeface="Arial Narrow" pitchFamily="34" charset="0"/>
              </a:rPr>
              <a:t>EU: </a:t>
            </a:r>
            <a:r>
              <a:rPr lang="en-US" sz="1600" b="1" dirty="0">
                <a:solidFill>
                  <a:srgbClr val="000000"/>
                </a:solidFill>
                <a:latin typeface="Arial Narrow" pitchFamily="34" charset="0"/>
              </a:rPr>
              <a:t>426 Mt</a:t>
            </a:r>
          </a:p>
          <a:p>
            <a:pPr eaLnBrk="1" hangingPunct="1">
              <a:spcBef>
                <a:spcPts val="300"/>
              </a:spcBef>
              <a:buClr>
                <a:srgbClr val="0E5A96"/>
              </a:buClr>
              <a:buFont typeface="Arial" pitchFamily="34" charset="0"/>
              <a:buChar char="■"/>
            </a:pPr>
            <a:r>
              <a:rPr lang="cs-CZ" sz="1600" b="1" dirty="0">
                <a:solidFill>
                  <a:srgbClr val="000000"/>
                </a:solidFill>
                <a:latin typeface="Arial Narrow" pitchFamily="34" charset="0"/>
              </a:rPr>
              <a:t>Těžba </a:t>
            </a:r>
            <a:r>
              <a:rPr lang="cs-CZ" sz="1600" b="1" dirty="0" smtClean="0">
                <a:solidFill>
                  <a:srgbClr val="000000"/>
                </a:solidFill>
                <a:latin typeface="Arial Narrow" pitchFamily="34" charset="0"/>
              </a:rPr>
              <a:t>černého uhlí </a:t>
            </a:r>
            <a:r>
              <a:rPr lang="en-US" sz="1600" b="1" dirty="0" smtClean="0">
                <a:solidFill>
                  <a:srgbClr val="000000"/>
                </a:solidFill>
                <a:latin typeface="Arial Narrow" pitchFamily="34" charset="0"/>
              </a:rPr>
              <a:t>EU: </a:t>
            </a:r>
            <a:r>
              <a:rPr lang="en-US" sz="1600" b="1" dirty="0">
                <a:solidFill>
                  <a:srgbClr val="000000"/>
                </a:solidFill>
                <a:latin typeface="Arial Narrow" pitchFamily="34" charset="0"/>
              </a:rPr>
              <a:t>130 Mt</a:t>
            </a:r>
          </a:p>
          <a:p>
            <a:pPr eaLnBrk="1" hangingPunct="1">
              <a:spcBef>
                <a:spcPts val="300"/>
              </a:spcBef>
              <a:buClr>
                <a:srgbClr val="669900"/>
              </a:buClr>
              <a:buFont typeface="Arial" pitchFamily="34" charset="0"/>
              <a:buChar char="■"/>
            </a:pPr>
            <a:r>
              <a:rPr lang="cs-CZ" sz="1600" b="1" dirty="0" smtClean="0">
                <a:solidFill>
                  <a:srgbClr val="000000"/>
                </a:solidFill>
                <a:latin typeface="Arial Narrow" pitchFamily="34" charset="0"/>
              </a:rPr>
              <a:t>Dovoz uhlí </a:t>
            </a:r>
            <a:r>
              <a:rPr lang="en-US" sz="1600" b="1" dirty="0" smtClean="0">
                <a:solidFill>
                  <a:srgbClr val="000000"/>
                </a:solidFill>
                <a:latin typeface="Arial Narrow" pitchFamily="34" charset="0"/>
              </a:rPr>
              <a:t>EU: </a:t>
            </a:r>
            <a:r>
              <a:rPr lang="en-US" sz="1600" b="1" dirty="0">
                <a:solidFill>
                  <a:srgbClr val="000000"/>
                </a:solidFill>
                <a:latin typeface="Arial Narrow" pitchFamily="34" charset="0"/>
              </a:rPr>
              <a:t>198 Mt</a:t>
            </a:r>
          </a:p>
        </p:txBody>
      </p:sp>
      <p:sp>
        <p:nvSpPr>
          <p:cNvPr id="42" name="TextBox 13"/>
          <p:cNvSpPr txBox="1"/>
          <p:nvPr/>
        </p:nvSpPr>
        <p:spPr>
          <a:xfrm>
            <a:off x="239713" y="4686300"/>
            <a:ext cx="622304" cy="294643"/>
          </a:xfrm>
          <a:prstGeom prst="rect">
            <a:avLst/>
          </a:prstGeom>
          <a:noFill/>
        </p:spPr>
        <p:txBody>
          <a:bodyPr wrap="none" lIns="91449" tIns="45725" rIns="91449" bIns="45725">
            <a:spAutoFit/>
          </a:bodyPr>
          <a:lstStyle/>
          <a:p>
            <a:pPr eaLnBrk="0" hangingPunct="0">
              <a:lnSpc>
                <a:spcPct val="150000"/>
              </a:lnSpc>
              <a:spcBef>
                <a:spcPct val="30000"/>
              </a:spcBef>
              <a:defRPr/>
            </a:pPr>
            <a:r>
              <a:rPr lang="en-GB" sz="1000" dirty="0">
                <a:solidFill>
                  <a:schemeClr val="bg1">
                    <a:lumMod val="50000"/>
                  </a:schemeClr>
                </a:solidFill>
                <a:cs typeface="+mn-cs"/>
              </a:rPr>
              <a:t>* </a:t>
            </a:r>
            <a:r>
              <a:rPr lang="cs-CZ" sz="1000" dirty="0" smtClean="0">
                <a:solidFill>
                  <a:schemeClr val="bg1">
                    <a:lumMod val="50000"/>
                  </a:schemeClr>
                </a:solidFill>
                <a:cs typeface="+mn-cs"/>
              </a:rPr>
              <a:t>odhad</a:t>
            </a:r>
            <a:endParaRPr lang="en-GB" sz="1000" dirty="0">
              <a:solidFill>
                <a:schemeClr val="bg1">
                  <a:lumMod val="50000"/>
                </a:schemeClr>
              </a:solidFill>
              <a:cs typeface="+mn-cs"/>
            </a:endParaRPr>
          </a:p>
        </p:txBody>
      </p:sp>
      <p:sp>
        <p:nvSpPr>
          <p:cNvPr id="43" name="TextovéPole 13"/>
          <p:cNvSpPr txBox="1">
            <a:spLocks noChangeArrowheads="1"/>
          </p:cNvSpPr>
          <p:nvPr/>
        </p:nvSpPr>
        <p:spPr bwMode="auto">
          <a:xfrm>
            <a:off x="239712" y="6109264"/>
            <a:ext cx="26828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dirty="0" err="1" smtClean="0">
                <a:latin typeface="Arial Narrow" pitchFamily="34" charset="0"/>
              </a:rPr>
              <a:t>Zdroj</a:t>
            </a:r>
            <a:r>
              <a:rPr lang="en-US" sz="1000" dirty="0" smtClean="0">
                <a:latin typeface="Arial Narrow" pitchFamily="34" charset="0"/>
              </a:rPr>
              <a:t>: European Association for Coal and Lignite,          EURACOAL Annual Report 2011</a:t>
            </a:r>
            <a:endParaRPr lang="en-US" sz="1000" dirty="0">
              <a:latin typeface="Arial Narrow" pitchFamily="34" charset="0"/>
            </a:endParaRPr>
          </a:p>
        </p:txBody>
      </p:sp>
      <p:sp>
        <p:nvSpPr>
          <p:cNvPr id="17" name="TextovéPole 16"/>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6990978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467369" y="1052736"/>
            <a:ext cx="7993063" cy="5172075"/>
          </a:xfrm>
        </p:spPr>
        <p:txBody>
          <a:bodyPr/>
          <a:lstStyle/>
          <a:p>
            <a:r>
              <a:rPr lang="en-US" sz="2400" dirty="0" smtClean="0"/>
              <a:t>520 mil</a:t>
            </a:r>
            <a:r>
              <a:rPr lang="cs-CZ" sz="2400" dirty="0" smtClean="0"/>
              <a:t>.tun uhlí použito v EU v roce 2011 (nárůst +7% oproti roku 2010)</a:t>
            </a:r>
          </a:p>
          <a:p>
            <a:pPr marL="525462" lvl="2" indent="-342900">
              <a:buFont typeface="Wingdings" pitchFamily="2" charset="2"/>
              <a:buChar char="§"/>
            </a:pPr>
            <a:r>
              <a:rPr lang="cs-CZ" sz="1800" dirty="0" smtClean="0"/>
              <a:t>DE použilo (spálilo) o 3% více ČU a o 6% více HU běhen prvních 9 měsíců roku 2012 oproti roku 2011</a:t>
            </a:r>
          </a:p>
          <a:p>
            <a:pPr marL="525462" lvl="2" indent="-342900">
              <a:buFont typeface="Wingdings" pitchFamily="2" charset="2"/>
              <a:buChar char="§"/>
            </a:pPr>
            <a:r>
              <a:rPr lang="cs-CZ" sz="1800" dirty="0" smtClean="0"/>
              <a:t>UK očekává nejvyšší spotřebu uhlí v roce 2012 od 60-tých let.</a:t>
            </a:r>
          </a:p>
          <a:p>
            <a:r>
              <a:rPr lang="cs-CZ" sz="2400" dirty="0" smtClean="0"/>
              <a:t>Export uhlí z USA dosáhl dokonce vyšších než očekávaných rekordních hodnot, a to 125 </a:t>
            </a:r>
            <a:r>
              <a:rPr lang="cs-CZ" sz="2400" dirty="0" err="1" smtClean="0"/>
              <a:t>mil.tun</a:t>
            </a:r>
            <a:r>
              <a:rPr lang="cs-CZ" sz="2400" dirty="0" smtClean="0"/>
              <a:t> v roce 2012</a:t>
            </a:r>
          </a:p>
          <a:p>
            <a:r>
              <a:rPr lang="cs-CZ" sz="2400" dirty="0" smtClean="0"/>
              <a:t>Cena energetického uhlí se v roce 2012 pohybovala cca 80 až 90 </a:t>
            </a:r>
            <a:r>
              <a:rPr lang="en-US" sz="2400" dirty="0" smtClean="0"/>
              <a:t>$ </a:t>
            </a:r>
            <a:r>
              <a:rPr lang="cs-CZ" sz="2400" dirty="0" smtClean="0"/>
              <a:t>oproti 140 </a:t>
            </a:r>
            <a:r>
              <a:rPr lang="en-US" sz="2400" dirty="0" smtClean="0"/>
              <a:t>$ </a:t>
            </a:r>
            <a:r>
              <a:rPr lang="cs-CZ" sz="2400" dirty="0" smtClean="0"/>
              <a:t>na počátku 2011</a:t>
            </a:r>
          </a:p>
          <a:p>
            <a:r>
              <a:rPr lang="cs-CZ" sz="2400" dirty="0" smtClean="0"/>
              <a:t>Zemní plyn nemůže konkurovat této cenové úrovni, takže mnoho elektráren a tepláren na ZP je buď uzavřeno nebo jsou provozovány minimum provozních hodin za rok.</a:t>
            </a:r>
          </a:p>
        </p:txBody>
      </p:sp>
      <p:sp>
        <p:nvSpPr>
          <p:cNvPr id="9220" name="Nadpis 1"/>
          <p:cNvSpPr>
            <a:spLocks noGrp="1"/>
          </p:cNvSpPr>
          <p:nvPr>
            <p:ph type="title"/>
          </p:nvPr>
        </p:nvSpPr>
        <p:spPr>
          <a:xfrm>
            <a:off x="1643063" y="274638"/>
            <a:ext cx="6097587" cy="490537"/>
          </a:xfrm>
        </p:spPr>
        <p:txBody>
          <a:bodyPr/>
          <a:lstStyle/>
          <a:p>
            <a:r>
              <a:rPr lang="cs-CZ" dirty="0" smtClean="0"/>
              <a:t>Fakta a čísla</a:t>
            </a:r>
          </a:p>
        </p:txBody>
      </p:sp>
      <p:sp>
        <p:nvSpPr>
          <p:cNvPr id="7" name="TextovéPole 6"/>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6918002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467369" y="1052736"/>
            <a:ext cx="7993063" cy="1368151"/>
          </a:xfrm>
        </p:spPr>
        <p:txBody>
          <a:bodyPr/>
          <a:lstStyle/>
          <a:p>
            <a:r>
              <a:rPr lang="cs-CZ" sz="2400" dirty="0" smtClean="0"/>
              <a:t>Očekává se, že v roce 2020 se USA stane čistým exportérem zemního plynu </a:t>
            </a:r>
          </a:p>
          <a:p>
            <a:r>
              <a:rPr lang="cs-CZ" sz="2400" dirty="0" smtClean="0"/>
              <a:t>Rovněž narostou přebytky uhlí</a:t>
            </a:r>
          </a:p>
        </p:txBody>
      </p:sp>
      <p:sp>
        <p:nvSpPr>
          <p:cNvPr id="9220" name="Nadpis 1"/>
          <p:cNvSpPr>
            <a:spLocks noGrp="1"/>
          </p:cNvSpPr>
          <p:nvPr>
            <p:ph type="title"/>
          </p:nvPr>
        </p:nvSpPr>
        <p:spPr>
          <a:xfrm>
            <a:off x="1643063" y="274638"/>
            <a:ext cx="6097587" cy="490537"/>
          </a:xfrm>
        </p:spPr>
        <p:txBody>
          <a:bodyPr/>
          <a:lstStyle/>
          <a:p>
            <a:r>
              <a:rPr lang="cs-CZ" dirty="0" smtClean="0"/>
              <a:t>Břidlicový plyn – nový hráč</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600" y="2338527"/>
            <a:ext cx="7056785" cy="38267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ovéPole 13"/>
          <p:cNvSpPr txBox="1">
            <a:spLocks noChangeArrowheads="1"/>
          </p:cNvSpPr>
          <p:nvPr/>
        </p:nvSpPr>
        <p:spPr bwMode="auto">
          <a:xfrm>
            <a:off x="251520" y="6165304"/>
            <a:ext cx="26828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dirty="0" err="1" smtClean="0">
                <a:latin typeface="Arial Narrow" pitchFamily="34" charset="0"/>
              </a:rPr>
              <a:t>Zdroj</a:t>
            </a:r>
            <a:r>
              <a:rPr lang="en-US" sz="1000" dirty="0" smtClean="0">
                <a:latin typeface="Arial Narrow" pitchFamily="34" charset="0"/>
              </a:rPr>
              <a:t>: US Energy Information Administration (EIA)</a:t>
            </a:r>
            <a:endParaRPr lang="cs-CZ" sz="1000" dirty="0" smtClean="0">
              <a:latin typeface="Arial Narrow" pitchFamily="34" charset="0"/>
            </a:endParaRPr>
          </a:p>
          <a:p>
            <a:pPr eaLnBrk="1" hangingPunct="1"/>
            <a:r>
              <a:rPr lang="en-US" sz="1000" dirty="0" smtClean="0">
                <a:latin typeface="Arial Narrow" pitchFamily="34" charset="0"/>
              </a:rPr>
              <a:t>Annual Energy Outlook 2013, Early Release</a:t>
            </a:r>
            <a:endParaRPr lang="en-US" sz="1000" dirty="0">
              <a:latin typeface="Arial Narrow" pitchFamily="34" charset="0"/>
            </a:endParaRPr>
          </a:p>
        </p:txBody>
      </p:sp>
      <p:sp>
        <p:nvSpPr>
          <p:cNvPr id="8" name="TextovéPole 7"/>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9789214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467369" y="1052737"/>
            <a:ext cx="7993063" cy="648072"/>
          </a:xfrm>
        </p:spPr>
        <p:txBody>
          <a:bodyPr/>
          <a:lstStyle/>
          <a:p>
            <a:r>
              <a:rPr lang="cs-CZ" sz="2400" dirty="0" smtClean="0"/>
              <a:t>Výroba elektřiny na bázi ZP se stává nerentabilní</a:t>
            </a:r>
          </a:p>
        </p:txBody>
      </p:sp>
      <p:sp>
        <p:nvSpPr>
          <p:cNvPr id="9220" name="Nadpis 1"/>
          <p:cNvSpPr>
            <a:spLocks noGrp="1"/>
          </p:cNvSpPr>
          <p:nvPr>
            <p:ph type="title"/>
          </p:nvPr>
        </p:nvSpPr>
        <p:spPr>
          <a:xfrm>
            <a:off x="1001754" y="274638"/>
            <a:ext cx="6336704" cy="490537"/>
          </a:xfrm>
        </p:spPr>
        <p:txBody>
          <a:bodyPr/>
          <a:lstStyle/>
          <a:p>
            <a:r>
              <a:rPr lang="cs-CZ" dirty="0" smtClean="0"/>
              <a:t>Výroba elektřiny, plyn nebo uhlí</a:t>
            </a: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18" y="1581686"/>
            <a:ext cx="8352929" cy="4583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ovéPole 6"/>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83372774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467369" y="1052736"/>
            <a:ext cx="7993063" cy="792087"/>
          </a:xfrm>
        </p:spPr>
        <p:txBody>
          <a:bodyPr/>
          <a:lstStyle/>
          <a:p>
            <a:r>
              <a:rPr lang="cs-CZ" sz="2400" dirty="0" smtClean="0"/>
              <a:t>Pokles spotřeby je dán zejména poklesem spotřeby pro výrobu elektřiny</a:t>
            </a:r>
          </a:p>
        </p:txBody>
      </p:sp>
      <p:sp>
        <p:nvSpPr>
          <p:cNvPr id="9220" name="Nadpis 1"/>
          <p:cNvSpPr>
            <a:spLocks noGrp="1"/>
          </p:cNvSpPr>
          <p:nvPr>
            <p:ph type="title"/>
          </p:nvPr>
        </p:nvSpPr>
        <p:spPr>
          <a:xfrm>
            <a:off x="1547664" y="274638"/>
            <a:ext cx="6336704" cy="490537"/>
          </a:xfrm>
        </p:spPr>
        <p:txBody>
          <a:bodyPr/>
          <a:lstStyle/>
          <a:p>
            <a:r>
              <a:rPr lang="cs-CZ" dirty="0" smtClean="0"/>
              <a:t>Pokles spotřeby ZP v EU</a:t>
            </a:r>
          </a:p>
        </p:txBody>
      </p:sp>
      <p:pic>
        <p:nvPicPr>
          <p:cNvPr id="26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567" y="1862583"/>
            <a:ext cx="7776865" cy="4086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ovéPole 13"/>
          <p:cNvSpPr txBox="1">
            <a:spLocks noChangeArrowheads="1"/>
          </p:cNvSpPr>
          <p:nvPr/>
        </p:nvSpPr>
        <p:spPr bwMode="auto">
          <a:xfrm>
            <a:off x="251520" y="6021288"/>
            <a:ext cx="268287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cs-CZ" sz="1000" dirty="0" smtClean="0">
                <a:latin typeface="Arial Narrow" pitchFamily="34" charset="0"/>
              </a:rPr>
              <a:t>Země: FR, DE, NL, UK, BE</a:t>
            </a:r>
          </a:p>
          <a:p>
            <a:pPr eaLnBrk="1" hangingPunct="1"/>
            <a:r>
              <a:rPr lang="cs-CZ" sz="1000" dirty="0" smtClean="0">
                <a:latin typeface="Arial Narrow" pitchFamily="34" charset="0"/>
              </a:rPr>
              <a:t>Zdroj: EUROSTAT</a:t>
            </a:r>
            <a:endParaRPr lang="cs-CZ" sz="1000" dirty="0">
              <a:latin typeface="Arial Narrow" pitchFamily="34" charset="0"/>
            </a:endParaRPr>
          </a:p>
        </p:txBody>
      </p:sp>
      <p:sp>
        <p:nvSpPr>
          <p:cNvPr id="10" name="TextovéPole 13"/>
          <p:cNvSpPr txBox="1">
            <a:spLocks noChangeArrowheads="1"/>
          </p:cNvSpPr>
          <p:nvPr/>
        </p:nvSpPr>
        <p:spPr bwMode="auto">
          <a:xfrm>
            <a:off x="7263010" y="5949280"/>
            <a:ext cx="134143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cs-CZ" sz="1100" dirty="0" err="1" smtClean="0">
                <a:latin typeface="Arial Narrow" pitchFamily="34" charset="0"/>
              </a:rPr>
              <a:t>GWh</a:t>
            </a:r>
            <a:r>
              <a:rPr lang="cs-CZ" sz="1100" dirty="0" smtClean="0">
                <a:latin typeface="Arial Narrow" pitchFamily="34" charset="0"/>
              </a:rPr>
              <a:t>/d</a:t>
            </a:r>
            <a:endParaRPr lang="cs-CZ" sz="1100" dirty="0">
              <a:latin typeface="Arial Narrow" pitchFamily="34" charset="0"/>
            </a:endParaRPr>
          </a:p>
        </p:txBody>
      </p:sp>
      <p:sp>
        <p:nvSpPr>
          <p:cNvPr id="11" name="TextovéPole 10"/>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7601445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467369" y="1052736"/>
            <a:ext cx="7993063" cy="1440160"/>
          </a:xfrm>
        </p:spPr>
        <p:txBody>
          <a:bodyPr/>
          <a:lstStyle/>
          <a:p>
            <a:r>
              <a:rPr lang="cs-CZ" sz="2400" dirty="0" smtClean="0"/>
              <a:t>Pokles vlastní produkce je pokrýván dovozem LNG</a:t>
            </a:r>
          </a:p>
          <a:p>
            <a:r>
              <a:rPr lang="cs-CZ" sz="2400" dirty="0" smtClean="0"/>
              <a:t>Poptávka po LNG ve světě roste, zbyde něco pro Evropu?</a:t>
            </a:r>
            <a:endParaRPr lang="en-US" sz="2400" dirty="0" smtClean="0"/>
          </a:p>
          <a:p>
            <a:r>
              <a:rPr lang="cs-CZ" sz="2400" dirty="0" smtClean="0"/>
              <a:t>Pokud ano, bude se to muset zaplatit (cca +30%)</a:t>
            </a:r>
          </a:p>
        </p:txBody>
      </p:sp>
      <p:sp>
        <p:nvSpPr>
          <p:cNvPr id="9220" name="Nadpis 1"/>
          <p:cNvSpPr>
            <a:spLocks noGrp="1"/>
          </p:cNvSpPr>
          <p:nvPr>
            <p:ph type="title"/>
          </p:nvPr>
        </p:nvSpPr>
        <p:spPr>
          <a:xfrm>
            <a:off x="1547664" y="274638"/>
            <a:ext cx="6336704" cy="490537"/>
          </a:xfrm>
        </p:spPr>
        <p:txBody>
          <a:bodyPr/>
          <a:lstStyle/>
          <a:p>
            <a:r>
              <a:rPr lang="cs-CZ" dirty="0" smtClean="0"/>
              <a:t>Pokrytí spotřeby ZP v EU</a:t>
            </a:r>
          </a:p>
        </p:txBody>
      </p:sp>
      <p:sp>
        <p:nvSpPr>
          <p:cNvPr id="9" name="TextovéPole 13"/>
          <p:cNvSpPr txBox="1">
            <a:spLocks noChangeArrowheads="1"/>
          </p:cNvSpPr>
          <p:nvPr/>
        </p:nvSpPr>
        <p:spPr bwMode="auto">
          <a:xfrm>
            <a:off x="323528" y="6135107"/>
            <a:ext cx="26828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cs-CZ" sz="1000" dirty="0" smtClean="0">
                <a:latin typeface="Arial Narrow" pitchFamily="34" charset="0"/>
              </a:rPr>
              <a:t>Zdroj: EUROSTAT</a:t>
            </a:r>
            <a:endParaRPr lang="cs-CZ" sz="1000" dirty="0">
              <a:latin typeface="Arial Narrow" pitchFamily="34" charset="0"/>
            </a:endParaRPr>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764813"/>
            <a:ext cx="4174707" cy="3328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ovéPole 13"/>
          <p:cNvSpPr txBox="1">
            <a:spLocks noChangeArrowheads="1"/>
          </p:cNvSpPr>
          <p:nvPr/>
        </p:nvSpPr>
        <p:spPr bwMode="auto">
          <a:xfrm>
            <a:off x="6132538" y="6135106"/>
            <a:ext cx="26828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cs-CZ" sz="1000" dirty="0" smtClean="0">
                <a:latin typeface="Arial Narrow" pitchFamily="34" charset="0"/>
              </a:rPr>
              <a:t>Zdroj: </a:t>
            </a:r>
            <a:r>
              <a:rPr lang="en-US" sz="1000" dirty="0" smtClean="0">
                <a:latin typeface="Arial Narrow" pitchFamily="34" charset="0"/>
              </a:rPr>
              <a:t>Waterborne, Barclays Research</a:t>
            </a:r>
            <a:endParaRPr lang="cs-CZ" sz="1000" dirty="0">
              <a:latin typeface="Arial Narrow" pitchFamily="34" charset="0"/>
            </a:endParaRPr>
          </a:p>
        </p:txBody>
      </p:sp>
      <p:pic>
        <p:nvPicPr>
          <p:cNvPr id="2765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6778" y="2764813"/>
            <a:ext cx="4465702" cy="3328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ovéPole 13"/>
          <p:cNvSpPr txBox="1">
            <a:spLocks noChangeArrowheads="1"/>
          </p:cNvSpPr>
          <p:nvPr/>
        </p:nvSpPr>
        <p:spPr bwMode="auto">
          <a:xfrm>
            <a:off x="5318191" y="3140968"/>
            <a:ext cx="26828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cs-CZ" sz="1000" b="1" dirty="0" smtClean="0">
                <a:latin typeface="Arial Narrow" pitchFamily="34" charset="0"/>
              </a:rPr>
              <a:t>Poptávka po LNG</a:t>
            </a:r>
            <a:endParaRPr lang="cs-CZ" sz="1000" b="1" dirty="0">
              <a:latin typeface="Arial Narrow" pitchFamily="34" charset="0"/>
            </a:endParaRPr>
          </a:p>
        </p:txBody>
      </p:sp>
      <p:sp>
        <p:nvSpPr>
          <p:cNvPr id="12" name="TextovéPole 11"/>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7500819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5" name="Rectangle 3"/>
          <p:cNvSpPr>
            <a:spLocks noGrp="1" noChangeArrowheads="1"/>
          </p:cNvSpPr>
          <p:nvPr>
            <p:ph type="body" idx="1"/>
          </p:nvPr>
        </p:nvSpPr>
        <p:spPr>
          <a:xfrm>
            <a:off x="342900" y="1091332"/>
            <a:ext cx="8116888" cy="5113337"/>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Energetický sektor prochází změnami</a:t>
            </a:r>
            <a:endParaRPr lang="en-US" sz="1800" dirty="0" smtClean="0">
              <a:latin typeface="Verdana" pitchFamily="34" charset="0"/>
            </a:endParaRP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Energetický sektor je založen na ekonomice rozsahu</a:t>
            </a:r>
            <a:endParaRPr lang="en-US" sz="1800" dirty="0" smtClean="0">
              <a:latin typeface="Verdana" pitchFamily="34" charset="0"/>
            </a:endParaRP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Trvá téměř 30 let než toho nové technologie dosáhnou</a:t>
            </a:r>
            <a:endParaRPr lang="en-US" sz="1800" dirty="0" smtClean="0">
              <a:latin typeface="Verdana" pitchFamily="34" charset="0"/>
            </a:endParaRP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Závěry </a:t>
            </a:r>
            <a:r>
              <a:rPr lang="en-US" sz="1800" dirty="0" smtClean="0">
                <a:latin typeface="Verdana" pitchFamily="34" charset="0"/>
              </a:rPr>
              <a:t>Meeting of the IEA Governing Board and Management Committee Meeting at Ministerial Level</a:t>
            </a: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Prosazovat diverzifikaci dodávek PES </a:t>
            </a:r>
            <a:r>
              <a:rPr lang="cs-CZ" sz="1400" dirty="0" smtClean="0">
                <a:latin typeface="Verdana" pitchFamily="34" charset="0"/>
              </a:rPr>
              <a:t>(</a:t>
            </a:r>
            <a:r>
              <a:rPr lang="en-US" sz="1400" dirty="0" smtClean="0">
                <a:latin typeface="Verdana" pitchFamily="34" charset="0"/>
              </a:rPr>
              <a:t>Promote diversity of supply by</a:t>
            </a:r>
            <a:r>
              <a:rPr lang="cs-CZ" sz="1400" dirty="0" smtClean="0">
                <a:latin typeface="Verdana" pitchFamily="34" charset="0"/>
              </a:rPr>
              <a:t>)</a:t>
            </a:r>
            <a:endParaRPr lang="en-US" sz="1400" dirty="0" smtClean="0">
              <a:latin typeface="Verdana" pitchFamily="34" charset="0"/>
            </a:endParaRPr>
          </a:p>
          <a:p>
            <a:pPr marL="1296988" lvl="1" indent="-339725"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Bezpečným a udržitelným rozvojem přírodních zdrojů </a:t>
            </a:r>
            <a:r>
              <a:rPr lang="cs-CZ" sz="1400" dirty="0" smtClean="0">
                <a:latin typeface="Verdana" pitchFamily="34" charset="0"/>
              </a:rPr>
              <a:t>(</a:t>
            </a:r>
            <a:r>
              <a:rPr lang="en-US" sz="1400" dirty="0" smtClean="0">
                <a:latin typeface="Verdana" pitchFamily="34" charset="0"/>
              </a:rPr>
              <a:t>The safe and sustainable development of natural resources</a:t>
            </a:r>
            <a:r>
              <a:rPr lang="cs-CZ" sz="1400" dirty="0" smtClean="0">
                <a:latin typeface="Verdana" pitchFamily="34" charset="0"/>
              </a:rPr>
              <a:t>)</a:t>
            </a:r>
            <a:endParaRPr lang="en-US" sz="1400" dirty="0" smtClean="0">
              <a:latin typeface="Verdana" pitchFamily="34" charset="0"/>
            </a:endParaRPr>
          </a:p>
          <a:p>
            <a:pPr marL="1296988" lvl="1" indent="-339725"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Novými přepravními cestami </a:t>
            </a:r>
            <a:r>
              <a:rPr lang="cs-CZ" sz="1400" dirty="0" smtClean="0">
                <a:latin typeface="Verdana" pitchFamily="34" charset="0"/>
              </a:rPr>
              <a:t>(</a:t>
            </a:r>
            <a:r>
              <a:rPr lang="en-US" sz="1400" dirty="0" smtClean="0">
                <a:latin typeface="Verdana" pitchFamily="34" charset="0"/>
              </a:rPr>
              <a:t>New transit routes</a:t>
            </a:r>
            <a:r>
              <a:rPr lang="cs-CZ" sz="1400" dirty="0" smtClean="0">
                <a:latin typeface="Verdana" pitchFamily="34" charset="0"/>
              </a:rPr>
              <a:t>)</a:t>
            </a:r>
            <a:endParaRPr lang="en-US" sz="1400" dirty="0" smtClean="0">
              <a:latin typeface="Verdana" pitchFamily="34" charset="0"/>
            </a:endParaRPr>
          </a:p>
          <a:p>
            <a:pPr marL="1296988" lvl="1" indent="-339725" defTabSz="290513">
              <a:lnSpc>
                <a:spcPct val="90000"/>
              </a:lnSpc>
              <a:spcBef>
                <a:spcPct val="15000"/>
              </a:spcBef>
              <a:spcAft>
                <a:spcPct val="15000"/>
              </a:spcAft>
              <a:buClr>
                <a:schemeClr val="hlink"/>
              </a:buClr>
              <a:buFont typeface="Wingdings" pitchFamily="2" charset="2"/>
              <a:buChar char="§"/>
            </a:pPr>
            <a:r>
              <a:rPr lang="cs-CZ" sz="1800" dirty="0" smtClean="0">
                <a:latin typeface="Verdana" pitchFamily="34" charset="0"/>
              </a:rPr>
              <a:t>OZE a nízkouhlíkovými technologiemi, </a:t>
            </a:r>
            <a:r>
              <a:rPr lang="cs-CZ" sz="1800" b="1" dirty="0" smtClean="0">
                <a:latin typeface="Verdana" pitchFamily="34" charset="0"/>
              </a:rPr>
              <a:t>včetně JE, pokud toto odpovídá národním politikám a okolnostem</a:t>
            </a:r>
            <a:r>
              <a:rPr lang="cs-CZ" sz="1800" dirty="0" smtClean="0">
                <a:latin typeface="Verdana" pitchFamily="34" charset="0"/>
              </a:rPr>
              <a:t> </a:t>
            </a:r>
            <a:r>
              <a:rPr lang="cs-CZ" sz="1400" dirty="0" smtClean="0">
                <a:latin typeface="Verdana" pitchFamily="34" charset="0"/>
              </a:rPr>
              <a:t>(</a:t>
            </a:r>
            <a:r>
              <a:rPr lang="en-US" sz="1400" dirty="0" smtClean="0">
                <a:latin typeface="Verdana" pitchFamily="34" charset="0"/>
              </a:rPr>
              <a:t>Renewable energy and low carbon energy technologies, </a:t>
            </a:r>
            <a:r>
              <a:rPr lang="en-US" sz="1400" b="1" dirty="0" smtClean="0">
                <a:latin typeface="Verdana" pitchFamily="34" charset="0"/>
              </a:rPr>
              <a:t>including nuclear energy, where this accords with national policies and circumstances</a:t>
            </a:r>
            <a:r>
              <a:rPr lang="cs-CZ" sz="1400" b="1" dirty="0" smtClean="0">
                <a:latin typeface="Verdana" pitchFamily="34" charset="0"/>
              </a:rPr>
              <a:t>)</a:t>
            </a:r>
            <a:endParaRPr lang="en-US" sz="1400" b="1" dirty="0" smtClean="0">
              <a:latin typeface="Verdana" pitchFamily="34" charset="0"/>
            </a:endParaRPr>
          </a:p>
          <a:p>
            <a:pPr marL="569913" indent="-569913" defTabSz="290513">
              <a:lnSpc>
                <a:spcPct val="90000"/>
              </a:lnSpc>
              <a:spcBef>
                <a:spcPct val="15000"/>
              </a:spcBef>
              <a:spcAft>
                <a:spcPct val="15000"/>
              </a:spcAft>
              <a:buClr>
                <a:schemeClr val="hlink"/>
              </a:buClr>
              <a:buFont typeface="Wingdings" pitchFamily="2" charset="2"/>
              <a:buChar char="§"/>
            </a:pPr>
            <a:r>
              <a:rPr lang="cs-CZ" sz="1800" b="1" dirty="0" smtClean="0">
                <a:latin typeface="Verdana" pitchFamily="34" charset="0"/>
              </a:rPr>
              <a:t>Je odpovědností členského státu nastavit energetický mix </a:t>
            </a:r>
            <a:r>
              <a:rPr lang="cs-CZ" sz="1400" dirty="0" smtClean="0">
                <a:latin typeface="Verdana" pitchFamily="34" charset="0"/>
              </a:rPr>
              <a:t>(</a:t>
            </a:r>
            <a:r>
              <a:rPr lang="en-US" sz="1400" dirty="0" smtClean="0">
                <a:latin typeface="Verdana" pitchFamily="34" charset="0"/>
              </a:rPr>
              <a:t>It is Member Country responsibility to set Energy Mix</a:t>
            </a:r>
            <a:r>
              <a:rPr lang="cs-CZ" sz="1400" dirty="0" smtClean="0">
                <a:latin typeface="Verdana" pitchFamily="34" charset="0"/>
              </a:rPr>
              <a:t>)</a:t>
            </a:r>
            <a:endParaRPr lang="en-US" sz="1400" dirty="0" smtClean="0">
              <a:latin typeface="Verdana" pitchFamily="34" charset="0"/>
            </a:endParaRPr>
          </a:p>
        </p:txBody>
      </p:sp>
      <p:pic>
        <p:nvPicPr>
          <p:cNvPr id="69640"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8313" y="5534744"/>
            <a:ext cx="2284412" cy="99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Nadpis 1"/>
          <p:cNvSpPr>
            <a:spLocks noGrp="1"/>
          </p:cNvSpPr>
          <p:nvPr>
            <p:ph type="title"/>
          </p:nvPr>
        </p:nvSpPr>
        <p:spPr>
          <a:xfrm>
            <a:off x="457200" y="44624"/>
            <a:ext cx="8229600" cy="826233"/>
          </a:xfrm>
        </p:spPr>
        <p:txBody>
          <a:bodyPr/>
          <a:lstStyle/>
          <a:p>
            <a:r>
              <a:rPr lang="cs-CZ" dirty="0" smtClean="0"/>
              <a:t>Závěry IEA</a:t>
            </a:r>
            <a:endParaRPr lang="cs-CZ" dirty="0"/>
          </a:p>
        </p:txBody>
      </p:sp>
      <p:sp>
        <p:nvSpPr>
          <p:cNvPr id="6" name="TextovéPole 5"/>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0452110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9635">
                                            <p:bg/>
                                          </p:spTgt>
                                        </p:tgtEl>
                                        <p:attrNameLst>
                                          <p:attrName>style.visibility</p:attrName>
                                        </p:attrNameLst>
                                      </p:cBhvr>
                                      <p:to>
                                        <p:strVal val="visible"/>
                                      </p:to>
                                    </p:set>
                                    <p:anim calcmode="lin" valueType="num">
                                      <p:cBhvr additive="base">
                                        <p:cTn id="7" dur="1000" fill="hold"/>
                                        <p:tgtEl>
                                          <p:spTgt spid="69635">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69635">
                                            <p:bg/>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9635">
                                            <p:txEl>
                                              <p:pRg st="0" end="0"/>
                                            </p:txEl>
                                          </p:spTgt>
                                        </p:tgtEl>
                                        <p:attrNameLst>
                                          <p:attrName>style.visibility</p:attrName>
                                        </p:attrNameLst>
                                      </p:cBhvr>
                                      <p:to>
                                        <p:strVal val="visible"/>
                                      </p:to>
                                    </p:set>
                                    <p:anim calcmode="lin" valueType="num">
                                      <p:cBhvr additive="base">
                                        <p:cTn id="13" dur="1000" fill="hold"/>
                                        <p:tgtEl>
                                          <p:spTgt spid="69635">
                                            <p:txEl>
                                              <p:pRg st="0" end="0"/>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69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69635">
                                            <p:txEl>
                                              <p:pRg st="1" end="1"/>
                                            </p:txEl>
                                          </p:spTgt>
                                        </p:tgtEl>
                                        <p:attrNameLst>
                                          <p:attrName>style.visibility</p:attrName>
                                        </p:attrNameLst>
                                      </p:cBhvr>
                                      <p:to>
                                        <p:strVal val="visible"/>
                                      </p:to>
                                    </p:set>
                                    <p:anim calcmode="lin" valueType="num">
                                      <p:cBhvr additive="base">
                                        <p:cTn id="19" dur="1000" fill="hold"/>
                                        <p:tgtEl>
                                          <p:spTgt spid="69635">
                                            <p:txEl>
                                              <p:pRg st="1" end="1"/>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69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69635">
                                            <p:txEl>
                                              <p:pRg st="2" end="2"/>
                                            </p:txEl>
                                          </p:spTgt>
                                        </p:tgtEl>
                                        <p:attrNameLst>
                                          <p:attrName>style.visibility</p:attrName>
                                        </p:attrNameLst>
                                      </p:cBhvr>
                                      <p:to>
                                        <p:strVal val="visible"/>
                                      </p:to>
                                    </p:set>
                                    <p:anim calcmode="lin" valueType="num">
                                      <p:cBhvr additive="base">
                                        <p:cTn id="25" dur="1000" fill="hold"/>
                                        <p:tgtEl>
                                          <p:spTgt spid="69635">
                                            <p:txEl>
                                              <p:pRg st="2" end="2"/>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69635">
                                            <p:txEl>
                                              <p:pRg st="2" end="2"/>
                                            </p:txEl>
                                          </p:spTgt>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69635">
                                            <p:txEl>
                                              <p:pRg st="3" end="3"/>
                                            </p:txEl>
                                          </p:spTgt>
                                        </p:tgtEl>
                                        <p:attrNameLst>
                                          <p:attrName>style.visibility</p:attrName>
                                        </p:attrNameLst>
                                      </p:cBhvr>
                                      <p:to>
                                        <p:strVal val="visible"/>
                                      </p:to>
                                    </p:set>
                                    <p:anim calcmode="lin" valueType="num">
                                      <p:cBhvr additive="base">
                                        <p:cTn id="31" dur="1000" fill="hold"/>
                                        <p:tgtEl>
                                          <p:spTgt spid="69635">
                                            <p:txEl>
                                              <p:pRg st="3" end="3"/>
                                            </p:txEl>
                                          </p:spTgt>
                                        </p:tgtEl>
                                        <p:attrNameLst>
                                          <p:attrName>ppt_x</p:attrName>
                                        </p:attrNameLst>
                                      </p:cBhvr>
                                      <p:tavLst>
                                        <p:tav tm="0">
                                          <p:val>
                                            <p:strVal val="0-#ppt_w/2"/>
                                          </p:val>
                                        </p:tav>
                                        <p:tav tm="100000">
                                          <p:val>
                                            <p:strVal val="#ppt_x"/>
                                          </p:val>
                                        </p:tav>
                                      </p:tavLst>
                                    </p:anim>
                                    <p:anim calcmode="lin" valueType="num">
                                      <p:cBhvr additive="base">
                                        <p:cTn id="32" dur="1000" fill="hold"/>
                                        <p:tgtEl>
                                          <p:spTgt spid="69635">
                                            <p:txEl>
                                              <p:pRg st="3" end="3"/>
                                            </p:txEl>
                                          </p:spTgt>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69635">
                                            <p:txEl>
                                              <p:pRg st="4" end="4"/>
                                            </p:txEl>
                                          </p:spTgt>
                                        </p:tgtEl>
                                        <p:attrNameLst>
                                          <p:attrName>style.visibility</p:attrName>
                                        </p:attrNameLst>
                                      </p:cBhvr>
                                      <p:to>
                                        <p:strVal val="visible"/>
                                      </p:to>
                                    </p:set>
                                    <p:anim calcmode="lin" valueType="num">
                                      <p:cBhvr additive="base">
                                        <p:cTn id="37" dur="1000" fill="hold"/>
                                        <p:tgtEl>
                                          <p:spTgt spid="69635">
                                            <p:txEl>
                                              <p:pRg st="4" end="4"/>
                                            </p:txEl>
                                          </p:spTgt>
                                        </p:tgtEl>
                                        <p:attrNameLst>
                                          <p:attrName>ppt_x</p:attrName>
                                        </p:attrNameLst>
                                      </p:cBhvr>
                                      <p:tavLst>
                                        <p:tav tm="0">
                                          <p:val>
                                            <p:strVal val="0-#ppt_w/2"/>
                                          </p:val>
                                        </p:tav>
                                        <p:tav tm="100000">
                                          <p:val>
                                            <p:strVal val="#ppt_x"/>
                                          </p:val>
                                        </p:tav>
                                      </p:tavLst>
                                    </p:anim>
                                    <p:anim calcmode="lin" valueType="num">
                                      <p:cBhvr additive="base">
                                        <p:cTn id="38" dur="1000" fill="hold"/>
                                        <p:tgtEl>
                                          <p:spTgt spid="69635">
                                            <p:txEl>
                                              <p:pRg st="4" end="4"/>
                                            </p:txEl>
                                          </p:spTgt>
                                        </p:tgtEl>
                                        <p:attrNameLst>
                                          <p:attrName>ppt_y</p:attrName>
                                        </p:attrNameLst>
                                      </p:cBhvr>
                                      <p:tavLst>
                                        <p:tav tm="0">
                                          <p:val>
                                            <p:strVal val="#ppt_y"/>
                                          </p:val>
                                        </p:tav>
                                        <p:tav tm="100000">
                                          <p:val>
                                            <p:strVal val="#ppt_y"/>
                                          </p:val>
                                        </p:tav>
                                      </p:tavLst>
                                    </p:anim>
                                  </p:childTnLst>
                                </p:cTn>
                              </p:par>
                            </p:childTnLst>
                          </p:cTn>
                        </p:par>
                      </p:childTnLst>
                    </p:cTn>
                  </p:par>
                  <p:par>
                    <p:cTn id="39" fill="hold" nodeType="clickPar">
                      <p:stCondLst>
                        <p:cond delay="indefinite"/>
                      </p:stCondLst>
                      <p:childTnLst>
                        <p:par>
                          <p:cTn id="40" fill="hold" nodeType="withGroup">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69635">
                                            <p:txEl>
                                              <p:pRg st="5" end="5"/>
                                            </p:txEl>
                                          </p:spTgt>
                                        </p:tgtEl>
                                        <p:attrNameLst>
                                          <p:attrName>style.visibility</p:attrName>
                                        </p:attrNameLst>
                                      </p:cBhvr>
                                      <p:to>
                                        <p:strVal val="visible"/>
                                      </p:to>
                                    </p:set>
                                    <p:anim calcmode="lin" valueType="num">
                                      <p:cBhvr additive="base">
                                        <p:cTn id="43" dur="1000" fill="hold"/>
                                        <p:tgtEl>
                                          <p:spTgt spid="69635">
                                            <p:txEl>
                                              <p:pRg st="5" end="5"/>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69635">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45" fill="hold" nodeType="clickPar">
                      <p:stCondLst>
                        <p:cond delay="indefinite"/>
                      </p:stCondLst>
                      <p:childTnLst>
                        <p:par>
                          <p:cTn id="46" fill="hold" nodeType="withGroup">
                            <p:stCondLst>
                              <p:cond delay="0"/>
                            </p:stCondLst>
                            <p:childTnLst>
                              <p:par>
                                <p:cTn id="47" presetID="2" presetClass="entr" presetSubtype="8" fill="hold" grpId="0" nodeType="clickEffect">
                                  <p:stCondLst>
                                    <p:cond delay="0"/>
                                  </p:stCondLst>
                                  <p:childTnLst>
                                    <p:set>
                                      <p:cBhvr>
                                        <p:cTn id="48" dur="1" fill="hold">
                                          <p:stCondLst>
                                            <p:cond delay="0"/>
                                          </p:stCondLst>
                                        </p:cTn>
                                        <p:tgtEl>
                                          <p:spTgt spid="69635">
                                            <p:txEl>
                                              <p:pRg st="6" end="6"/>
                                            </p:txEl>
                                          </p:spTgt>
                                        </p:tgtEl>
                                        <p:attrNameLst>
                                          <p:attrName>style.visibility</p:attrName>
                                        </p:attrNameLst>
                                      </p:cBhvr>
                                      <p:to>
                                        <p:strVal val="visible"/>
                                      </p:to>
                                    </p:set>
                                    <p:anim calcmode="lin" valueType="num">
                                      <p:cBhvr additive="base">
                                        <p:cTn id="49" dur="1000" fill="hold"/>
                                        <p:tgtEl>
                                          <p:spTgt spid="69635">
                                            <p:txEl>
                                              <p:pRg st="6" end="6"/>
                                            </p:txEl>
                                          </p:spTgt>
                                        </p:tgtEl>
                                        <p:attrNameLst>
                                          <p:attrName>ppt_x</p:attrName>
                                        </p:attrNameLst>
                                      </p:cBhvr>
                                      <p:tavLst>
                                        <p:tav tm="0">
                                          <p:val>
                                            <p:strVal val="0-#ppt_w/2"/>
                                          </p:val>
                                        </p:tav>
                                        <p:tav tm="100000">
                                          <p:val>
                                            <p:strVal val="#ppt_x"/>
                                          </p:val>
                                        </p:tav>
                                      </p:tavLst>
                                    </p:anim>
                                    <p:anim calcmode="lin" valueType="num">
                                      <p:cBhvr additive="base">
                                        <p:cTn id="50" dur="1000" fill="hold"/>
                                        <p:tgtEl>
                                          <p:spTgt spid="69635">
                                            <p:txEl>
                                              <p:pRg st="6" end="6"/>
                                            </p:txEl>
                                          </p:spTgt>
                                        </p:tgtEl>
                                        <p:attrNameLst>
                                          <p:attrName>ppt_y</p:attrName>
                                        </p:attrNameLst>
                                      </p:cBhvr>
                                      <p:tavLst>
                                        <p:tav tm="0">
                                          <p:val>
                                            <p:strVal val="#ppt_y"/>
                                          </p:val>
                                        </p:tav>
                                        <p:tav tm="100000">
                                          <p:val>
                                            <p:strVal val="#ppt_y"/>
                                          </p:val>
                                        </p:tav>
                                      </p:tavLst>
                                    </p:anim>
                                  </p:childTnLst>
                                </p:cTn>
                              </p:par>
                            </p:childTnLst>
                          </p:cTn>
                        </p:par>
                      </p:childTnLst>
                    </p:cTn>
                  </p:par>
                  <p:par>
                    <p:cTn id="51" fill="hold" nodeType="clickPar">
                      <p:stCondLst>
                        <p:cond delay="indefinite"/>
                      </p:stCondLst>
                      <p:childTnLst>
                        <p:par>
                          <p:cTn id="52" fill="hold" nodeType="withGroup">
                            <p:stCondLst>
                              <p:cond delay="0"/>
                            </p:stCondLst>
                            <p:childTnLst>
                              <p:par>
                                <p:cTn id="53" presetID="2" presetClass="entr" presetSubtype="8" fill="hold" grpId="0" nodeType="clickEffect">
                                  <p:stCondLst>
                                    <p:cond delay="0"/>
                                  </p:stCondLst>
                                  <p:childTnLst>
                                    <p:set>
                                      <p:cBhvr>
                                        <p:cTn id="54" dur="1" fill="hold">
                                          <p:stCondLst>
                                            <p:cond delay="0"/>
                                          </p:stCondLst>
                                        </p:cTn>
                                        <p:tgtEl>
                                          <p:spTgt spid="69635">
                                            <p:txEl>
                                              <p:pRg st="7" end="7"/>
                                            </p:txEl>
                                          </p:spTgt>
                                        </p:tgtEl>
                                        <p:attrNameLst>
                                          <p:attrName>style.visibility</p:attrName>
                                        </p:attrNameLst>
                                      </p:cBhvr>
                                      <p:to>
                                        <p:strVal val="visible"/>
                                      </p:to>
                                    </p:set>
                                    <p:anim calcmode="lin" valueType="num">
                                      <p:cBhvr additive="base">
                                        <p:cTn id="55" dur="1000" fill="hold"/>
                                        <p:tgtEl>
                                          <p:spTgt spid="69635">
                                            <p:txEl>
                                              <p:pRg st="7" end="7"/>
                                            </p:txEl>
                                          </p:spTgt>
                                        </p:tgtEl>
                                        <p:attrNameLst>
                                          <p:attrName>ppt_x</p:attrName>
                                        </p:attrNameLst>
                                      </p:cBhvr>
                                      <p:tavLst>
                                        <p:tav tm="0">
                                          <p:val>
                                            <p:strVal val="0-#ppt_w/2"/>
                                          </p:val>
                                        </p:tav>
                                        <p:tav tm="100000">
                                          <p:val>
                                            <p:strVal val="#ppt_x"/>
                                          </p:val>
                                        </p:tav>
                                      </p:tavLst>
                                    </p:anim>
                                    <p:anim calcmode="lin" valueType="num">
                                      <p:cBhvr additive="base">
                                        <p:cTn id="56" dur="1000" fill="hold"/>
                                        <p:tgtEl>
                                          <p:spTgt spid="69635">
                                            <p:txEl>
                                              <p:pRg st="7" end="7"/>
                                            </p:txEl>
                                          </p:spTgt>
                                        </p:tgtEl>
                                        <p:attrNameLst>
                                          <p:attrName>ppt_y</p:attrName>
                                        </p:attrNameLst>
                                      </p:cBhvr>
                                      <p:tavLst>
                                        <p:tav tm="0">
                                          <p:val>
                                            <p:strVal val="#ppt_y"/>
                                          </p:val>
                                        </p:tav>
                                        <p:tav tm="100000">
                                          <p:val>
                                            <p:strVal val="#ppt_y"/>
                                          </p:val>
                                        </p:tav>
                                      </p:tavLst>
                                    </p:anim>
                                  </p:childTnLst>
                                </p:cTn>
                              </p:par>
                            </p:childTnLst>
                          </p:cTn>
                        </p:par>
                      </p:childTnLst>
                    </p:cTn>
                  </p:par>
                  <p:par>
                    <p:cTn id="57" fill="hold" nodeType="clickPar">
                      <p:stCondLst>
                        <p:cond delay="indefinite"/>
                      </p:stCondLst>
                      <p:childTnLst>
                        <p:par>
                          <p:cTn id="58" fill="hold" nodeType="withGroup">
                            <p:stCondLst>
                              <p:cond delay="0"/>
                            </p:stCondLst>
                            <p:childTnLst>
                              <p:par>
                                <p:cTn id="59" presetID="2" presetClass="entr" presetSubtype="8" fill="hold" grpId="0" nodeType="clickEffect">
                                  <p:stCondLst>
                                    <p:cond delay="0"/>
                                  </p:stCondLst>
                                  <p:childTnLst>
                                    <p:set>
                                      <p:cBhvr>
                                        <p:cTn id="60" dur="1" fill="hold">
                                          <p:stCondLst>
                                            <p:cond delay="0"/>
                                          </p:stCondLst>
                                        </p:cTn>
                                        <p:tgtEl>
                                          <p:spTgt spid="69635">
                                            <p:txEl>
                                              <p:pRg st="8" end="8"/>
                                            </p:txEl>
                                          </p:spTgt>
                                        </p:tgtEl>
                                        <p:attrNameLst>
                                          <p:attrName>style.visibility</p:attrName>
                                        </p:attrNameLst>
                                      </p:cBhvr>
                                      <p:to>
                                        <p:strVal val="visible"/>
                                      </p:to>
                                    </p:set>
                                    <p:anim calcmode="lin" valueType="num">
                                      <p:cBhvr additive="base">
                                        <p:cTn id="61" dur="1000" fill="hold"/>
                                        <p:tgtEl>
                                          <p:spTgt spid="69635">
                                            <p:txEl>
                                              <p:pRg st="8" end="8"/>
                                            </p:txEl>
                                          </p:spTgt>
                                        </p:tgtEl>
                                        <p:attrNameLst>
                                          <p:attrName>ppt_x</p:attrName>
                                        </p:attrNameLst>
                                      </p:cBhvr>
                                      <p:tavLst>
                                        <p:tav tm="0">
                                          <p:val>
                                            <p:strVal val="0-#ppt_w/2"/>
                                          </p:val>
                                        </p:tav>
                                        <p:tav tm="100000">
                                          <p:val>
                                            <p:strVal val="#ppt_x"/>
                                          </p:val>
                                        </p:tav>
                                      </p:tavLst>
                                    </p:anim>
                                    <p:anim calcmode="lin" valueType="num">
                                      <p:cBhvr additive="base">
                                        <p:cTn id="62" dur="1000" fill="hold"/>
                                        <p:tgtEl>
                                          <p:spTgt spid="69635">
                                            <p:txEl>
                                              <p:pRg st="8" end="8"/>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5" grpId="0" build="p"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25286" y="2133134"/>
            <a:ext cx="6103311" cy="1390650"/>
          </a:xfrm>
        </p:spPr>
        <p:txBody>
          <a:bodyPr/>
          <a:lstStyle/>
          <a:p>
            <a:pPr algn="l"/>
            <a:r>
              <a:rPr lang="cs-CZ" sz="4400" dirty="0" smtClean="0"/>
              <a:t>Evropské vazby</a:t>
            </a:r>
            <a:endParaRPr lang="cs-CZ" sz="4400" dirty="0"/>
          </a:p>
        </p:txBody>
      </p:sp>
      <p:sp>
        <p:nvSpPr>
          <p:cNvPr id="4" name="Zástupný symbol pro text 3"/>
          <p:cNvSpPr>
            <a:spLocks noGrp="1"/>
          </p:cNvSpPr>
          <p:nvPr>
            <p:ph type="body" sz="quarter" idx="13"/>
          </p:nvPr>
        </p:nvSpPr>
        <p:spPr/>
        <p:txBody>
          <a:bodyPr/>
          <a:lstStyle/>
          <a:p>
            <a:r>
              <a:rPr lang="cs-CZ" dirty="0" smtClean="0"/>
              <a:t>2</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17</a:t>
            </a:fld>
            <a:endParaRPr lang="cs-CZ"/>
          </a:p>
        </p:txBody>
      </p:sp>
      <p:sp>
        <p:nvSpPr>
          <p:cNvPr id="6" name="Podnadpis 2"/>
          <p:cNvSpPr>
            <a:spLocks noGrp="1"/>
          </p:cNvSpPr>
          <p:nvPr>
            <p:ph type="subTitle" idx="1"/>
          </p:nvPr>
        </p:nvSpPr>
        <p:spPr>
          <a:xfrm>
            <a:off x="1079654" y="3505200"/>
            <a:ext cx="4682168" cy="1752600"/>
          </a:xfrm>
        </p:spPr>
        <p:txBody>
          <a:bodyPr/>
          <a:lstStyle/>
          <a:p>
            <a:pPr algn="l">
              <a:buFont typeface="Arial" pitchFamily="34" charset="0"/>
              <a:buNone/>
              <a:defRPr/>
            </a:pPr>
            <a:endParaRPr lang="cs-CZ" dirty="0"/>
          </a:p>
        </p:txBody>
      </p:sp>
    </p:spTree>
    <p:extLst>
      <p:ext uri="{BB962C8B-B14F-4D97-AF65-F5344CB8AC3E}">
        <p14:creationId xmlns:p14="http://schemas.microsoft.com/office/powerpoint/2010/main" val="127877818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a:bodyPr>
          <a:lstStyle/>
          <a:p>
            <a:r>
              <a:rPr lang="cs-CZ" dirty="0"/>
              <a:t>Evropská energetická politika</a:t>
            </a:r>
          </a:p>
        </p:txBody>
      </p:sp>
      <p:pic>
        <p:nvPicPr>
          <p:cNvPr id="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2938" y="1352699"/>
            <a:ext cx="7872412" cy="5100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6" name="Slide Number Placeholder 5"/>
          <p:cNvSpPr txBox="1">
            <a:spLocks/>
          </p:cNvSpPr>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18</a:t>
            </a:fld>
            <a:endParaRPr lang="en-US" dirty="0"/>
          </a:p>
        </p:txBody>
      </p:sp>
      <p:sp>
        <p:nvSpPr>
          <p:cNvPr id="7" name="Footer Placeholder 4"/>
          <p:cNvSpPr txBox="1">
            <a:spLocks/>
          </p:cNvSpPr>
          <p:nvPr/>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sp>
        <p:nvSpPr>
          <p:cNvPr id="8" name="TextovéPole 7"/>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5011260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2987824" y="908720"/>
            <a:ext cx="5472608" cy="5328592"/>
          </a:xfrm>
        </p:spPr>
        <p:txBody>
          <a:bodyPr/>
          <a:lstStyle/>
          <a:p>
            <a:pPr marL="0" indent="0">
              <a:buNone/>
              <a:defRPr/>
            </a:pPr>
            <a:r>
              <a:rPr lang="cs-CZ" sz="2000" i="1" dirty="0" smtClean="0"/>
              <a:t>Politiky </a:t>
            </a:r>
            <a:r>
              <a:rPr lang="en-US" sz="2000" i="1" dirty="0" smtClean="0"/>
              <a:t>EU:</a:t>
            </a:r>
            <a:endParaRPr lang="en-US" sz="2000" i="1" dirty="0"/>
          </a:p>
          <a:p>
            <a:pPr>
              <a:defRPr/>
            </a:pPr>
            <a:r>
              <a:rPr lang="cs-CZ" sz="2000" dirty="0" smtClean="0"/>
              <a:t>Přednostní využívání domácích surovin,</a:t>
            </a:r>
          </a:p>
          <a:p>
            <a:pPr>
              <a:defRPr/>
            </a:pPr>
            <a:r>
              <a:rPr lang="cs-CZ" sz="2000" dirty="0" smtClean="0"/>
              <a:t>Směřování k nízkouhlíkové ekonomice,</a:t>
            </a:r>
          </a:p>
          <a:p>
            <a:pPr>
              <a:defRPr/>
            </a:pPr>
            <a:r>
              <a:rPr lang="cs-CZ" sz="2000" dirty="0" smtClean="0"/>
              <a:t>Deklarování, že uhlí má budoucnost, jestliže jsou implementovány technologie CCS </a:t>
            </a:r>
            <a:r>
              <a:rPr lang="en-US" sz="2000" dirty="0" smtClean="0"/>
              <a:t>(</a:t>
            </a:r>
            <a:r>
              <a:rPr lang="en-US" sz="2000" dirty="0"/>
              <a:t>carbon </a:t>
            </a:r>
            <a:r>
              <a:rPr lang="en-US" sz="2000" dirty="0" err="1" smtClean="0"/>
              <a:t>captur</a:t>
            </a:r>
            <a:r>
              <a:rPr lang="cs-CZ" sz="2000" dirty="0" smtClean="0"/>
              <a:t>e </a:t>
            </a:r>
            <a:r>
              <a:rPr lang="en-US" sz="2000" dirty="0" smtClean="0"/>
              <a:t>&amp; </a:t>
            </a:r>
            <a:r>
              <a:rPr lang="en-US" sz="2000" dirty="0"/>
              <a:t>storage</a:t>
            </a:r>
            <a:r>
              <a:rPr lang="en-US" sz="2000" dirty="0" smtClean="0"/>
              <a:t>)</a:t>
            </a:r>
            <a:r>
              <a:rPr lang="cs-CZ" sz="2000" dirty="0" smtClean="0"/>
              <a:t>.</a:t>
            </a:r>
            <a:endParaRPr lang="en-US" sz="2000" dirty="0"/>
          </a:p>
          <a:p>
            <a:pPr>
              <a:defRPr/>
            </a:pPr>
            <a:endParaRPr lang="en-US" sz="2000" dirty="0"/>
          </a:p>
          <a:p>
            <a:pPr marL="0" indent="0">
              <a:buNone/>
              <a:defRPr/>
            </a:pPr>
            <a:r>
              <a:rPr lang="cs-CZ" sz="2000" i="1" dirty="0" smtClean="0"/>
              <a:t>Koncepce ČR</a:t>
            </a:r>
            <a:r>
              <a:rPr lang="en-US" sz="2000" i="1" dirty="0" smtClean="0"/>
              <a:t>:</a:t>
            </a:r>
            <a:endParaRPr lang="en-US" sz="2000" i="1" dirty="0"/>
          </a:p>
          <a:p>
            <a:pPr>
              <a:defRPr/>
            </a:pPr>
            <a:r>
              <a:rPr lang="cs-CZ" sz="2000" dirty="0" smtClean="0"/>
              <a:t>Obrovská nejistota podnikatelů ohledně priorit budoucí energetické koncepce,</a:t>
            </a:r>
          </a:p>
          <a:p>
            <a:pPr>
              <a:defRPr/>
            </a:pPr>
            <a:r>
              <a:rPr lang="cs-CZ" sz="2000" dirty="0" smtClean="0"/>
              <a:t>Státní energetická koncepce z roku 2004 měla být aktualizována v roce 2009, ale je návrh aktualizace je opět revidován,</a:t>
            </a:r>
          </a:p>
          <a:p>
            <a:pPr>
              <a:defRPr/>
            </a:pPr>
            <a:r>
              <a:rPr lang="cs-CZ" sz="2000" dirty="0" smtClean="0"/>
              <a:t>Surovinová politika z roku 1999 je rovněž opětovně aktualizována,</a:t>
            </a:r>
          </a:p>
          <a:p>
            <a:pPr>
              <a:defRPr/>
            </a:pPr>
            <a:r>
              <a:rPr lang="cs-CZ" sz="2000" dirty="0" smtClean="0"/>
              <a:t>Chybí politická shoda</a:t>
            </a:r>
            <a:r>
              <a:rPr lang="en-US" sz="2000" dirty="0" smtClean="0"/>
              <a:t>.</a:t>
            </a:r>
            <a:endParaRPr lang="en-US" sz="2000" dirty="0"/>
          </a:p>
          <a:p>
            <a:endParaRPr lang="cs-CZ" sz="2000" dirty="0" smtClean="0"/>
          </a:p>
        </p:txBody>
      </p:sp>
      <p:sp>
        <p:nvSpPr>
          <p:cNvPr id="9220" name="Nadpis 1"/>
          <p:cNvSpPr>
            <a:spLocks noGrp="1"/>
          </p:cNvSpPr>
          <p:nvPr>
            <p:ph type="title"/>
          </p:nvPr>
        </p:nvSpPr>
        <p:spPr>
          <a:xfrm>
            <a:off x="1619672" y="274638"/>
            <a:ext cx="6120680" cy="490537"/>
          </a:xfrm>
        </p:spPr>
        <p:txBody>
          <a:bodyPr/>
          <a:lstStyle/>
          <a:p>
            <a:r>
              <a:rPr lang="cs-CZ" dirty="0" smtClean="0"/>
              <a:t>EU a národní koncepce</a:t>
            </a:r>
          </a:p>
        </p:txBody>
      </p:sp>
      <p:pic>
        <p:nvPicPr>
          <p:cNvPr id="12" name="Picture 2" descr="http://www.befoodsafe.org.uk/wp-content/uploads/2012/01/eu.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4313" y="1239838"/>
            <a:ext cx="2339975" cy="170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4" descr="https://familysearch.org/learn/wiki/en/images/4/41/Arms-CzechRepubli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313" y="3490913"/>
            <a:ext cx="2339975" cy="281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ovéPole 7"/>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099656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randombar(horizontal)">
                                      <p:cBhvr>
                                        <p:cTn id="7" dur="2000"/>
                                        <p:tgtEl>
                                          <p:spTgt spid="12"/>
                                        </p:tgtEl>
                                      </p:cBhvr>
                                    </p:animEffect>
                                  </p:childTnLst>
                                </p:cTn>
                              </p:par>
                              <p:par>
                                <p:cTn id="8" presetID="14" presetClass="entr" presetSubtype="1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randombar(horizontal)">
                                      <p:cBhvr>
                                        <p:cTn id="10"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Obsah </a:t>
            </a:r>
            <a:endParaRPr lang="cs-CZ" dirty="0"/>
          </a:p>
        </p:txBody>
      </p:sp>
      <p:sp>
        <p:nvSpPr>
          <p:cNvPr id="3" name="Zástupný symbol pro obsah 2"/>
          <p:cNvSpPr>
            <a:spLocks noGrp="1"/>
          </p:cNvSpPr>
          <p:nvPr>
            <p:ph idx="1"/>
          </p:nvPr>
        </p:nvSpPr>
        <p:spPr/>
        <p:txBody>
          <a:bodyPr>
            <a:normAutofit/>
          </a:bodyPr>
          <a:lstStyle/>
          <a:p>
            <a:pPr marL="514350" indent="-514350">
              <a:buFont typeface="+mj-lt"/>
              <a:buAutoNum type="arabicPeriod"/>
            </a:pPr>
            <a:r>
              <a:rPr lang="cs-CZ" dirty="0" smtClean="0"/>
              <a:t>Mezinárodní vlivy</a:t>
            </a:r>
          </a:p>
          <a:p>
            <a:pPr marL="514350" indent="-514350">
              <a:buFont typeface="+mj-lt"/>
              <a:buAutoNum type="arabicPeriod"/>
            </a:pPr>
            <a:r>
              <a:rPr lang="cs-CZ" dirty="0" smtClean="0"/>
              <a:t>Evropské vazby</a:t>
            </a:r>
          </a:p>
          <a:p>
            <a:pPr marL="514350" indent="-514350">
              <a:buFont typeface="+mj-lt"/>
              <a:buAutoNum type="arabicPeriod"/>
            </a:pPr>
            <a:r>
              <a:rPr lang="cs-CZ" dirty="0" smtClean="0"/>
              <a:t>Tuzemské možnosti</a:t>
            </a:r>
          </a:p>
          <a:p>
            <a:pPr marL="514350" indent="-514350">
              <a:buFont typeface="+mj-lt"/>
              <a:buAutoNum type="arabicPeriod"/>
            </a:pPr>
            <a:r>
              <a:rPr lang="cs-CZ" dirty="0" smtClean="0"/>
              <a:t>Státní energetická koncepce ČR </a:t>
            </a:r>
          </a:p>
          <a:p>
            <a:pPr marL="514350" indent="-514350">
              <a:buFont typeface="+mj-lt"/>
              <a:buAutoNum type="arabicPeriod"/>
            </a:pPr>
            <a:r>
              <a:rPr lang="cs-CZ" dirty="0" smtClean="0"/>
              <a:t>Nové aktivity</a:t>
            </a:r>
          </a:p>
          <a:p>
            <a:pPr marL="514350" indent="-514350">
              <a:buFont typeface="+mj-lt"/>
              <a:buAutoNum type="arabicPeriod"/>
            </a:pPr>
            <a:r>
              <a:rPr lang="cs-CZ" dirty="0" smtClean="0"/>
              <a:t>Závěr </a:t>
            </a:r>
            <a:endParaRPr lang="cs-CZ" dirty="0"/>
          </a:p>
        </p:txBody>
      </p:sp>
      <p:pic>
        <p:nvPicPr>
          <p:cNvPr id="12" name="Picture 6" descr="Název souboru: j0432665.png&#10;Klíčová slova: akademické, diáře, ikony ...&#10;Velikost souboru: 48 k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0288" y="4295775"/>
            <a:ext cx="1944687" cy="154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ovéPole 3"/>
          <p:cNvSpPr txBox="1">
            <a:spLocks noChangeArrowheads="1"/>
          </p:cNvSpPr>
          <p:nvPr/>
        </p:nvSpPr>
        <p:spPr bwMode="auto">
          <a:xfrm>
            <a:off x="8831263" y="1365473"/>
            <a:ext cx="311150" cy="339725"/>
          </a:xfrm>
          <a:prstGeom prst="rect">
            <a:avLst/>
          </a:prstGeom>
          <a:solidFill>
            <a:srgbClr val="006600"/>
          </a:solidFill>
          <a:ln w="9525">
            <a:noFill/>
            <a:miter lim="800000"/>
            <a:headEnd/>
            <a:tailEnd/>
          </a:ln>
        </p:spPr>
        <p:txBody>
          <a:bodyPr wrap="none">
            <a:spAutoFit/>
          </a:bodyPr>
          <a:lstStyle/>
          <a:p>
            <a:pPr algn="ctr" eaLnBrk="0" hangingPunct="0">
              <a:lnSpc>
                <a:spcPct val="90000"/>
              </a:lnSpc>
            </a:pPr>
            <a:r>
              <a:rPr lang="cs-CZ" sz="1800" b="1">
                <a:solidFill>
                  <a:schemeClr val="bg1"/>
                </a:solidFill>
                <a:latin typeface="Arial" pitchFamily="34" charset="0"/>
                <a:cs typeface="Tahoma" pitchFamily="34" charset="0"/>
              </a:rPr>
              <a:t>1</a:t>
            </a:r>
          </a:p>
        </p:txBody>
      </p:sp>
      <p:sp>
        <p:nvSpPr>
          <p:cNvPr id="14" name="TextovéPole 4"/>
          <p:cNvSpPr txBox="1">
            <a:spLocks noChangeArrowheads="1"/>
          </p:cNvSpPr>
          <p:nvPr/>
        </p:nvSpPr>
        <p:spPr bwMode="auto">
          <a:xfrm>
            <a:off x="8834438" y="1856686"/>
            <a:ext cx="311150" cy="339725"/>
          </a:xfrm>
          <a:prstGeom prst="rect">
            <a:avLst/>
          </a:prstGeom>
          <a:solidFill>
            <a:srgbClr val="006600"/>
          </a:solidFill>
          <a:ln w="9525">
            <a:noFill/>
            <a:miter lim="800000"/>
            <a:headEnd/>
            <a:tailEnd/>
          </a:ln>
        </p:spPr>
        <p:txBody>
          <a:bodyPr wrap="none">
            <a:spAutoFit/>
          </a:bodyPr>
          <a:lstStyle/>
          <a:p>
            <a:pPr algn="ctr" eaLnBrk="0" hangingPunct="0">
              <a:lnSpc>
                <a:spcPct val="90000"/>
              </a:lnSpc>
            </a:pPr>
            <a:r>
              <a:rPr lang="cs-CZ" sz="1800" b="1">
                <a:solidFill>
                  <a:schemeClr val="bg1"/>
                </a:solidFill>
                <a:latin typeface="Arial" pitchFamily="34" charset="0"/>
                <a:cs typeface="Tahoma" pitchFamily="34" charset="0"/>
              </a:rPr>
              <a:t>2</a:t>
            </a:r>
          </a:p>
        </p:txBody>
      </p:sp>
      <p:sp>
        <p:nvSpPr>
          <p:cNvPr id="15" name="TextovéPole 5"/>
          <p:cNvSpPr txBox="1">
            <a:spLocks noChangeArrowheads="1"/>
          </p:cNvSpPr>
          <p:nvPr/>
        </p:nvSpPr>
        <p:spPr bwMode="auto">
          <a:xfrm>
            <a:off x="8832850" y="2373525"/>
            <a:ext cx="311150" cy="339725"/>
          </a:xfrm>
          <a:prstGeom prst="rect">
            <a:avLst/>
          </a:prstGeom>
          <a:solidFill>
            <a:srgbClr val="006600"/>
          </a:solidFill>
          <a:ln w="9525">
            <a:noFill/>
            <a:miter lim="800000"/>
            <a:headEnd/>
            <a:tailEnd/>
          </a:ln>
        </p:spPr>
        <p:txBody>
          <a:bodyPr wrap="none">
            <a:spAutoFit/>
          </a:bodyPr>
          <a:lstStyle/>
          <a:p>
            <a:pPr algn="ctr" eaLnBrk="0" hangingPunct="0">
              <a:lnSpc>
                <a:spcPct val="90000"/>
              </a:lnSpc>
            </a:pPr>
            <a:r>
              <a:rPr lang="cs-CZ" sz="1800" b="1">
                <a:solidFill>
                  <a:schemeClr val="bg1"/>
                </a:solidFill>
                <a:latin typeface="Arial" pitchFamily="34" charset="0"/>
                <a:cs typeface="Tahoma" pitchFamily="34" charset="0"/>
              </a:rPr>
              <a:t>3</a:t>
            </a:r>
          </a:p>
        </p:txBody>
      </p:sp>
      <p:sp>
        <p:nvSpPr>
          <p:cNvPr id="16" name="TextovéPole 6"/>
          <p:cNvSpPr txBox="1">
            <a:spLocks noChangeArrowheads="1"/>
          </p:cNvSpPr>
          <p:nvPr/>
        </p:nvSpPr>
        <p:spPr bwMode="auto">
          <a:xfrm>
            <a:off x="8832850" y="2877212"/>
            <a:ext cx="311150" cy="341312"/>
          </a:xfrm>
          <a:prstGeom prst="rect">
            <a:avLst/>
          </a:prstGeom>
          <a:solidFill>
            <a:srgbClr val="006600"/>
          </a:solidFill>
          <a:ln w="9525">
            <a:noFill/>
            <a:miter lim="800000"/>
            <a:headEnd/>
            <a:tailEnd/>
          </a:ln>
        </p:spPr>
        <p:txBody>
          <a:bodyPr>
            <a:spAutoFit/>
          </a:bodyPr>
          <a:lstStyle/>
          <a:p>
            <a:pPr algn="ctr" eaLnBrk="0" hangingPunct="0">
              <a:lnSpc>
                <a:spcPct val="90000"/>
              </a:lnSpc>
            </a:pPr>
            <a:r>
              <a:rPr lang="cs-CZ" sz="1800" b="1">
                <a:solidFill>
                  <a:schemeClr val="bg1"/>
                </a:solidFill>
                <a:latin typeface="Arial" pitchFamily="34" charset="0"/>
                <a:cs typeface="Tahoma" pitchFamily="34" charset="0"/>
              </a:rPr>
              <a:t>4</a:t>
            </a:r>
          </a:p>
        </p:txBody>
      </p:sp>
      <p:sp>
        <p:nvSpPr>
          <p:cNvPr id="17" name="TextovéPole 6"/>
          <p:cNvSpPr txBox="1">
            <a:spLocks noChangeArrowheads="1"/>
          </p:cNvSpPr>
          <p:nvPr/>
        </p:nvSpPr>
        <p:spPr bwMode="auto">
          <a:xfrm>
            <a:off x="8832850" y="3397000"/>
            <a:ext cx="311150" cy="339725"/>
          </a:xfrm>
          <a:prstGeom prst="rect">
            <a:avLst/>
          </a:prstGeom>
          <a:solidFill>
            <a:srgbClr val="006600"/>
          </a:solidFill>
          <a:ln w="9525">
            <a:noFill/>
            <a:miter lim="800000"/>
            <a:headEnd/>
            <a:tailEnd/>
          </a:ln>
        </p:spPr>
        <p:txBody>
          <a:bodyPr>
            <a:spAutoFit/>
          </a:bodyPr>
          <a:lstStyle/>
          <a:p>
            <a:pPr algn="ctr" eaLnBrk="0" hangingPunct="0">
              <a:lnSpc>
                <a:spcPct val="90000"/>
              </a:lnSpc>
            </a:pPr>
            <a:r>
              <a:rPr lang="cs-CZ" sz="1800" b="1">
                <a:solidFill>
                  <a:schemeClr val="bg1"/>
                </a:solidFill>
                <a:latin typeface="Arial" pitchFamily="34" charset="0"/>
              </a:rPr>
              <a:t>5</a:t>
            </a:r>
            <a:endParaRPr lang="cs-CZ" sz="1800" b="1">
              <a:solidFill>
                <a:schemeClr val="bg1"/>
              </a:solidFill>
              <a:latin typeface="Arial" pitchFamily="34" charset="0"/>
              <a:cs typeface="Tahoma" pitchFamily="34" charset="0"/>
            </a:endParaRPr>
          </a:p>
        </p:txBody>
      </p:sp>
      <p:sp>
        <p:nvSpPr>
          <p:cNvPr id="18" name="TextovéPole 6"/>
          <p:cNvSpPr txBox="1">
            <a:spLocks noChangeArrowheads="1"/>
          </p:cNvSpPr>
          <p:nvPr/>
        </p:nvSpPr>
        <p:spPr bwMode="auto">
          <a:xfrm>
            <a:off x="8834438" y="3889125"/>
            <a:ext cx="311150" cy="341632"/>
          </a:xfrm>
          <a:prstGeom prst="rect">
            <a:avLst/>
          </a:prstGeom>
          <a:solidFill>
            <a:srgbClr val="006600"/>
          </a:solidFill>
          <a:ln w="9525">
            <a:noFill/>
            <a:miter lim="800000"/>
            <a:headEnd/>
            <a:tailEnd/>
          </a:ln>
        </p:spPr>
        <p:txBody>
          <a:bodyPr>
            <a:spAutoFit/>
          </a:bodyPr>
          <a:lstStyle/>
          <a:p>
            <a:pPr algn="ctr" eaLnBrk="0" hangingPunct="0">
              <a:lnSpc>
                <a:spcPct val="90000"/>
              </a:lnSpc>
            </a:pPr>
            <a:r>
              <a:rPr lang="cs-CZ" sz="1800" b="1" dirty="0" smtClean="0">
                <a:solidFill>
                  <a:schemeClr val="bg1"/>
                </a:solidFill>
                <a:latin typeface="Arial" pitchFamily="34" charset="0"/>
              </a:rPr>
              <a:t>6</a:t>
            </a:r>
            <a:endParaRPr lang="cs-CZ" sz="1800" b="1" dirty="0">
              <a:solidFill>
                <a:schemeClr val="bg1"/>
              </a:solidFill>
              <a:latin typeface="Arial" pitchFamily="34" charset="0"/>
              <a:cs typeface="Tahoma" pitchFamily="34" charset="0"/>
            </a:endParaRPr>
          </a:p>
        </p:txBody>
      </p:sp>
      <p:sp>
        <p:nvSpPr>
          <p:cNvPr id="19" name="TextovéPole 6"/>
          <p:cNvSpPr txBox="1">
            <a:spLocks noChangeArrowheads="1"/>
          </p:cNvSpPr>
          <p:nvPr/>
        </p:nvSpPr>
        <p:spPr bwMode="auto">
          <a:xfrm>
            <a:off x="8834438" y="4383157"/>
            <a:ext cx="311150" cy="341632"/>
          </a:xfrm>
          <a:prstGeom prst="rect">
            <a:avLst/>
          </a:prstGeom>
          <a:solidFill>
            <a:srgbClr val="006600"/>
          </a:solidFill>
          <a:ln w="9525">
            <a:noFill/>
            <a:miter lim="800000"/>
            <a:headEnd/>
            <a:tailEnd/>
          </a:ln>
        </p:spPr>
        <p:txBody>
          <a:bodyPr>
            <a:spAutoFit/>
          </a:bodyPr>
          <a:lstStyle/>
          <a:p>
            <a:pPr algn="ctr" eaLnBrk="0" hangingPunct="0">
              <a:lnSpc>
                <a:spcPct val="90000"/>
              </a:lnSpc>
            </a:pPr>
            <a:r>
              <a:rPr lang="cs-CZ" sz="1800" b="1" dirty="0" smtClean="0">
                <a:solidFill>
                  <a:schemeClr val="bg1"/>
                </a:solidFill>
                <a:latin typeface="Arial" pitchFamily="34" charset="0"/>
              </a:rPr>
              <a:t>7</a:t>
            </a:r>
            <a:endParaRPr lang="cs-CZ" sz="1800" b="1" dirty="0">
              <a:solidFill>
                <a:schemeClr val="bg1"/>
              </a:solidFill>
              <a:latin typeface="Arial" pitchFamily="34" charset="0"/>
              <a:cs typeface="Tahoma" pitchFamily="34" charset="0"/>
            </a:endParaRPr>
          </a:p>
        </p:txBody>
      </p:sp>
      <p:sp>
        <p:nvSpPr>
          <p:cNvPr id="20" name="TextovéPole 6"/>
          <p:cNvSpPr txBox="1">
            <a:spLocks noChangeArrowheads="1"/>
          </p:cNvSpPr>
          <p:nvPr/>
        </p:nvSpPr>
        <p:spPr bwMode="auto">
          <a:xfrm>
            <a:off x="8831263" y="4899659"/>
            <a:ext cx="311150" cy="341632"/>
          </a:xfrm>
          <a:prstGeom prst="rect">
            <a:avLst/>
          </a:prstGeom>
          <a:solidFill>
            <a:srgbClr val="006600"/>
          </a:solidFill>
          <a:ln w="9525">
            <a:noFill/>
            <a:miter lim="800000"/>
            <a:headEnd/>
            <a:tailEnd/>
          </a:ln>
        </p:spPr>
        <p:txBody>
          <a:bodyPr>
            <a:spAutoFit/>
          </a:bodyPr>
          <a:lstStyle/>
          <a:p>
            <a:pPr algn="ctr" eaLnBrk="0" hangingPunct="0">
              <a:lnSpc>
                <a:spcPct val="90000"/>
              </a:lnSpc>
            </a:pPr>
            <a:r>
              <a:rPr lang="cs-CZ" sz="1800" b="1" dirty="0" smtClean="0">
                <a:solidFill>
                  <a:schemeClr val="bg1"/>
                </a:solidFill>
                <a:latin typeface="Arial" pitchFamily="34" charset="0"/>
              </a:rPr>
              <a:t>8</a:t>
            </a:r>
            <a:endParaRPr lang="cs-CZ" sz="1800" b="1" dirty="0">
              <a:solidFill>
                <a:schemeClr val="bg1"/>
              </a:solidFill>
              <a:latin typeface="Arial" pitchFamily="34" charset="0"/>
              <a:cs typeface="Tahoma" pitchFamily="34" charset="0"/>
            </a:endParaRPr>
          </a:p>
        </p:txBody>
      </p:sp>
    </p:spTree>
    <p:extLst>
      <p:ext uri="{BB962C8B-B14F-4D97-AF65-F5344CB8AC3E}">
        <p14:creationId xmlns:p14="http://schemas.microsoft.com/office/powerpoint/2010/main" val="2060065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http://www.airclim.org/sites/default/files/images/AcidNews/2011/AN3-11/Scholven_Power_Station_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1" y="980728"/>
            <a:ext cx="7776864" cy="5446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561" y="4317389"/>
            <a:ext cx="7776864" cy="2110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218" name="Zástupný symbol pro obsah 2"/>
          <p:cNvSpPr>
            <a:spLocks noGrp="1"/>
          </p:cNvSpPr>
          <p:nvPr>
            <p:ph idx="1"/>
          </p:nvPr>
        </p:nvSpPr>
        <p:spPr>
          <a:xfrm>
            <a:off x="611560" y="980728"/>
            <a:ext cx="7776865" cy="5328592"/>
          </a:xfrm>
        </p:spPr>
        <p:txBody>
          <a:bodyPr/>
          <a:lstStyle/>
          <a:p>
            <a:pPr>
              <a:defRPr/>
            </a:pPr>
            <a:r>
              <a:rPr lang="cs-CZ" sz="2000" dirty="0" smtClean="0"/>
              <a:t>Cílem je snížení emisí skleníkových plynů o 40% do roku 2020 v rámci EU ve srovnání s rokem 1990,</a:t>
            </a:r>
          </a:p>
          <a:p>
            <a:pPr>
              <a:defRPr/>
            </a:pPr>
            <a:r>
              <a:rPr lang="cs-CZ" sz="2000" dirty="0" smtClean="0"/>
              <a:t>Cíl DE je mít téměř nulové emise skleníkových plynů do roku 2050, </a:t>
            </a:r>
            <a:endParaRPr lang="en-US" sz="2000" dirty="0"/>
          </a:p>
          <a:p>
            <a:pPr>
              <a:defRPr/>
            </a:pPr>
            <a:r>
              <a:rPr lang="cs-CZ" sz="2000" dirty="0" smtClean="0"/>
              <a:t>Největší očekávání jsou v současnosti vkládány do technologií CCS </a:t>
            </a:r>
            <a:r>
              <a:rPr lang="en-US" sz="2000" dirty="0" smtClean="0"/>
              <a:t>(</a:t>
            </a:r>
            <a:r>
              <a:rPr lang="en-US" sz="2000" dirty="0"/>
              <a:t>carbon capture </a:t>
            </a:r>
            <a:r>
              <a:rPr lang="en-US" sz="2000" dirty="0" smtClean="0"/>
              <a:t>&amp; </a:t>
            </a:r>
            <a:r>
              <a:rPr lang="en-US" sz="2000" dirty="0"/>
              <a:t>storage</a:t>
            </a:r>
            <a:r>
              <a:rPr lang="en-US" sz="2000" dirty="0" smtClean="0"/>
              <a:t>)</a:t>
            </a:r>
            <a:r>
              <a:rPr lang="cs-CZ" sz="2000" dirty="0" smtClean="0"/>
              <a:t>,</a:t>
            </a:r>
            <a:endParaRPr lang="en-US" sz="2000" dirty="0"/>
          </a:p>
          <a:p>
            <a:pPr>
              <a:defRPr/>
            </a:pPr>
            <a:r>
              <a:rPr lang="cs-CZ" sz="2000" dirty="0" smtClean="0"/>
              <a:t>Evropské plány na snížení emisí CO</a:t>
            </a:r>
            <a:r>
              <a:rPr lang="cs-CZ" sz="2000" baseline="-25000" dirty="0" smtClean="0"/>
              <a:t>2</a:t>
            </a:r>
            <a:r>
              <a:rPr lang="cs-CZ" sz="2000" dirty="0" smtClean="0"/>
              <a:t> mohou mít zpochybnitelný dopad na globální klima jestliže Čína a Indie mají více než 50% světové produkce uhlí.</a:t>
            </a:r>
            <a:endParaRPr lang="en-US" sz="2000" dirty="0"/>
          </a:p>
          <a:p>
            <a:endParaRPr lang="cs-CZ" sz="2000" dirty="0" smtClean="0"/>
          </a:p>
        </p:txBody>
      </p:sp>
      <p:sp>
        <p:nvSpPr>
          <p:cNvPr id="9220" name="Nadpis 1"/>
          <p:cNvSpPr>
            <a:spLocks noGrp="1"/>
          </p:cNvSpPr>
          <p:nvPr>
            <p:ph type="title"/>
          </p:nvPr>
        </p:nvSpPr>
        <p:spPr>
          <a:xfrm>
            <a:off x="1619672" y="274638"/>
            <a:ext cx="6120680" cy="490537"/>
          </a:xfrm>
        </p:spPr>
        <p:txBody>
          <a:bodyPr/>
          <a:lstStyle/>
          <a:p>
            <a:r>
              <a:rPr lang="cs-CZ" dirty="0" smtClean="0"/>
              <a:t>Bezemisní výroba elektřiny</a:t>
            </a:r>
          </a:p>
        </p:txBody>
      </p:sp>
      <p:sp>
        <p:nvSpPr>
          <p:cNvPr id="8" name="TextovéPole 7"/>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762749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3" name="Group 42"/>
          <p:cNvGrpSpPr/>
          <p:nvPr/>
        </p:nvGrpSpPr>
        <p:grpSpPr>
          <a:xfrm>
            <a:off x="819593" y="1618167"/>
            <a:ext cx="7322472" cy="2530913"/>
            <a:chOff x="819593" y="1618167"/>
            <a:chExt cx="7322472" cy="2530913"/>
          </a:xfrm>
        </p:grpSpPr>
        <p:grpSp>
          <p:nvGrpSpPr>
            <p:cNvPr id="30" name="Group 29"/>
            <p:cNvGrpSpPr/>
            <p:nvPr/>
          </p:nvGrpSpPr>
          <p:grpSpPr>
            <a:xfrm>
              <a:off x="819593" y="1618167"/>
              <a:ext cx="7322472" cy="2530913"/>
              <a:chOff x="819593" y="1618167"/>
              <a:chExt cx="7322472" cy="2530913"/>
            </a:xfrm>
          </p:grpSpPr>
          <p:grpSp>
            <p:nvGrpSpPr>
              <p:cNvPr id="28" name="Group 27"/>
              <p:cNvGrpSpPr/>
              <p:nvPr/>
            </p:nvGrpSpPr>
            <p:grpSpPr>
              <a:xfrm>
                <a:off x="1600829" y="1618167"/>
                <a:ext cx="5760000" cy="1738825"/>
                <a:chOff x="1600829" y="1618167"/>
                <a:chExt cx="5760000" cy="1738825"/>
              </a:xfrm>
            </p:grpSpPr>
            <p:cxnSp>
              <p:nvCxnSpPr>
                <p:cNvPr id="9" name="Straight Connector 8"/>
                <p:cNvCxnSpPr/>
                <p:nvPr/>
              </p:nvCxnSpPr>
              <p:spPr>
                <a:xfrm>
                  <a:off x="1600829" y="1628800"/>
                  <a:ext cx="57600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619672" y="1628800"/>
                  <a:ext cx="0" cy="172819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360829" y="1618167"/>
                  <a:ext cx="0" cy="1728192"/>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29" name="Flowchart: Delay 28"/>
              <p:cNvSpPr/>
              <p:nvPr/>
            </p:nvSpPr>
            <p:spPr>
              <a:xfrm rot="5400000">
                <a:off x="1204785" y="2971800"/>
                <a:ext cx="792088" cy="1562472"/>
              </a:xfrm>
              <a:prstGeom prst="flowChartDela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cs-CZ" sz="1400" dirty="0" smtClean="0"/>
                  <a:t>Existence </a:t>
                </a:r>
              </a:p>
              <a:p>
                <a:pPr algn="ctr"/>
                <a:r>
                  <a:rPr lang="cs-CZ" sz="1400" dirty="0" smtClean="0"/>
                  <a:t>EU ETS</a:t>
                </a:r>
                <a:endParaRPr lang="en-US" sz="1400" dirty="0"/>
              </a:p>
            </p:txBody>
          </p:sp>
          <p:sp>
            <p:nvSpPr>
              <p:cNvPr id="32" name="Flowchart: Delay 31"/>
              <p:cNvSpPr/>
              <p:nvPr/>
            </p:nvSpPr>
            <p:spPr>
              <a:xfrm rot="5400000">
                <a:off x="6964785" y="2971800"/>
                <a:ext cx="792088" cy="1562472"/>
              </a:xfrm>
              <a:prstGeom prst="flowChartDelay">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cs-CZ" sz="1400" dirty="0" smtClean="0"/>
                  <a:t>Cíle Evropské komise</a:t>
                </a:r>
                <a:endParaRPr lang="en-US" sz="1400" dirty="0"/>
              </a:p>
            </p:txBody>
          </p:sp>
        </p:grpSp>
        <p:cxnSp>
          <p:nvCxnSpPr>
            <p:cNvPr id="34" name="Straight Connector 33"/>
            <p:cNvCxnSpPr/>
            <p:nvPr/>
          </p:nvCxnSpPr>
          <p:spPr>
            <a:xfrm flipV="1">
              <a:off x="830226" y="2647545"/>
              <a:ext cx="781236" cy="70944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6585236" y="2647545"/>
              <a:ext cx="781236" cy="70944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1619672" y="2647545"/>
              <a:ext cx="751266" cy="69881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flipV="1">
              <a:off x="7355839" y="2658178"/>
              <a:ext cx="775522" cy="698816"/>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14" name="Rectangle 1"/>
          <p:cNvSpPr>
            <a:spLocks noGrp="1" noChangeArrowheads="1"/>
          </p:cNvSpPr>
          <p:nvPr>
            <p:ph type="title"/>
          </p:nvPr>
        </p:nvSpPr>
        <p:spPr>
          <a:xfrm>
            <a:off x="2555776" y="274638"/>
            <a:ext cx="4608512" cy="778098"/>
          </a:xfrm>
          <a:prstGeom prst="rect">
            <a:avLst/>
          </a:prstGeom>
        </p:spPr>
        <p:txBody>
          <a:bodyPr>
            <a:noAutofit/>
          </a:bodyPr>
          <a:lstStyle/>
          <a:p>
            <a:pPr lvl="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r>
              <a:rPr lang="cs-CZ" sz="2900" dirty="0"/>
              <a:t>EU na rozcestí</a:t>
            </a:r>
            <a:endParaRPr lang="en-US" sz="2900" dirty="0"/>
          </a:p>
        </p:txBody>
      </p:sp>
      <p:sp>
        <p:nvSpPr>
          <p:cNvPr id="10" name="Rectangle 9"/>
          <p:cNvSpPr/>
          <p:nvPr/>
        </p:nvSpPr>
        <p:spPr>
          <a:xfrm>
            <a:off x="251520" y="6492875"/>
            <a:ext cx="1224136" cy="3255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Isosceles Triangle 1"/>
          <p:cNvSpPr/>
          <p:nvPr/>
        </p:nvSpPr>
        <p:spPr>
          <a:xfrm>
            <a:off x="3466531" y="4757913"/>
            <a:ext cx="2060812" cy="105602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400" dirty="0" smtClean="0">
                <a:solidFill>
                  <a:srgbClr val="000000"/>
                </a:solidFill>
              </a:rPr>
              <a:t>Podstata problému</a:t>
            </a:r>
            <a:endParaRPr lang="en-US" sz="1400" dirty="0">
              <a:solidFill>
                <a:srgbClr val="000000"/>
              </a:solidFill>
            </a:endParaRPr>
          </a:p>
        </p:txBody>
      </p:sp>
      <p:sp>
        <p:nvSpPr>
          <p:cNvPr id="31" name="TextBox 30"/>
          <p:cNvSpPr txBox="1"/>
          <p:nvPr/>
        </p:nvSpPr>
        <p:spPr>
          <a:xfrm>
            <a:off x="819593" y="4293096"/>
            <a:ext cx="2759034" cy="1569660"/>
          </a:xfrm>
          <a:prstGeom prst="rect">
            <a:avLst/>
          </a:prstGeom>
          <a:noFill/>
        </p:spPr>
        <p:txBody>
          <a:bodyPr wrap="square" rtlCol="0">
            <a:spAutoFit/>
          </a:bodyPr>
          <a:lstStyle/>
          <a:p>
            <a:pPr marL="285750" indent="-285750">
              <a:buFont typeface="Arial" pitchFamily="34" charset="0"/>
              <a:buChar char="•"/>
            </a:pPr>
            <a:r>
              <a:rPr lang="cs-CZ" sz="1600" dirty="0" smtClean="0"/>
              <a:t>Geopolitické otázky (Čína, Indie, USA)</a:t>
            </a:r>
          </a:p>
          <a:p>
            <a:pPr marL="285750" indent="-285750">
              <a:buFont typeface="Arial" pitchFamily="34" charset="0"/>
              <a:buChar char="•"/>
            </a:pPr>
            <a:r>
              <a:rPr lang="cs-CZ" sz="1600" dirty="0" smtClean="0"/>
              <a:t>Otázky konkurenceschopnosti EU (tlak průmyslu)</a:t>
            </a:r>
          </a:p>
          <a:p>
            <a:pPr marL="285750" indent="-285750">
              <a:buFont typeface="Arial" pitchFamily="34" charset="0"/>
              <a:buChar char="•"/>
            </a:pPr>
            <a:endParaRPr lang="en-US" sz="1600" dirty="0"/>
          </a:p>
        </p:txBody>
      </p:sp>
      <p:sp>
        <p:nvSpPr>
          <p:cNvPr id="36" name="TextBox 35"/>
          <p:cNvSpPr txBox="1"/>
          <p:nvPr/>
        </p:nvSpPr>
        <p:spPr>
          <a:xfrm>
            <a:off x="6574603" y="4293096"/>
            <a:ext cx="2569397" cy="1323439"/>
          </a:xfrm>
          <a:prstGeom prst="rect">
            <a:avLst/>
          </a:prstGeom>
          <a:noFill/>
        </p:spPr>
        <p:txBody>
          <a:bodyPr wrap="square" rtlCol="0">
            <a:spAutoFit/>
          </a:bodyPr>
          <a:lstStyle/>
          <a:p>
            <a:pPr marL="285750" indent="-285750">
              <a:buFont typeface="Arial" pitchFamily="34" charset="0"/>
              <a:buChar char="•"/>
            </a:pPr>
            <a:r>
              <a:rPr lang="cs-CZ" sz="1600" dirty="0" smtClean="0"/>
              <a:t>Zelené hnutí, dodavatelé zelených technologií, banky, investoři</a:t>
            </a:r>
          </a:p>
          <a:p>
            <a:pPr marL="285750" indent="-285750">
              <a:buFont typeface="Arial" pitchFamily="34" charset="0"/>
              <a:buChar char="•"/>
            </a:pPr>
            <a:r>
              <a:rPr lang="cs-CZ" sz="1600" dirty="0" smtClean="0"/>
              <a:t>Cílová cena € 25</a:t>
            </a:r>
          </a:p>
          <a:p>
            <a:pPr marL="285750" indent="-285750">
              <a:buFont typeface="Arial" pitchFamily="34" charset="0"/>
              <a:buChar char="•"/>
            </a:pPr>
            <a:endParaRPr lang="en-US" sz="1600" dirty="0"/>
          </a:p>
        </p:txBody>
      </p:sp>
      <p:grpSp>
        <p:nvGrpSpPr>
          <p:cNvPr id="46" name="Group 45"/>
          <p:cNvGrpSpPr/>
          <p:nvPr/>
        </p:nvGrpSpPr>
        <p:grpSpPr>
          <a:xfrm>
            <a:off x="4377242" y="1016985"/>
            <a:ext cx="216024" cy="3740928"/>
            <a:chOff x="4377242" y="1016985"/>
            <a:chExt cx="216024" cy="3740928"/>
          </a:xfrm>
        </p:grpSpPr>
        <p:cxnSp>
          <p:nvCxnSpPr>
            <p:cNvPr id="7" name="Straight Connector 6"/>
            <p:cNvCxnSpPr>
              <a:stCxn id="2" idx="0"/>
            </p:cNvCxnSpPr>
            <p:nvPr/>
          </p:nvCxnSpPr>
          <p:spPr>
            <a:xfrm flipH="1" flipV="1">
              <a:off x="4489359" y="1016985"/>
              <a:ext cx="7578" cy="3740928"/>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9" name="Isosceles Triangle 18"/>
            <p:cNvSpPr/>
            <p:nvPr/>
          </p:nvSpPr>
          <p:spPr>
            <a:xfrm>
              <a:off x="4377242" y="1268760"/>
              <a:ext cx="216024" cy="144016"/>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Connector 17"/>
            <p:cNvSpPr/>
            <p:nvPr/>
          </p:nvSpPr>
          <p:spPr>
            <a:xfrm>
              <a:off x="4377242" y="1535526"/>
              <a:ext cx="216024" cy="216024"/>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014" y="6309320"/>
            <a:ext cx="755650" cy="349250"/>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sp>
        <p:nvSpPr>
          <p:cNvPr id="33" name="TextovéPole 32"/>
          <p:cNvSpPr txBox="1"/>
          <p:nvPr/>
        </p:nvSpPr>
        <p:spPr>
          <a:xfrm>
            <a:off x="395536" y="6309320"/>
            <a:ext cx="452368" cy="246221"/>
          </a:xfrm>
          <a:prstGeom prst="rect">
            <a:avLst/>
          </a:prstGeom>
          <a:noFill/>
        </p:spPr>
        <p:txBody>
          <a:bodyPr wrap="none" rtlCol="0">
            <a:spAutoFit/>
          </a:bodyPr>
          <a:lstStyle/>
          <a:p>
            <a:r>
              <a:rPr lang="cs-CZ" sz="1000" dirty="0" smtClean="0">
                <a:latin typeface="Arial Narrow" pitchFamily="34" charset="0"/>
              </a:rPr>
              <a:t>Zdroj:</a:t>
            </a:r>
            <a:endParaRPr lang="cs-CZ" sz="1000" dirty="0">
              <a:latin typeface="Arial Narrow" pitchFamily="34" charset="0"/>
            </a:endParaRPr>
          </a:p>
        </p:txBody>
      </p:sp>
      <p:sp>
        <p:nvSpPr>
          <p:cNvPr id="26" name="TextovéPole 25"/>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8154965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nodeType="withEffect">
                                  <p:stCondLst>
                                    <p:cond delay="0"/>
                                  </p:stCondLst>
                                  <p:childTnLst>
                                    <p:animRot by="120000">
                                      <p:cBhvr>
                                        <p:cTn id="6" dur="500" fill="hold">
                                          <p:stCondLst>
                                            <p:cond delay="0"/>
                                          </p:stCondLst>
                                        </p:cTn>
                                        <p:tgtEl>
                                          <p:spTgt spid="43"/>
                                        </p:tgtEl>
                                        <p:attrNameLst>
                                          <p:attrName>r</p:attrName>
                                        </p:attrNameLst>
                                      </p:cBhvr>
                                    </p:animRot>
                                    <p:animRot by="-240000">
                                      <p:cBhvr>
                                        <p:cTn id="7" dur="1000" fill="hold">
                                          <p:stCondLst>
                                            <p:cond delay="1000"/>
                                          </p:stCondLst>
                                        </p:cTn>
                                        <p:tgtEl>
                                          <p:spTgt spid="43"/>
                                        </p:tgtEl>
                                        <p:attrNameLst>
                                          <p:attrName>r</p:attrName>
                                        </p:attrNameLst>
                                      </p:cBhvr>
                                    </p:animRot>
                                    <p:animRot by="240000">
                                      <p:cBhvr>
                                        <p:cTn id="8" dur="1000" fill="hold">
                                          <p:stCondLst>
                                            <p:cond delay="2000"/>
                                          </p:stCondLst>
                                        </p:cTn>
                                        <p:tgtEl>
                                          <p:spTgt spid="43"/>
                                        </p:tgtEl>
                                        <p:attrNameLst>
                                          <p:attrName>r</p:attrName>
                                        </p:attrNameLst>
                                      </p:cBhvr>
                                    </p:animRot>
                                    <p:animRot by="-240000">
                                      <p:cBhvr>
                                        <p:cTn id="9" dur="1000" fill="hold">
                                          <p:stCondLst>
                                            <p:cond delay="3000"/>
                                          </p:stCondLst>
                                        </p:cTn>
                                        <p:tgtEl>
                                          <p:spTgt spid="43"/>
                                        </p:tgtEl>
                                        <p:attrNameLst>
                                          <p:attrName>r</p:attrName>
                                        </p:attrNameLst>
                                      </p:cBhvr>
                                    </p:animRot>
                                    <p:animRot by="120000">
                                      <p:cBhvr>
                                        <p:cTn id="10" dur="1000" fill="hold">
                                          <p:stCondLst>
                                            <p:cond delay="4000"/>
                                          </p:stCondLst>
                                        </p:cTn>
                                        <p:tgtEl>
                                          <p:spTgt spid="4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fontScale="90000"/>
          </a:bodyPr>
          <a:lstStyle/>
          <a:p>
            <a:r>
              <a:rPr lang="pl-PL" dirty="0"/>
              <a:t>Podíl EU na </a:t>
            </a:r>
            <a:r>
              <a:rPr lang="pl-PL" dirty="0" smtClean="0"/>
              <a:t/>
            </a:r>
            <a:br>
              <a:rPr lang="pl-PL" dirty="0" smtClean="0"/>
            </a:br>
            <a:r>
              <a:rPr lang="pl-PL" dirty="0" smtClean="0"/>
              <a:t>světových emisí</a:t>
            </a:r>
            <a:r>
              <a:rPr lang="cs-CZ" dirty="0" smtClean="0"/>
              <a:t>ch</a:t>
            </a:r>
            <a:endParaRPr lang="cs-CZ" dirty="0"/>
          </a:p>
        </p:txBody>
      </p:sp>
      <p:pic>
        <p:nvPicPr>
          <p:cNvPr id="13" name="Picture 2" descr="C:\Users\co2ro\Desktop\monitor\prezentare lenka.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6475561"/>
            <a:ext cx="1904207" cy="342900"/>
          </a:xfrm>
          <a:prstGeom prst="rect">
            <a:avLst/>
          </a:prstGeom>
          <a:noFill/>
          <a:extLst>
            <a:ext uri="{909E8E84-426E-40DD-AFC4-6F175D3DCCD1}">
              <a14:hiddenFill xmlns:a14="http://schemas.microsoft.com/office/drawing/2010/main">
                <a:solidFill>
                  <a:srgbClr val="FFFFFF"/>
                </a:solidFill>
              </a14:hiddenFill>
            </a:ext>
          </a:extLst>
        </p:spPr>
      </p:pic>
      <p:sp>
        <p:nvSpPr>
          <p:cNvPr id="3" name="Zástupný symbol pro obsah 2"/>
          <p:cNvSpPr>
            <a:spLocks noGrp="1"/>
          </p:cNvSpPr>
          <p:nvPr>
            <p:ph idx="1"/>
          </p:nvPr>
        </p:nvSpPr>
        <p:spPr>
          <a:xfrm>
            <a:off x="457200" y="1268760"/>
            <a:ext cx="8435280" cy="532655"/>
          </a:xfrm>
        </p:spPr>
        <p:txBody>
          <a:bodyPr>
            <a:normAutofit fontScale="62500" lnSpcReduction="20000"/>
          </a:bodyPr>
          <a:lstStyle/>
          <a:p>
            <a:pPr marL="0" indent="0">
              <a:spcBef>
                <a:spcPts val="300"/>
              </a:spcBef>
              <a:spcAft>
                <a:spcPts val="300"/>
              </a:spcAft>
              <a:buNone/>
            </a:pPr>
            <a:r>
              <a:rPr lang="pl-PL" sz="3300" dirty="0">
                <a:latin typeface="Tahoma" pitchFamily="34" charset="0"/>
                <a:ea typeface="Tahoma" pitchFamily="34" charset="0"/>
                <a:cs typeface="Tahoma" pitchFamily="34" charset="0"/>
              </a:rPr>
              <a:t>Úplná realizace Road Map 2050 povede ke snížení světových emisí o 1.86 </a:t>
            </a:r>
            <a:r>
              <a:rPr lang="pl-PL" sz="3300" dirty="0" smtClean="0">
                <a:latin typeface="Tahoma" pitchFamily="34" charset="0"/>
                <a:ea typeface="Tahoma" pitchFamily="34" charset="0"/>
                <a:cs typeface="Tahoma" pitchFamily="34" charset="0"/>
              </a:rPr>
              <a:t>%.</a:t>
            </a:r>
            <a:endParaRPr lang="pl-PL" sz="3300" dirty="0">
              <a:latin typeface="Tahoma" pitchFamily="34" charset="0"/>
              <a:ea typeface="Tahoma" pitchFamily="34" charset="0"/>
              <a:cs typeface="Tahoma" pitchFamily="34" charset="0"/>
            </a:endParaRPr>
          </a:p>
        </p:txBody>
      </p:sp>
      <p:pic>
        <p:nvPicPr>
          <p:cNvPr id="1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014" y="6309320"/>
            <a:ext cx="755650" cy="349250"/>
          </a:xfrm>
          <a:prstGeom prst="rect">
            <a:avLst/>
          </a:prstGeom>
          <a:noFill/>
          <a:ln>
            <a:noFill/>
          </a:ln>
          <a:effectLst/>
          <a:extLst>
            <a:ext uri="{909E8E84-426E-40DD-AFC4-6F175D3DCCD1}">
              <a14:hiddenFill xmlns:a14="http://schemas.microsoft.com/office/drawing/2010/main">
                <a:solidFill>
                  <a:srgbClr val="4F81BD"/>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pic>
      <p:sp>
        <p:nvSpPr>
          <p:cNvPr id="17" name="TextovéPole 16"/>
          <p:cNvSpPr txBox="1"/>
          <p:nvPr/>
        </p:nvSpPr>
        <p:spPr>
          <a:xfrm>
            <a:off x="395536" y="6309320"/>
            <a:ext cx="452368" cy="246221"/>
          </a:xfrm>
          <a:prstGeom prst="rect">
            <a:avLst/>
          </a:prstGeom>
          <a:noFill/>
        </p:spPr>
        <p:txBody>
          <a:bodyPr wrap="none" rtlCol="0">
            <a:spAutoFit/>
          </a:bodyPr>
          <a:lstStyle/>
          <a:p>
            <a:r>
              <a:rPr lang="cs-CZ" sz="1000" dirty="0" smtClean="0">
                <a:latin typeface="Arial Narrow" pitchFamily="34" charset="0"/>
              </a:rPr>
              <a:t>Zdroj:</a:t>
            </a:r>
            <a:endParaRPr lang="cs-CZ" sz="1000" dirty="0">
              <a:latin typeface="Arial Narrow" pitchFamily="34" charset="0"/>
            </a:endParaRPr>
          </a:p>
        </p:txBody>
      </p:sp>
      <p:graphicFrame>
        <p:nvGraphicFramePr>
          <p:cNvPr id="10" name="Chart 12"/>
          <p:cNvGraphicFramePr>
            <a:graphicFrameLocks/>
          </p:cNvGraphicFramePr>
          <p:nvPr>
            <p:extLst>
              <p:ext uri="{D42A27DB-BD31-4B8C-83A1-F6EECF244321}">
                <p14:modId xmlns:p14="http://schemas.microsoft.com/office/powerpoint/2010/main" val="3173643468"/>
              </p:ext>
            </p:extLst>
          </p:nvPr>
        </p:nvGraphicFramePr>
        <p:xfrm>
          <a:off x="621720" y="1844824"/>
          <a:ext cx="7910720" cy="424847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ovéPole 7"/>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pic>
        <p:nvPicPr>
          <p:cNvPr id="9" name="Picture 2" descr="C:\Users\co2ro\Desktop\lup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89227" y="3834256"/>
            <a:ext cx="2843213" cy="1493837"/>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
          <p:cNvSpPr txBox="1">
            <a:spLocks/>
          </p:cNvSpPr>
          <p:nvPr/>
        </p:nvSpPr>
        <p:spPr>
          <a:xfrm>
            <a:off x="7164288" y="4482328"/>
            <a:ext cx="1522512" cy="43204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4200"/>
              </a:spcBef>
              <a:spcAft>
                <a:spcPts val="300"/>
              </a:spcAft>
              <a:buFont typeface="Arial" pitchFamily="34" charset="0"/>
              <a:buNone/>
            </a:pPr>
            <a:r>
              <a:rPr lang="cs-CZ" sz="1800" b="1" dirty="0" smtClean="0">
                <a:solidFill>
                  <a:srgbClr val="FF0000"/>
                </a:solidFill>
                <a:latin typeface="Tahoma" pitchFamily="34" charset="0"/>
                <a:ea typeface="Tahoma" pitchFamily="34" charset="0"/>
                <a:cs typeface="Tahoma" pitchFamily="34" charset="0"/>
              </a:rPr>
              <a:t>   </a:t>
            </a:r>
            <a:r>
              <a:rPr lang="en-GB" sz="1800" b="1" dirty="0" smtClean="0">
                <a:solidFill>
                  <a:srgbClr val="FF0000"/>
                </a:solidFill>
                <a:latin typeface="Tahoma" pitchFamily="34" charset="0"/>
                <a:ea typeface="Tahoma" pitchFamily="34" charset="0"/>
                <a:cs typeface="Tahoma" pitchFamily="34" charset="0"/>
              </a:rPr>
              <a:t>0.</a:t>
            </a:r>
            <a:r>
              <a:rPr lang="pl-PL" sz="1800" b="1" dirty="0" smtClean="0">
                <a:solidFill>
                  <a:srgbClr val="FF0000"/>
                </a:solidFill>
                <a:latin typeface="Tahoma" pitchFamily="34" charset="0"/>
                <a:ea typeface="Tahoma" pitchFamily="34" charset="0"/>
                <a:cs typeface="Tahoma" pitchFamily="34" charset="0"/>
              </a:rPr>
              <a:t>17</a:t>
            </a:r>
            <a:r>
              <a:rPr lang="en-GB" sz="1800" b="1" dirty="0" smtClean="0">
                <a:solidFill>
                  <a:srgbClr val="FF0000"/>
                </a:solidFill>
                <a:latin typeface="Tahoma" pitchFamily="34" charset="0"/>
                <a:ea typeface="Tahoma" pitchFamily="34" charset="0"/>
                <a:cs typeface="Tahoma" pitchFamily="34" charset="0"/>
              </a:rPr>
              <a:t> %</a:t>
            </a:r>
          </a:p>
          <a:p>
            <a:pPr marL="0" indent="0">
              <a:spcBef>
                <a:spcPts val="300"/>
              </a:spcBef>
              <a:spcAft>
                <a:spcPts val="300"/>
              </a:spcAft>
              <a:buFont typeface="Arial" pitchFamily="34" charset="0"/>
              <a:buNone/>
            </a:pPr>
            <a:endParaRPr lang="en-GB" sz="1800" dirty="0" smtClean="0">
              <a:solidFill>
                <a:srgbClr val="FF0000"/>
              </a:solidFill>
              <a:latin typeface="Tahoma" pitchFamily="34" charset="0"/>
              <a:ea typeface="Tahoma" pitchFamily="34" charset="0"/>
              <a:cs typeface="Tahoma" pitchFamily="34" charset="0"/>
            </a:endParaRPr>
          </a:p>
          <a:p>
            <a:pPr marL="0" indent="0">
              <a:spcBef>
                <a:spcPts val="300"/>
              </a:spcBef>
              <a:spcAft>
                <a:spcPts val="300"/>
              </a:spcAft>
              <a:buFont typeface="Arial" pitchFamily="34" charset="0"/>
              <a:buNone/>
            </a:pPr>
            <a:endParaRPr lang="en-GB" sz="1800" dirty="0" smtClean="0">
              <a:solidFill>
                <a:srgbClr val="FF0000"/>
              </a:solidFill>
              <a:latin typeface="Tahoma" pitchFamily="34" charset="0"/>
              <a:ea typeface="Tahoma" pitchFamily="34" charset="0"/>
              <a:cs typeface="Tahoma" pitchFamily="34" charset="0"/>
            </a:endParaRPr>
          </a:p>
          <a:p>
            <a:pPr marL="0" indent="0">
              <a:spcBef>
                <a:spcPts val="300"/>
              </a:spcBef>
              <a:spcAft>
                <a:spcPts val="300"/>
              </a:spcAft>
              <a:buFont typeface="Arial" pitchFamily="34" charset="0"/>
              <a:buNone/>
            </a:pPr>
            <a:endParaRPr lang="en-GB" sz="1800" dirty="0" smtClean="0">
              <a:solidFill>
                <a:srgbClr val="FF0000"/>
              </a:solidFill>
              <a:latin typeface="Tahoma" pitchFamily="34" charset="0"/>
              <a:ea typeface="Tahoma" pitchFamily="34" charset="0"/>
              <a:cs typeface="Tahoma" pitchFamily="34" charset="0"/>
            </a:endParaRPr>
          </a:p>
          <a:p>
            <a:pPr marL="0" indent="0">
              <a:spcBef>
                <a:spcPts val="300"/>
              </a:spcBef>
              <a:spcAft>
                <a:spcPts val="300"/>
              </a:spcAft>
              <a:buFont typeface="Arial" pitchFamily="34" charset="0"/>
              <a:buNone/>
            </a:pPr>
            <a:endParaRPr lang="en-GB" sz="1800" dirty="0" smtClean="0">
              <a:solidFill>
                <a:srgbClr val="FF0000"/>
              </a:solidFill>
              <a:latin typeface="Tahoma" pitchFamily="34" charset="0"/>
              <a:ea typeface="Tahoma" pitchFamily="34" charset="0"/>
              <a:cs typeface="Tahoma" pitchFamily="34" charset="0"/>
            </a:endParaRPr>
          </a:p>
          <a:p>
            <a:pPr marL="0" indent="0">
              <a:spcBef>
                <a:spcPts val="300"/>
              </a:spcBef>
              <a:spcAft>
                <a:spcPts val="300"/>
              </a:spcAft>
              <a:buFont typeface="Arial" pitchFamily="34" charset="0"/>
              <a:buNone/>
            </a:pPr>
            <a:endParaRPr lang="en-GB" sz="1800" dirty="0">
              <a:solidFill>
                <a:srgbClr val="FF0000"/>
              </a:solidFill>
              <a:latin typeface="Tahoma" pitchFamily="34" charset="0"/>
              <a:ea typeface="Tahoma" pitchFamily="34" charset="0"/>
              <a:cs typeface="Tahoma" pitchFamily="34" charset="0"/>
            </a:endParaRPr>
          </a:p>
        </p:txBody>
      </p:sp>
      <p:sp>
        <p:nvSpPr>
          <p:cNvPr id="12" name="Zástupný symbol pro obsah 2"/>
          <p:cNvSpPr txBox="1">
            <a:spLocks/>
          </p:cNvSpPr>
          <p:nvPr/>
        </p:nvSpPr>
        <p:spPr bwMode="auto">
          <a:xfrm>
            <a:off x="3011591" y="3576581"/>
            <a:ext cx="6653633" cy="1110056"/>
          </a:xfrm>
          <a:prstGeom prst="rect">
            <a:avLst/>
          </a:prstGeom>
          <a:noFill/>
          <a:ln>
            <a:noFill/>
          </a:ln>
          <a:extLst/>
        </p:spPr>
        <p:txBody>
          <a:bodyPr vert="horz" wrap="square" lIns="91440" tIns="45720" rIns="91440" bIns="45720" numCol="1" anchor="t" anchorCtr="0" compatLnSpc="1">
            <a:prstTxWarp prst="textNoShape">
              <a:avLst/>
            </a:prstTxWarp>
            <a:normAutofit fontScale="77500" lnSpcReduction="20000"/>
          </a:bodyPr>
          <a:lstStyle>
            <a:lvl1pPr marL="342900" indent="-342900" algn="l" defTabSz="457200" rtl="0" eaLnBrk="0" fontAlgn="base" hangingPunct="0">
              <a:spcBef>
                <a:spcPct val="20000"/>
              </a:spcBef>
              <a:spcAft>
                <a:spcPct val="0"/>
              </a:spcAft>
              <a:buClr>
                <a:schemeClr val="tx2"/>
              </a:buClr>
              <a:buFont typeface="Wingdings" pitchFamily="2" charset="2"/>
              <a:buChar char="§"/>
              <a:defRPr sz="2800" kern="1200" spc="-100">
                <a:solidFill>
                  <a:schemeClr val="bg2"/>
                </a:solidFill>
                <a:latin typeface="Cillian" pitchFamily="50" charset="-18"/>
                <a:ea typeface="ＭＳ Ｐゴシック" charset="-128"/>
                <a:cs typeface="Cillian" pitchFamily="50" charset="-18"/>
              </a:defRPr>
            </a:lvl1pPr>
            <a:lvl2pPr marL="742950" indent="-285750" algn="l" defTabSz="457200" rtl="0" eaLnBrk="0" fontAlgn="base" hangingPunct="0">
              <a:spcBef>
                <a:spcPct val="20000"/>
              </a:spcBef>
              <a:spcAft>
                <a:spcPct val="0"/>
              </a:spcAft>
              <a:buClr>
                <a:schemeClr val="tx2"/>
              </a:buClr>
              <a:buFont typeface="Wingdings" pitchFamily="2" charset="2"/>
              <a:buChar char="§"/>
              <a:defRPr sz="2400" kern="1200" spc="-100">
                <a:solidFill>
                  <a:schemeClr val="bg2"/>
                </a:solidFill>
                <a:latin typeface="Cillian" pitchFamily="50" charset="-18"/>
                <a:ea typeface="ＭＳ Ｐゴシック" charset="-128"/>
                <a:cs typeface="Cillian" pitchFamily="50" charset="-18"/>
              </a:defRPr>
            </a:lvl2pPr>
            <a:lvl3pPr marL="1143000" indent="-228600" algn="l" defTabSz="457200" rtl="0" eaLnBrk="0" fontAlgn="base" hangingPunct="0">
              <a:spcBef>
                <a:spcPct val="20000"/>
              </a:spcBef>
              <a:spcAft>
                <a:spcPct val="0"/>
              </a:spcAft>
              <a:buClr>
                <a:schemeClr val="bg2"/>
              </a:buClr>
              <a:buFont typeface="Wingdings" pitchFamily="2" charset="2"/>
              <a:buChar char="§"/>
              <a:defRPr sz="2000" kern="1200" spc="-100">
                <a:solidFill>
                  <a:schemeClr val="bg2"/>
                </a:solidFill>
                <a:latin typeface="Cillian" pitchFamily="50" charset="-18"/>
                <a:ea typeface="ＭＳ Ｐゴシック" charset="-128"/>
                <a:cs typeface="Cillian" pitchFamily="50" charset="-18"/>
              </a:defRPr>
            </a:lvl3pPr>
            <a:lvl4pPr marL="1600200" indent="-228600" algn="l" defTabSz="457200" rtl="0" eaLnBrk="0" fontAlgn="base" hangingPunct="0">
              <a:spcBef>
                <a:spcPct val="20000"/>
              </a:spcBef>
              <a:spcAft>
                <a:spcPct val="0"/>
              </a:spcAft>
              <a:buFont typeface="Arial" charset="0"/>
              <a:buChar char="–"/>
              <a:defRPr kern="1200" spc="-100">
                <a:solidFill>
                  <a:schemeClr val="bg2"/>
                </a:solidFill>
                <a:latin typeface="Cillian" pitchFamily="50" charset="-18"/>
                <a:ea typeface="ＭＳ Ｐゴシック" charset="-128"/>
                <a:cs typeface="Cillian" pitchFamily="50" charset="-18"/>
              </a:defRPr>
            </a:lvl4pPr>
            <a:lvl5pPr marL="2057400" indent="-228600" algn="l" defTabSz="457200" rtl="0" eaLnBrk="0" fontAlgn="base" hangingPunct="0">
              <a:spcBef>
                <a:spcPct val="20000"/>
              </a:spcBef>
              <a:spcAft>
                <a:spcPct val="0"/>
              </a:spcAft>
              <a:buFont typeface="Arial" pitchFamily="34" charset="0"/>
              <a:buChar char="-"/>
              <a:defRPr kern="1200" spc="-100">
                <a:solidFill>
                  <a:schemeClr val="bg2"/>
                </a:solidFill>
                <a:latin typeface="Cillian" pitchFamily="50" charset="-18"/>
                <a:ea typeface="ＭＳ Ｐゴシック" charset="-128"/>
                <a:cs typeface="Cillian" pitchFamily="50" charset="-1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300"/>
              </a:spcBef>
              <a:spcAft>
                <a:spcPts val="300"/>
              </a:spcAft>
            </a:pPr>
            <a:endParaRPr lang="cs-CZ" dirty="0" smtClean="0">
              <a:latin typeface="Tahoma" pitchFamily="34" charset="0"/>
              <a:ea typeface="Tahoma" pitchFamily="34" charset="0"/>
              <a:cs typeface="Tahoma" pitchFamily="34" charset="0"/>
            </a:endParaRPr>
          </a:p>
          <a:p>
            <a:pPr>
              <a:spcBef>
                <a:spcPts val="300"/>
              </a:spcBef>
              <a:spcAft>
                <a:spcPts val="300"/>
              </a:spcAft>
            </a:pPr>
            <a:endParaRPr lang="cs-CZ" dirty="0" smtClean="0">
              <a:latin typeface="Tahoma" pitchFamily="34" charset="0"/>
              <a:ea typeface="Tahoma" pitchFamily="34" charset="0"/>
              <a:cs typeface="Tahoma" pitchFamily="34" charset="0"/>
            </a:endParaRPr>
          </a:p>
          <a:p>
            <a:pPr marL="0" indent="0">
              <a:spcBef>
                <a:spcPts val="300"/>
              </a:spcBef>
              <a:spcAft>
                <a:spcPts val="300"/>
              </a:spcAft>
              <a:buNone/>
            </a:pPr>
            <a:r>
              <a:rPr lang="cs-CZ" b="1" dirty="0" smtClean="0">
                <a:latin typeface="Tahoma" pitchFamily="34" charset="0"/>
                <a:ea typeface="Tahoma" pitchFamily="34" charset="0"/>
                <a:cs typeface="Tahoma" pitchFamily="34" charset="0"/>
              </a:rPr>
              <a:t>Kolik </a:t>
            </a:r>
            <a:r>
              <a:rPr lang="cs-CZ" b="1" dirty="0" smtClean="0">
                <a:latin typeface="Tahoma" pitchFamily="34" charset="0"/>
                <a:ea typeface="Tahoma" pitchFamily="34" charset="0"/>
                <a:cs typeface="Tahoma" pitchFamily="34" charset="0"/>
              </a:rPr>
              <a:t>dělá energetika ze </a:t>
            </a:r>
            <a:r>
              <a:rPr lang="cs-CZ" b="1" dirty="0" smtClean="0">
                <a:latin typeface="Tahoma" pitchFamily="34" charset="0"/>
                <a:ea typeface="Tahoma" pitchFamily="34" charset="0"/>
                <a:cs typeface="Tahoma" pitchFamily="34" charset="0"/>
              </a:rPr>
              <a:t>100 %? </a:t>
            </a:r>
            <a:r>
              <a:rPr lang="cs-CZ" dirty="0" smtClean="0">
                <a:latin typeface="Tahoma" pitchFamily="34" charset="0"/>
                <a:ea typeface="Tahoma" pitchFamily="34" charset="0"/>
                <a:cs typeface="Tahoma" pitchFamily="34" charset="0"/>
              </a:rPr>
              <a:t>		</a:t>
            </a:r>
          </a:p>
          <a:p>
            <a:endParaRPr lang="cs-CZ" dirty="0"/>
          </a:p>
        </p:txBody>
      </p:sp>
    </p:spTree>
    <p:extLst>
      <p:ext uri="{BB962C8B-B14F-4D97-AF65-F5344CB8AC3E}">
        <p14:creationId xmlns:p14="http://schemas.microsoft.com/office/powerpoint/2010/main" val="14416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Nadpis 1"/>
          <p:cNvSpPr>
            <a:spLocks noGrp="1"/>
          </p:cNvSpPr>
          <p:nvPr>
            <p:ph type="title"/>
          </p:nvPr>
        </p:nvSpPr>
        <p:spPr/>
        <p:txBody>
          <a:bodyPr>
            <a:normAutofit fontScale="90000"/>
          </a:bodyPr>
          <a:lstStyle/>
          <a:p>
            <a:r>
              <a:rPr lang="cs-CZ" dirty="0"/>
              <a:t>Výrobní mix pro </a:t>
            </a:r>
            <a:r>
              <a:rPr lang="cs-CZ" dirty="0" smtClean="0"/>
              <a:t/>
            </a:r>
            <a:br>
              <a:rPr lang="cs-CZ" dirty="0" smtClean="0"/>
            </a:br>
            <a:r>
              <a:rPr lang="cs-CZ" dirty="0" smtClean="0"/>
              <a:t>různé </a:t>
            </a:r>
            <a:r>
              <a:rPr lang="cs-CZ" dirty="0"/>
              <a:t>varianty </a:t>
            </a:r>
            <a:r>
              <a:rPr lang="cs-CZ" dirty="0" smtClean="0"/>
              <a:t>OZE</a:t>
            </a:r>
            <a:endParaRPr lang="cs-CZ" dirty="0" smtClean="0">
              <a:ea typeface="ＭＳ Ｐゴシック" pitchFamily="34" charset="-128"/>
            </a:endParaRPr>
          </a:p>
        </p:txBody>
      </p:sp>
      <p:pic>
        <p:nvPicPr>
          <p:cNvPr id="5" name="Zástupný symbol pro obsah 3" descr="Bez názvu.JPG"/>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467544" y="1269578"/>
            <a:ext cx="7056438" cy="5111750"/>
          </a:xfrm>
        </p:spPr>
      </p:pic>
      <p:pic>
        <p:nvPicPr>
          <p:cNvPr id="3075" name="Picture 3" descr="C:\Users\por06\AppData\Local\Microsoft\Windows\Temporary Internet Files\Content.IE5\T0EXJW1Z\MP900403292[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83029" y="2036040"/>
            <a:ext cx="1553467" cy="3481192"/>
          </a:xfrm>
          <a:prstGeom prst="rect">
            <a:avLst/>
          </a:prstGeom>
          <a:noFill/>
          <a:extLst>
            <a:ext uri="{909E8E84-426E-40DD-AFC4-6F175D3DCCD1}">
              <a14:hiddenFill xmlns:a14="http://schemas.microsoft.com/office/drawing/2010/main">
                <a:solidFill>
                  <a:srgbClr val="FFFFFF"/>
                </a:solidFill>
              </a14:hiddenFill>
            </a:ext>
          </a:extLst>
        </p:spPr>
      </p:pic>
      <p:sp>
        <p:nvSpPr>
          <p:cNvPr id="6" name="TextovéPole 5"/>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703706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Nadpis 1"/>
          <p:cNvSpPr>
            <a:spLocks noGrp="1"/>
          </p:cNvSpPr>
          <p:nvPr>
            <p:ph type="title"/>
          </p:nvPr>
        </p:nvSpPr>
        <p:spPr/>
        <p:txBody>
          <a:bodyPr>
            <a:normAutofit fontScale="90000"/>
          </a:bodyPr>
          <a:lstStyle/>
          <a:p>
            <a:r>
              <a:rPr lang="cs-CZ" dirty="0"/>
              <a:t>Vliv OZE na rozvoj </a:t>
            </a:r>
            <a:r>
              <a:rPr lang="cs-CZ" dirty="0" smtClean="0"/>
              <a:t/>
            </a:r>
            <a:br>
              <a:rPr lang="cs-CZ" dirty="0" smtClean="0"/>
            </a:br>
            <a:r>
              <a:rPr lang="cs-CZ" dirty="0" smtClean="0"/>
              <a:t>evropské PS</a:t>
            </a:r>
            <a:endParaRPr lang="cs-CZ" dirty="0" smtClean="0">
              <a:ea typeface="ＭＳ Ｐゴシック" pitchFamily="34" charset="-128"/>
            </a:endParaRPr>
          </a:p>
        </p:txBody>
      </p:sp>
      <p:pic>
        <p:nvPicPr>
          <p:cNvPr id="6" name="Zástupný symbol pro obsah 3" descr="Bez názvu.JPG"/>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250825" y="1484313"/>
            <a:ext cx="7345363" cy="5040312"/>
          </a:xfrm>
        </p:spPr>
      </p:pic>
      <p:pic>
        <p:nvPicPr>
          <p:cNvPr id="4098" name="Picture 2" descr="C:\Users\por06\AppData\Local\Microsoft\Windows\Temporary Internet Files\Content.IE5\6Q4L8SIK\MP90038531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2320" y="4598573"/>
            <a:ext cx="1656184" cy="11829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por06\AppData\Local\Microsoft\Windows\Temporary Internet Files\Content.IE5\6Q4L8SIK\MP90038531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2320" y="3212976"/>
            <a:ext cx="1656184" cy="118298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por06\AppData\Local\Microsoft\Windows\Temporary Internet Files\Content.IE5\6Q4L8SIK\MP90038531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2320" y="1844824"/>
            <a:ext cx="1656184" cy="1182988"/>
          </a:xfrm>
          <a:prstGeom prst="rect">
            <a:avLst/>
          </a:prstGeom>
          <a:noFill/>
          <a:extLst>
            <a:ext uri="{909E8E84-426E-40DD-AFC4-6F175D3DCCD1}">
              <a14:hiddenFill xmlns:a14="http://schemas.microsoft.com/office/drawing/2010/main">
                <a:solidFill>
                  <a:srgbClr val="FFFFFF"/>
                </a:solidFill>
              </a14:hiddenFill>
            </a:ext>
          </a:extLst>
        </p:spPr>
      </p:pic>
      <p:sp>
        <p:nvSpPr>
          <p:cNvPr id="7" name="TextovéPole 6"/>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1612511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91"/>
          <p:cNvGrpSpPr>
            <a:grpSpLocks/>
          </p:cNvGrpSpPr>
          <p:nvPr/>
        </p:nvGrpSpPr>
        <p:grpSpPr bwMode="auto">
          <a:xfrm>
            <a:off x="468313" y="1844824"/>
            <a:ext cx="1800225" cy="4451350"/>
            <a:chOff x="340" y="0"/>
            <a:chExt cx="1084" cy="4320"/>
          </a:xfrm>
        </p:grpSpPr>
        <p:sp>
          <p:nvSpPr>
            <p:cNvPr id="4" name="Rectangle 7"/>
            <p:cNvSpPr>
              <a:spLocks noChangeArrowheads="1"/>
            </p:cNvSpPr>
            <p:nvPr/>
          </p:nvSpPr>
          <p:spPr bwMode="gray">
            <a:xfrm flipH="1">
              <a:off x="340" y="1434"/>
              <a:ext cx="1084" cy="2886"/>
            </a:xfrm>
            <a:prstGeom prst="rect">
              <a:avLst/>
            </a:prstGeom>
            <a:solidFill>
              <a:schemeClr val="tx2">
                <a:alpha val="5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fontAlgn="auto">
                <a:spcBef>
                  <a:spcPts val="0"/>
                </a:spcBef>
                <a:spcAft>
                  <a:spcPts val="0"/>
                </a:spcAft>
                <a:defRPr/>
              </a:pPr>
              <a:endParaRPr lang="en-US" sz="1800" kern="0">
                <a:solidFill>
                  <a:sysClr val="windowText" lastClr="000000"/>
                </a:solidFill>
                <a:latin typeface="+mn-lt"/>
              </a:endParaRPr>
            </a:p>
          </p:txBody>
        </p:sp>
        <p:sp>
          <p:nvSpPr>
            <p:cNvPr id="5" name="Rectangle 7"/>
            <p:cNvSpPr>
              <a:spLocks noChangeArrowheads="1"/>
            </p:cNvSpPr>
            <p:nvPr/>
          </p:nvSpPr>
          <p:spPr bwMode="gray">
            <a:xfrm rot="10800000" flipH="1">
              <a:off x="340" y="0"/>
              <a:ext cx="1084" cy="1434"/>
            </a:xfrm>
            <a:prstGeom prst="rect">
              <a:avLst/>
            </a:prstGeom>
            <a:gradFill rotWithShape="1">
              <a:gsLst>
                <a:gs pos="0">
                  <a:schemeClr val="tx2">
                    <a:alpha val="50000"/>
                  </a:schemeClr>
                </a:gs>
                <a:gs pos="100000">
                  <a:schemeClr val="tx2">
                    <a:alpha val="0"/>
                  </a:scheme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anchor="ctr"/>
            <a:lstStyle/>
            <a:p>
              <a:pPr algn="l" fontAlgn="auto">
                <a:spcBef>
                  <a:spcPts val="0"/>
                </a:spcBef>
                <a:spcAft>
                  <a:spcPts val="0"/>
                </a:spcAft>
                <a:defRPr/>
              </a:pPr>
              <a:endParaRPr lang="en-US" sz="1800" kern="0">
                <a:solidFill>
                  <a:sysClr val="windowText" lastClr="000000"/>
                </a:solidFill>
                <a:latin typeface="+mn-lt"/>
              </a:endParaRPr>
            </a:p>
          </p:txBody>
        </p:sp>
      </p:grpSp>
      <p:sp>
        <p:nvSpPr>
          <p:cNvPr id="6" name="Text Box 95"/>
          <p:cNvSpPr txBox="1">
            <a:spLocks noChangeArrowheads="1"/>
          </p:cNvSpPr>
          <p:nvPr/>
        </p:nvSpPr>
        <p:spPr bwMode="gray">
          <a:xfrm>
            <a:off x="468313" y="1924199"/>
            <a:ext cx="1800225" cy="413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tx1"/>
                  </a:outerShdw>
                </a:effectLst>
              </a14:hiddenEffects>
            </a:ext>
          </a:extLst>
        </p:spPr>
        <p:txBody>
          <a:bodyPr lIns="288000" rIns="0">
            <a:spAutoFit/>
          </a:bodyPr>
          <a:lstStyle>
            <a:lvl1pPr eaLnBrk="0" hangingPunct="0">
              <a:lnSpc>
                <a:spcPct val="90000"/>
              </a:lnSpc>
              <a:defRPr sz="3000">
                <a:solidFill>
                  <a:schemeClr val="bg1"/>
                </a:solidFill>
                <a:latin typeface="Arial" pitchFamily="34" charset="0"/>
              </a:defRPr>
            </a:lvl1pPr>
            <a:lvl2pPr marL="533400" eaLnBrk="0" hangingPunct="0">
              <a:lnSpc>
                <a:spcPct val="90000"/>
              </a:lnSpc>
              <a:defRPr sz="3000">
                <a:solidFill>
                  <a:schemeClr val="bg1"/>
                </a:solidFill>
                <a:latin typeface="Arial" pitchFamily="34" charset="0"/>
              </a:defRPr>
            </a:lvl2pPr>
            <a:lvl3pPr eaLnBrk="0" hangingPunct="0">
              <a:lnSpc>
                <a:spcPct val="90000"/>
              </a:lnSpc>
              <a:defRPr sz="3000">
                <a:solidFill>
                  <a:schemeClr val="bg1"/>
                </a:solidFill>
                <a:latin typeface="Arial" pitchFamily="34" charset="0"/>
              </a:defRPr>
            </a:lvl3pPr>
            <a:lvl4pPr eaLnBrk="0" hangingPunct="0">
              <a:lnSpc>
                <a:spcPct val="90000"/>
              </a:lnSpc>
              <a:defRPr sz="3000">
                <a:solidFill>
                  <a:schemeClr val="bg1"/>
                </a:solidFill>
                <a:latin typeface="Arial" pitchFamily="34" charset="0"/>
              </a:defRPr>
            </a:lvl4pPr>
            <a:lvl5pPr eaLnBrk="0" hangingPunct="0">
              <a:lnSpc>
                <a:spcPct val="90000"/>
              </a:lnSpc>
              <a:defRPr sz="3000">
                <a:solidFill>
                  <a:schemeClr val="bg1"/>
                </a:solidFill>
                <a:latin typeface="Arial" pitchFamily="34" charset="0"/>
              </a:defRPr>
            </a:lvl5pPr>
            <a:lvl6pPr algn="ctr" eaLnBrk="0" fontAlgn="base" hangingPunct="0">
              <a:lnSpc>
                <a:spcPct val="90000"/>
              </a:lnSpc>
              <a:spcBef>
                <a:spcPct val="0"/>
              </a:spcBef>
              <a:spcAft>
                <a:spcPct val="0"/>
              </a:spcAft>
              <a:defRPr sz="3000">
                <a:solidFill>
                  <a:schemeClr val="bg1"/>
                </a:solidFill>
                <a:latin typeface="Arial" pitchFamily="34" charset="0"/>
              </a:defRPr>
            </a:lvl6pPr>
            <a:lvl7pPr algn="ctr" eaLnBrk="0" fontAlgn="base" hangingPunct="0">
              <a:lnSpc>
                <a:spcPct val="90000"/>
              </a:lnSpc>
              <a:spcBef>
                <a:spcPct val="0"/>
              </a:spcBef>
              <a:spcAft>
                <a:spcPct val="0"/>
              </a:spcAft>
              <a:defRPr sz="3000">
                <a:solidFill>
                  <a:schemeClr val="bg1"/>
                </a:solidFill>
                <a:latin typeface="Arial" pitchFamily="34" charset="0"/>
              </a:defRPr>
            </a:lvl7pPr>
            <a:lvl8pPr algn="ctr" eaLnBrk="0" fontAlgn="base" hangingPunct="0">
              <a:lnSpc>
                <a:spcPct val="90000"/>
              </a:lnSpc>
              <a:spcBef>
                <a:spcPct val="0"/>
              </a:spcBef>
              <a:spcAft>
                <a:spcPct val="0"/>
              </a:spcAft>
              <a:defRPr sz="3000">
                <a:solidFill>
                  <a:schemeClr val="bg1"/>
                </a:solidFill>
                <a:latin typeface="Arial" pitchFamily="34" charset="0"/>
              </a:defRPr>
            </a:lvl8pPr>
            <a:lvl9pPr algn="ctr" eaLnBrk="0" fontAlgn="base" hangingPunct="0">
              <a:lnSpc>
                <a:spcPct val="90000"/>
              </a:lnSpc>
              <a:spcBef>
                <a:spcPct val="0"/>
              </a:spcBef>
              <a:spcAft>
                <a:spcPct val="0"/>
              </a:spcAft>
              <a:defRPr sz="3000">
                <a:solidFill>
                  <a:schemeClr val="bg1"/>
                </a:solidFill>
                <a:latin typeface="Arial" pitchFamily="34" charset="0"/>
              </a:defRPr>
            </a:lvl9pPr>
          </a:lstStyle>
          <a:p>
            <a:pPr algn="l" eaLnBrk="1" hangingPunct="1">
              <a:lnSpc>
                <a:spcPct val="100000"/>
              </a:lnSpc>
            </a:pPr>
            <a:r>
              <a:rPr lang="en-US" sz="1400" b="1" dirty="0">
                <a:latin typeface="Trebuchet MS" pitchFamily="34" charset="0"/>
              </a:rPr>
              <a:t>Southern</a:t>
            </a:r>
            <a:br>
              <a:rPr lang="en-US" sz="1400" b="1" dirty="0">
                <a:latin typeface="Trebuchet MS" pitchFamily="34" charset="0"/>
              </a:rPr>
            </a:br>
            <a:r>
              <a:rPr lang="en-US" sz="1400" b="1" dirty="0">
                <a:latin typeface="Trebuchet MS" pitchFamily="34" charset="0"/>
              </a:rPr>
              <a:t>gas corridor</a:t>
            </a:r>
          </a:p>
          <a:p>
            <a:pPr algn="l" eaLnBrk="1" hangingPunct="1">
              <a:lnSpc>
                <a:spcPct val="100000"/>
              </a:lnSpc>
            </a:pPr>
            <a:endParaRPr lang="en-US" sz="1400" b="1" dirty="0">
              <a:latin typeface="Trebuchet MS" pitchFamily="34" charset="0"/>
            </a:endParaRPr>
          </a:p>
          <a:p>
            <a:pPr algn="l" eaLnBrk="1" hangingPunct="1">
              <a:lnSpc>
                <a:spcPct val="100000"/>
              </a:lnSpc>
            </a:pPr>
            <a:r>
              <a:rPr lang="en-US" sz="1400" b="1" dirty="0">
                <a:latin typeface="Trebuchet MS" pitchFamily="34" charset="0"/>
              </a:rPr>
              <a:t>LNG terminals</a:t>
            </a:r>
          </a:p>
          <a:p>
            <a:pPr algn="l" eaLnBrk="1" hangingPunct="1">
              <a:lnSpc>
                <a:spcPct val="100000"/>
              </a:lnSpc>
            </a:pPr>
            <a:endParaRPr lang="en-US" sz="1400" b="1" dirty="0">
              <a:latin typeface="Trebuchet MS" pitchFamily="34" charset="0"/>
            </a:endParaRPr>
          </a:p>
          <a:p>
            <a:pPr algn="l" eaLnBrk="1" hangingPunct="1">
              <a:lnSpc>
                <a:spcPct val="100000"/>
              </a:lnSpc>
            </a:pPr>
            <a:r>
              <a:rPr lang="en-US" sz="1400" b="1" dirty="0">
                <a:latin typeface="Trebuchet MS" pitchFamily="34" charset="0"/>
              </a:rPr>
              <a:t>Baltic inter-</a:t>
            </a:r>
            <a:br>
              <a:rPr lang="en-US" sz="1400" b="1" dirty="0">
                <a:latin typeface="Trebuchet MS" pitchFamily="34" charset="0"/>
              </a:rPr>
            </a:br>
            <a:r>
              <a:rPr lang="en-US" sz="1400" b="1" dirty="0">
                <a:latin typeface="Trebuchet MS" pitchFamily="34" charset="0"/>
              </a:rPr>
              <a:t>connection plan</a:t>
            </a:r>
          </a:p>
          <a:p>
            <a:pPr algn="l" eaLnBrk="1" hangingPunct="1">
              <a:lnSpc>
                <a:spcPct val="100000"/>
              </a:lnSpc>
            </a:pPr>
            <a:endParaRPr lang="en-US" sz="1400" b="1" dirty="0">
              <a:latin typeface="Trebuchet MS" pitchFamily="34" charset="0"/>
            </a:endParaRPr>
          </a:p>
          <a:p>
            <a:pPr algn="l" eaLnBrk="1" hangingPunct="1">
              <a:lnSpc>
                <a:spcPct val="100000"/>
              </a:lnSpc>
            </a:pPr>
            <a:r>
              <a:rPr lang="en-US" sz="1400" b="1" dirty="0">
                <a:latin typeface="Trebuchet MS" pitchFamily="34" charset="0"/>
              </a:rPr>
              <a:t>Mediterranean</a:t>
            </a:r>
            <a:br>
              <a:rPr lang="en-US" sz="1400" b="1" dirty="0">
                <a:latin typeface="Trebuchet MS" pitchFamily="34" charset="0"/>
              </a:rPr>
            </a:br>
            <a:r>
              <a:rPr lang="en-US" sz="1400" b="1" dirty="0">
                <a:latin typeface="Trebuchet MS" pitchFamily="34" charset="0"/>
              </a:rPr>
              <a:t>energy ring</a:t>
            </a:r>
          </a:p>
          <a:p>
            <a:pPr algn="l" eaLnBrk="1" hangingPunct="1">
              <a:lnSpc>
                <a:spcPct val="100000"/>
              </a:lnSpc>
            </a:pPr>
            <a:endParaRPr lang="en-US" sz="1400" b="1" dirty="0">
              <a:latin typeface="Trebuchet MS" pitchFamily="34" charset="0"/>
            </a:endParaRPr>
          </a:p>
          <a:p>
            <a:pPr algn="l" eaLnBrk="1" hangingPunct="1">
              <a:lnSpc>
                <a:spcPct val="100000"/>
              </a:lnSpc>
            </a:pPr>
            <a:r>
              <a:rPr lang="en-US" sz="1400" b="1" dirty="0">
                <a:latin typeface="Trebuchet MS" pitchFamily="34" charset="0"/>
              </a:rPr>
              <a:t>North south</a:t>
            </a:r>
            <a:br>
              <a:rPr lang="en-US" sz="1400" b="1" dirty="0">
                <a:latin typeface="Trebuchet MS" pitchFamily="34" charset="0"/>
              </a:rPr>
            </a:br>
            <a:r>
              <a:rPr lang="en-US" sz="1400" b="1" dirty="0">
                <a:latin typeface="Trebuchet MS" pitchFamily="34" charset="0"/>
              </a:rPr>
              <a:t>electricity &amp; gas</a:t>
            </a:r>
            <a:br>
              <a:rPr lang="en-US" sz="1400" b="1" dirty="0">
                <a:latin typeface="Trebuchet MS" pitchFamily="34" charset="0"/>
              </a:rPr>
            </a:br>
            <a:r>
              <a:rPr lang="en-US" sz="1400" b="1" dirty="0">
                <a:latin typeface="Trebuchet MS" pitchFamily="34" charset="0"/>
              </a:rPr>
              <a:t>interconnections</a:t>
            </a:r>
            <a:br>
              <a:rPr lang="en-US" sz="1400" b="1" dirty="0">
                <a:latin typeface="Trebuchet MS" pitchFamily="34" charset="0"/>
              </a:rPr>
            </a:br>
            <a:r>
              <a:rPr lang="en-US" sz="1400" b="1" dirty="0">
                <a:latin typeface="Trebuchet MS" pitchFamily="34" charset="0"/>
              </a:rPr>
              <a:t>in central-south</a:t>
            </a:r>
            <a:br>
              <a:rPr lang="en-US" sz="1400" b="1" dirty="0">
                <a:latin typeface="Trebuchet MS" pitchFamily="34" charset="0"/>
              </a:rPr>
            </a:br>
            <a:r>
              <a:rPr lang="en-US" sz="1400" b="1" dirty="0">
                <a:latin typeface="Trebuchet MS" pitchFamily="34" charset="0"/>
              </a:rPr>
              <a:t>Europe</a:t>
            </a:r>
          </a:p>
          <a:p>
            <a:pPr algn="l" eaLnBrk="1" hangingPunct="1">
              <a:lnSpc>
                <a:spcPct val="100000"/>
              </a:lnSpc>
            </a:pPr>
            <a:endParaRPr lang="en-US" sz="1400" b="1" dirty="0">
              <a:latin typeface="Trebuchet MS" pitchFamily="34" charset="0"/>
            </a:endParaRPr>
          </a:p>
          <a:p>
            <a:pPr algn="l" eaLnBrk="1" hangingPunct="1">
              <a:lnSpc>
                <a:spcPct val="100000"/>
              </a:lnSpc>
            </a:pPr>
            <a:r>
              <a:rPr lang="en-US" sz="1400" b="1" dirty="0">
                <a:latin typeface="Trebuchet MS" pitchFamily="34" charset="0"/>
              </a:rPr>
              <a:t>North Sea</a:t>
            </a:r>
            <a:br>
              <a:rPr lang="en-US" sz="1400" b="1" dirty="0">
                <a:latin typeface="Trebuchet MS" pitchFamily="34" charset="0"/>
              </a:rPr>
            </a:br>
            <a:r>
              <a:rPr lang="en-US" sz="1400" b="1" dirty="0">
                <a:latin typeface="Trebuchet MS" pitchFamily="34" charset="0"/>
              </a:rPr>
              <a:t>offshore grid</a:t>
            </a:r>
          </a:p>
        </p:txBody>
      </p:sp>
      <p:sp>
        <p:nvSpPr>
          <p:cNvPr id="7" name="Oval 96"/>
          <p:cNvSpPr>
            <a:spLocks noChangeAspect="1" noChangeArrowheads="1"/>
          </p:cNvSpPr>
          <p:nvPr/>
        </p:nvSpPr>
        <p:spPr bwMode="gray">
          <a:xfrm>
            <a:off x="360363" y="1989287"/>
            <a:ext cx="215900" cy="215900"/>
          </a:xfrm>
          <a:prstGeom prst="ellipse">
            <a:avLst/>
          </a:prstGeom>
          <a:solidFill>
            <a:srgbClr val="5F88BA"/>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8" name="Oval 97"/>
          <p:cNvSpPr>
            <a:spLocks noChangeAspect="1" noChangeArrowheads="1"/>
          </p:cNvSpPr>
          <p:nvPr/>
        </p:nvSpPr>
        <p:spPr bwMode="gray">
          <a:xfrm>
            <a:off x="360363" y="2625874"/>
            <a:ext cx="215900" cy="215900"/>
          </a:xfrm>
          <a:prstGeom prst="ellipse">
            <a:avLst/>
          </a:prstGeom>
          <a:solidFill>
            <a:schemeClr val="folHlink"/>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grpSp>
        <p:nvGrpSpPr>
          <p:cNvPr id="9" name="Group 98"/>
          <p:cNvGrpSpPr>
            <a:grpSpLocks/>
          </p:cNvGrpSpPr>
          <p:nvPr/>
        </p:nvGrpSpPr>
        <p:grpSpPr bwMode="auto">
          <a:xfrm>
            <a:off x="4011613" y="3471863"/>
            <a:ext cx="573087" cy="771525"/>
            <a:chOff x="2109" y="1842"/>
            <a:chExt cx="363" cy="489"/>
          </a:xfrm>
        </p:grpSpPr>
        <p:sp>
          <p:nvSpPr>
            <p:cNvPr id="10" name="Freeform 99"/>
            <p:cNvSpPr>
              <a:spLocks/>
            </p:cNvSpPr>
            <p:nvPr/>
          </p:nvSpPr>
          <p:spPr bwMode="gray">
            <a:xfrm>
              <a:off x="2259" y="1842"/>
              <a:ext cx="213" cy="409"/>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 name="Freeform 100"/>
            <p:cNvSpPr>
              <a:spLocks/>
            </p:cNvSpPr>
            <p:nvPr/>
          </p:nvSpPr>
          <p:spPr bwMode="gray">
            <a:xfrm>
              <a:off x="2200" y="1888"/>
              <a:ext cx="184" cy="352"/>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2" name="Freeform 101"/>
            <p:cNvSpPr>
              <a:spLocks/>
            </p:cNvSpPr>
            <p:nvPr/>
          </p:nvSpPr>
          <p:spPr bwMode="gray">
            <a:xfrm>
              <a:off x="2109" y="1888"/>
              <a:ext cx="231" cy="443"/>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nvGrpSpPr>
          <p:cNvPr id="13" name="Group 102"/>
          <p:cNvGrpSpPr>
            <a:grpSpLocks/>
          </p:cNvGrpSpPr>
          <p:nvPr/>
        </p:nvGrpSpPr>
        <p:grpSpPr bwMode="auto">
          <a:xfrm>
            <a:off x="3940175" y="2897188"/>
            <a:ext cx="573088" cy="771525"/>
            <a:chOff x="2109" y="1842"/>
            <a:chExt cx="363" cy="489"/>
          </a:xfrm>
        </p:grpSpPr>
        <p:sp>
          <p:nvSpPr>
            <p:cNvPr id="14" name="Freeform 103"/>
            <p:cNvSpPr>
              <a:spLocks/>
            </p:cNvSpPr>
            <p:nvPr/>
          </p:nvSpPr>
          <p:spPr bwMode="gray">
            <a:xfrm>
              <a:off x="2259" y="1842"/>
              <a:ext cx="213" cy="409"/>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5" name="Freeform 104"/>
            <p:cNvSpPr>
              <a:spLocks/>
            </p:cNvSpPr>
            <p:nvPr/>
          </p:nvSpPr>
          <p:spPr bwMode="gray">
            <a:xfrm>
              <a:off x="2200" y="1888"/>
              <a:ext cx="184" cy="352"/>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6" name="Freeform 105"/>
            <p:cNvSpPr>
              <a:spLocks/>
            </p:cNvSpPr>
            <p:nvPr/>
          </p:nvSpPr>
          <p:spPr bwMode="gray">
            <a:xfrm>
              <a:off x="2109" y="1888"/>
              <a:ext cx="231" cy="443"/>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nvGrpSpPr>
          <p:cNvPr id="17" name="Group 106"/>
          <p:cNvGrpSpPr>
            <a:grpSpLocks/>
          </p:cNvGrpSpPr>
          <p:nvPr/>
        </p:nvGrpSpPr>
        <p:grpSpPr bwMode="auto">
          <a:xfrm>
            <a:off x="3508375" y="2897188"/>
            <a:ext cx="573088" cy="771525"/>
            <a:chOff x="2109" y="1842"/>
            <a:chExt cx="363" cy="489"/>
          </a:xfrm>
        </p:grpSpPr>
        <p:sp>
          <p:nvSpPr>
            <p:cNvPr id="18" name="Freeform 107"/>
            <p:cNvSpPr>
              <a:spLocks/>
            </p:cNvSpPr>
            <p:nvPr/>
          </p:nvSpPr>
          <p:spPr bwMode="gray">
            <a:xfrm>
              <a:off x="2259" y="1842"/>
              <a:ext cx="213" cy="409"/>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9" name="Freeform 108"/>
            <p:cNvSpPr>
              <a:spLocks/>
            </p:cNvSpPr>
            <p:nvPr/>
          </p:nvSpPr>
          <p:spPr bwMode="gray">
            <a:xfrm>
              <a:off x="2200" y="1888"/>
              <a:ext cx="184" cy="352"/>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0" name="Freeform 109"/>
            <p:cNvSpPr>
              <a:spLocks/>
            </p:cNvSpPr>
            <p:nvPr/>
          </p:nvSpPr>
          <p:spPr bwMode="gray">
            <a:xfrm>
              <a:off x="2109" y="1888"/>
              <a:ext cx="231" cy="443"/>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nvGrpSpPr>
          <p:cNvPr id="21" name="Group 110"/>
          <p:cNvGrpSpPr>
            <a:grpSpLocks/>
          </p:cNvGrpSpPr>
          <p:nvPr/>
        </p:nvGrpSpPr>
        <p:grpSpPr bwMode="auto">
          <a:xfrm>
            <a:off x="3652838" y="3328988"/>
            <a:ext cx="573087" cy="771525"/>
            <a:chOff x="2109" y="1842"/>
            <a:chExt cx="363" cy="489"/>
          </a:xfrm>
        </p:grpSpPr>
        <p:sp>
          <p:nvSpPr>
            <p:cNvPr id="22" name="Freeform 111"/>
            <p:cNvSpPr>
              <a:spLocks/>
            </p:cNvSpPr>
            <p:nvPr/>
          </p:nvSpPr>
          <p:spPr bwMode="gray">
            <a:xfrm>
              <a:off x="2259" y="1842"/>
              <a:ext cx="213" cy="409"/>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3" name="Freeform 112"/>
            <p:cNvSpPr>
              <a:spLocks/>
            </p:cNvSpPr>
            <p:nvPr/>
          </p:nvSpPr>
          <p:spPr bwMode="gray">
            <a:xfrm>
              <a:off x="2200" y="1888"/>
              <a:ext cx="184" cy="352"/>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4" name="Freeform 113"/>
            <p:cNvSpPr>
              <a:spLocks/>
            </p:cNvSpPr>
            <p:nvPr/>
          </p:nvSpPr>
          <p:spPr bwMode="gray">
            <a:xfrm>
              <a:off x="2109" y="1888"/>
              <a:ext cx="231" cy="443"/>
            </a:xfrm>
            <a:custGeom>
              <a:avLst/>
              <a:gdLst>
                <a:gd name="T0" fmla="*/ 655 w 671"/>
                <a:gd name="T1" fmla="*/ 793 h 1282"/>
                <a:gd name="T2" fmla="*/ 640 w 671"/>
                <a:gd name="T3" fmla="*/ 739 h 1282"/>
                <a:gd name="T4" fmla="*/ 530 w 671"/>
                <a:gd name="T5" fmla="*/ 452 h 1282"/>
                <a:gd name="T6" fmla="*/ 516 w 671"/>
                <a:gd name="T7" fmla="*/ 435 h 1282"/>
                <a:gd name="T8" fmla="*/ 476 w 671"/>
                <a:gd name="T9" fmla="*/ 350 h 1282"/>
                <a:gd name="T10" fmla="*/ 474 w 671"/>
                <a:gd name="T11" fmla="*/ 352 h 1282"/>
                <a:gd name="T12" fmla="*/ 479 w 671"/>
                <a:gd name="T13" fmla="*/ 348 h 1282"/>
                <a:gd name="T14" fmla="*/ 483 w 671"/>
                <a:gd name="T15" fmla="*/ 327 h 1282"/>
                <a:gd name="T16" fmla="*/ 482 w 671"/>
                <a:gd name="T17" fmla="*/ 321 h 1282"/>
                <a:gd name="T18" fmla="*/ 483 w 671"/>
                <a:gd name="T19" fmla="*/ 325 h 1282"/>
                <a:gd name="T20" fmla="*/ 504 w 671"/>
                <a:gd name="T21" fmla="*/ 290 h 1282"/>
                <a:gd name="T22" fmla="*/ 518 w 671"/>
                <a:gd name="T23" fmla="*/ 266 h 1282"/>
                <a:gd name="T24" fmla="*/ 536 w 671"/>
                <a:gd name="T25" fmla="*/ 244 h 1282"/>
                <a:gd name="T26" fmla="*/ 639 w 671"/>
                <a:gd name="T27" fmla="*/ 61 h 1282"/>
                <a:gd name="T28" fmla="*/ 562 w 671"/>
                <a:gd name="T29" fmla="*/ 132 h 1282"/>
                <a:gd name="T30" fmla="*/ 481 w 671"/>
                <a:gd name="T31" fmla="*/ 241 h 1282"/>
                <a:gd name="T32" fmla="*/ 480 w 671"/>
                <a:gd name="T33" fmla="*/ 278 h 1282"/>
                <a:gd name="T34" fmla="*/ 470 w 671"/>
                <a:gd name="T35" fmla="*/ 292 h 1282"/>
                <a:gd name="T36" fmla="*/ 462 w 671"/>
                <a:gd name="T37" fmla="*/ 312 h 1282"/>
                <a:gd name="T38" fmla="*/ 475 w 671"/>
                <a:gd name="T39" fmla="*/ 315 h 1282"/>
                <a:gd name="T40" fmla="*/ 482 w 671"/>
                <a:gd name="T41" fmla="*/ 321 h 1282"/>
                <a:gd name="T42" fmla="*/ 462 w 671"/>
                <a:gd name="T43" fmla="*/ 313 h 1282"/>
                <a:gd name="T44" fmla="*/ 451 w 671"/>
                <a:gd name="T45" fmla="*/ 318 h 1282"/>
                <a:gd name="T46" fmla="*/ 422 w 671"/>
                <a:gd name="T47" fmla="*/ 309 h 1282"/>
                <a:gd name="T48" fmla="*/ 376 w 671"/>
                <a:gd name="T49" fmla="*/ 294 h 1282"/>
                <a:gd name="T50" fmla="*/ 360 w 671"/>
                <a:gd name="T51" fmla="*/ 286 h 1282"/>
                <a:gd name="T52" fmla="*/ 38 w 671"/>
                <a:gd name="T53" fmla="*/ 193 h 1282"/>
                <a:gd name="T54" fmla="*/ 51 w 671"/>
                <a:gd name="T55" fmla="*/ 216 h 1282"/>
                <a:gd name="T56" fmla="*/ 351 w 671"/>
                <a:gd name="T57" fmla="*/ 337 h 1282"/>
                <a:gd name="T58" fmla="*/ 352 w 671"/>
                <a:gd name="T59" fmla="*/ 336 h 1282"/>
                <a:gd name="T60" fmla="*/ 341 w 671"/>
                <a:gd name="T61" fmla="*/ 374 h 1282"/>
                <a:gd name="T62" fmla="*/ 343 w 671"/>
                <a:gd name="T63" fmla="*/ 404 h 1282"/>
                <a:gd name="T64" fmla="*/ 394 w 671"/>
                <a:gd name="T65" fmla="*/ 416 h 1282"/>
                <a:gd name="T66" fmla="*/ 395 w 671"/>
                <a:gd name="T67" fmla="*/ 400 h 1282"/>
                <a:gd name="T68" fmla="*/ 395 w 671"/>
                <a:gd name="T69" fmla="*/ 395 h 1282"/>
                <a:gd name="T70" fmla="*/ 395 w 671"/>
                <a:gd name="T71" fmla="*/ 395 h 1282"/>
                <a:gd name="T72" fmla="*/ 402 w 671"/>
                <a:gd name="T73" fmla="*/ 1282 h 1282"/>
                <a:gd name="T74" fmla="*/ 485 w 671"/>
                <a:gd name="T75" fmla="*/ 1281 h 1282"/>
                <a:gd name="T76" fmla="*/ 443 w 671"/>
                <a:gd name="T77" fmla="*/ 389 h 1282"/>
                <a:gd name="T78" fmla="*/ 444 w 671"/>
                <a:gd name="T79" fmla="*/ 397 h 1282"/>
                <a:gd name="T80" fmla="*/ 444 w 671"/>
                <a:gd name="T81" fmla="*/ 399 h 1282"/>
                <a:gd name="T82" fmla="*/ 463 w 671"/>
                <a:gd name="T83" fmla="*/ 382 h 1282"/>
                <a:gd name="T84" fmla="*/ 463 w 671"/>
                <a:gd name="T85" fmla="*/ 382 h 1282"/>
                <a:gd name="T86" fmla="*/ 464 w 671"/>
                <a:gd name="T87" fmla="*/ 382 h 1282"/>
                <a:gd name="T88" fmla="*/ 463 w 671"/>
                <a:gd name="T89" fmla="*/ 382 h 1282"/>
                <a:gd name="T90" fmla="*/ 464 w 671"/>
                <a:gd name="T91" fmla="*/ 382 h 1282"/>
                <a:gd name="T92" fmla="*/ 465 w 671"/>
                <a:gd name="T93" fmla="*/ 383 h 1282"/>
                <a:gd name="T94" fmla="*/ 632 w 671"/>
                <a:gd name="T95" fmla="*/ 765 h 1282"/>
                <a:gd name="T96" fmla="*/ 655 w 671"/>
                <a:gd name="T97" fmla="*/ 793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1" h="1282">
                  <a:moveTo>
                    <a:pt x="655" y="793"/>
                  </a:moveTo>
                  <a:cubicBezTo>
                    <a:pt x="655" y="779"/>
                    <a:pt x="648" y="764"/>
                    <a:pt x="640" y="739"/>
                  </a:cubicBezTo>
                  <a:cubicBezTo>
                    <a:pt x="632" y="715"/>
                    <a:pt x="537" y="469"/>
                    <a:pt x="530" y="452"/>
                  </a:cubicBezTo>
                  <a:cubicBezTo>
                    <a:pt x="523" y="434"/>
                    <a:pt x="516" y="435"/>
                    <a:pt x="516" y="435"/>
                  </a:cubicBezTo>
                  <a:cubicBezTo>
                    <a:pt x="476" y="350"/>
                    <a:pt x="476" y="350"/>
                    <a:pt x="476" y="350"/>
                  </a:cubicBezTo>
                  <a:cubicBezTo>
                    <a:pt x="474" y="352"/>
                    <a:pt x="474" y="352"/>
                    <a:pt x="474" y="352"/>
                  </a:cubicBezTo>
                  <a:cubicBezTo>
                    <a:pt x="476" y="351"/>
                    <a:pt x="477" y="349"/>
                    <a:pt x="479" y="348"/>
                  </a:cubicBezTo>
                  <a:cubicBezTo>
                    <a:pt x="485" y="342"/>
                    <a:pt x="483" y="340"/>
                    <a:pt x="483" y="327"/>
                  </a:cubicBezTo>
                  <a:cubicBezTo>
                    <a:pt x="483" y="324"/>
                    <a:pt x="483" y="322"/>
                    <a:pt x="482" y="321"/>
                  </a:cubicBezTo>
                  <a:cubicBezTo>
                    <a:pt x="483" y="323"/>
                    <a:pt x="483" y="325"/>
                    <a:pt x="483" y="325"/>
                  </a:cubicBezTo>
                  <a:cubicBezTo>
                    <a:pt x="504" y="290"/>
                    <a:pt x="504" y="290"/>
                    <a:pt x="504" y="290"/>
                  </a:cubicBezTo>
                  <a:cubicBezTo>
                    <a:pt x="504" y="290"/>
                    <a:pt x="509" y="281"/>
                    <a:pt x="518" y="266"/>
                  </a:cubicBezTo>
                  <a:cubicBezTo>
                    <a:pt x="525" y="256"/>
                    <a:pt x="531" y="254"/>
                    <a:pt x="536" y="244"/>
                  </a:cubicBezTo>
                  <a:cubicBezTo>
                    <a:pt x="569" y="190"/>
                    <a:pt x="618" y="103"/>
                    <a:pt x="639" y="61"/>
                  </a:cubicBezTo>
                  <a:cubicBezTo>
                    <a:pt x="671" y="0"/>
                    <a:pt x="620" y="55"/>
                    <a:pt x="562" y="132"/>
                  </a:cubicBezTo>
                  <a:cubicBezTo>
                    <a:pt x="504" y="209"/>
                    <a:pt x="481" y="241"/>
                    <a:pt x="481" y="241"/>
                  </a:cubicBezTo>
                  <a:cubicBezTo>
                    <a:pt x="480" y="278"/>
                    <a:pt x="480" y="278"/>
                    <a:pt x="480" y="278"/>
                  </a:cubicBezTo>
                  <a:cubicBezTo>
                    <a:pt x="480" y="278"/>
                    <a:pt x="477" y="283"/>
                    <a:pt x="470" y="292"/>
                  </a:cubicBezTo>
                  <a:cubicBezTo>
                    <a:pt x="463" y="301"/>
                    <a:pt x="462" y="312"/>
                    <a:pt x="462" y="312"/>
                  </a:cubicBezTo>
                  <a:cubicBezTo>
                    <a:pt x="462" y="312"/>
                    <a:pt x="469" y="313"/>
                    <a:pt x="475" y="315"/>
                  </a:cubicBezTo>
                  <a:cubicBezTo>
                    <a:pt x="479" y="315"/>
                    <a:pt x="481" y="318"/>
                    <a:pt x="482" y="321"/>
                  </a:cubicBezTo>
                  <a:cubicBezTo>
                    <a:pt x="478" y="314"/>
                    <a:pt x="468" y="313"/>
                    <a:pt x="462" y="313"/>
                  </a:cubicBezTo>
                  <a:cubicBezTo>
                    <a:pt x="455" y="313"/>
                    <a:pt x="451" y="318"/>
                    <a:pt x="451" y="318"/>
                  </a:cubicBezTo>
                  <a:cubicBezTo>
                    <a:pt x="451" y="318"/>
                    <a:pt x="440" y="314"/>
                    <a:pt x="422" y="309"/>
                  </a:cubicBezTo>
                  <a:cubicBezTo>
                    <a:pt x="410" y="305"/>
                    <a:pt x="394" y="300"/>
                    <a:pt x="376" y="294"/>
                  </a:cubicBezTo>
                  <a:cubicBezTo>
                    <a:pt x="370" y="293"/>
                    <a:pt x="367" y="288"/>
                    <a:pt x="360" y="286"/>
                  </a:cubicBezTo>
                  <a:cubicBezTo>
                    <a:pt x="247" y="252"/>
                    <a:pt x="65" y="200"/>
                    <a:pt x="38" y="193"/>
                  </a:cubicBezTo>
                  <a:cubicBezTo>
                    <a:pt x="0" y="184"/>
                    <a:pt x="38" y="211"/>
                    <a:pt x="51" y="216"/>
                  </a:cubicBezTo>
                  <a:cubicBezTo>
                    <a:pt x="65" y="222"/>
                    <a:pt x="351" y="337"/>
                    <a:pt x="351" y="337"/>
                  </a:cubicBezTo>
                  <a:cubicBezTo>
                    <a:pt x="352" y="336"/>
                    <a:pt x="352" y="336"/>
                    <a:pt x="352" y="336"/>
                  </a:cubicBezTo>
                  <a:cubicBezTo>
                    <a:pt x="341" y="374"/>
                    <a:pt x="341" y="374"/>
                    <a:pt x="341" y="374"/>
                  </a:cubicBezTo>
                  <a:cubicBezTo>
                    <a:pt x="343" y="404"/>
                    <a:pt x="343" y="404"/>
                    <a:pt x="343" y="404"/>
                  </a:cubicBezTo>
                  <a:cubicBezTo>
                    <a:pt x="394" y="416"/>
                    <a:pt x="394" y="416"/>
                    <a:pt x="394" y="416"/>
                  </a:cubicBezTo>
                  <a:cubicBezTo>
                    <a:pt x="395" y="400"/>
                    <a:pt x="395" y="400"/>
                    <a:pt x="395" y="400"/>
                  </a:cubicBezTo>
                  <a:cubicBezTo>
                    <a:pt x="395" y="400"/>
                    <a:pt x="394" y="398"/>
                    <a:pt x="395" y="395"/>
                  </a:cubicBezTo>
                  <a:cubicBezTo>
                    <a:pt x="395" y="395"/>
                    <a:pt x="395" y="395"/>
                    <a:pt x="395" y="395"/>
                  </a:cubicBezTo>
                  <a:cubicBezTo>
                    <a:pt x="402" y="1282"/>
                    <a:pt x="402" y="1282"/>
                    <a:pt x="402" y="1282"/>
                  </a:cubicBezTo>
                  <a:cubicBezTo>
                    <a:pt x="485" y="1281"/>
                    <a:pt x="485" y="1281"/>
                    <a:pt x="485" y="1281"/>
                  </a:cubicBezTo>
                  <a:cubicBezTo>
                    <a:pt x="443" y="389"/>
                    <a:pt x="443" y="389"/>
                    <a:pt x="443" y="389"/>
                  </a:cubicBezTo>
                  <a:cubicBezTo>
                    <a:pt x="445" y="391"/>
                    <a:pt x="445" y="394"/>
                    <a:pt x="444" y="397"/>
                  </a:cubicBezTo>
                  <a:cubicBezTo>
                    <a:pt x="442" y="400"/>
                    <a:pt x="444" y="399"/>
                    <a:pt x="444" y="399"/>
                  </a:cubicBezTo>
                  <a:cubicBezTo>
                    <a:pt x="463" y="382"/>
                    <a:pt x="463" y="382"/>
                    <a:pt x="463" y="382"/>
                  </a:cubicBezTo>
                  <a:cubicBezTo>
                    <a:pt x="463" y="382"/>
                    <a:pt x="463" y="382"/>
                    <a:pt x="463" y="382"/>
                  </a:cubicBezTo>
                  <a:cubicBezTo>
                    <a:pt x="464" y="382"/>
                    <a:pt x="464" y="382"/>
                    <a:pt x="464" y="382"/>
                  </a:cubicBezTo>
                  <a:cubicBezTo>
                    <a:pt x="463" y="382"/>
                    <a:pt x="463" y="382"/>
                    <a:pt x="463" y="382"/>
                  </a:cubicBezTo>
                  <a:cubicBezTo>
                    <a:pt x="464" y="382"/>
                    <a:pt x="464" y="382"/>
                    <a:pt x="464" y="382"/>
                  </a:cubicBezTo>
                  <a:cubicBezTo>
                    <a:pt x="465" y="383"/>
                    <a:pt x="465" y="383"/>
                    <a:pt x="465" y="383"/>
                  </a:cubicBezTo>
                  <a:cubicBezTo>
                    <a:pt x="465" y="383"/>
                    <a:pt x="610" y="711"/>
                    <a:pt x="632" y="765"/>
                  </a:cubicBezTo>
                  <a:cubicBezTo>
                    <a:pt x="655" y="819"/>
                    <a:pt x="655" y="808"/>
                    <a:pt x="655" y="793"/>
                  </a:cubicBezTo>
                  <a:close/>
                </a:path>
              </a:pathLst>
            </a:custGeom>
            <a:solidFill>
              <a:schemeClr val="tx2"/>
            </a:solidFill>
            <a:ln>
              <a:noFill/>
            </a:ln>
            <a:effectLst/>
            <a:extLs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sp>
        <p:nvSpPr>
          <p:cNvPr id="25" name="Oval 114"/>
          <p:cNvSpPr>
            <a:spLocks noChangeAspect="1" noChangeArrowheads="1"/>
          </p:cNvSpPr>
          <p:nvPr/>
        </p:nvSpPr>
        <p:spPr bwMode="gray">
          <a:xfrm>
            <a:off x="360363" y="3044974"/>
            <a:ext cx="215900" cy="215900"/>
          </a:xfrm>
          <a:prstGeom prst="ellipse">
            <a:avLst/>
          </a:prstGeom>
          <a:solidFill>
            <a:schemeClr val="hlink"/>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26" name="Oval 115"/>
          <p:cNvSpPr>
            <a:spLocks noChangeAspect="1" noChangeArrowheads="1"/>
          </p:cNvSpPr>
          <p:nvPr/>
        </p:nvSpPr>
        <p:spPr bwMode="gray">
          <a:xfrm>
            <a:off x="360363" y="3670449"/>
            <a:ext cx="215900" cy="215900"/>
          </a:xfrm>
          <a:prstGeom prst="ellipse">
            <a:avLst/>
          </a:prstGeom>
          <a:solidFill>
            <a:srgbClr val="CC6600"/>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27" name="Oval 116"/>
          <p:cNvSpPr>
            <a:spLocks noChangeAspect="1" noChangeArrowheads="1"/>
          </p:cNvSpPr>
          <p:nvPr/>
        </p:nvSpPr>
        <p:spPr bwMode="gray">
          <a:xfrm>
            <a:off x="360363" y="4307037"/>
            <a:ext cx="215900" cy="215900"/>
          </a:xfrm>
          <a:prstGeom prst="ellipse">
            <a:avLst/>
          </a:prstGeom>
          <a:solidFill>
            <a:srgbClr val="CC9900"/>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28" name="Oval 117"/>
          <p:cNvSpPr>
            <a:spLocks noChangeAspect="1" noChangeArrowheads="1"/>
          </p:cNvSpPr>
          <p:nvPr/>
        </p:nvSpPr>
        <p:spPr bwMode="gray">
          <a:xfrm>
            <a:off x="360363" y="5578624"/>
            <a:ext cx="215900" cy="215900"/>
          </a:xfrm>
          <a:prstGeom prst="ellipse">
            <a:avLst/>
          </a:prstGeom>
          <a:solidFill>
            <a:schemeClr val="tx2"/>
          </a:solidFill>
          <a:ln w="254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grpSp>
        <p:nvGrpSpPr>
          <p:cNvPr id="29" name="Group 170"/>
          <p:cNvGrpSpPr>
            <a:grpSpLocks/>
          </p:cNvGrpSpPr>
          <p:nvPr/>
        </p:nvGrpSpPr>
        <p:grpSpPr bwMode="auto">
          <a:xfrm>
            <a:off x="2278063" y="250825"/>
            <a:ext cx="14755812" cy="11906250"/>
            <a:chOff x="1435" y="158"/>
            <a:chExt cx="9295" cy="7500"/>
          </a:xfrm>
        </p:grpSpPr>
        <p:grpSp>
          <p:nvGrpSpPr>
            <p:cNvPr id="30" name="Group 2"/>
            <p:cNvGrpSpPr>
              <a:grpSpLocks/>
            </p:cNvGrpSpPr>
            <p:nvPr/>
          </p:nvGrpSpPr>
          <p:grpSpPr bwMode="auto">
            <a:xfrm>
              <a:off x="1435" y="158"/>
              <a:ext cx="9295" cy="7500"/>
              <a:chOff x="1435" y="158"/>
              <a:chExt cx="9295" cy="7500"/>
            </a:xfrm>
          </p:grpSpPr>
          <p:grpSp>
            <p:nvGrpSpPr>
              <p:cNvPr id="73" name="Group 3"/>
              <p:cNvGrpSpPr>
                <a:grpSpLocks noChangeAspect="1"/>
              </p:cNvGrpSpPr>
              <p:nvPr/>
            </p:nvGrpSpPr>
            <p:grpSpPr bwMode="auto">
              <a:xfrm>
                <a:off x="1435" y="158"/>
                <a:ext cx="9295" cy="7500"/>
                <a:chOff x="979" y="201"/>
                <a:chExt cx="9340" cy="7537"/>
              </a:xfrm>
            </p:grpSpPr>
            <p:sp>
              <p:nvSpPr>
                <p:cNvPr id="119" name="Freeform 4"/>
                <p:cNvSpPr>
                  <a:spLocks noChangeAspect="1" noEditPoints="1"/>
                </p:cNvSpPr>
                <p:nvPr/>
              </p:nvSpPr>
              <p:spPr bwMode="gray">
                <a:xfrm>
                  <a:off x="979" y="201"/>
                  <a:ext cx="9340" cy="7537"/>
                </a:xfrm>
                <a:custGeom>
                  <a:avLst/>
                  <a:gdLst>
                    <a:gd name="T0" fmla="*/ 938 w 2709"/>
                    <a:gd name="T1" fmla="*/ 47 h 2182"/>
                    <a:gd name="T2" fmla="*/ 985 w 2709"/>
                    <a:gd name="T3" fmla="*/ 23 h 2182"/>
                    <a:gd name="T4" fmla="*/ 725 w 2709"/>
                    <a:gd name="T5" fmla="*/ 58 h 2182"/>
                    <a:gd name="T6" fmla="*/ 462 w 2709"/>
                    <a:gd name="T7" fmla="*/ 107 h 2182"/>
                    <a:gd name="T8" fmla="*/ 504 w 2709"/>
                    <a:gd name="T9" fmla="*/ 86 h 2182"/>
                    <a:gd name="T10" fmla="*/ 625 w 2709"/>
                    <a:gd name="T11" fmla="*/ 55 h 2182"/>
                    <a:gd name="T12" fmla="*/ 1032 w 2709"/>
                    <a:gd name="T13" fmla="*/ 1788 h 2182"/>
                    <a:gd name="T14" fmla="*/ 1997 w 2709"/>
                    <a:gd name="T15" fmla="*/ 1054 h 2182"/>
                    <a:gd name="T16" fmla="*/ 1908 w 2709"/>
                    <a:gd name="T17" fmla="*/ 1072 h 2182"/>
                    <a:gd name="T18" fmla="*/ 1595 w 2709"/>
                    <a:gd name="T19" fmla="*/ 1502 h 2182"/>
                    <a:gd name="T20" fmla="*/ 1827 w 2709"/>
                    <a:gd name="T21" fmla="*/ 1636 h 2182"/>
                    <a:gd name="T22" fmla="*/ 1836 w 2709"/>
                    <a:gd name="T23" fmla="*/ 1341 h 2182"/>
                    <a:gd name="T24" fmla="*/ 1883 w 2709"/>
                    <a:gd name="T25" fmla="*/ 1410 h 2182"/>
                    <a:gd name="T26" fmla="*/ 1884 w 2709"/>
                    <a:gd name="T27" fmla="*/ 1542 h 2182"/>
                    <a:gd name="T28" fmla="*/ 1988 w 2709"/>
                    <a:gd name="T29" fmla="*/ 1567 h 2182"/>
                    <a:gd name="T30" fmla="*/ 2348 w 2709"/>
                    <a:gd name="T31" fmla="*/ 1637 h 2182"/>
                    <a:gd name="T32" fmla="*/ 2111 w 2709"/>
                    <a:gd name="T33" fmla="*/ 1651 h 2182"/>
                    <a:gd name="T34" fmla="*/ 1745 w 2709"/>
                    <a:gd name="T35" fmla="*/ 1857 h 2182"/>
                    <a:gd name="T36" fmla="*/ 2246 w 2709"/>
                    <a:gd name="T37" fmla="*/ 1923 h 2182"/>
                    <a:gd name="T38" fmla="*/ 2510 w 2709"/>
                    <a:gd name="T39" fmla="*/ 1984 h 2182"/>
                    <a:gd name="T40" fmla="*/ 19 w 2709"/>
                    <a:gd name="T41" fmla="*/ 412 h 2182"/>
                    <a:gd name="T42" fmla="*/ 293 w 2709"/>
                    <a:gd name="T43" fmla="*/ 702 h 2182"/>
                    <a:gd name="T44" fmla="*/ 1780 w 2709"/>
                    <a:gd name="T45" fmla="*/ 1550 h 2182"/>
                    <a:gd name="T46" fmla="*/ 66 w 2709"/>
                    <a:gd name="T47" fmla="*/ 1154 h 2182"/>
                    <a:gd name="T48" fmla="*/ 551 w 2709"/>
                    <a:gd name="T49" fmla="*/ 320 h 2182"/>
                    <a:gd name="T50" fmla="*/ 473 w 2709"/>
                    <a:gd name="T51" fmla="*/ 1014 h 2182"/>
                    <a:gd name="T52" fmla="*/ 592 w 2709"/>
                    <a:gd name="T53" fmla="*/ 598 h 2182"/>
                    <a:gd name="T54" fmla="*/ 979 w 2709"/>
                    <a:gd name="T55" fmla="*/ 298 h 2182"/>
                    <a:gd name="T56" fmla="*/ 1603 w 2709"/>
                    <a:gd name="T57" fmla="*/ 116 h 2182"/>
                    <a:gd name="T58" fmla="*/ 1461 w 2709"/>
                    <a:gd name="T59" fmla="*/ 66 h 2182"/>
                    <a:gd name="T60" fmla="*/ 2083 w 2709"/>
                    <a:gd name="T61" fmla="*/ 234 h 2182"/>
                    <a:gd name="T62" fmla="*/ 2197 w 2709"/>
                    <a:gd name="T63" fmla="*/ 152 h 2182"/>
                    <a:gd name="T64" fmla="*/ 2430 w 2709"/>
                    <a:gd name="T65" fmla="*/ 698 h 2182"/>
                    <a:gd name="T66" fmla="*/ 2094 w 2709"/>
                    <a:gd name="T67" fmla="*/ 251 h 2182"/>
                    <a:gd name="T68" fmla="*/ 1649 w 2709"/>
                    <a:gd name="T69" fmla="*/ 238 h 2182"/>
                    <a:gd name="T70" fmla="*/ 1410 w 2709"/>
                    <a:gd name="T71" fmla="*/ 194 h 2182"/>
                    <a:gd name="T72" fmla="*/ 1293 w 2709"/>
                    <a:gd name="T73" fmla="*/ 356 h 2182"/>
                    <a:gd name="T74" fmla="*/ 981 w 2709"/>
                    <a:gd name="T75" fmla="*/ 347 h 2182"/>
                    <a:gd name="T76" fmla="*/ 665 w 2709"/>
                    <a:gd name="T77" fmla="*/ 301 h 2182"/>
                    <a:gd name="T78" fmla="*/ 391 w 2709"/>
                    <a:gd name="T79" fmla="*/ 505 h 2182"/>
                    <a:gd name="T80" fmla="*/ 578 w 2709"/>
                    <a:gd name="T81" fmla="*/ 452 h 2182"/>
                    <a:gd name="T82" fmla="*/ 427 w 2709"/>
                    <a:gd name="T83" fmla="*/ 689 h 2182"/>
                    <a:gd name="T84" fmla="*/ 196 w 2709"/>
                    <a:gd name="T85" fmla="*/ 984 h 2182"/>
                    <a:gd name="T86" fmla="*/ 507 w 2709"/>
                    <a:gd name="T87" fmla="*/ 912 h 2182"/>
                    <a:gd name="T88" fmla="*/ 745 w 2709"/>
                    <a:gd name="T89" fmla="*/ 867 h 2182"/>
                    <a:gd name="T90" fmla="*/ 712 w 2709"/>
                    <a:gd name="T91" fmla="*/ 1113 h 2182"/>
                    <a:gd name="T92" fmla="*/ 95 w 2709"/>
                    <a:gd name="T93" fmla="*/ 1334 h 2182"/>
                    <a:gd name="T94" fmla="*/ 800 w 2709"/>
                    <a:gd name="T95" fmla="*/ 1736 h 2182"/>
                    <a:gd name="T96" fmla="*/ 895 w 2709"/>
                    <a:gd name="T97" fmla="*/ 1350 h 2182"/>
                    <a:gd name="T98" fmla="*/ 1182 w 2709"/>
                    <a:gd name="T99" fmla="*/ 1233 h 2182"/>
                    <a:gd name="T100" fmla="*/ 1613 w 2709"/>
                    <a:gd name="T101" fmla="*/ 1464 h 2182"/>
                    <a:gd name="T102" fmla="*/ 1831 w 2709"/>
                    <a:gd name="T103" fmla="*/ 1032 h 2182"/>
                    <a:gd name="T104" fmla="*/ 2054 w 2709"/>
                    <a:gd name="T105" fmla="*/ 716 h 2182"/>
                    <a:gd name="T106" fmla="*/ 2309 w 2709"/>
                    <a:gd name="T107" fmla="*/ 613 h 2182"/>
                    <a:gd name="T108" fmla="*/ 2587 w 2709"/>
                    <a:gd name="T109" fmla="*/ 414 h 2182"/>
                    <a:gd name="T110" fmla="*/ 557 w 2709"/>
                    <a:gd name="T111" fmla="*/ 383 h 2182"/>
                    <a:gd name="T112" fmla="*/ 670 w 2709"/>
                    <a:gd name="T113" fmla="*/ 531 h 2182"/>
                    <a:gd name="T114" fmla="*/ 454 w 2709"/>
                    <a:gd name="T115" fmla="*/ 1094 h 2182"/>
                    <a:gd name="T116" fmla="*/ 722 w 2709"/>
                    <a:gd name="T117" fmla="*/ 1503 h 2182"/>
                    <a:gd name="T118" fmla="*/ 1077 w 2709"/>
                    <a:gd name="T119" fmla="*/ 863 h 2182"/>
                    <a:gd name="T120" fmla="*/ 1590 w 2709"/>
                    <a:gd name="T121" fmla="*/ 664 h 2182"/>
                    <a:gd name="T122" fmla="*/ 2166 w 2709"/>
                    <a:gd name="T123" fmla="*/ 903 h 2182"/>
                    <a:gd name="T124" fmla="*/ 1251 w 2709"/>
                    <a:gd name="T125" fmla="*/ 248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9" h="2182">
                      <a:moveTo>
                        <a:pt x="950" y="67"/>
                      </a:moveTo>
                      <a:cubicBezTo>
                        <a:pt x="949" y="63"/>
                        <a:pt x="949" y="63"/>
                        <a:pt x="949" y="63"/>
                      </a:cubicBezTo>
                      <a:cubicBezTo>
                        <a:pt x="946" y="62"/>
                        <a:pt x="946" y="62"/>
                        <a:pt x="946" y="62"/>
                      </a:cubicBezTo>
                      <a:cubicBezTo>
                        <a:pt x="943" y="63"/>
                        <a:pt x="943" y="63"/>
                        <a:pt x="943" y="63"/>
                      </a:cubicBezTo>
                      <a:cubicBezTo>
                        <a:pt x="935" y="64"/>
                        <a:pt x="935" y="64"/>
                        <a:pt x="935" y="64"/>
                      </a:cubicBezTo>
                      <a:cubicBezTo>
                        <a:pt x="939" y="66"/>
                        <a:pt x="944" y="67"/>
                        <a:pt x="944" y="67"/>
                      </a:cubicBezTo>
                      <a:cubicBezTo>
                        <a:pt x="950" y="67"/>
                        <a:pt x="950" y="67"/>
                        <a:pt x="950" y="67"/>
                      </a:cubicBezTo>
                      <a:close/>
                      <a:moveTo>
                        <a:pt x="1049" y="51"/>
                      </a:moveTo>
                      <a:cubicBezTo>
                        <a:pt x="1041" y="50"/>
                        <a:pt x="1041" y="50"/>
                        <a:pt x="1041" y="50"/>
                      </a:cubicBezTo>
                      <a:cubicBezTo>
                        <a:pt x="1036" y="49"/>
                        <a:pt x="1036" y="49"/>
                        <a:pt x="1036" y="49"/>
                      </a:cubicBezTo>
                      <a:cubicBezTo>
                        <a:pt x="1026" y="49"/>
                        <a:pt x="1026" y="49"/>
                        <a:pt x="1026" y="49"/>
                      </a:cubicBezTo>
                      <a:cubicBezTo>
                        <a:pt x="1028" y="52"/>
                        <a:pt x="1028" y="52"/>
                        <a:pt x="1028" y="52"/>
                      </a:cubicBezTo>
                      <a:cubicBezTo>
                        <a:pt x="1027" y="56"/>
                        <a:pt x="1027" y="56"/>
                        <a:pt x="1027" y="56"/>
                      </a:cubicBezTo>
                      <a:cubicBezTo>
                        <a:pt x="1029" y="60"/>
                        <a:pt x="1029" y="60"/>
                        <a:pt x="1029" y="60"/>
                      </a:cubicBezTo>
                      <a:cubicBezTo>
                        <a:pt x="1033" y="60"/>
                        <a:pt x="1033" y="60"/>
                        <a:pt x="1033" y="60"/>
                      </a:cubicBezTo>
                      <a:cubicBezTo>
                        <a:pt x="1033" y="56"/>
                        <a:pt x="1033" y="56"/>
                        <a:pt x="1033" y="56"/>
                      </a:cubicBezTo>
                      <a:cubicBezTo>
                        <a:pt x="1043" y="53"/>
                        <a:pt x="1043" y="53"/>
                        <a:pt x="1043" y="53"/>
                      </a:cubicBezTo>
                      <a:cubicBezTo>
                        <a:pt x="1050" y="53"/>
                        <a:pt x="1050" y="53"/>
                        <a:pt x="1050" y="53"/>
                      </a:cubicBezTo>
                      <a:cubicBezTo>
                        <a:pt x="1049" y="51"/>
                        <a:pt x="1049" y="51"/>
                        <a:pt x="1049" y="51"/>
                      </a:cubicBezTo>
                      <a:close/>
                      <a:moveTo>
                        <a:pt x="1032" y="67"/>
                      </a:moveTo>
                      <a:cubicBezTo>
                        <a:pt x="1036" y="68"/>
                        <a:pt x="1036" y="68"/>
                        <a:pt x="1036" y="68"/>
                      </a:cubicBezTo>
                      <a:cubicBezTo>
                        <a:pt x="1044" y="68"/>
                        <a:pt x="1044" y="68"/>
                        <a:pt x="1044" y="68"/>
                      </a:cubicBezTo>
                      <a:cubicBezTo>
                        <a:pt x="1044" y="67"/>
                        <a:pt x="1044" y="67"/>
                        <a:pt x="1044" y="67"/>
                      </a:cubicBezTo>
                      <a:cubicBezTo>
                        <a:pt x="1037" y="66"/>
                        <a:pt x="1037" y="66"/>
                        <a:pt x="1037" y="66"/>
                      </a:cubicBezTo>
                      <a:lnTo>
                        <a:pt x="1032" y="67"/>
                      </a:lnTo>
                      <a:close/>
                      <a:moveTo>
                        <a:pt x="1022" y="25"/>
                      </a:moveTo>
                      <a:cubicBezTo>
                        <a:pt x="1027" y="27"/>
                        <a:pt x="1027" y="27"/>
                        <a:pt x="1027" y="27"/>
                      </a:cubicBezTo>
                      <a:cubicBezTo>
                        <a:pt x="1034" y="25"/>
                        <a:pt x="1034" y="25"/>
                        <a:pt x="1034" y="25"/>
                      </a:cubicBezTo>
                      <a:cubicBezTo>
                        <a:pt x="1034" y="23"/>
                        <a:pt x="1034" y="23"/>
                        <a:pt x="1034" y="23"/>
                      </a:cubicBezTo>
                      <a:cubicBezTo>
                        <a:pt x="1027" y="23"/>
                        <a:pt x="1027" y="23"/>
                        <a:pt x="1027" y="23"/>
                      </a:cubicBezTo>
                      <a:lnTo>
                        <a:pt x="1022" y="25"/>
                      </a:lnTo>
                      <a:close/>
                      <a:moveTo>
                        <a:pt x="1019" y="31"/>
                      </a:moveTo>
                      <a:cubicBezTo>
                        <a:pt x="1028" y="35"/>
                        <a:pt x="1028" y="35"/>
                        <a:pt x="1028" y="35"/>
                      </a:cubicBezTo>
                      <a:cubicBezTo>
                        <a:pt x="1033" y="36"/>
                        <a:pt x="1033" y="36"/>
                        <a:pt x="1033" y="36"/>
                      </a:cubicBezTo>
                      <a:cubicBezTo>
                        <a:pt x="1034" y="34"/>
                        <a:pt x="1034" y="34"/>
                        <a:pt x="1034" y="34"/>
                      </a:cubicBezTo>
                      <a:cubicBezTo>
                        <a:pt x="1027" y="30"/>
                        <a:pt x="1027" y="30"/>
                        <a:pt x="1027" y="30"/>
                      </a:cubicBezTo>
                      <a:cubicBezTo>
                        <a:pt x="1023" y="29"/>
                        <a:pt x="1023" y="29"/>
                        <a:pt x="1023" y="29"/>
                      </a:cubicBezTo>
                      <a:cubicBezTo>
                        <a:pt x="1011" y="29"/>
                        <a:pt x="1011" y="29"/>
                        <a:pt x="1011" y="29"/>
                      </a:cubicBezTo>
                      <a:lnTo>
                        <a:pt x="1019" y="31"/>
                      </a:lnTo>
                      <a:close/>
                      <a:moveTo>
                        <a:pt x="935" y="57"/>
                      </a:moveTo>
                      <a:cubicBezTo>
                        <a:pt x="929" y="58"/>
                        <a:pt x="929" y="58"/>
                        <a:pt x="929" y="58"/>
                      </a:cubicBezTo>
                      <a:cubicBezTo>
                        <a:pt x="929" y="61"/>
                        <a:pt x="929" y="61"/>
                        <a:pt x="929" y="61"/>
                      </a:cubicBezTo>
                      <a:cubicBezTo>
                        <a:pt x="930" y="62"/>
                        <a:pt x="930" y="62"/>
                        <a:pt x="930" y="62"/>
                      </a:cubicBezTo>
                      <a:cubicBezTo>
                        <a:pt x="939" y="62"/>
                        <a:pt x="939" y="62"/>
                        <a:pt x="939" y="62"/>
                      </a:cubicBezTo>
                      <a:lnTo>
                        <a:pt x="935" y="57"/>
                      </a:lnTo>
                      <a:close/>
                      <a:moveTo>
                        <a:pt x="977" y="57"/>
                      </a:moveTo>
                      <a:cubicBezTo>
                        <a:pt x="978" y="54"/>
                        <a:pt x="978" y="54"/>
                        <a:pt x="978" y="54"/>
                      </a:cubicBezTo>
                      <a:cubicBezTo>
                        <a:pt x="975" y="52"/>
                        <a:pt x="975" y="52"/>
                        <a:pt x="975" y="52"/>
                      </a:cubicBezTo>
                      <a:cubicBezTo>
                        <a:pt x="972" y="52"/>
                        <a:pt x="972" y="52"/>
                        <a:pt x="972" y="52"/>
                      </a:cubicBezTo>
                      <a:cubicBezTo>
                        <a:pt x="962" y="55"/>
                        <a:pt x="962" y="55"/>
                        <a:pt x="962" y="55"/>
                      </a:cubicBezTo>
                      <a:cubicBezTo>
                        <a:pt x="969" y="58"/>
                        <a:pt x="969" y="58"/>
                        <a:pt x="969" y="58"/>
                      </a:cubicBezTo>
                      <a:cubicBezTo>
                        <a:pt x="977" y="57"/>
                        <a:pt x="977" y="57"/>
                        <a:pt x="977" y="57"/>
                      </a:cubicBezTo>
                      <a:close/>
                      <a:moveTo>
                        <a:pt x="1035" y="29"/>
                      </a:moveTo>
                      <a:cubicBezTo>
                        <a:pt x="1034" y="31"/>
                        <a:pt x="1034" y="31"/>
                        <a:pt x="1034" y="31"/>
                      </a:cubicBezTo>
                      <a:cubicBezTo>
                        <a:pt x="1037" y="33"/>
                        <a:pt x="1037" y="33"/>
                        <a:pt x="1037" y="33"/>
                      </a:cubicBezTo>
                      <a:cubicBezTo>
                        <a:pt x="1043" y="33"/>
                        <a:pt x="1043" y="33"/>
                        <a:pt x="1043" y="33"/>
                      </a:cubicBezTo>
                      <a:cubicBezTo>
                        <a:pt x="1040" y="30"/>
                        <a:pt x="1040" y="30"/>
                        <a:pt x="1040" y="30"/>
                      </a:cubicBezTo>
                      <a:cubicBezTo>
                        <a:pt x="1035" y="29"/>
                        <a:pt x="1035" y="29"/>
                        <a:pt x="1035" y="29"/>
                      </a:cubicBezTo>
                      <a:close/>
                      <a:moveTo>
                        <a:pt x="1076" y="20"/>
                      </a:moveTo>
                      <a:cubicBezTo>
                        <a:pt x="1075" y="19"/>
                        <a:pt x="1075" y="19"/>
                        <a:pt x="1075" y="19"/>
                      </a:cubicBezTo>
                      <a:cubicBezTo>
                        <a:pt x="1067" y="20"/>
                        <a:pt x="1067" y="20"/>
                        <a:pt x="1067" y="20"/>
                      </a:cubicBezTo>
                      <a:cubicBezTo>
                        <a:pt x="1070" y="22"/>
                        <a:pt x="1070" y="22"/>
                        <a:pt x="1070" y="22"/>
                      </a:cubicBezTo>
                      <a:lnTo>
                        <a:pt x="1076" y="20"/>
                      </a:lnTo>
                      <a:close/>
                      <a:moveTo>
                        <a:pt x="924" y="62"/>
                      </a:moveTo>
                      <a:cubicBezTo>
                        <a:pt x="921" y="63"/>
                        <a:pt x="921" y="63"/>
                        <a:pt x="921" y="63"/>
                      </a:cubicBezTo>
                      <a:cubicBezTo>
                        <a:pt x="920" y="65"/>
                        <a:pt x="920" y="65"/>
                        <a:pt x="920" y="65"/>
                      </a:cubicBezTo>
                      <a:cubicBezTo>
                        <a:pt x="929" y="63"/>
                        <a:pt x="929" y="63"/>
                        <a:pt x="929" y="63"/>
                      </a:cubicBezTo>
                      <a:cubicBezTo>
                        <a:pt x="924" y="62"/>
                        <a:pt x="924" y="62"/>
                        <a:pt x="924" y="62"/>
                      </a:cubicBezTo>
                      <a:close/>
                      <a:moveTo>
                        <a:pt x="1099" y="25"/>
                      </a:moveTo>
                      <a:cubicBezTo>
                        <a:pt x="1100" y="27"/>
                        <a:pt x="1100" y="27"/>
                        <a:pt x="1100" y="27"/>
                      </a:cubicBezTo>
                      <a:cubicBezTo>
                        <a:pt x="1095" y="32"/>
                        <a:pt x="1095" y="32"/>
                        <a:pt x="1095" y="32"/>
                      </a:cubicBezTo>
                      <a:cubicBezTo>
                        <a:pt x="1100" y="34"/>
                        <a:pt x="1100" y="34"/>
                        <a:pt x="1100" y="34"/>
                      </a:cubicBezTo>
                      <a:cubicBezTo>
                        <a:pt x="1103" y="38"/>
                        <a:pt x="1103" y="38"/>
                        <a:pt x="1103" y="38"/>
                      </a:cubicBezTo>
                      <a:cubicBezTo>
                        <a:pt x="1107" y="38"/>
                        <a:pt x="1107" y="38"/>
                        <a:pt x="1107" y="38"/>
                      </a:cubicBezTo>
                      <a:cubicBezTo>
                        <a:pt x="1112" y="34"/>
                        <a:pt x="1112" y="34"/>
                        <a:pt x="1112" y="34"/>
                      </a:cubicBezTo>
                      <a:cubicBezTo>
                        <a:pt x="1113" y="31"/>
                        <a:pt x="1113" y="31"/>
                        <a:pt x="1113" y="31"/>
                      </a:cubicBezTo>
                      <a:cubicBezTo>
                        <a:pt x="1125" y="31"/>
                        <a:pt x="1125" y="31"/>
                        <a:pt x="1125" y="31"/>
                      </a:cubicBezTo>
                      <a:cubicBezTo>
                        <a:pt x="1125" y="28"/>
                        <a:pt x="1125" y="28"/>
                        <a:pt x="1125" y="28"/>
                      </a:cubicBezTo>
                      <a:cubicBezTo>
                        <a:pt x="1120" y="23"/>
                        <a:pt x="1120" y="23"/>
                        <a:pt x="1120" y="23"/>
                      </a:cubicBezTo>
                      <a:cubicBezTo>
                        <a:pt x="1124" y="20"/>
                        <a:pt x="1124" y="20"/>
                        <a:pt x="1124" y="20"/>
                      </a:cubicBezTo>
                      <a:cubicBezTo>
                        <a:pt x="1121" y="17"/>
                        <a:pt x="1121" y="17"/>
                        <a:pt x="1121" y="17"/>
                      </a:cubicBezTo>
                      <a:cubicBezTo>
                        <a:pt x="1114" y="17"/>
                        <a:pt x="1114" y="17"/>
                        <a:pt x="1114" y="17"/>
                      </a:cubicBezTo>
                      <a:cubicBezTo>
                        <a:pt x="1112" y="21"/>
                        <a:pt x="1112" y="21"/>
                        <a:pt x="1112" y="21"/>
                      </a:cubicBezTo>
                      <a:cubicBezTo>
                        <a:pt x="1104" y="22"/>
                        <a:pt x="1104" y="22"/>
                        <a:pt x="1104" y="22"/>
                      </a:cubicBezTo>
                      <a:cubicBezTo>
                        <a:pt x="1099" y="25"/>
                        <a:pt x="1099" y="25"/>
                        <a:pt x="1099" y="25"/>
                      </a:cubicBezTo>
                      <a:close/>
                      <a:moveTo>
                        <a:pt x="890" y="45"/>
                      </a:moveTo>
                      <a:cubicBezTo>
                        <a:pt x="901" y="50"/>
                        <a:pt x="901" y="50"/>
                        <a:pt x="901" y="50"/>
                      </a:cubicBezTo>
                      <a:cubicBezTo>
                        <a:pt x="893" y="52"/>
                        <a:pt x="893" y="52"/>
                        <a:pt x="893" y="52"/>
                      </a:cubicBezTo>
                      <a:cubicBezTo>
                        <a:pt x="890" y="55"/>
                        <a:pt x="890" y="55"/>
                        <a:pt x="890" y="55"/>
                      </a:cubicBezTo>
                      <a:cubicBezTo>
                        <a:pt x="896" y="58"/>
                        <a:pt x="896" y="58"/>
                        <a:pt x="896" y="58"/>
                      </a:cubicBezTo>
                      <a:cubicBezTo>
                        <a:pt x="905" y="59"/>
                        <a:pt x="905" y="59"/>
                        <a:pt x="905" y="59"/>
                      </a:cubicBezTo>
                      <a:cubicBezTo>
                        <a:pt x="907" y="60"/>
                        <a:pt x="907" y="60"/>
                        <a:pt x="907" y="60"/>
                      </a:cubicBezTo>
                      <a:cubicBezTo>
                        <a:pt x="902" y="62"/>
                        <a:pt x="902" y="62"/>
                        <a:pt x="902" y="62"/>
                      </a:cubicBezTo>
                      <a:cubicBezTo>
                        <a:pt x="902" y="64"/>
                        <a:pt x="902" y="64"/>
                        <a:pt x="902" y="64"/>
                      </a:cubicBezTo>
                      <a:cubicBezTo>
                        <a:pt x="908" y="65"/>
                        <a:pt x="908" y="65"/>
                        <a:pt x="908" y="65"/>
                      </a:cubicBezTo>
                      <a:cubicBezTo>
                        <a:pt x="917" y="59"/>
                        <a:pt x="917" y="59"/>
                        <a:pt x="917" y="59"/>
                      </a:cubicBezTo>
                      <a:cubicBezTo>
                        <a:pt x="920" y="56"/>
                        <a:pt x="920" y="56"/>
                        <a:pt x="920" y="56"/>
                      </a:cubicBezTo>
                      <a:cubicBezTo>
                        <a:pt x="918" y="53"/>
                        <a:pt x="918" y="53"/>
                        <a:pt x="918" y="53"/>
                      </a:cubicBezTo>
                      <a:cubicBezTo>
                        <a:pt x="936" y="52"/>
                        <a:pt x="936" y="52"/>
                        <a:pt x="936" y="52"/>
                      </a:cubicBezTo>
                      <a:cubicBezTo>
                        <a:pt x="938" y="51"/>
                        <a:pt x="938" y="51"/>
                        <a:pt x="938" y="51"/>
                      </a:cubicBezTo>
                      <a:cubicBezTo>
                        <a:pt x="935" y="50"/>
                        <a:pt x="935" y="50"/>
                        <a:pt x="935" y="50"/>
                      </a:cubicBezTo>
                      <a:cubicBezTo>
                        <a:pt x="933" y="48"/>
                        <a:pt x="933" y="48"/>
                        <a:pt x="933" y="48"/>
                      </a:cubicBezTo>
                      <a:cubicBezTo>
                        <a:pt x="938" y="47"/>
                        <a:pt x="938" y="47"/>
                        <a:pt x="938" y="47"/>
                      </a:cubicBezTo>
                      <a:cubicBezTo>
                        <a:pt x="948" y="47"/>
                        <a:pt x="948" y="47"/>
                        <a:pt x="948" y="47"/>
                      </a:cubicBezTo>
                      <a:cubicBezTo>
                        <a:pt x="951" y="45"/>
                        <a:pt x="951" y="45"/>
                        <a:pt x="951" y="45"/>
                      </a:cubicBezTo>
                      <a:cubicBezTo>
                        <a:pt x="951" y="41"/>
                        <a:pt x="951" y="41"/>
                        <a:pt x="951" y="41"/>
                      </a:cubicBezTo>
                      <a:cubicBezTo>
                        <a:pt x="950" y="39"/>
                        <a:pt x="950" y="39"/>
                        <a:pt x="950" y="39"/>
                      </a:cubicBezTo>
                      <a:cubicBezTo>
                        <a:pt x="939" y="40"/>
                        <a:pt x="939" y="40"/>
                        <a:pt x="939" y="40"/>
                      </a:cubicBezTo>
                      <a:cubicBezTo>
                        <a:pt x="938" y="38"/>
                        <a:pt x="938" y="38"/>
                        <a:pt x="938" y="38"/>
                      </a:cubicBezTo>
                      <a:cubicBezTo>
                        <a:pt x="946" y="35"/>
                        <a:pt x="946" y="35"/>
                        <a:pt x="946" y="35"/>
                      </a:cubicBezTo>
                      <a:cubicBezTo>
                        <a:pt x="944" y="33"/>
                        <a:pt x="944" y="33"/>
                        <a:pt x="944" y="33"/>
                      </a:cubicBezTo>
                      <a:cubicBezTo>
                        <a:pt x="931" y="33"/>
                        <a:pt x="931" y="33"/>
                        <a:pt x="931" y="33"/>
                      </a:cubicBezTo>
                      <a:cubicBezTo>
                        <a:pt x="929" y="34"/>
                        <a:pt x="929" y="34"/>
                        <a:pt x="929" y="34"/>
                      </a:cubicBezTo>
                      <a:cubicBezTo>
                        <a:pt x="933" y="37"/>
                        <a:pt x="933" y="37"/>
                        <a:pt x="933" y="37"/>
                      </a:cubicBezTo>
                      <a:cubicBezTo>
                        <a:pt x="929" y="37"/>
                        <a:pt x="929" y="37"/>
                        <a:pt x="929" y="37"/>
                      </a:cubicBezTo>
                      <a:cubicBezTo>
                        <a:pt x="923" y="40"/>
                        <a:pt x="923" y="40"/>
                        <a:pt x="923" y="40"/>
                      </a:cubicBezTo>
                      <a:cubicBezTo>
                        <a:pt x="921" y="43"/>
                        <a:pt x="921" y="43"/>
                        <a:pt x="921" y="43"/>
                      </a:cubicBezTo>
                      <a:cubicBezTo>
                        <a:pt x="890" y="43"/>
                        <a:pt x="890" y="43"/>
                        <a:pt x="890" y="43"/>
                      </a:cubicBezTo>
                      <a:cubicBezTo>
                        <a:pt x="890" y="45"/>
                        <a:pt x="890" y="45"/>
                        <a:pt x="890" y="45"/>
                      </a:cubicBezTo>
                      <a:close/>
                      <a:moveTo>
                        <a:pt x="949" y="29"/>
                      </a:moveTo>
                      <a:cubicBezTo>
                        <a:pt x="947" y="27"/>
                        <a:pt x="947" y="27"/>
                        <a:pt x="947" y="27"/>
                      </a:cubicBezTo>
                      <a:cubicBezTo>
                        <a:pt x="944" y="27"/>
                        <a:pt x="944" y="27"/>
                        <a:pt x="944" y="27"/>
                      </a:cubicBezTo>
                      <a:cubicBezTo>
                        <a:pt x="943" y="29"/>
                        <a:pt x="943" y="29"/>
                        <a:pt x="943" y="29"/>
                      </a:cubicBezTo>
                      <a:cubicBezTo>
                        <a:pt x="946" y="30"/>
                        <a:pt x="946" y="30"/>
                        <a:pt x="946" y="30"/>
                      </a:cubicBezTo>
                      <a:lnTo>
                        <a:pt x="949" y="29"/>
                      </a:lnTo>
                      <a:close/>
                      <a:moveTo>
                        <a:pt x="1105" y="7"/>
                      </a:moveTo>
                      <a:cubicBezTo>
                        <a:pt x="1104" y="3"/>
                        <a:pt x="1104" y="3"/>
                        <a:pt x="1104" y="3"/>
                      </a:cubicBezTo>
                      <a:cubicBezTo>
                        <a:pt x="1092" y="4"/>
                        <a:pt x="1092" y="4"/>
                        <a:pt x="1092" y="4"/>
                      </a:cubicBezTo>
                      <a:cubicBezTo>
                        <a:pt x="1100" y="7"/>
                        <a:pt x="1100" y="7"/>
                        <a:pt x="1100" y="7"/>
                      </a:cubicBezTo>
                      <a:lnTo>
                        <a:pt x="1105" y="7"/>
                      </a:lnTo>
                      <a:close/>
                      <a:moveTo>
                        <a:pt x="1044" y="63"/>
                      </a:moveTo>
                      <a:cubicBezTo>
                        <a:pt x="1047" y="66"/>
                        <a:pt x="1047" y="66"/>
                        <a:pt x="1047" y="66"/>
                      </a:cubicBezTo>
                      <a:cubicBezTo>
                        <a:pt x="1052" y="67"/>
                        <a:pt x="1052" y="67"/>
                        <a:pt x="1052" y="67"/>
                      </a:cubicBezTo>
                      <a:cubicBezTo>
                        <a:pt x="1057" y="65"/>
                        <a:pt x="1057" y="65"/>
                        <a:pt x="1057" y="65"/>
                      </a:cubicBezTo>
                      <a:cubicBezTo>
                        <a:pt x="1056" y="62"/>
                        <a:pt x="1056" y="62"/>
                        <a:pt x="1056" y="62"/>
                      </a:cubicBezTo>
                      <a:cubicBezTo>
                        <a:pt x="1053" y="61"/>
                        <a:pt x="1053" y="61"/>
                        <a:pt x="1053" y="61"/>
                      </a:cubicBezTo>
                      <a:cubicBezTo>
                        <a:pt x="1044" y="62"/>
                        <a:pt x="1044" y="62"/>
                        <a:pt x="1044" y="62"/>
                      </a:cubicBezTo>
                      <a:cubicBezTo>
                        <a:pt x="1044" y="63"/>
                        <a:pt x="1044" y="63"/>
                        <a:pt x="1044" y="63"/>
                      </a:cubicBezTo>
                      <a:close/>
                      <a:moveTo>
                        <a:pt x="1026" y="44"/>
                      </a:moveTo>
                      <a:cubicBezTo>
                        <a:pt x="1032" y="46"/>
                        <a:pt x="1032" y="46"/>
                        <a:pt x="1032" y="46"/>
                      </a:cubicBezTo>
                      <a:cubicBezTo>
                        <a:pt x="1038" y="44"/>
                        <a:pt x="1038" y="44"/>
                        <a:pt x="1038" y="44"/>
                      </a:cubicBezTo>
                      <a:cubicBezTo>
                        <a:pt x="1029" y="44"/>
                        <a:pt x="1029" y="44"/>
                        <a:pt x="1029" y="44"/>
                      </a:cubicBezTo>
                      <a:lnTo>
                        <a:pt x="1026" y="44"/>
                      </a:lnTo>
                      <a:close/>
                      <a:moveTo>
                        <a:pt x="1080" y="50"/>
                      </a:moveTo>
                      <a:cubicBezTo>
                        <a:pt x="1082" y="47"/>
                        <a:pt x="1082" y="47"/>
                        <a:pt x="1082" y="47"/>
                      </a:cubicBezTo>
                      <a:cubicBezTo>
                        <a:pt x="1077" y="43"/>
                        <a:pt x="1077" y="43"/>
                        <a:pt x="1077" y="43"/>
                      </a:cubicBezTo>
                      <a:cubicBezTo>
                        <a:pt x="1078" y="40"/>
                        <a:pt x="1078" y="40"/>
                        <a:pt x="1078" y="40"/>
                      </a:cubicBezTo>
                      <a:cubicBezTo>
                        <a:pt x="1088" y="40"/>
                        <a:pt x="1088" y="40"/>
                        <a:pt x="1088" y="40"/>
                      </a:cubicBezTo>
                      <a:cubicBezTo>
                        <a:pt x="1088" y="36"/>
                        <a:pt x="1088" y="36"/>
                        <a:pt x="1088" y="36"/>
                      </a:cubicBezTo>
                      <a:cubicBezTo>
                        <a:pt x="1082" y="36"/>
                        <a:pt x="1082" y="36"/>
                        <a:pt x="1082" y="36"/>
                      </a:cubicBezTo>
                      <a:cubicBezTo>
                        <a:pt x="1078" y="37"/>
                        <a:pt x="1078" y="37"/>
                        <a:pt x="1078" y="37"/>
                      </a:cubicBezTo>
                      <a:cubicBezTo>
                        <a:pt x="1059" y="37"/>
                        <a:pt x="1059" y="37"/>
                        <a:pt x="1059" y="37"/>
                      </a:cubicBezTo>
                      <a:cubicBezTo>
                        <a:pt x="1059" y="41"/>
                        <a:pt x="1059" y="41"/>
                        <a:pt x="1059" y="41"/>
                      </a:cubicBezTo>
                      <a:cubicBezTo>
                        <a:pt x="1055" y="43"/>
                        <a:pt x="1055" y="43"/>
                        <a:pt x="1055" y="43"/>
                      </a:cubicBezTo>
                      <a:cubicBezTo>
                        <a:pt x="1055" y="47"/>
                        <a:pt x="1055" y="47"/>
                        <a:pt x="1055" y="47"/>
                      </a:cubicBezTo>
                      <a:cubicBezTo>
                        <a:pt x="1060" y="49"/>
                        <a:pt x="1060" y="49"/>
                        <a:pt x="1060" y="49"/>
                      </a:cubicBezTo>
                      <a:cubicBezTo>
                        <a:pt x="1080" y="50"/>
                        <a:pt x="1080" y="50"/>
                        <a:pt x="1080" y="50"/>
                      </a:cubicBezTo>
                      <a:close/>
                      <a:moveTo>
                        <a:pt x="1082" y="31"/>
                      </a:moveTo>
                      <a:cubicBezTo>
                        <a:pt x="1079" y="29"/>
                        <a:pt x="1079" y="29"/>
                        <a:pt x="1079" y="29"/>
                      </a:cubicBezTo>
                      <a:cubicBezTo>
                        <a:pt x="1068" y="30"/>
                        <a:pt x="1068" y="30"/>
                        <a:pt x="1068" y="30"/>
                      </a:cubicBezTo>
                      <a:cubicBezTo>
                        <a:pt x="1067" y="33"/>
                        <a:pt x="1067" y="33"/>
                        <a:pt x="1067" y="33"/>
                      </a:cubicBezTo>
                      <a:cubicBezTo>
                        <a:pt x="1077" y="34"/>
                        <a:pt x="1077" y="34"/>
                        <a:pt x="1077" y="34"/>
                      </a:cubicBezTo>
                      <a:lnTo>
                        <a:pt x="1082" y="31"/>
                      </a:lnTo>
                      <a:close/>
                      <a:moveTo>
                        <a:pt x="1043" y="39"/>
                      </a:moveTo>
                      <a:cubicBezTo>
                        <a:pt x="1046" y="37"/>
                        <a:pt x="1046" y="37"/>
                        <a:pt x="1046" y="37"/>
                      </a:cubicBezTo>
                      <a:cubicBezTo>
                        <a:pt x="1043" y="35"/>
                        <a:pt x="1043" y="35"/>
                        <a:pt x="1043" y="35"/>
                      </a:cubicBezTo>
                      <a:cubicBezTo>
                        <a:pt x="1038" y="37"/>
                        <a:pt x="1038" y="37"/>
                        <a:pt x="1038" y="37"/>
                      </a:cubicBezTo>
                      <a:cubicBezTo>
                        <a:pt x="1043" y="39"/>
                        <a:pt x="1043" y="39"/>
                        <a:pt x="1043" y="39"/>
                      </a:cubicBezTo>
                      <a:close/>
                      <a:moveTo>
                        <a:pt x="1018" y="42"/>
                      </a:moveTo>
                      <a:cubicBezTo>
                        <a:pt x="1016" y="41"/>
                        <a:pt x="1016" y="41"/>
                        <a:pt x="1016" y="41"/>
                      </a:cubicBezTo>
                      <a:cubicBezTo>
                        <a:pt x="1008" y="40"/>
                        <a:pt x="1008" y="40"/>
                        <a:pt x="1008" y="40"/>
                      </a:cubicBezTo>
                      <a:cubicBezTo>
                        <a:pt x="1002" y="43"/>
                        <a:pt x="1002" y="43"/>
                        <a:pt x="1002" y="43"/>
                      </a:cubicBezTo>
                      <a:cubicBezTo>
                        <a:pt x="1012" y="44"/>
                        <a:pt x="1012" y="44"/>
                        <a:pt x="1012" y="44"/>
                      </a:cubicBezTo>
                      <a:lnTo>
                        <a:pt x="1018" y="42"/>
                      </a:lnTo>
                      <a:close/>
                      <a:moveTo>
                        <a:pt x="1000" y="39"/>
                      </a:moveTo>
                      <a:cubicBezTo>
                        <a:pt x="1001" y="37"/>
                        <a:pt x="1001" y="37"/>
                        <a:pt x="1001" y="37"/>
                      </a:cubicBezTo>
                      <a:cubicBezTo>
                        <a:pt x="999" y="36"/>
                        <a:pt x="999" y="36"/>
                        <a:pt x="999" y="36"/>
                      </a:cubicBezTo>
                      <a:cubicBezTo>
                        <a:pt x="993" y="35"/>
                        <a:pt x="993" y="35"/>
                        <a:pt x="993" y="35"/>
                      </a:cubicBezTo>
                      <a:cubicBezTo>
                        <a:pt x="986" y="34"/>
                        <a:pt x="986" y="34"/>
                        <a:pt x="986" y="34"/>
                      </a:cubicBezTo>
                      <a:cubicBezTo>
                        <a:pt x="987" y="37"/>
                        <a:pt x="987" y="37"/>
                        <a:pt x="987" y="37"/>
                      </a:cubicBezTo>
                      <a:cubicBezTo>
                        <a:pt x="993" y="40"/>
                        <a:pt x="993" y="40"/>
                        <a:pt x="993" y="40"/>
                      </a:cubicBezTo>
                      <a:cubicBezTo>
                        <a:pt x="1000" y="39"/>
                        <a:pt x="1000" y="39"/>
                        <a:pt x="1000" y="39"/>
                      </a:cubicBezTo>
                      <a:close/>
                      <a:moveTo>
                        <a:pt x="1003" y="54"/>
                      </a:moveTo>
                      <a:cubicBezTo>
                        <a:pt x="1004" y="52"/>
                        <a:pt x="1004" y="52"/>
                        <a:pt x="1004" y="52"/>
                      </a:cubicBezTo>
                      <a:cubicBezTo>
                        <a:pt x="1000" y="53"/>
                        <a:pt x="1000" y="53"/>
                        <a:pt x="1000" y="53"/>
                      </a:cubicBezTo>
                      <a:cubicBezTo>
                        <a:pt x="996" y="53"/>
                        <a:pt x="996" y="53"/>
                        <a:pt x="996" y="53"/>
                      </a:cubicBezTo>
                      <a:cubicBezTo>
                        <a:pt x="995" y="55"/>
                        <a:pt x="995" y="55"/>
                        <a:pt x="995" y="55"/>
                      </a:cubicBezTo>
                      <a:cubicBezTo>
                        <a:pt x="999" y="55"/>
                        <a:pt x="999" y="55"/>
                        <a:pt x="999" y="55"/>
                      </a:cubicBezTo>
                      <a:cubicBezTo>
                        <a:pt x="1003" y="54"/>
                        <a:pt x="1003" y="54"/>
                        <a:pt x="1003" y="54"/>
                      </a:cubicBezTo>
                      <a:close/>
                      <a:moveTo>
                        <a:pt x="1019" y="60"/>
                      </a:moveTo>
                      <a:cubicBezTo>
                        <a:pt x="1020" y="54"/>
                        <a:pt x="1020" y="54"/>
                        <a:pt x="1020" y="54"/>
                      </a:cubicBezTo>
                      <a:cubicBezTo>
                        <a:pt x="1018" y="52"/>
                        <a:pt x="1018" y="52"/>
                        <a:pt x="1018" y="52"/>
                      </a:cubicBezTo>
                      <a:cubicBezTo>
                        <a:pt x="1010" y="53"/>
                        <a:pt x="1010" y="53"/>
                        <a:pt x="1010" y="53"/>
                      </a:cubicBezTo>
                      <a:cubicBezTo>
                        <a:pt x="1008" y="57"/>
                        <a:pt x="1008" y="57"/>
                        <a:pt x="1008" y="57"/>
                      </a:cubicBezTo>
                      <a:cubicBezTo>
                        <a:pt x="1009" y="60"/>
                        <a:pt x="1009" y="60"/>
                        <a:pt x="1009" y="60"/>
                      </a:cubicBezTo>
                      <a:cubicBezTo>
                        <a:pt x="1019" y="60"/>
                        <a:pt x="1019" y="60"/>
                        <a:pt x="1019" y="60"/>
                      </a:cubicBezTo>
                      <a:close/>
                      <a:moveTo>
                        <a:pt x="1041" y="17"/>
                      </a:moveTo>
                      <a:cubicBezTo>
                        <a:pt x="1041" y="18"/>
                        <a:pt x="1041" y="18"/>
                        <a:pt x="1041" y="18"/>
                      </a:cubicBezTo>
                      <a:cubicBezTo>
                        <a:pt x="1047" y="18"/>
                        <a:pt x="1047" y="18"/>
                        <a:pt x="1047" y="18"/>
                      </a:cubicBezTo>
                      <a:cubicBezTo>
                        <a:pt x="1050" y="17"/>
                        <a:pt x="1050" y="17"/>
                        <a:pt x="1050" y="17"/>
                      </a:cubicBezTo>
                      <a:cubicBezTo>
                        <a:pt x="1047" y="15"/>
                        <a:pt x="1047" y="15"/>
                        <a:pt x="1047" y="15"/>
                      </a:cubicBezTo>
                      <a:cubicBezTo>
                        <a:pt x="1041" y="17"/>
                        <a:pt x="1041" y="17"/>
                        <a:pt x="1041" y="17"/>
                      </a:cubicBezTo>
                      <a:close/>
                      <a:moveTo>
                        <a:pt x="991" y="21"/>
                      </a:moveTo>
                      <a:cubicBezTo>
                        <a:pt x="989" y="20"/>
                        <a:pt x="989" y="20"/>
                        <a:pt x="989" y="20"/>
                      </a:cubicBezTo>
                      <a:cubicBezTo>
                        <a:pt x="984" y="20"/>
                        <a:pt x="984" y="20"/>
                        <a:pt x="984" y="20"/>
                      </a:cubicBezTo>
                      <a:cubicBezTo>
                        <a:pt x="985" y="23"/>
                        <a:pt x="985" y="23"/>
                        <a:pt x="985" y="23"/>
                      </a:cubicBezTo>
                      <a:lnTo>
                        <a:pt x="991" y="21"/>
                      </a:lnTo>
                      <a:close/>
                      <a:moveTo>
                        <a:pt x="988" y="47"/>
                      </a:moveTo>
                      <a:cubicBezTo>
                        <a:pt x="984" y="44"/>
                        <a:pt x="984" y="44"/>
                        <a:pt x="984" y="44"/>
                      </a:cubicBezTo>
                      <a:cubicBezTo>
                        <a:pt x="982" y="44"/>
                        <a:pt x="982" y="44"/>
                        <a:pt x="982" y="44"/>
                      </a:cubicBezTo>
                      <a:cubicBezTo>
                        <a:pt x="982" y="48"/>
                        <a:pt x="982" y="48"/>
                        <a:pt x="982" y="48"/>
                      </a:cubicBezTo>
                      <a:cubicBezTo>
                        <a:pt x="986" y="48"/>
                        <a:pt x="986" y="48"/>
                        <a:pt x="986" y="48"/>
                      </a:cubicBezTo>
                      <a:cubicBezTo>
                        <a:pt x="988" y="47"/>
                        <a:pt x="988" y="47"/>
                        <a:pt x="988" y="47"/>
                      </a:cubicBezTo>
                      <a:close/>
                      <a:moveTo>
                        <a:pt x="985" y="57"/>
                      </a:moveTo>
                      <a:cubicBezTo>
                        <a:pt x="985" y="55"/>
                        <a:pt x="985" y="55"/>
                        <a:pt x="985" y="55"/>
                      </a:cubicBezTo>
                      <a:cubicBezTo>
                        <a:pt x="984" y="53"/>
                        <a:pt x="984" y="53"/>
                        <a:pt x="984" y="53"/>
                      </a:cubicBezTo>
                      <a:cubicBezTo>
                        <a:pt x="982" y="53"/>
                        <a:pt x="982" y="53"/>
                        <a:pt x="982" y="53"/>
                      </a:cubicBezTo>
                      <a:cubicBezTo>
                        <a:pt x="983" y="56"/>
                        <a:pt x="983" y="56"/>
                        <a:pt x="983" y="56"/>
                      </a:cubicBezTo>
                      <a:cubicBezTo>
                        <a:pt x="985" y="57"/>
                        <a:pt x="985" y="57"/>
                        <a:pt x="985" y="57"/>
                      </a:cubicBezTo>
                      <a:close/>
                      <a:moveTo>
                        <a:pt x="861" y="46"/>
                      </a:moveTo>
                      <a:cubicBezTo>
                        <a:pt x="868" y="47"/>
                        <a:pt x="868" y="47"/>
                        <a:pt x="868" y="47"/>
                      </a:cubicBezTo>
                      <a:cubicBezTo>
                        <a:pt x="873" y="49"/>
                        <a:pt x="873" y="49"/>
                        <a:pt x="873" y="49"/>
                      </a:cubicBezTo>
                      <a:cubicBezTo>
                        <a:pt x="875" y="48"/>
                        <a:pt x="875" y="48"/>
                        <a:pt x="875" y="48"/>
                      </a:cubicBezTo>
                      <a:cubicBezTo>
                        <a:pt x="882" y="50"/>
                        <a:pt x="882" y="50"/>
                        <a:pt x="882" y="50"/>
                      </a:cubicBezTo>
                      <a:cubicBezTo>
                        <a:pt x="887" y="48"/>
                        <a:pt x="887" y="48"/>
                        <a:pt x="887" y="48"/>
                      </a:cubicBezTo>
                      <a:cubicBezTo>
                        <a:pt x="884" y="45"/>
                        <a:pt x="884" y="45"/>
                        <a:pt x="884" y="45"/>
                      </a:cubicBezTo>
                      <a:cubicBezTo>
                        <a:pt x="879" y="45"/>
                        <a:pt x="879" y="45"/>
                        <a:pt x="879" y="45"/>
                      </a:cubicBezTo>
                      <a:cubicBezTo>
                        <a:pt x="879" y="42"/>
                        <a:pt x="879" y="42"/>
                        <a:pt x="879" y="42"/>
                      </a:cubicBezTo>
                      <a:cubicBezTo>
                        <a:pt x="892" y="37"/>
                        <a:pt x="892" y="37"/>
                        <a:pt x="892" y="37"/>
                      </a:cubicBezTo>
                      <a:cubicBezTo>
                        <a:pt x="904" y="37"/>
                        <a:pt x="904" y="37"/>
                        <a:pt x="904" y="37"/>
                      </a:cubicBezTo>
                      <a:cubicBezTo>
                        <a:pt x="905" y="40"/>
                        <a:pt x="905" y="40"/>
                        <a:pt x="905" y="40"/>
                      </a:cubicBezTo>
                      <a:cubicBezTo>
                        <a:pt x="911" y="41"/>
                        <a:pt x="911" y="41"/>
                        <a:pt x="911" y="41"/>
                      </a:cubicBezTo>
                      <a:cubicBezTo>
                        <a:pt x="918" y="40"/>
                        <a:pt x="918" y="40"/>
                        <a:pt x="918" y="40"/>
                      </a:cubicBezTo>
                      <a:cubicBezTo>
                        <a:pt x="914" y="36"/>
                        <a:pt x="914" y="36"/>
                        <a:pt x="914" y="36"/>
                      </a:cubicBezTo>
                      <a:cubicBezTo>
                        <a:pt x="903" y="35"/>
                        <a:pt x="903" y="35"/>
                        <a:pt x="903" y="35"/>
                      </a:cubicBezTo>
                      <a:cubicBezTo>
                        <a:pt x="887" y="35"/>
                        <a:pt x="887" y="35"/>
                        <a:pt x="887" y="35"/>
                      </a:cubicBezTo>
                      <a:cubicBezTo>
                        <a:pt x="884" y="34"/>
                        <a:pt x="884" y="34"/>
                        <a:pt x="884" y="34"/>
                      </a:cubicBezTo>
                      <a:cubicBezTo>
                        <a:pt x="879" y="37"/>
                        <a:pt x="879" y="37"/>
                        <a:pt x="879" y="37"/>
                      </a:cubicBezTo>
                      <a:cubicBezTo>
                        <a:pt x="863" y="40"/>
                        <a:pt x="863" y="40"/>
                        <a:pt x="863" y="40"/>
                      </a:cubicBezTo>
                      <a:cubicBezTo>
                        <a:pt x="860" y="41"/>
                        <a:pt x="860" y="41"/>
                        <a:pt x="860" y="41"/>
                      </a:cubicBezTo>
                      <a:cubicBezTo>
                        <a:pt x="860" y="43"/>
                        <a:pt x="860" y="43"/>
                        <a:pt x="860" y="43"/>
                      </a:cubicBezTo>
                      <a:cubicBezTo>
                        <a:pt x="861" y="45"/>
                        <a:pt x="861" y="45"/>
                        <a:pt x="861" y="45"/>
                      </a:cubicBezTo>
                      <a:cubicBezTo>
                        <a:pt x="861" y="46"/>
                        <a:pt x="861" y="46"/>
                        <a:pt x="861" y="46"/>
                      </a:cubicBezTo>
                      <a:close/>
                      <a:moveTo>
                        <a:pt x="999" y="48"/>
                      </a:moveTo>
                      <a:cubicBezTo>
                        <a:pt x="996" y="47"/>
                        <a:pt x="996" y="47"/>
                        <a:pt x="996" y="47"/>
                      </a:cubicBezTo>
                      <a:cubicBezTo>
                        <a:pt x="993" y="47"/>
                        <a:pt x="993" y="47"/>
                        <a:pt x="993" y="47"/>
                      </a:cubicBezTo>
                      <a:cubicBezTo>
                        <a:pt x="994" y="48"/>
                        <a:pt x="994" y="48"/>
                        <a:pt x="994" y="48"/>
                      </a:cubicBezTo>
                      <a:cubicBezTo>
                        <a:pt x="990" y="50"/>
                        <a:pt x="990" y="50"/>
                        <a:pt x="990" y="50"/>
                      </a:cubicBezTo>
                      <a:cubicBezTo>
                        <a:pt x="990" y="51"/>
                        <a:pt x="990" y="51"/>
                        <a:pt x="990" y="51"/>
                      </a:cubicBezTo>
                      <a:cubicBezTo>
                        <a:pt x="997" y="50"/>
                        <a:pt x="997" y="50"/>
                        <a:pt x="997" y="50"/>
                      </a:cubicBezTo>
                      <a:lnTo>
                        <a:pt x="999" y="48"/>
                      </a:lnTo>
                      <a:close/>
                      <a:moveTo>
                        <a:pt x="1018" y="23"/>
                      </a:moveTo>
                      <a:cubicBezTo>
                        <a:pt x="1031" y="21"/>
                        <a:pt x="1031" y="21"/>
                        <a:pt x="1031" y="21"/>
                      </a:cubicBezTo>
                      <a:cubicBezTo>
                        <a:pt x="1031" y="19"/>
                        <a:pt x="1031" y="19"/>
                        <a:pt x="1031" y="19"/>
                      </a:cubicBezTo>
                      <a:cubicBezTo>
                        <a:pt x="1022" y="17"/>
                        <a:pt x="1022" y="17"/>
                        <a:pt x="1022" y="17"/>
                      </a:cubicBezTo>
                      <a:cubicBezTo>
                        <a:pt x="1016" y="18"/>
                        <a:pt x="1016" y="18"/>
                        <a:pt x="1016" y="18"/>
                      </a:cubicBezTo>
                      <a:cubicBezTo>
                        <a:pt x="1011" y="21"/>
                        <a:pt x="1011" y="21"/>
                        <a:pt x="1011" y="21"/>
                      </a:cubicBezTo>
                      <a:cubicBezTo>
                        <a:pt x="1008" y="20"/>
                        <a:pt x="1008" y="20"/>
                        <a:pt x="1008" y="20"/>
                      </a:cubicBezTo>
                      <a:cubicBezTo>
                        <a:pt x="1003" y="21"/>
                        <a:pt x="1003" y="21"/>
                        <a:pt x="1003" y="21"/>
                      </a:cubicBezTo>
                      <a:cubicBezTo>
                        <a:pt x="1006" y="23"/>
                        <a:pt x="1006" y="23"/>
                        <a:pt x="1006" y="23"/>
                      </a:cubicBezTo>
                      <a:lnTo>
                        <a:pt x="1018" y="23"/>
                      </a:lnTo>
                      <a:close/>
                      <a:moveTo>
                        <a:pt x="1038" y="15"/>
                      </a:moveTo>
                      <a:cubicBezTo>
                        <a:pt x="1029" y="12"/>
                        <a:pt x="1029" y="12"/>
                        <a:pt x="1029" y="12"/>
                      </a:cubicBezTo>
                      <a:cubicBezTo>
                        <a:pt x="1020" y="14"/>
                        <a:pt x="1020" y="14"/>
                        <a:pt x="1020" y="14"/>
                      </a:cubicBezTo>
                      <a:cubicBezTo>
                        <a:pt x="1019" y="16"/>
                        <a:pt x="1019" y="16"/>
                        <a:pt x="1019" y="16"/>
                      </a:cubicBezTo>
                      <a:cubicBezTo>
                        <a:pt x="1031" y="17"/>
                        <a:pt x="1031" y="17"/>
                        <a:pt x="1031" y="17"/>
                      </a:cubicBezTo>
                      <a:lnTo>
                        <a:pt x="1038" y="15"/>
                      </a:lnTo>
                      <a:close/>
                      <a:moveTo>
                        <a:pt x="1048" y="4"/>
                      </a:moveTo>
                      <a:cubicBezTo>
                        <a:pt x="1047" y="0"/>
                        <a:pt x="1047" y="0"/>
                        <a:pt x="1047" y="0"/>
                      </a:cubicBezTo>
                      <a:cubicBezTo>
                        <a:pt x="1040" y="0"/>
                        <a:pt x="1040" y="0"/>
                        <a:pt x="1040" y="0"/>
                      </a:cubicBezTo>
                      <a:cubicBezTo>
                        <a:pt x="1035" y="1"/>
                        <a:pt x="1035" y="1"/>
                        <a:pt x="1035" y="1"/>
                      </a:cubicBezTo>
                      <a:cubicBezTo>
                        <a:pt x="1032" y="5"/>
                        <a:pt x="1032" y="5"/>
                        <a:pt x="1032" y="5"/>
                      </a:cubicBezTo>
                      <a:cubicBezTo>
                        <a:pt x="1041" y="6"/>
                        <a:pt x="1041" y="6"/>
                        <a:pt x="1041" y="6"/>
                      </a:cubicBezTo>
                      <a:lnTo>
                        <a:pt x="1048" y="4"/>
                      </a:lnTo>
                      <a:close/>
                      <a:moveTo>
                        <a:pt x="1002" y="34"/>
                      </a:moveTo>
                      <a:cubicBezTo>
                        <a:pt x="1003" y="35"/>
                        <a:pt x="1003" y="35"/>
                        <a:pt x="1003" y="35"/>
                      </a:cubicBezTo>
                      <a:cubicBezTo>
                        <a:pt x="1010" y="38"/>
                        <a:pt x="1010" y="38"/>
                        <a:pt x="1010" y="38"/>
                      </a:cubicBezTo>
                      <a:cubicBezTo>
                        <a:pt x="1018" y="38"/>
                        <a:pt x="1018" y="38"/>
                        <a:pt x="1018" y="38"/>
                      </a:cubicBezTo>
                      <a:cubicBezTo>
                        <a:pt x="1023" y="42"/>
                        <a:pt x="1023" y="42"/>
                        <a:pt x="1023" y="42"/>
                      </a:cubicBezTo>
                      <a:cubicBezTo>
                        <a:pt x="1030" y="40"/>
                        <a:pt x="1030" y="40"/>
                        <a:pt x="1030" y="40"/>
                      </a:cubicBezTo>
                      <a:cubicBezTo>
                        <a:pt x="1032" y="38"/>
                        <a:pt x="1032" y="38"/>
                        <a:pt x="1032" y="38"/>
                      </a:cubicBezTo>
                      <a:cubicBezTo>
                        <a:pt x="1024" y="36"/>
                        <a:pt x="1024" y="36"/>
                        <a:pt x="1024" y="36"/>
                      </a:cubicBezTo>
                      <a:cubicBezTo>
                        <a:pt x="1014" y="33"/>
                        <a:pt x="1014" y="33"/>
                        <a:pt x="1014" y="33"/>
                      </a:cubicBezTo>
                      <a:cubicBezTo>
                        <a:pt x="1009" y="31"/>
                        <a:pt x="1009" y="31"/>
                        <a:pt x="1009" y="31"/>
                      </a:cubicBezTo>
                      <a:cubicBezTo>
                        <a:pt x="1004" y="30"/>
                        <a:pt x="1004" y="30"/>
                        <a:pt x="1004" y="30"/>
                      </a:cubicBezTo>
                      <a:cubicBezTo>
                        <a:pt x="995" y="28"/>
                        <a:pt x="995" y="28"/>
                        <a:pt x="995" y="28"/>
                      </a:cubicBezTo>
                      <a:cubicBezTo>
                        <a:pt x="992" y="29"/>
                        <a:pt x="992" y="29"/>
                        <a:pt x="992" y="29"/>
                      </a:cubicBezTo>
                      <a:cubicBezTo>
                        <a:pt x="993" y="31"/>
                        <a:pt x="993" y="31"/>
                        <a:pt x="993" y="31"/>
                      </a:cubicBezTo>
                      <a:cubicBezTo>
                        <a:pt x="1002" y="34"/>
                        <a:pt x="1002" y="34"/>
                        <a:pt x="1002" y="34"/>
                      </a:cubicBezTo>
                      <a:close/>
                      <a:moveTo>
                        <a:pt x="571" y="44"/>
                      </a:moveTo>
                      <a:cubicBezTo>
                        <a:pt x="576" y="45"/>
                        <a:pt x="576" y="45"/>
                        <a:pt x="576" y="45"/>
                      </a:cubicBezTo>
                      <a:cubicBezTo>
                        <a:pt x="575" y="43"/>
                        <a:pt x="575" y="43"/>
                        <a:pt x="575" y="43"/>
                      </a:cubicBezTo>
                      <a:cubicBezTo>
                        <a:pt x="570" y="43"/>
                        <a:pt x="570" y="43"/>
                        <a:pt x="570" y="43"/>
                      </a:cubicBezTo>
                      <a:lnTo>
                        <a:pt x="571" y="44"/>
                      </a:lnTo>
                      <a:close/>
                      <a:moveTo>
                        <a:pt x="609" y="50"/>
                      </a:moveTo>
                      <a:cubicBezTo>
                        <a:pt x="610" y="52"/>
                        <a:pt x="610" y="52"/>
                        <a:pt x="610" y="52"/>
                      </a:cubicBezTo>
                      <a:cubicBezTo>
                        <a:pt x="613" y="51"/>
                        <a:pt x="613" y="51"/>
                        <a:pt x="613" y="51"/>
                      </a:cubicBezTo>
                      <a:cubicBezTo>
                        <a:pt x="612" y="50"/>
                        <a:pt x="612" y="50"/>
                        <a:pt x="612" y="50"/>
                      </a:cubicBezTo>
                      <a:lnTo>
                        <a:pt x="609" y="50"/>
                      </a:lnTo>
                      <a:close/>
                      <a:moveTo>
                        <a:pt x="661" y="98"/>
                      </a:moveTo>
                      <a:cubicBezTo>
                        <a:pt x="664" y="97"/>
                        <a:pt x="664" y="97"/>
                        <a:pt x="664" y="97"/>
                      </a:cubicBezTo>
                      <a:cubicBezTo>
                        <a:pt x="668" y="98"/>
                        <a:pt x="668" y="98"/>
                        <a:pt x="668" y="98"/>
                      </a:cubicBezTo>
                      <a:cubicBezTo>
                        <a:pt x="676" y="98"/>
                        <a:pt x="676" y="98"/>
                        <a:pt x="676" y="98"/>
                      </a:cubicBezTo>
                      <a:cubicBezTo>
                        <a:pt x="676" y="96"/>
                        <a:pt x="676" y="96"/>
                        <a:pt x="676" y="96"/>
                      </a:cubicBezTo>
                      <a:cubicBezTo>
                        <a:pt x="661" y="96"/>
                        <a:pt x="661" y="96"/>
                        <a:pt x="661" y="96"/>
                      </a:cubicBezTo>
                      <a:cubicBezTo>
                        <a:pt x="656" y="98"/>
                        <a:pt x="656" y="98"/>
                        <a:pt x="656" y="98"/>
                      </a:cubicBezTo>
                      <a:lnTo>
                        <a:pt x="661" y="98"/>
                      </a:lnTo>
                      <a:close/>
                      <a:moveTo>
                        <a:pt x="719" y="58"/>
                      </a:moveTo>
                      <a:cubicBezTo>
                        <a:pt x="725" y="58"/>
                        <a:pt x="725" y="58"/>
                        <a:pt x="725" y="58"/>
                      </a:cubicBezTo>
                      <a:cubicBezTo>
                        <a:pt x="724" y="56"/>
                        <a:pt x="724" y="56"/>
                        <a:pt x="724" y="56"/>
                      </a:cubicBezTo>
                      <a:cubicBezTo>
                        <a:pt x="718" y="57"/>
                        <a:pt x="718" y="57"/>
                        <a:pt x="718" y="57"/>
                      </a:cubicBezTo>
                      <a:cubicBezTo>
                        <a:pt x="714" y="58"/>
                        <a:pt x="714" y="58"/>
                        <a:pt x="714" y="58"/>
                      </a:cubicBezTo>
                      <a:cubicBezTo>
                        <a:pt x="703" y="60"/>
                        <a:pt x="703" y="60"/>
                        <a:pt x="703" y="60"/>
                      </a:cubicBezTo>
                      <a:cubicBezTo>
                        <a:pt x="697" y="62"/>
                        <a:pt x="697" y="62"/>
                        <a:pt x="697" y="62"/>
                      </a:cubicBezTo>
                      <a:cubicBezTo>
                        <a:pt x="701" y="63"/>
                        <a:pt x="701" y="63"/>
                        <a:pt x="701" y="63"/>
                      </a:cubicBezTo>
                      <a:lnTo>
                        <a:pt x="719" y="58"/>
                      </a:lnTo>
                      <a:close/>
                      <a:moveTo>
                        <a:pt x="659" y="58"/>
                      </a:moveTo>
                      <a:cubicBezTo>
                        <a:pt x="654" y="58"/>
                        <a:pt x="654" y="58"/>
                        <a:pt x="654" y="58"/>
                      </a:cubicBezTo>
                      <a:cubicBezTo>
                        <a:pt x="654" y="61"/>
                        <a:pt x="654" y="61"/>
                        <a:pt x="654" y="61"/>
                      </a:cubicBezTo>
                      <a:cubicBezTo>
                        <a:pt x="659" y="60"/>
                        <a:pt x="659" y="60"/>
                        <a:pt x="659" y="60"/>
                      </a:cubicBezTo>
                      <a:lnTo>
                        <a:pt x="659" y="58"/>
                      </a:lnTo>
                      <a:close/>
                      <a:moveTo>
                        <a:pt x="769" y="59"/>
                      </a:moveTo>
                      <a:cubicBezTo>
                        <a:pt x="766" y="58"/>
                        <a:pt x="766" y="58"/>
                        <a:pt x="766" y="58"/>
                      </a:cubicBezTo>
                      <a:cubicBezTo>
                        <a:pt x="762" y="59"/>
                        <a:pt x="762" y="59"/>
                        <a:pt x="762" y="59"/>
                      </a:cubicBezTo>
                      <a:cubicBezTo>
                        <a:pt x="762" y="60"/>
                        <a:pt x="762" y="60"/>
                        <a:pt x="762" y="60"/>
                      </a:cubicBezTo>
                      <a:cubicBezTo>
                        <a:pt x="767" y="60"/>
                        <a:pt x="767" y="60"/>
                        <a:pt x="767" y="60"/>
                      </a:cubicBezTo>
                      <a:lnTo>
                        <a:pt x="769" y="59"/>
                      </a:lnTo>
                      <a:close/>
                      <a:moveTo>
                        <a:pt x="612" y="47"/>
                      </a:moveTo>
                      <a:cubicBezTo>
                        <a:pt x="610" y="46"/>
                        <a:pt x="610" y="46"/>
                        <a:pt x="610" y="46"/>
                      </a:cubicBezTo>
                      <a:cubicBezTo>
                        <a:pt x="608" y="46"/>
                        <a:pt x="608" y="46"/>
                        <a:pt x="608" y="46"/>
                      </a:cubicBezTo>
                      <a:cubicBezTo>
                        <a:pt x="609" y="48"/>
                        <a:pt x="609" y="48"/>
                        <a:pt x="609" y="48"/>
                      </a:cubicBezTo>
                      <a:lnTo>
                        <a:pt x="612" y="47"/>
                      </a:lnTo>
                      <a:close/>
                      <a:moveTo>
                        <a:pt x="542" y="53"/>
                      </a:moveTo>
                      <a:cubicBezTo>
                        <a:pt x="539" y="51"/>
                        <a:pt x="539" y="51"/>
                        <a:pt x="539" y="51"/>
                      </a:cubicBezTo>
                      <a:cubicBezTo>
                        <a:pt x="535" y="52"/>
                        <a:pt x="535" y="52"/>
                        <a:pt x="535" y="52"/>
                      </a:cubicBezTo>
                      <a:cubicBezTo>
                        <a:pt x="535" y="54"/>
                        <a:pt x="535" y="54"/>
                        <a:pt x="535" y="54"/>
                      </a:cubicBezTo>
                      <a:cubicBezTo>
                        <a:pt x="540" y="55"/>
                        <a:pt x="540" y="55"/>
                        <a:pt x="540" y="55"/>
                      </a:cubicBezTo>
                      <a:lnTo>
                        <a:pt x="542" y="53"/>
                      </a:lnTo>
                      <a:close/>
                      <a:moveTo>
                        <a:pt x="562" y="86"/>
                      </a:moveTo>
                      <a:cubicBezTo>
                        <a:pt x="558" y="85"/>
                        <a:pt x="558" y="85"/>
                        <a:pt x="558" y="85"/>
                      </a:cubicBezTo>
                      <a:cubicBezTo>
                        <a:pt x="557" y="86"/>
                        <a:pt x="557" y="86"/>
                        <a:pt x="557" y="86"/>
                      </a:cubicBezTo>
                      <a:cubicBezTo>
                        <a:pt x="557" y="88"/>
                        <a:pt x="557" y="88"/>
                        <a:pt x="557" y="88"/>
                      </a:cubicBezTo>
                      <a:cubicBezTo>
                        <a:pt x="561" y="87"/>
                        <a:pt x="561" y="87"/>
                        <a:pt x="561" y="87"/>
                      </a:cubicBezTo>
                      <a:lnTo>
                        <a:pt x="562" y="86"/>
                      </a:lnTo>
                      <a:close/>
                      <a:moveTo>
                        <a:pt x="618" y="127"/>
                      </a:moveTo>
                      <a:cubicBezTo>
                        <a:pt x="609" y="125"/>
                        <a:pt x="609" y="125"/>
                        <a:pt x="609" y="125"/>
                      </a:cubicBezTo>
                      <a:cubicBezTo>
                        <a:pt x="608" y="126"/>
                        <a:pt x="608" y="126"/>
                        <a:pt x="608" y="126"/>
                      </a:cubicBezTo>
                      <a:cubicBezTo>
                        <a:pt x="602" y="126"/>
                        <a:pt x="602" y="126"/>
                        <a:pt x="602" y="126"/>
                      </a:cubicBezTo>
                      <a:cubicBezTo>
                        <a:pt x="600" y="123"/>
                        <a:pt x="600" y="123"/>
                        <a:pt x="600" y="123"/>
                      </a:cubicBezTo>
                      <a:cubicBezTo>
                        <a:pt x="596" y="122"/>
                        <a:pt x="596" y="122"/>
                        <a:pt x="596" y="122"/>
                      </a:cubicBezTo>
                      <a:cubicBezTo>
                        <a:pt x="599" y="116"/>
                        <a:pt x="599" y="116"/>
                        <a:pt x="599" y="116"/>
                      </a:cubicBezTo>
                      <a:cubicBezTo>
                        <a:pt x="594" y="115"/>
                        <a:pt x="594" y="115"/>
                        <a:pt x="594" y="115"/>
                      </a:cubicBezTo>
                      <a:cubicBezTo>
                        <a:pt x="590" y="116"/>
                        <a:pt x="590" y="116"/>
                        <a:pt x="590" y="116"/>
                      </a:cubicBezTo>
                      <a:cubicBezTo>
                        <a:pt x="578" y="116"/>
                        <a:pt x="578" y="116"/>
                        <a:pt x="578" y="116"/>
                      </a:cubicBezTo>
                      <a:cubicBezTo>
                        <a:pt x="577" y="118"/>
                        <a:pt x="577" y="118"/>
                        <a:pt x="577" y="118"/>
                      </a:cubicBezTo>
                      <a:cubicBezTo>
                        <a:pt x="569" y="118"/>
                        <a:pt x="569" y="118"/>
                        <a:pt x="569" y="118"/>
                      </a:cubicBezTo>
                      <a:cubicBezTo>
                        <a:pt x="568" y="120"/>
                        <a:pt x="568" y="120"/>
                        <a:pt x="568" y="120"/>
                      </a:cubicBezTo>
                      <a:cubicBezTo>
                        <a:pt x="578" y="123"/>
                        <a:pt x="578" y="123"/>
                        <a:pt x="578" y="123"/>
                      </a:cubicBezTo>
                      <a:cubicBezTo>
                        <a:pt x="574" y="125"/>
                        <a:pt x="574" y="125"/>
                        <a:pt x="574" y="125"/>
                      </a:cubicBezTo>
                      <a:cubicBezTo>
                        <a:pt x="574" y="132"/>
                        <a:pt x="574" y="132"/>
                        <a:pt x="574" y="132"/>
                      </a:cubicBezTo>
                      <a:cubicBezTo>
                        <a:pt x="568" y="135"/>
                        <a:pt x="568" y="135"/>
                        <a:pt x="568" y="135"/>
                      </a:cubicBezTo>
                      <a:cubicBezTo>
                        <a:pt x="568" y="137"/>
                        <a:pt x="568" y="137"/>
                        <a:pt x="568" y="137"/>
                      </a:cubicBezTo>
                      <a:cubicBezTo>
                        <a:pt x="571" y="139"/>
                        <a:pt x="571" y="139"/>
                        <a:pt x="571" y="139"/>
                      </a:cubicBezTo>
                      <a:cubicBezTo>
                        <a:pt x="586" y="134"/>
                        <a:pt x="586" y="134"/>
                        <a:pt x="586" y="134"/>
                      </a:cubicBezTo>
                      <a:cubicBezTo>
                        <a:pt x="593" y="135"/>
                        <a:pt x="593" y="135"/>
                        <a:pt x="593" y="135"/>
                      </a:cubicBezTo>
                      <a:cubicBezTo>
                        <a:pt x="592" y="136"/>
                        <a:pt x="592" y="136"/>
                        <a:pt x="592" y="136"/>
                      </a:cubicBezTo>
                      <a:cubicBezTo>
                        <a:pt x="588" y="138"/>
                        <a:pt x="588" y="138"/>
                        <a:pt x="588" y="138"/>
                      </a:cubicBezTo>
                      <a:cubicBezTo>
                        <a:pt x="590" y="141"/>
                        <a:pt x="590" y="141"/>
                        <a:pt x="590" y="141"/>
                      </a:cubicBezTo>
                      <a:cubicBezTo>
                        <a:pt x="598" y="139"/>
                        <a:pt x="598" y="139"/>
                        <a:pt x="598" y="139"/>
                      </a:cubicBezTo>
                      <a:cubicBezTo>
                        <a:pt x="602" y="136"/>
                        <a:pt x="602" y="136"/>
                        <a:pt x="602" y="136"/>
                      </a:cubicBezTo>
                      <a:cubicBezTo>
                        <a:pt x="602" y="133"/>
                        <a:pt x="602" y="133"/>
                        <a:pt x="602" y="133"/>
                      </a:cubicBezTo>
                      <a:cubicBezTo>
                        <a:pt x="608" y="130"/>
                        <a:pt x="608" y="130"/>
                        <a:pt x="608" y="130"/>
                      </a:cubicBezTo>
                      <a:cubicBezTo>
                        <a:pt x="619" y="129"/>
                        <a:pt x="619" y="129"/>
                        <a:pt x="619" y="129"/>
                      </a:cubicBezTo>
                      <a:lnTo>
                        <a:pt x="618" y="127"/>
                      </a:lnTo>
                      <a:close/>
                      <a:moveTo>
                        <a:pt x="585" y="113"/>
                      </a:moveTo>
                      <a:cubicBezTo>
                        <a:pt x="584" y="105"/>
                        <a:pt x="584" y="105"/>
                        <a:pt x="584" y="105"/>
                      </a:cubicBezTo>
                      <a:cubicBezTo>
                        <a:pt x="577" y="105"/>
                        <a:pt x="577" y="105"/>
                        <a:pt x="577" y="105"/>
                      </a:cubicBezTo>
                      <a:cubicBezTo>
                        <a:pt x="572" y="108"/>
                        <a:pt x="572" y="108"/>
                        <a:pt x="572" y="108"/>
                      </a:cubicBezTo>
                      <a:cubicBezTo>
                        <a:pt x="568" y="108"/>
                        <a:pt x="568" y="108"/>
                        <a:pt x="568" y="108"/>
                      </a:cubicBezTo>
                      <a:cubicBezTo>
                        <a:pt x="566" y="110"/>
                        <a:pt x="566" y="110"/>
                        <a:pt x="566" y="110"/>
                      </a:cubicBezTo>
                      <a:cubicBezTo>
                        <a:pt x="570" y="114"/>
                        <a:pt x="570" y="114"/>
                        <a:pt x="570" y="114"/>
                      </a:cubicBezTo>
                      <a:lnTo>
                        <a:pt x="585" y="113"/>
                      </a:lnTo>
                      <a:close/>
                      <a:moveTo>
                        <a:pt x="442" y="108"/>
                      </a:moveTo>
                      <a:cubicBezTo>
                        <a:pt x="444" y="110"/>
                        <a:pt x="444" y="110"/>
                        <a:pt x="444" y="110"/>
                      </a:cubicBezTo>
                      <a:cubicBezTo>
                        <a:pt x="448" y="112"/>
                        <a:pt x="448" y="112"/>
                        <a:pt x="448" y="112"/>
                      </a:cubicBezTo>
                      <a:cubicBezTo>
                        <a:pt x="451" y="115"/>
                        <a:pt x="451" y="115"/>
                        <a:pt x="451" y="115"/>
                      </a:cubicBezTo>
                      <a:cubicBezTo>
                        <a:pt x="456" y="117"/>
                        <a:pt x="456" y="117"/>
                        <a:pt x="456" y="117"/>
                      </a:cubicBezTo>
                      <a:cubicBezTo>
                        <a:pt x="459" y="114"/>
                        <a:pt x="459" y="114"/>
                        <a:pt x="459" y="114"/>
                      </a:cubicBezTo>
                      <a:cubicBezTo>
                        <a:pt x="456" y="111"/>
                        <a:pt x="456" y="111"/>
                        <a:pt x="456" y="111"/>
                      </a:cubicBezTo>
                      <a:cubicBezTo>
                        <a:pt x="448" y="107"/>
                        <a:pt x="448" y="107"/>
                        <a:pt x="448" y="107"/>
                      </a:cubicBezTo>
                      <a:cubicBezTo>
                        <a:pt x="447" y="100"/>
                        <a:pt x="447" y="100"/>
                        <a:pt x="447" y="100"/>
                      </a:cubicBezTo>
                      <a:cubicBezTo>
                        <a:pt x="441" y="98"/>
                        <a:pt x="441" y="98"/>
                        <a:pt x="441" y="98"/>
                      </a:cubicBezTo>
                      <a:cubicBezTo>
                        <a:pt x="437" y="100"/>
                        <a:pt x="437" y="100"/>
                        <a:pt x="437" y="100"/>
                      </a:cubicBezTo>
                      <a:cubicBezTo>
                        <a:pt x="440" y="102"/>
                        <a:pt x="440" y="102"/>
                        <a:pt x="440" y="102"/>
                      </a:cubicBezTo>
                      <a:lnTo>
                        <a:pt x="442" y="108"/>
                      </a:lnTo>
                      <a:close/>
                      <a:moveTo>
                        <a:pt x="442" y="90"/>
                      </a:moveTo>
                      <a:cubicBezTo>
                        <a:pt x="447" y="90"/>
                        <a:pt x="447" y="90"/>
                        <a:pt x="447" y="90"/>
                      </a:cubicBezTo>
                      <a:cubicBezTo>
                        <a:pt x="450" y="88"/>
                        <a:pt x="450" y="88"/>
                        <a:pt x="450" y="88"/>
                      </a:cubicBezTo>
                      <a:cubicBezTo>
                        <a:pt x="450" y="86"/>
                        <a:pt x="450" y="86"/>
                        <a:pt x="450" y="86"/>
                      </a:cubicBezTo>
                      <a:cubicBezTo>
                        <a:pt x="453" y="85"/>
                        <a:pt x="453" y="85"/>
                        <a:pt x="453" y="85"/>
                      </a:cubicBezTo>
                      <a:cubicBezTo>
                        <a:pt x="456" y="86"/>
                        <a:pt x="456" y="86"/>
                        <a:pt x="456" y="86"/>
                      </a:cubicBezTo>
                      <a:cubicBezTo>
                        <a:pt x="454" y="89"/>
                        <a:pt x="454" y="89"/>
                        <a:pt x="454" y="89"/>
                      </a:cubicBezTo>
                      <a:cubicBezTo>
                        <a:pt x="454" y="94"/>
                        <a:pt x="454" y="94"/>
                        <a:pt x="454" y="94"/>
                      </a:cubicBezTo>
                      <a:cubicBezTo>
                        <a:pt x="459" y="94"/>
                        <a:pt x="459" y="94"/>
                        <a:pt x="459" y="94"/>
                      </a:cubicBezTo>
                      <a:cubicBezTo>
                        <a:pt x="459" y="96"/>
                        <a:pt x="459" y="96"/>
                        <a:pt x="459" y="96"/>
                      </a:cubicBezTo>
                      <a:cubicBezTo>
                        <a:pt x="456" y="96"/>
                        <a:pt x="456" y="96"/>
                        <a:pt x="456" y="96"/>
                      </a:cubicBezTo>
                      <a:cubicBezTo>
                        <a:pt x="451" y="97"/>
                        <a:pt x="451" y="97"/>
                        <a:pt x="451" y="97"/>
                      </a:cubicBezTo>
                      <a:cubicBezTo>
                        <a:pt x="450" y="99"/>
                        <a:pt x="450" y="99"/>
                        <a:pt x="450" y="99"/>
                      </a:cubicBezTo>
                      <a:cubicBezTo>
                        <a:pt x="456" y="101"/>
                        <a:pt x="456" y="101"/>
                        <a:pt x="456" y="101"/>
                      </a:cubicBezTo>
                      <a:cubicBezTo>
                        <a:pt x="453" y="102"/>
                        <a:pt x="453" y="102"/>
                        <a:pt x="453" y="102"/>
                      </a:cubicBezTo>
                      <a:cubicBezTo>
                        <a:pt x="456" y="106"/>
                        <a:pt x="456" y="106"/>
                        <a:pt x="456" y="106"/>
                      </a:cubicBezTo>
                      <a:cubicBezTo>
                        <a:pt x="462" y="107"/>
                        <a:pt x="462" y="107"/>
                        <a:pt x="462" y="107"/>
                      </a:cubicBezTo>
                      <a:cubicBezTo>
                        <a:pt x="469" y="107"/>
                        <a:pt x="469" y="107"/>
                        <a:pt x="469" y="107"/>
                      </a:cubicBezTo>
                      <a:cubicBezTo>
                        <a:pt x="470" y="109"/>
                        <a:pt x="470" y="109"/>
                        <a:pt x="470" y="109"/>
                      </a:cubicBezTo>
                      <a:cubicBezTo>
                        <a:pt x="462" y="108"/>
                        <a:pt x="462" y="108"/>
                        <a:pt x="462" y="108"/>
                      </a:cubicBezTo>
                      <a:cubicBezTo>
                        <a:pt x="459" y="110"/>
                        <a:pt x="459" y="110"/>
                        <a:pt x="459" y="110"/>
                      </a:cubicBezTo>
                      <a:cubicBezTo>
                        <a:pt x="466" y="113"/>
                        <a:pt x="466" y="113"/>
                        <a:pt x="466" y="113"/>
                      </a:cubicBezTo>
                      <a:cubicBezTo>
                        <a:pt x="468" y="114"/>
                        <a:pt x="468" y="114"/>
                        <a:pt x="468" y="114"/>
                      </a:cubicBezTo>
                      <a:cubicBezTo>
                        <a:pt x="474" y="115"/>
                        <a:pt x="474" y="115"/>
                        <a:pt x="474" y="115"/>
                      </a:cubicBezTo>
                      <a:cubicBezTo>
                        <a:pt x="490" y="111"/>
                        <a:pt x="490" y="111"/>
                        <a:pt x="490" y="111"/>
                      </a:cubicBezTo>
                      <a:cubicBezTo>
                        <a:pt x="490" y="107"/>
                        <a:pt x="490" y="107"/>
                        <a:pt x="490" y="107"/>
                      </a:cubicBezTo>
                      <a:cubicBezTo>
                        <a:pt x="487" y="104"/>
                        <a:pt x="487" y="104"/>
                        <a:pt x="487" y="104"/>
                      </a:cubicBezTo>
                      <a:cubicBezTo>
                        <a:pt x="490" y="102"/>
                        <a:pt x="490" y="102"/>
                        <a:pt x="490" y="102"/>
                      </a:cubicBezTo>
                      <a:cubicBezTo>
                        <a:pt x="495" y="102"/>
                        <a:pt x="495" y="102"/>
                        <a:pt x="495" y="102"/>
                      </a:cubicBezTo>
                      <a:cubicBezTo>
                        <a:pt x="498" y="100"/>
                        <a:pt x="498" y="100"/>
                        <a:pt x="498" y="100"/>
                      </a:cubicBezTo>
                      <a:cubicBezTo>
                        <a:pt x="503" y="102"/>
                        <a:pt x="503" y="102"/>
                        <a:pt x="503" y="102"/>
                      </a:cubicBezTo>
                      <a:cubicBezTo>
                        <a:pt x="499" y="104"/>
                        <a:pt x="499" y="104"/>
                        <a:pt x="499" y="104"/>
                      </a:cubicBezTo>
                      <a:cubicBezTo>
                        <a:pt x="499" y="108"/>
                        <a:pt x="499" y="108"/>
                        <a:pt x="499" y="108"/>
                      </a:cubicBezTo>
                      <a:cubicBezTo>
                        <a:pt x="504" y="108"/>
                        <a:pt x="504" y="108"/>
                        <a:pt x="504" y="108"/>
                      </a:cubicBezTo>
                      <a:cubicBezTo>
                        <a:pt x="511" y="105"/>
                        <a:pt x="511" y="105"/>
                        <a:pt x="511" y="105"/>
                      </a:cubicBezTo>
                      <a:cubicBezTo>
                        <a:pt x="514" y="103"/>
                        <a:pt x="514" y="103"/>
                        <a:pt x="514" y="103"/>
                      </a:cubicBezTo>
                      <a:cubicBezTo>
                        <a:pt x="518" y="104"/>
                        <a:pt x="518" y="104"/>
                        <a:pt x="518" y="104"/>
                      </a:cubicBezTo>
                      <a:cubicBezTo>
                        <a:pt x="513" y="107"/>
                        <a:pt x="513" y="107"/>
                        <a:pt x="513" y="107"/>
                      </a:cubicBezTo>
                      <a:cubicBezTo>
                        <a:pt x="508" y="109"/>
                        <a:pt x="508" y="109"/>
                        <a:pt x="508" y="109"/>
                      </a:cubicBezTo>
                      <a:cubicBezTo>
                        <a:pt x="511" y="110"/>
                        <a:pt x="511" y="110"/>
                        <a:pt x="511" y="110"/>
                      </a:cubicBezTo>
                      <a:cubicBezTo>
                        <a:pt x="516" y="109"/>
                        <a:pt x="516" y="109"/>
                        <a:pt x="516" y="109"/>
                      </a:cubicBezTo>
                      <a:cubicBezTo>
                        <a:pt x="520" y="109"/>
                        <a:pt x="520" y="109"/>
                        <a:pt x="520" y="109"/>
                      </a:cubicBezTo>
                      <a:cubicBezTo>
                        <a:pt x="519" y="111"/>
                        <a:pt x="519" y="111"/>
                        <a:pt x="519" y="111"/>
                      </a:cubicBezTo>
                      <a:cubicBezTo>
                        <a:pt x="510" y="113"/>
                        <a:pt x="510" y="113"/>
                        <a:pt x="510" y="113"/>
                      </a:cubicBezTo>
                      <a:cubicBezTo>
                        <a:pt x="496" y="113"/>
                        <a:pt x="496" y="113"/>
                        <a:pt x="496" y="113"/>
                      </a:cubicBezTo>
                      <a:cubicBezTo>
                        <a:pt x="498" y="115"/>
                        <a:pt x="498" y="115"/>
                        <a:pt x="498" y="115"/>
                      </a:cubicBezTo>
                      <a:cubicBezTo>
                        <a:pt x="495" y="117"/>
                        <a:pt x="495" y="117"/>
                        <a:pt x="495" y="117"/>
                      </a:cubicBezTo>
                      <a:cubicBezTo>
                        <a:pt x="489" y="117"/>
                        <a:pt x="489" y="117"/>
                        <a:pt x="489" y="117"/>
                      </a:cubicBezTo>
                      <a:cubicBezTo>
                        <a:pt x="485" y="120"/>
                        <a:pt x="485" y="120"/>
                        <a:pt x="485" y="120"/>
                      </a:cubicBezTo>
                      <a:cubicBezTo>
                        <a:pt x="477" y="120"/>
                        <a:pt x="477" y="120"/>
                        <a:pt x="477" y="120"/>
                      </a:cubicBezTo>
                      <a:cubicBezTo>
                        <a:pt x="477" y="123"/>
                        <a:pt x="477" y="123"/>
                        <a:pt x="477" y="123"/>
                      </a:cubicBezTo>
                      <a:cubicBezTo>
                        <a:pt x="480" y="125"/>
                        <a:pt x="480" y="125"/>
                        <a:pt x="480" y="125"/>
                      </a:cubicBezTo>
                      <a:cubicBezTo>
                        <a:pt x="475" y="128"/>
                        <a:pt x="475" y="128"/>
                        <a:pt x="475" y="128"/>
                      </a:cubicBezTo>
                      <a:cubicBezTo>
                        <a:pt x="480" y="130"/>
                        <a:pt x="480" y="130"/>
                        <a:pt x="480" y="130"/>
                      </a:cubicBezTo>
                      <a:cubicBezTo>
                        <a:pt x="486" y="127"/>
                        <a:pt x="486" y="127"/>
                        <a:pt x="486" y="127"/>
                      </a:cubicBezTo>
                      <a:cubicBezTo>
                        <a:pt x="489" y="128"/>
                        <a:pt x="489" y="128"/>
                        <a:pt x="489" y="128"/>
                      </a:cubicBezTo>
                      <a:cubicBezTo>
                        <a:pt x="496" y="126"/>
                        <a:pt x="496" y="126"/>
                        <a:pt x="496" y="126"/>
                      </a:cubicBezTo>
                      <a:cubicBezTo>
                        <a:pt x="504" y="126"/>
                        <a:pt x="504" y="126"/>
                        <a:pt x="504" y="126"/>
                      </a:cubicBezTo>
                      <a:cubicBezTo>
                        <a:pt x="510" y="124"/>
                        <a:pt x="510" y="124"/>
                        <a:pt x="510" y="124"/>
                      </a:cubicBezTo>
                      <a:cubicBezTo>
                        <a:pt x="516" y="125"/>
                        <a:pt x="516" y="125"/>
                        <a:pt x="516" y="125"/>
                      </a:cubicBezTo>
                      <a:cubicBezTo>
                        <a:pt x="515" y="127"/>
                        <a:pt x="515" y="127"/>
                        <a:pt x="515" y="127"/>
                      </a:cubicBezTo>
                      <a:cubicBezTo>
                        <a:pt x="507" y="128"/>
                        <a:pt x="507" y="128"/>
                        <a:pt x="507" y="128"/>
                      </a:cubicBezTo>
                      <a:cubicBezTo>
                        <a:pt x="501" y="129"/>
                        <a:pt x="501" y="129"/>
                        <a:pt x="501" y="129"/>
                      </a:cubicBezTo>
                      <a:cubicBezTo>
                        <a:pt x="493" y="130"/>
                        <a:pt x="493" y="130"/>
                        <a:pt x="493" y="130"/>
                      </a:cubicBezTo>
                      <a:cubicBezTo>
                        <a:pt x="492" y="131"/>
                        <a:pt x="492" y="131"/>
                        <a:pt x="492" y="131"/>
                      </a:cubicBezTo>
                      <a:cubicBezTo>
                        <a:pt x="501" y="132"/>
                        <a:pt x="501" y="132"/>
                        <a:pt x="501" y="132"/>
                      </a:cubicBezTo>
                      <a:cubicBezTo>
                        <a:pt x="501" y="134"/>
                        <a:pt x="501" y="134"/>
                        <a:pt x="501" y="134"/>
                      </a:cubicBezTo>
                      <a:cubicBezTo>
                        <a:pt x="491" y="134"/>
                        <a:pt x="491" y="134"/>
                        <a:pt x="491" y="134"/>
                      </a:cubicBezTo>
                      <a:cubicBezTo>
                        <a:pt x="487" y="132"/>
                        <a:pt x="487" y="132"/>
                        <a:pt x="487" y="132"/>
                      </a:cubicBezTo>
                      <a:cubicBezTo>
                        <a:pt x="481" y="132"/>
                        <a:pt x="481" y="132"/>
                        <a:pt x="481" y="132"/>
                      </a:cubicBezTo>
                      <a:cubicBezTo>
                        <a:pt x="478" y="135"/>
                        <a:pt x="478" y="135"/>
                        <a:pt x="478" y="135"/>
                      </a:cubicBezTo>
                      <a:cubicBezTo>
                        <a:pt x="484" y="138"/>
                        <a:pt x="484" y="138"/>
                        <a:pt x="484" y="138"/>
                      </a:cubicBezTo>
                      <a:cubicBezTo>
                        <a:pt x="486" y="143"/>
                        <a:pt x="486" y="143"/>
                        <a:pt x="486" y="143"/>
                      </a:cubicBezTo>
                      <a:cubicBezTo>
                        <a:pt x="493" y="144"/>
                        <a:pt x="493" y="144"/>
                        <a:pt x="493" y="144"/>
                      </a:cubicBezTo>
                      <a:cubicBezTo>
                        <a:pt x="493" y="146"/>
                        <a:pt x="493" y="146"/>
                        <a:pt x="493" y="146"/>
                      </a:cubicBezTo>
                      <a:cubicBezTo>
                        <a:pt x="496" y="148"/>
                        <a:pt x="496" y="148"/>
                        <a:pt x="496" y="148"/>
                      </a:cubicBezTo>
                      <a:cubicBezTo>
                        <a:pt x="502" y="149"/>
                        <a:pt x="502" y="149"/>
                        <a:pt x="502" y="149"/>
                      </a:cubicBezTo>
                      <a:cubicBezTo>
                        <a:pt x="502" y="148"/>
                        <a:pt x="502" y="148"/>
                        <a:pt x="502" y="148"/>
                      </a:cubicBezTo>
                      <a:cubicBezTo>
                        <a:pt x="506" y="147"/>
                        <a:pt x="506" y="147"/>
                        <a:pt x="506" y="147"/>
                      </a:cubicBezTo>
                      <a:cubicBezTo>
                        <a:pt x="510" y="149"/>
                        <a:pt x="510" y="149"/>
                        <a:pt x="510" y="149"/>
                      </a:cubicBezTo>
                      <a:cubicBezTo>
                        <a:pt x="505" y="151"/>
                        <a:pt x="505" y="151"/>
                        <a:pt x="505" y="151"/>
                      </a:cubicBezTo>
                      <a:cubicBezTo>
                        <a:pt x="505" y="153"/>
                        <a:pt x="505" y="153"/>
                        <a:pt x="505" y="153"/>
                      </a:cubicBezTo>
                      <a:cubicBezTo>
                        <a:pt x="514" y="157"/>
                        <a:pt x="514" y="157"/>
                        <a:pt x="514" y="157"/>
                      </a:cubicBezTo>
                      <a:cubicBezTo>
                        <a:pt x="518" y="156"/>
                        <a:pt x="518" y="156"/>
                        <a:pt x="518" y="156"/>
                      </a:cubicBezTo>
                      <a:cubicBezTo>
                        <a:pt x="518" y="154"/>
                        <a:pt x="518" y="154"/>
                        <a:pt x="518" y="154"/>
                      </a:cubicBezTo>
                      <a:cubicBezTo>
                        <a:pt x="522" y="148"/>
                        <a:pt x="522" y="148"/>
                        <a:pt x="522" y="148"/>
                      </a:cubicBezTo>
                      <a:cubicBezTo>
                        <a:pt x="526" y="145"/>
                        <a:pt x="526" y="145"/>
                        <a:pt x="526" y="145"/>
                      </a:cubicBezTo>
                      <a:cubicBezTo>
                        <a:pt x="526" y="137"/>
                        <a:pt x="526" y="137"/>
                        <a:pt x="526" y="137"/>
                      </a:cubicBezTo>
                      <a:cubicBezTo>
                        <a:pt x="535" y="134"/>
                        <a:pt x="535" y="134"/>
                        <a:pt x="535" y="134"/>
                      </a:cubicBezTo>
                      <a:cubicBezTo>
                        <a:pt x="538" y="124"/>
                        <a:pt x="538" y="124"/>
                        <a:pt x="538" y="124"/>
                      </a:cubicBezTo>
                      <a:cubicBezTo>
                        <a:pt x="537" y="121"/>
                        <a:pt x="537" y="121"/>
                        <a:pt x="537" y="121"/>
                      </a:cubicBezTo>
                      <a:cubicBezTo>
                        <a:pt x="544" y="119"/>
                        <a:pt x="544" y="119"/>
                        <a:pt x="544" y="119"/>
                      </a:cubicBezTo>
                      <a:cubicBezTo>
                        <a:pt x="544" y="110"/>
                        <a:pt x="544" y="110"/>
                        <a:pt x="544" y="110"/>
                      </a:cubicBezTo>
                      <a:cubicBezTo>
                        <a:pt x="550" y="106"/>
                        <a:pt x="550" y="106"/>
                        <a:pt x="550" y="106"/>
                      </a:cubicBezTo>
                      <a:cubicBezTo>
                        <a:pt x="563" y="103"/>
                        <a:pt x="563" y="103"/>
                        <a:pt x="563" y="103"/>
                      </a:cubicBezTo>
                      <a:cubicBezTo>
                        <a:pt x="572" y="100"/>
                        <a:pt x="572" y="100"/>
                        <a:pt x="572" y="100"/>
                      </a:cubicBezTo>
                      <a:cubicBezTo>
                        <a:pt x="577" y="98"/>
                        <a:pt x="577" y="98"/>
                        <a:pt x="577" y="98"/>
                      </a:cubicBezTo>
                      <a:cubicBezTo>
                        <a:pt x="561" y="95"/>
                        <a:pt x="561" y="95"/>
                        <a:pt x="561" y="95"/>
                      </a:cubicBezTo>
                      <a:cubicBezTo>
                        <a:pt x="555" y="93"/>
                        <a:pt x="555" y="93"/>
                        <a:pt x="555" y="93"/>
                      </a:cubicBezTo>
                      <a:cubicBezTo>
                        <a:pt x="552" y="89"/>
                        <a:pt x="552" y="89"/>
                        <a:pt x="552" y="89"/>
                      </a:cubicBezTo>
                      <a:cubicBezTo>
                        <a:pt x="544" y="89"/>
                        <a:pt x="544" y="89"/>
                        <a:pt x="544" y="89"/>
                      </a:cubicBezTo>
                      <a:cubicBezTo>
                        <a:pt x="543" y="88"/>
                        <a:pt x="543" y="88"/>
                        <a:pt x="543" y="88"/>
                      </a:cubicBezTo>
                      <a:cubicBezTo>
                        <a:pt x="542" y="83"/>
                        <a:pt x="542" y="83"/>
                        <a:pt x="542" y="83"/>
                      </a:cubicBezTo>
                      <a:cubicBezTo>
                        <a:pt x="538" y="78"/>
                        <a:pt x="538" y="78"/>
                        <a:pt x="538" y="78"/>
                      </a:cubicBezTo>
                      <a:cubicBezTo>
                        <a:pt x="534" y="77"/>
                        <a:pt x="534" y="77"/>
                        <a:pt x="534" y="77"/>
                      </a:cubicBezTo>
                      <a:cubicBezTo>
                        <a:pt x="528" y="80"/>
                        <a:pt x="528" y="80"/>
                        <a:pt x="528" y="80"/>
                      </a:cubicBezTo>
                      <a:cubicBezTo>
                        <a:pt x="526" y="79"/>
                        <a:pt x="526" y="79"/>
                        <a:pt x="526" y="79"/>
                      </a:cubicBezTo>
                      <a:cubicBezTo>
                        <a:pt x="528" y="77"/>
                        <a:pt x="528" y="77"/>
                        <a:pt x="528" y="77"/>
                      </a:cubicBezTo>
                      <a:cubicBezTo>
                        <a:pt x="528" y="75"/>
                        <a:pt x="528" y="75"/>
                        <a:pt x="528" y="75"/>
                      </a:cubicBezTo>
                      <a:cubicBezTo>
                        <a:pt x="531" y="73"/>
                        <a:pt x="531" y="73"/>
                        <a:pt x="531" y="73"/>
                      </a:cubicBezTo>
                      <a:cubicBezTo>
                        <a:pt x="526" y="68"/>
                        <a:pt x="526" y="68"/>
                        <a:pt x="526" y="68"/>
                      </a:cubicBezTo>
                      <a:cubicBezTo>
                        <a:pt x="517" y="68"/>
                        <a:pt x="517" y="68"/>
                        <a:pt x="517" y="68"/>
                      </a:cubicBezTo>
                      <a:cubicBezTo>
                        <a:pt x="517" y="65"/>
                        <a:pt x="517" y="65"/>
                        <a:pt x="517" y="65"/>
                      </a:cubicBezTo>
                      <a:cubicBezTo>
                        <a:pt x="516" y="64"/>
                        <a:pt x="516" y="64"/>
                        <a:pt x="516" y="64"/>
                      </a:cubicBezTo>
                      <a:cubicBezTo>
                        <a:pt x="508" y="63"/>
                        <a:pt x="508" y="63"/>
                        <a:pt x="508" y="63"/>
                      </a:cubicBezTo>
                      <a:cubicBezTo>
                        <a:pt x="506" y="65"/>
                        <a:pt x="506" y="65"/>
                        <a:pt x="506" y="65"/>
                      </a:cubicBezTo>
                      <a:cubicBezTo>
                        <a:pt x="502" y="66"/>
                        <a:pt x="502" y="66"/>
                        <a:pt x="502" y="66"/>
                      </a:cubicBezTo>
                      <a:cubicBezTo>
                        <a:pt x="505" y="77"/>
                        <a:pt x="505" y="77"/>
                        <a:pt x="505" y="77"/>
                      </a:cubicBezTo>
                      <a:cubicBezTo>
                        <a:pt x="506" y="79"/>
                        <a:pt x="506" y="79"/>
                        <a:pt x="506" y="79"/>
                      </a:cubicBezTo>
                      <a:cubicBezTo>
                        <a:pt x="504" y="86"/>
                        <a:pt x="504" y="86"/>
                        <a:pt x="504" y="86"/>
                      </a:cubicBezTo>
                      <a:cubicBezTo>
                        <a:pt x="511" y="92"/>
                        <a:pt x="511" y="92"/>
                        <a:pt x="511" y="92"/>
                      </a:cubicBezTo>
                      <a:cubicBezTo>
                        <a:pt x="513" y="96"/>
                        <a:pt x="513" y="96"/>
                        <a:pt x="513" y="96"/>
                      </a:cubicBezTo>
                      <a:cubicBezTo>
                        <a:pt x="510" y="97"/>
                        <a:pt x="510" y="97"/>
                        <a:pt x="510" y="97"/>
                      </a:cubicBezTo>
                      <a:cubicBezTo>
                        <a:pt x="505" y="95"/>
                        <a:pt x="505" y="95"/>
                        <a:pt x="505" y="95"/>
                      </a:cubicBezTo>
                      <a:cubicBezTo>
                        <a:pt x="504" y="93"/>
                        <a:pt x="504" y="93"/>
                        <a:pt x="504" y="93"/>
                      </a:cubicBezTo>
                      <a:cubicBezTo>
                        <a:pt x="500" y="90"/>
                        <a:pt x="500" y="90"/>
                        <a:pt x="500" y="90"/>
                      </a:cubicBezTo>
                      <a:cubicBezTo>
                        <a:pt x="499" y="84"/>
                        <a:pt x="499" y="84"/>
                        <a:pt x="499" y="84"/>
                      </a:cubicBezTo>
                      <a:cubicBezTo>
                        <a:pt x="498" y="81"/>
                        <a:pt x="498" y="81"/>
                        <a:pt x="498" y="81"/>
                      </a:cubicBezTo>
                      <a:cubicBezTo>
                        <a:pt x="498" y="78"/>
                        <a:pt x="498" y="78"/>
                        <a:pt x="498" y="78"/>
                      </a:cubicBezTo>
                      <a:cubicBezTo>
                        <a:pt x="495" y="76"/>
                        <a:pt x="495" y="76"/>
                        <a:pt x="495" y="76"/>
                      </a:cubicBezTo>
                      <a:cubicBezTo>
                        <a:pt x="493" y="73"/>
                        <a:pt x="493" y="73"/>
                        <a:pt x="493" y="73"/>
                      </a:cubicBezTo>
                      <a:cubicBezTo>
                        <a:pt x="487" y="72"/>
                        <a:pt x="487" y="72"/>
                        <a:pt x="487" y="72"/>
                      </a:cubicBezTo>
                      <a:cubicBezTo>
                        <a:pt x="486" y="74"/>
                        <a:pt x="486" y="74"/>
                        <a:pt x="486" y="74"/>
                      </a:cubicBezTo>
                      <a:cubicBezTo>
                        <a:pt x="483" y="76"/>
                        <a:pt x="483" y="76"/>
                        <a:pt x="483" y="76"/>
                      </a:cubicBezTo>
                      <a:cubicBezTo>
                        <a:pt x="479" y="80"/>
                        <a:pt x="479" y="80"/>
                        <a:pt x="479" y="80"/>
                      </a:cubicBezTo>
                      <a:cubicBezTo>
                        <a:pt x="483" y="83"/>
                        <a:pt x="483" y="83"/>
                        <a:pt x="483" y="83"/>
                      </a:cubicBezTo>
                      <a:cubicBezTo>
                        <a:pt x="486" y="86"/>
                        <a:pt x="486" y="86"/>
                        <a:pt x="486" y="86"/>
                      </a:cubicBezTo>
                      <a:cubicBezTo>
                        <a:pt x="484" y="89"/>
                        <a:pt x="484" y="89"/>
                        <a:pt x="484" y="89"/>
                      </a:cubicBezTo>
                      <a:cubicBezTo>
                        <a:pt x="478" y="86"/>
                        <a:pt x="478" y="86"/>
                        <a:pt x="478" y="86"/>
                      </a:cubicBezTo>
                      <a:cubicBezTo>
                        <a:pt x="477" y="83"/>
                        <a:pt x="477" y="83"/>
                        <a:pt x="477" y="83"/>
                      </a:cubicBezTo>
                      <a:cubicBezTo>
                        <a:pt x="472" y="81"/>
                        <a:pt x="472" y="81"/>
                        <a:pt x="472" y="81"/>
                      </a:cubicBezTo>
                      <a:cubicBezTo>
                        <a:pt x="472" y="79"/>
                        <a:pt x="472" y="79"/>
                        <a:pt x="472" y="79"/>
                      </a:cubicBezTo>
                      <a:cubicBezTo>
                        <a:pt x="471" y="78"/>
                        <a:pt x="471" y="78"/>
                        <a:pt x="471" y="78"/>
                      </a:cubicBezTo>
                      <a:cubicBezTo>
                        <a:pt x="463" y="78"/>
                        <a:pt x="463" y="78"/>
                        <a:pt x="463" y="78"/>
                      </a:cubicBezTo>
                      <a:cubicBezTo>
                        <a:pt x="463" y="76"/>
                        <a:pt x="463" y="76"/>
                        <a:pt x="463" y="76"/>
                      </a:cubicBezTo>
                      <a:cubicBezTo>
                        <a:pt x="474" y="75"/>
                        <a:pt x="474" y="75"/>
                        <a:pt x="474" y="75"/>
                      </a:cubicBezTo>
                      <a:cubicBezTo>
                        <a:pt x="478" y="73"/>
                        <a:pt x="478" y="73"/>
                        <a:pt x="478" y="73"/>
                      </a:cubicBezTo>
                      <a:cubicBezTo>
                        <a:pt x="480" y="70"/>
                        <a:pt x="480" y="70"/>
                        <a:pt x="480" y="70"/>
                      </a:cubicBezTo>
                      <a:cubicBezTo>
                        <a:pt x="459" y="70"/>
                        <a:pt x="459" y="70"/>
                        <a:pt x="459" y="70"/>
                      </a:cubicBezTo>
                      <a:cubicBezTo>
                        <a:pt x="459" y="73"/>
                        <a:pt x="459" y="73"/>
                        <a:pt x="459" y="73"/>
                      </a:cubicBezTo>
                      <a:cubicBezTo>
                        <a:pt x="451" y="73"/>
                        <a:pt x="451" y="73"/>
                        <a:pt x="451" y="73"/>
                      </a:cubicBezTo>
                      <a:cubicBezTo>
                        <a:pt x="453" y="71"/>
                        <a:pt x="453" y="71"/>
                        <a:pt x="453" y="71"/>
                      </a:cubicBezTo>
                      <a:cubicBezTo>
                        <a:pt x="447" y="71"/>
                        <a:pt x="447" y="71"/>
                        <a:pt x="447" y="71"/>
                      </a:cubicBezTo>
                      <a:cubicBezTo>
                        <a:pt x="441" y="72"/>
                        <a:pt x="441" y="72"/>
                        <a:pt x="441" y="72"/>
                      </a:cubicBezTo>
                      <a:cubicBezTo>
                        <a:pt x="445" y="73"/>
                        <a:pt x="445" y="73"/>
                        <a:pt x="445" y="73"/>
                      </a:cubicBezTo>
                      <a:cubicBezTo>
                        <a:pt x="447" y="75"/>
                        <a:pt x="447" y="75"/>
                        <a:pt x="447" y="75"/>
                      </a:cubicBezTo>
                      <a:cubicBezTo>
                        <a:pt x="441" y="77"/>
                        <a:pt x="441" y="77"/>
                        <a:pt x="441" y="77"/>
                      </a:cubicBezTo>
                      <a:cubicBezTo>
                        <a:pt x="440" y="85"/>
                        <a:pt x="440" y="85"/>
                        <a:pt x="440" y="85"/>
                      </a:cubicBezTo>
                      <a:cubicBezTo>
                        <a:pt x="444" y="87"/>
                        <a:pt x="444" y="87"/>
                        <a:pt x="444" y="87"/>
                      </a:cubicBezTo>
                      <a:lnTo>
                        <a:pt x="442" y="90"/>
                      </a:lnTo>
                      <a:close/>
                      <a:moveTo>
                        <a:pt x="567" y="94"/>
                      </a:moveTo>
                      <a:cubicBezTo>
                        <a:pt x="568" y="92"/>
                        <a:pt x="568" y="92"/>
                        <a:pt x="568" y="92"/>
                      </a:cubicBezTo>
                      <a:cubicBezTo>
                        <a:pt x="564" y="91"/>
                        <a:pt x="564" y="91"/>
                        <a:pt x="564" y="91"/>
                      </a:cubicBezTo>
                      <a:cubicBezTo>
                        <a:pt x="561" y="91"/>
                        <a:pt x="561" y="91"/>
                        <a:pt x="561" y="91"/>
                      </a:cubicBezTo>
                      <a:cubicBezTo>
                        <a:pt x="562" y="93"/>
                        <a:pt x="562" y="93"/>
                        <a:pt x="562" y="93"/>
                      </a:cubicBezTo>
                      <a:lnTo>
                        <a:pt x="567" y="94"/>
                      </a:lnTo>
                      <a:close/>
                      <a:moveTo>
                        <a:pt x="555" y="81"/>
                      </a:moveTo>
                      <a:cubicBezTo>
                        <a:pt x="552" y="82"/>
                        <a:pt x="552" y="82"/>
                        <a:pt x="552" y="82"/>
                      </a:cubicBezTo>
                      <a:cubicBezTo>
                        <a:pt x="553" y="84"/>
                        <a:pt x="553" y="84"/>
                        <a:pt x="553" y="84"/>
                      </a:cubicBezTo>
                      <a:cubicBezTo>
                        <a:pt x="562" y="84"/>
                        <a:pt x="562" y="84"/>
                        <a:pt x="562" y="84"/>
                      </a:cubicBezTo>
                      <a:lnTo>
                        <a:pt x="555" y="81"/>
                      </a:lnTo>
                      <a:close/>
                      <a:moveTo>
                        <a:pt x="568" y="44"/>
                      </a:moveTo>
                      <a:cubicBezTo>
                        <a:pt x="564" y="46"/>
                        <a:pt x="564" y="46"/>
                        <a:pt x="564" y="46"/>
                      </a:cubicBezTo>
                      <a:cubicBezTo>
                        <a:pt x="568" y="46"/>
                        <a:pt x="568" y="46"/>
                        <a:pt x="568" y="46"/>
                      </a:cubicBezTo>
                      <a:lnTo>
                        <a:pt x="568" y="44"/>
                      </a:lnTo>
                      <a:close/>
                      <a:moveTo>
                        <a:pt x="556" y="50"/>
                      </a:moveTo>
                      <a:cubicBezTo>
                        <a:pt x="556" y="48"/>
                        <a:pt x="556" y="48"/>
                        <a:pt x="556" y="48"/>
                      </a:cubicBezTo>
                      <a:cubicBezTo>
                        <a:pt x="552" y="47"/>
                        <a:pt x="552" y="47"/>
                        <a:pt x="552" y="47"/>
                      </a:cubicBezTo>
                      <a:cubicBezTo>
                        <a:pt x="550" y="49"/>
                        <a:pt x="550" y="49"/>
                        <a:pt x="550" y="49"/>
                      </a:cubicBezTo>
                      <a:cubicBezTo>
                        <a:pt x="553" y="50"/>
                        <a:pt x="553" y="50"/>
                        <a:pt x="553" y="50"/>
                      </a:cubicBezTo>
                      <a:lnTo>
                        <a:pt x="556" y="50"/>
                      </a:lnTo>
                      <a:close/>
                      <a:moveTo>
                        <a:pt x="568" y="40"/>
                      </a:moveTo>
                      <a:cubicBezTo>
                        <a:pt x="564" y="40"/>
                        <a:pt x="564" y="40"/>
                        <a:pt x="564" y="40"/>
                      </a:cubicBezTo>
                      <a:cubicBezTo>
                        <a:pt x="564" y="42"/>
                        <a:pt x="564" y="42"/>
                        <a:pt x="564" y="42"/>
                      </a:cubicBezTo>
                      <a:cubicBezTo>
                        <a:pt x="570" y="42"/>
                        <a:pt x="570" y="42"/>
                        <a:pt x="570" y="42"/>
                      </a:cubicBezTo>
                      <a:lnTo>
                        <a:pt x="568" y="40"/>
                      </a:lnTo>
                      <a:close/>
                      <a:moveTo>
                        <a:pt x="636" y="100"/>
                      </a:moveTo>
                      <a:cubicBezTo>
                        <a:pt x="639" y="104"/>
                        <a:pt x="639" y="104"/>
                        <a:pt x="639" y="104"/>
                      </a:cubicBezTo>
                      <a:cubicBezTo>
                        <a:pt x="643" y="104"/>
                        <a:pt x="643" y="104"/>
                        <a:pt x="643" y="104"/>
                      </a:cubicBezTo>
                      <a:cubicBezTo>
                        <a:pt x="644" y="103"/>
                        <a:pt x="644" y="103"/>
                        <a:pt x="644" y="103"/>
                      </a:cubicBezTo>
                      <a:cubicBezTo>
                        <a:pt x="640" y="100"/>
                        <a:pt x="640" y="100"/>
                        <a:pt x="640" y="100"/>
                      </a:cubicBezTo>
                      <a:lnTo>
                        <a:pt x="636" y="100"/>
                      </a:lnTo>
                      <a:close/>
                      <a:moveTo>
                        <a:pt x="543" y="62"/>
                      </a:moveTo>
                      <a:cubicBezTo>
                        <a:pt x="546" y="63"/>
                        <a:pt x="546" y="63"/>
                        <a:pt x="546" y="63"/>
                      </a:cubicBezTo>
                      <a:cubicBezTo>
                        <a:pt x="534" y="68"/>
                        <a:pt x="534" y="68"/>
                        <a:pt x="534" y="68"/>
                      </a:cubicBezTo>
                      <a:cubicBezTo>
                        <a:pt x="540" y="71"/>
                        <a:pt x="540" y="71"/>
                        <a:pt x="540" y="71"/>
                      </a:cubicBezTo>
                      <a:cubicBezTo>
                        <a:pt x="547" y="72"/>
                        <a:pt x="547" y="72"/>
                        <a:pt x="547" y="72"/>
                      </a:cubicBezTo>
                      <a:cubicBezTo>
                        <a:pt x="560" y="70"/>
                        <a:pt x="560" y="70"/>
                        <a:pt x="560" y="70"/>
                      </a:cubicBezTo>
                      <a:cubicBezTo>
                        <a:pt x="575" y="69"/>
                        <a:pt x="575" y="69"/>
                        <a:pt x="575" y="69"/>
                      </a:cubicBezTo>
                      <a:cubicBezTo>
                        <a:pt x="581" y="71"/>
                        <a:pt x="581" y="71"/>
                        <a:pt x="581" y="71"/>
                      </a:cubicBezTo>
                      <a:cubicBezTo>
                        <a:pt x="578" y="73"/>
                        <a:pt x="578" y="73"/>
                        <a:pt x="578" y="73"/>
                      </a:cubicBezTo>
                      <a:cubicBezTo>
                        <a:pt x="572" y="73"/>
                        <a:pt x="572" y="73"/>
                        <a:pt x="572" y="73"/>
                      </a:cubicBezTo>
                      <a:cubicBezTo>
                        <a:pt x="568" y="75"/>
                        <a:pt x="568" y="75"/>
                        <a:pt x="568" y="75"/>
                      </a:cubicBezTo>
                      <a:cubicBezTo>
                        <a:pt x="570" y="76"/>
                        <a:pt x="570" y="76"/>
                        <a:pt x="570" y="76"/>
                      </a:cubicBezTo>
                      <a:cubicBezTo>
                        <a:pt x="565" y="77"/>
                        <a:pt x="565" y="77"/>
                        <a:pt x="565" y="77"/>
                      </a:cubicBezTo>
                      <a:cubicBezTo>
                        <a:pt x="564" y="76"/>
                        <a:pt x="564" y="76"/>
                        <a:pt x="564" y="76"/>
                      </a:cubicBezTo>
                      <a:cubicBezTo>
                        <a:pt x="553" y="76"/>
                        <a:pt x="553" y="76"/>
                        <a:pt x="553" y="76"/>
                      </a:cubicBezTo>
                      <a:cubicBezTo>
                        <a:pt x="551" y="77"/>
                        <a:pt x="551" y="77"/>
                        <a:pt x="551" y="77"/>
                      </a:cubicBezTo>
                      <a:cubicBezTo>
                        <a:pt x="558" y="80"/>
                        <a:pt x="558" y="80"/>
                        <a:pt x="558" y="80"/>
                      </a:cubicBezTo>
                      <a:cubicBezTo>
                        <a:pt x="562" y="80"/>
                        <a:pt x="562" y="80"/>
                        <a:pt x="562" y="80"/>
                      </a:cubicBezTo>
                      <a:cubicBezTo>
                        <a:pt x="567" y="83"/>
                        <a:pt x="567" y="83"/>
                        <a:pt x="567" y="83"/>
                      </a:cubicBezTo>
                      <a:cubicBezTo>
                        <a:pt x="610" y="83"/>
                        <a:pt x="610" y="83"/>
                        <a:pt x="610" y="83"/>
                      </a:cubicBezTo>
                      <a:cubicBezTo>
                        <a:pt x="621" y="84"/>
                        <a:pt x="621" y="84"/>
                        <a:pt x="621" y="84"/>
                      </a:cubicBezTo>
                      <a:cubicBezTo>
                        <a:pt x="631" y="80"/>
                        <a:pt x="631" y="80"/>
                        <a:pt x="631" y="80"/>
                      </a:cubicBezTo>
                      <a:cubicBezTo>
                        <a:pt x="632" y="77"/>
                        <a:pt x="632" y="77"/>
                        <a:pt x="632" y="77"/>
                      </a:cubicBezTo>
                      <a:cubicBezTo>
                        <a:pt x="640" y="74"/>
                        <a:pt x="640" y="74"/>
                        <a:pt x="640" y="74"/>
                      </a:cubicBezTo>
                      <a:cubicBezTo>
                        <a:pt x="641" y="72"/>
                        <a:pt x="641" y="72"/>
                        <a:pt x="641" y="72"/>
                      </a:cubicBezTo>
                      <a:cubicBezTo>
                        <a:pt x="645" y="70"/>
                        <a:pt x="645" y="70"/>
                        <a:pt x="645" y="70"/>
                      </a:cubicBezTo>
                      <a:cubicBezTo>
                        <a:pt x="646" y="62"/>
                        <a:pt x="646" y="62"/>
                        <a:pt x="646" y="62"/>
                      </a:cubicBezTo>
                      <a:cubicBezTo>
                        <a:pt x="651" y="60"/>
                        <a:pt x="651" y="60"/>
                        <a:pt x="651" y="60"/>
                      </a:cubicBezTo>
                      <a:cubicBezTo>
                        <a:pt x="643" y="59"/>
                        <a:pt x="643" y="59"/>
                        <a:pt x="643" y="59"/>
                      </a:cubicBezTo>
                      <a:cubicBezTo>
                        <a:pt x="632" y="57"/>
                        <a:pt x="632" y="57"/>
                        <a:pt x="632" y="57"/>
                      </a:cubicBezTo>
                      <a:cubicBezTo>
                        <a:pt x="625" y="55"/>
                        <a:pt x="625" y="55"/>
                        <a:pt x="625" y="55"/>
                      </a:cubicBezTo>
                      <a:cubicBezTo>
                        <a:pt x="611" y="55"/>
                        <a:pt x="611" y="55"/>
                        <a:pt x="611" y="55"/>
                      </a:cubicBezTo>
                      <a:cubicBezTo>
                        <a:pt x="610" y="58"/>
                        <a:pt x="610" y="58"/>
                        <a:pt x="610" y="58"/>
                      </a:cubicBezTo>
                      <a:cubicBezTo>
                        <a:pt x="605" y="60"/>
                        <a:pt x="605" y="60"/>
                        <a:pt x="605" y="60"/>
                      </a:cubicBezTo>
                      <a:cubicBezTo>
                        <a:pt x="598" y="59"/>
                        <a:pt x="598" y="59"/>
                        <a:pt x="598" y="59"/>
                      </a:cubicBezTo>
                      <a:cubicBezTo>
                        <a:pt x="597" y="57"/>
                        <a:pt x="597" y="57"/>
                        <a:pt x="597" y="57"/>
                      </a:cubicBezTo>
                      <a:cubicBezTo>
                        <a:pt x="594" y="56"/>
                        <a:pt x="594" y="56"/>
                        <a:pt x="594" y="56"/>
                      </a:cubicBezTo>
                      <a:cubicBezTo>
                        <a:pt x="598" y="54"/>
                        <a:pt x="598" y="54"/>
                        <a:pt x="598" y="54"/>
                      </a:cubicBezTo>
                      <a:cubicBezTo>
                        <a:pt x="598" y="51"/>
                        <a:pt x="598" y="51"/>
                        <a:pt x="598" y="51"/>
                      </a:cubicBezTo>
                      <a:cubicBezTo>
                        <a:pt x="595" y="49"/>
                        <a:pt x="595" y="49"/>
                        <a:pt x="595" y="49"/>
                      </a:cubicBezTo>
                      <a:cubicBezTo>
                        <a:pt x="587" y="52"/>
                        <a:pt x="587" y="52"/>
                        <a:pt x="587" y="52"/>
                      </a:cubicBezTo>
                      <a:cubicBezTo>
                        <a:pt x="589" y="57"/>
                        <a:pt x="589" y="57"/>
                        <a:pt x="589" y="57"/>
                      </a:cubicBezTo>
                      <a:cubicBezTo>
                        <a:pt x="589" y="62"/>
                        <a:pt x="589" y="62"/>
                        <a:pt x="589" y="62"/>
                      </a:cubicBezTo>
                      <a:cubicBezTo>
                        <a:pt x="586" y="65"/>
                        <a:pt x="586" y="65"/>
                        <a:pt x="586" y="65"/>
                      </a:cubicBezTo>
                      <a:cubicBezTo>
                        <a:pt x="583" y="64"/>
                        <a:pt x="583" y="64"/>
                        <a:pt x="583" y="64"/>
                      </a:cubicBezTo>
                      <a:cubicBezTo>
                        <a:pt x="579" y="60"/>
                        <a:pt x="579" y="60"/>
                        <a:pt x="579" y="60"/>
                      </a:cubicBezTo>
                      <a:cubicBezTo>
                        <a:pt x="581" y="57"/>
                        <a:pt x="581" y="57"/>
                        <a:pt x="581" y="57"/>
                      </a:cubicBezTo>
                      <a:cubicBezTo>
                        <a:pt x="580" y="56"/>
                        <a:pt x="580" y="56"/>
                        <a:pt x="580" y="56"/>
                      </a:cubicBezTo>
                      <a:cubicBezTo>
                        <a:pt x="566" y="55"/>
                        <a:pt x="566" y="55"/>
                        <a:pt x="566" y="55"/>
                      </a:cubicBezTo>
                      <a:cubicBezTo>
                        <a:pt x="566" y="52"/>
                        <a:pt x="566" y="52"/>
                        <a:pt x="566" y="52"/>
                      </a:cubicBezTo>
                      <a:cubicBezTo>
                        <a:pt x="561" y="50"/>
                        <a:pt x="561" y="50"/>
                        <a:pt x="561" y="50"/>
                      </a:cubicBezTo>
                      <a:cubicBezTo>
                        <a:pt x="557" y="51"/>
                        <a:pt x="557" y="51"/>
                        <a:pt x="557" y="51"/>
                      </a:cubicBezTo>
                      <a:cubicBezTo>
                        <a:pt x="559" y="55"/>
                        <a:pt x="559" y="55"/>
                        <a:pt x="559" y="55"/>
                      </a:cubicBezTo>
                      <a:cubicBezTo>
                        <a:pt x="556" y="56"/>
                        <a:pt x="556" y="56"/>
                        <a:pt x="556" y="56"/>
                      </a:cubicBezTo>
                      <a:cubicBezTo>
                        <a:pt x="551" y="54"/>
                        <a:pt x="551" y="54"/>
                        <a:pt x="551" y="54"/>
                      </a:cubicBezTo>
                      <a:cubicBezTo>
                        <a:pt x="550" y="51"/>
                        <a:pt x="550" y="51"/>
                        <a:pt x="550" y="51"/>
                      </a:cubicBezTo>
                      <a:cubicBezTo>
                        <a:pt x="545" y="51"/>
                        <a:pt x="545" y="51"/>
                        <a:pt x="545" y="51"/>
                      </a:cubicBezTo>
                      <a:cubicBezTo>
                        <a:pt x="547" y="55"/>
                        <a:pt x="547" y="55"/>
                        <a:pt x="547" y="55"/>
                      </a:cubicBezTo>
                      <a:cubicBezTo>
                        <a:pt x="552" y="58"/>
                        <a:pt x="552" y="58"/>
                        <a:pt x="552" y="58"/>
                      </a:cubicBezTo>
                      <a:cubicBezTo>
                        <a:pt x="550" y="60"/>
                        <a:pt x="550" y="60"/>
                        <a:pt x="550" y="60"/>
                      </a:cubicBezTo>
                      <a:cubicBezTo>
                        <a:pt x="543" y="58"/>
                        <a:pt x="543" y="58"/>
                        <a:pt x="543" y="58"/>
                      </a:cubicBezTo>
                      <a:cubicBezTo>
                        <a:pt x="539" y="56"/>
                        <a:pt x="539" y="56"/>
                        <a:pt x="539" y="56"/>
                      </a:cubicBezTo>
                      <a:cubicBezTo>
                        <a:pt x="531" y="57"/>
                        <a:pt x="531" y="57"/>
                        <a:pt x="531" y="57"/>
                      </a:cubicBezTo>
                      <a:cubicBezTo>
                        <a:pt x="535" y="62"/>
                        <a:pt x="535" y="62"/>
                        <a:pt x="535" y="62"/>
                      </a:cubicBezTo>
                      <a:lnTo>
                        <a:pt x="543" y="62"/>
                      </a:lnTo>
                      <a:close/>
                      <a:moveTo>
                        <a:pt x="489" y="713"/>
                      </a:moveTo>
                      <a:cubicBezTo>
                        <a:pt x="493" y="711"/>
                        <a:pt x="493" y="711"/>
                        <a:pt x="493" y="711"/>
                      </a:cubicBezTo>
                      <a:cubicBezTo>
                        <a:pt x="489" y="710"/>
                        <a:pt x="489" y="710"/>
                        <a:pt x="489" y="710"/>
                      </a:cubicBezTo>
                      <a:lnTo>
                        <a:pt x="489" y="713"/>
                      </a:lnTo>
                      <a:close/>
                      <a:moveTo>
                        <a:pt x="931" y="1679"/>
                      </a:moveTo>
                      <a:cubicBezTo>
                        <a:pt x="928" y="1674"/>
                        <a:pt x="928" y="1674"/>
                        <a:pt x="928" y="1674"/>
                      </a:cubicBezTo>
                      <a:cubicBezTo>
                        <a:pt x="925" y="1675"/>
                        <a:pt x="925" y="1675"/>
                        <a:pt x="925" y="1675"/>
                      </a:cubicBezTo>
                      <a:cubicBezTo>
                        <a:pt x="922" y="1683"/>
                        <a:pt x="922" y="1683"/>
                        <a:pt x="922" y="1683"/>
                      </a:cubicBezTo>
                      <a:cubicBezTo>
                        <a:pt x="915" y="1696"/>
                        <a:pt x="915" y="1696"/>
                        <a:pt x="915" y="1696"/>
                      </a:cubicBezTo>
                      <a:cubicBezTo>
                        <a:pt x="909" y="1699"/>
                        <a:pt x="909" y="1699"/>
                        <a:pt x="909" y="1699"/>
                      </a:cubicBezTo>
                      <a:cubicBezTo>
                        <a:pt x="909" y="1706"/>
                        <a:pt x="909" y="1706"/>
                        <a:pt x="909" y="1706"/>
                      </a:cubicBezTo>
                      <a:cubicBezTo>
                        <a:pt x="903" y="1711"/>
                        <a:pt x="903" y="1711"/>
                        <a:pt x="903" y="1711"/>
                      </a:cubicBezTo>
                      <a:cubicBezTo>
                        <a:pt x="900" y="1716"/>
                        <a:pt x="900" y="1716"/>
                        <a:pt x="900" y="1716"/>
                      </a:cubicBezTo>
                      <a:cubicBezTo>
                        <a:pt x="892" y="1718"/>
                        <a:pt x="892" y="1718"/>
                        <a:pt x="892" y="1718"/>
                      </a:cubicBezTo>
                      <a:cubicBezTo>
                        <a:pt x="884" y="1724"/>
                        <a:pt x="884" y="1724"/>
                        <a:pt x="884" y="1724"/>
                      </a:cubicBezTo>
                      <a:cubicBezTo>
                        <a:pt x="877" y="1725"/>
                        <a:pt x="877" y="1725"/>
                        <a:pt x="877" y="1725"/>
                      </a:cubicBezTo>
                      <a:cubicBezTo>
                        <a:pt x="874" y="1728"/>
                        <a:pt x="874" y="1728"/>
                        <a:pt x="874" y="1728"/>
                      </a:cubicBezTo>
                      <a:cubicBezTo>
                        <a:pt x="867" y="1731"/>
                        <a:pt x="867" y="1731"/>
                        <a:pt x="867" y="1731"/>
                      </a:cubicBezTo>
                      <a:cubicBezTo>
                        <a:pt x="863" y="1737"/>
                        <a:pt x="863" y="1737"/>
                        <a:pt x="863" y="1737"/>
                      </a:cubicBezTo>
                      <a:cubicBezTo>
                        <a:pt x="860" y="1758"/>
                        <a:pt x="860" y="1758"/>
                        <a:pt x="860" y="1758"/>
                      </a:cubicBezTo>
                      <a:cubicBezTo>
                        <a:pt x="864" y="1767"/>
                        <a:pt x="864" y="1767"/>
                        <a:pt x="864" y="1767"/>
                      </a:cubicBezTo>
                      <a:cubicBezTo>
                        <a:pt x="861" y="1790"/>
                        <a:pt x="861" y="1790"/>
                        <a:pt x="861" y="1790"/>
                      </a:cubicBezTo>
                      <a:cubicBezTo>
                        <a:pt x="851" y="1806"/>
                        <a:pt x="851" y="1806"/>
                        <a:pt x="851" y="1806"/>
                      </a:cubicBezTo>
                      <a:cubicBezTo>
                        <a:pt x="851" y="1819"/>
                        <a:pt x="851" y="1819"/>
                        <a:pt x="851" y="1819"/>
                      </a:cubicBezTo>
                      <a:cubicBezTo>
                        <a:pt x="857" y="1827"/>
                        <a:pt x="857" y="1827"/>
                        <a:pt x="857" y="1827"/>
                      </a:cubicBezTo>
                      <a:cubicBezTo>
                        <a:pt x="860" y="1845"/>
                        <a:pt x="860" y="1845"/>
                        <a:pt x="860" y="1845"/>
                      </a:cubicBezTo>
                      <a:cubicBezTo>
                        <a:pt x="867" y="1854"/>
                        <a:pt x="867" y="1854"/>
                        <a:pt x="867" y="1854"/>
                      </a:cubicBezTo>
                      <a:cubicBezTo>
                        <a:pt x="876" y="1858"/>
                        <a:pt x="876" y="1858"/>
                        <a:pt x="876" y="1858"/>
                      </a:cubicBezTo>
                      <a:cubicBezTo>
                        <a:pt x="885" y="1851"/>
                        <a:pt x="885" y="1851"/>
                        <a:pt x="885" y="1851"/>
                      </a:cubicBezTo>
                      <a:cubicBezTo>
                        <a:pt x="896" y="1850"/>
                        <a:pt x="896" y="1850"/>
                        <a:pt x="896" y="1850"/>
                      </a:cubicBezTo>
                      <a:cubicBezTo>
                        <a:pt x="903" y="1839"/>
                        <a:pt x="903" y="1839"/>
                        <a:pt x="903" y="1839"/>
                      </a:cubicBezTo>
                      <a:cubicBezTo>
                        <a:pt x="908" y="1813"/>
                        <a:pt x="908" y="1813"/>
                        <a:pt x="908" y="1813"/>
                      </a:cubicBezTo>
                      <a:cubicBezTo>
                        <a:pt x="914" y="1798"/>
                        <a:pt x="914" y="1798"/>
                        <a:pt x="914" y="1798"/>
                      </a:cubicBezTo>
                      <a:cubicBezTo>
                        <a:pt x="919" y="1779"/>
                        <a:pt x="919" y="1779"/>
                        <a:pt x="919" y="1779"/>
                      </a:cubicBezTo>
                      <a:cubicBezTo>
                        <a:pt x="929" y="1746"/>
                        <a:pt x="929" y="1746"/>
                        <a:pt x="929" y="1746"/>
                      </a:cubicBezTo>
                      <a:cubicBezTo>
                        <a:pt x="931" y="1742"/>
                        <a:pt x="931" y="1742"/>
                        <a:pt x="931" y="1742"/>
                      </a:cubicBezTo>
                      <a:cubicBezTo>
                        <a:pt x="932" y="1724"/>
                        <a:pt x="932" y="1724"/>
                        <a:pt x="932" y="1724"/>
                      </a:cubicBezTo>
                      <a:cubicBezTo>
                        <a:pt x="938" y="1723"/>
                        <a:pt x="938" y="1723"/>
                        <a:pt x="938" y="1723"/>
                      </a:cubicBezTo>
                      <a:cubicBezTo>
                        <a:pt x="939" y="1715"/>
                        <a:pt x="939" y="1715"/>
                        <a:pt x="939" y="1715"/>
                      </a:cubicBezTo>
                      <a:cubicBezTo>
                        <a:pt x="932" y="1692"/>
                        <a:pt x="932" y="1692"/>
                        <a:pt x="932" y="1692"/>
                      </a:cubicBezTo>
                      <a:lnTo>
                        <a:pt x="931" y="1679"/>
                      </a:lnTo>
                      <a:close/>
                      <a:moveTo>
                        <a:pt x="417" y="1479"/>
                      </a:moveTo>
                      <a:cubicBezTo>
                        <a:pt x="418" y="1481"/>
                        <a:pt x="418" y="1481"/>
                        <a:pt x="418" y="1481"/>
                      </a:cubicBezTo>
                      <a:cubicBezTo>
                        <a:pt x="422" y="1479"/>
                        <a:pt x="422" y="1479"/>
                        <a:pt x="422" y="1479"/>
                      </a:cubicBezTo>
                      <a:cubicBezTo>
                        <a:pt x="422" y="1477"/>
                        <a:pt x="422" y="1477"/>
                        <a:pt x="422" y="1477"/>
                      </a:cubicBezTo>
                      <a:cubicBezTo>
                        <a:pt x="418" y="1476"/>
                        <a:pt x="418" y="1476"/>
                        <a:pt x="418" y="1476"/>
                      </a:cubicBezTo>
                      <a:lnTo>
                        <a:pt x="417" y="1479"/>
                      </a:lnTo>
                      <a:close/>
                      <a:moveTo>
                        <a:pt x="404" y="1502"/>
                      </a:moveTo>
                      <a:cubicBezTo>
                        <a:pt x="405" y="1504"/>
                        <a:pt x="405" y="1504"/>
                        <a:pt x="405" y="1504"/>
                      </a:cubicBezTo>
                      <a:cubicBezTo>
                        <a:pt x="408" y="1503"/>
                        <a:pt x="408" y="1503"/>
                        <a:pt x="408" y="1503"/>
                      </a:cubicBezTo>
                      <a:cubicBezTo>
                        <a:pt x="408" y="1501"/>
                        <a:pt x="408" y="1501"/>
                        <a:pt x="408" y="1501"/>
                      </a:cubicBezTo>
                      <a:cubicBezTo>
                        <a:pt x="405" y="1500"/>
                        <a:pt x="405" y="1500"/>
                        <a:pt x="405" y="1500"/>
                      </a:cubicBezTo>
                      <a:lnTo>
                        <a:pt x="404" y="1502"/>
                      </a:lnTo>
                      <a:close/>
                      <a:moveTo>
                        <a:pt x="399" y="1512"/>
                      </a:moveTo>
                      <a:cubicBezTo>
                        <a:pt x="400" y="1514"/>
                        <a:pt x="400" y="1514"/>
                        <a:pt x="400" y="1514"/>
                      </a:cubicBezTo>
                      <a:cubicBezTo>
                        <a:pt x="402" y="1515"/>
                        <a:pt x="402" y="1515"/>
                        <a:pt x="402" y="1515"/>
                      </a:cubicBezTo>
                      <a:cubicBezTo>
                        <a:pt x="403" y="1513"/>
                        <a:pt x="403" y="1513"/>
                        <a:pt x="403" y="1513"/>
                      </a:cubicBezTo>
                      <a:cubicBezTo>
                        <a:pt x="401" y="1511"/>
                        <a:pt x="401" y="1511"/>
                        <a:pt x="401" y="1511"/>
                      </a:cubicBezTo>
                      <a:lnTo>
                        <a:pt x="399" y="1512"/>
                      </a:lnTo>
                      <a:close/>
                      <a:moveTo>
                        <a:pt x="1004" y="1791"/>
                      </a:moveTo>
                      <a:cubicBezTo>
                        <a:pt x="1003" y="1794"/>
                        <a:pt x="1003" y="1794"/>
                        <a:pt x="1003" y="1794"/>
                      </a:cubicBezTo>
                      <a:cubicBezTo>
                        <a:pt x="1004" y="1796"/>
                        <a:pt x="1004" y="1796"/>
                        <a:pt x="1004" y="1796"/>
                      </a:cubicBezTo>
                      <a:cubicBezTo>
                        <a:pt x="1008" y="1796"/>
                        <a:pt x="1008" y="1796"/>
                        <a:pt x="1008" y="1796"/>
                      </a:cubicBezTo>
                      <a:cubicBezTo>
                        <a:pt x="1012" y="1794"/>
                        <a:pt x="1012" y="1794"/>
                        <a:pt x="1012" y="1794"/>
                      </a:cubicBezTo>
                      <a:cubicBezTo>
                        <a:pt x="1009" y="1791"/>
                        <a:pt x="1009" y="1791"/>
                        <a:pt x="1009" y="1791"/>
                      </a:cubicBezTo>
                      <a:lnTo>
                        <a:pt x="1004" y="1791"/>
                      </a:lnTo>
                      <a:close/>
                      <a:moveTo>
                        <a:pt x="1029" y="1782"/>
                      </a:moveTo>
                      <a:cubicBezTo>
                        <a:pt x="1029" y="1785"/>
                        <a:pt x="1029" y="1785"/>
                        <a:pt x="1029" y="1785"/>
                      </a:cubicBezTo>
                      <a:cubicBezTo>
                        <a:pt x="1029" y="1785"/>
                        <a:pt x="1031" y="1788"/>
                        <a:pt x="1032" y="1788"/>
                      </a:cubicBezTo>
                      <a:cubicBezTo>
                        <a:pt x="1033" y="1788"/>
                        <a:pt x="1036" y="1784"/>
                        <a:pt x="1036" y="1784"/>
                      </a:cubicBezTo>
                      <a:cubicBezTo>
                        <a:pt x="1033" y="1781"/>
                        <a:pt x="1033" y="1781"/>
                        <a:pt x="1033" y="1781"/>
                      </a:cubicBezTo>
                      <a:cubicBezTo>
                        <a:pt x="1029" y="1782"/>
                        <a:pt x="1029" y="1782"/>
                        <a:pt x="1029" y="1782"/>
                      </a:cubicBezTo>
                      <a:close/>
                      <a:moveTo>
                        <a:pt x="1001" y="1578"/>
                      </a:moveTo>
                      <a:cubicBezTo>
                        <a:pt x="999" y="1580"/>
                        <a:pt x="999" y="1580"/>
                        <a:pt x="999" y="1580"/>
                      </a:cubicBezTo>
                      <a:cubicBezTo>
                        <a:pt x="1002" y="1582"/>
                        <a:pt x="1002" y="1582"/>
                        <a:pt x="1002" y="1582"/>
                      </a:cubicBezTo>
                      <a:cubicBezTo>
                        <a:pt x="1004" y="1580"/>
                        <a:pt x="1004" y="1580"/>
                        <a:pt x="1004" y="1580"/>
                      </a:cubicBezTo>
                      <a:lnTo>
                        <a:pt x="1001" y="1578"/>
                      </a:lnTo>
                      <a:close/>
                      <a:moveTo>
                        <a:pt x="983" y="1365"/>
                      </a:moveTo>
                      <a:cubicBezTo>
                        <a:pt x="979" y="1364"/>
                        <a:pt x="979" y="1364"/>
                        <a:pt x="979" y="1364"/>
                      </a:cubicBezTo>
                      <a:cubicBezTo>
                        <a:pt x="977" y="1367"/>
                        <a:pt x="977" y="1367"/>
                        <a:pt x="977" y="1367"/>
                      </a:cubicBezTo>
                      <a:cubicBezTo>
                        <a:pt x="985" y="1370"/>
                        <a:pt x="985" y="1370"/>
                        <a:pt x="985" y="1370"/>
                      </a:cubicBezTo>
                      <a:cubicBezTo>
                        <a:pt x="992" y="1368"/>
                        <a:pt x="992" y="1368"/>
                        <a:pt x="992" y="1368"/>
                      </a:cubicBezTo>
                      <a:cubicBezTo>
                        <a:pt x="992" y="1363"/>
                        <a:pt x="992" y="1363"/>
                        <a:pt x="992" y="1363"/>
                      </a:cubicBezTo>
                      <a:cubicBezTo>
                        <a:pt x="989" y="1363"/>
                        <a:pt x="989" y="1363"/>
                        <a:pt x="989" y="1363"/>
                      </a:cubicBezTo>
                      <a:lnTo>
                        <a:pt x="983" y="1365"/>
                      </a:lnTo>
                      <a:close/>
                      <a:moveTo>
                        <a:pt x="1339" y="1417"/>
                      </a:moveTo>
                      <a:cubicBezTo>
                        <a:pt x="1329" y="1410"/>
                        <a:pt x="1329" y="1410"/>
                        <a:pt x="1329" y="1410"/>
                      </a:cubicBezTo>
                      <a:cubicBezTo>
                        <a:pt x="1327" y="1404"/>
                        <a:pt x="1327" y="1404"/>
                        <a:pt x="1327" y="1404"/>
                      </a:cubicBezTo>
                      <a:cubicBezTo>
                        <a:pt x="1324" y="1400"/>
                        <a:pt x="1324" y="1400"/>
                        <a:pt x="1324" y="1400"/>
                      </a:cubicBezTo>
                      <a:cubicBezTo>
                        <a:pt x="1320" y="1400"/>
                        <a:pt x="1320" y="1400"/>
                        <a:pt x="1320" y="1400"/>
                      </a:cubicBezTo>
                      <a:cubicBezTo>
                        <a:pt x="1316" y="1405"/>
                        <a:pt x="1316" y="1405"/>
                        <a:pt x="1316" y="1405"/>
                      </a:cubicBezTo>
                      <a:cubicBezTo>
                        <a:pt x="1314" y="1417"/>
                        <a:pt x="1314" y="1417"/>
                        <a:pt x="1314" y="1417"/>
                      </a:cubicBezTo>
                      <a:cubicBezTo>
                        <a:pt x="1318" y="1441"/>
                        <a:pt x="1318" y="1441"/>
                        <a:pt x="1318" y="1441"/>
                      </a:cubicBezTo>
                      <a:cubicBezTo>
                        <a:pt x="1323" y="1446"/>
                        <a:pt x="1323" y="1446"/>
                        <a:pt x="1323" y="1446"/>
                      </a:cubicBezTo>
                      <a:cubicBezTo>
                        <a:pt x="1330" y="1446"/>
                        <a:pt x="1330" y="1446"/>
                        <a:pt x="1330" y="1446"/>
                      </a:cubicBezTo>
                      <a:cubicBezTo>
                        <a:pt x="1342" y="1434"/>
                        <a:pt x="1342" y="1434"/>
                        <a:pt x="1342" y="1434"/>
                      </a:cubicBezTo>
                      <a:cubicBezTo>
                        <a:pt x="1342" y="1429"/>
                        <a:pt x="1342" y="1429"/>
                        <a:pt x="1342" y="1429"/>
                      </a:cubicBezTo>
                      <a:cubicBezTo>
                        <a:pt x="1339" y="1426"/>
                        <a:pt x="1339" y="1426"/>
                        <a:pt x="1339" y="1426"/>
                      </a:cubicBezTo>
                      <a:lnTo>
                        <a:pt x="1339" y="1417"/>
                      </a:lnTo>
                      <a:close/>
                      <a:moveTo>
                        <a:pt x="1492" y="1370"/>
                      </a:moveTo>
                      <a:cubicBezTo>
                        <a:pt x="1491" y="1377"/>
                        <a:pt x="1491" y="1377"/>
                        <a:pt x="1491" y="1377"/>
                      </a:cubicBezTo>
                      <a:cubicBezTo>
                        <a:pt x="1494" y="1377"/>
                        <a:pt x="1494" y="1377"/>
                        <a:pt x="1494" y="1377"/>
                      </a:cubicBezTo>
                      <a:cubicBezTo>
                        <a:pt x="1495" y="1362"/>
                        <a:pt x="1495" y="1362"/>
                        <a:pt x="1495" y="1362"/>
                      </a:cubicBezTo>
                      <a:cubicBezTo>
                        <a:pt x="1496" y="1355"/>
                        <a:pt x="1496" y="1355"/>
                        <a:pt x="1496" y="1355"/>
                      </a:cubicBezTo>
                      <a:cubicBezTo>
                        <a:pt x="1493" y="1360"/>
                        <a:pt x="1493" y="1360"/>
                        <a:pt x="1493" y="1360"/>
                      </a:cubicBezTo>
                      <a:lnTo>
                        <a:pt x="1492" y="1370"/>
                      </a:lnTo>
                      <a:close/>
                      <a:moveTo>
                        <a:pt x="1491" y="1387"/>
                      </a:moveTo>
                      <a:cubicBezTo>
                        <a:pt x="1493" y="1387"/>
                        <a:pt x="1493" y="1387"/>
                        <a:pt x="1493" y="1387"/>
                      </a:cubicBezTo>
                      <a:cubicBezTo>
                        <a:pt x="1493" y="1385"/>
                        <a:pt x="1493" y="1385"/>
                        <a:pt x="1493" y="1385"/>
                      </a:cubicBezTo>
                      <a:cubicBezTo>
                        <a:pt x="1491" y="1383"/>
                        <a:pt x="1491" y="1383"/>
                        <a:pt x="1491" y="1383"/>
                      </a:cubicBezTo>
                      <a:lnTo>
                        <a:pt x="1491" y="1387"/>
                      </a:lnTo>
                      <a:close/>
                      <a:moveTo>
                        <a:pt x="2097" y="910"/>
                      </a:moveTo>
                      <a:cubicBezTo>
                        <a:pt x="2096" y="914"/>
                        <a:pt x="2096" y="914"/>
                        <a:pt x="2096" y="914"/>
                      </a:cubicBezTo>
                      <a:cubicBezTo>
                        <a:pt x="2092" y="916"/>
                        <a:pt x="2092" y="916"/>
                        <a:pt x="2092" y="916"/>
                      </a:cubicBezTo>
                      <a:cubicBezTo>
                        <a:pt x="2087" y="913"/>
                        <a:pt x="2087" y="913"/>
                        <a:pt x="2087" y="913"/>
                      </a:cubicBezTo>
                      <a:cubicBezTo>
                        <a:pt x="2083" y="916"/>
                        <a:pt x="2083" y="916"/>
                        <a:pt x="2083" y="916"/>
                      </a:cubicBezTo>
                      <a:cubicBezTo>
                        <a:pt x="2083" y="922"/>
                        <a:pt x="2083" y="922"/>
                        <a:pt x="2083" y="922"/>
                      </a:cubicBezTo>
                      <a:cubicBezTo>
                        <a:pt x="2076" y="927"/>
                        <a:pt x="2076" y="927"/>
                        <a:pt x="2076" y="927"/>
                      </a:cubicBezTo>
                      <a:cubicBezTo>
                        <a:pt x="2072" y="933"/>
                        <a:pt x="2072" y="933"/>
                        <a:pt x="2072" y="933"/>
                      </a:cubicBezTo>
                      <a:cubicBezTo>
                        <a:pt x="2077" y="934"/>
                        <a:pt x="2077" y="934"/>
                        <a:pt x="2077" y="934"/>
                      </a:cubicBezTo>
                      <a:cubicBezTo>
                        <a:pt x="2079" y="943"/>
                        <a:pt x="2079" y="943"/>
                        <a:pt x="2079" y="943"/>
                      </a:cubicBezTo>
                      <a:cubicBezTo>
                        <a:pt x="2087" y="939"/>
                        <a:pt x="2087" y="939"/>
                        <a:pt x="2087" y="939"/>
                      </a:cubicBezTo>
                      <a:cubicBezTo>
                        <a:pt x="2087" y="935"/>
                        <a:pt x="2087" y="935"/>
                        <a:pt x="2087" y="935"/>
                      </a:cubicBezTo>
                      <a:cubicBezTo>
                        <a:pt x="2081" y="930"/>
                        <a:pt x="2081" y="930"/>
                        <a:pt x="2081" y="930"/>
                      </a:cubicBezTo>
                      <a:cubicBezTo>
                        <a:pt x="2085" y="927"/>
                        <a:pt x="2085" y="927"/>
                        <a:pt x="2085" y="927"/>
                      </a:cubicBezTo>
                      <a:cubicBezTo>
                        <a:pt x="2089" y="927"/>
                        <a:pt x="2089" y="927"/>
                        <a:pt x="2089" y="927"/>
                      </a:cubicBezTo>
                      <a:cubicBezTo>
                        <a:pt x="2098" y="929"/>
                        <a:pt x="2098" y="929"/>
                        <a:pt x="2098" y="929"/>
                      </a:cubicBezTo>
                      <a:cubicBezTo>
                        <a:pt x="2102" y="926"/>
                        <a:pt x="2102" y="926"/>
                        <a:pt x="2102" y="926"/>
                      </a:cubicBezTo>
                      <a:cubicBezTo>
                        <a:pt x="2105" y="928"/>
                        <a:pt x="2105" y="928"/>
                        <a:pt x="2105" y="928"/>
                      </a:cubicBezTo>
                      <a:cubicBezTo>
                        <a:pt x="2113" y="929"/>
                        <a:pt x="2113" y="929"/>
                        <a:pt x="2113" y="929"/>
                      </a:cubicBezTo>
                      <a:cubicBezTo>
                        <a:pt x="2118" y="935"/>
                        <a:pt x="2118" y="935"/>
                        <a:pt x="2118" y="935"/>
                      </a:cubicBezTo>
                      <a:cubicBezTo>
                        <a:pt x="2123" y="934"/>
                        <a:pt x="2123" y="934"/>
                        <a:pt x="2123" y="934"/>
                      </a:cubicBezTo>
                      <a:cubicBezTo>
                        <a:pt x="2123" y="929"/>
                        <a:pt x="2123" y="929"/>
                        <a:pt x="2123" y="929"/>
                      </a:cubicBezTo>
                      <a:cubicBezTo>
                        <a:pt x="2130" y="921"/>
                        <a:pt x="2130" y="921"/>
                        <a:pt x="2130" y="921"/>
                      </a:cubicBezTo>
                      <a:cubicBezTo>
                        <a:pt x="2137" y="919"/>
                        <a:pt x="2137" y="919"/>
                        <a:pt x="2137" y="919"/>
                      </a:cubicBezTo>
                      <a:cubicBezTo>
                        <a:pt x="2145" y="919"/>
                        <a:pt x="2145" y="919"/>
                        <a:pt x="2145" y="919"/>
                      </a:cubicBezTo>
                      <a:cubicBezTo>
                        <a:pt x="2151" y="913"/>
                        <a:pt x="2151" y="913"/>
                        <a:pt x="2151" y="913"/>
                      </a:cubicBezTo>
                      <a:cubicBezTo>
                        <a:pt x="2149" y="908"/>
                        <a:pt x="2149" y="908"/>
                        <a:pt x="2149" y="908"/>
                      </a:cubicBezTo>
                      <a:cubicBezTo>
                        <a:pt x="2145" y="907"/>
                        <a:pt x="2145" y="907"/>
                        <a:pt x="2145" y="907"/>
                      </a:cubicBezTo>
                      <a:cubicBezTo>
                        <a:pt x="2145" y="897"/>
                        <a:pt x="2145" y="897"/>
                        <a:pt x="2145" y="897"/>
                      </a:cubicBezTo>
                      <a:cubicBezTo>
                        <a:pt x="2140" y="901"/>
                        <a:pt x="2140" y="901"/>
                        <a:pt x="2140" y="901"/>
                      </a:cubicBezTo>
                      <a:cubicBezTo>
                        <a:pt x="2134" y="903"/>
                        <a:pt x="2134" y="903"/>
                        <a:pt x="2134" y="903"/>
                      </a:cubicBezTo>
                      <a:cubicBezTo>
                        <a:pt x="2128" y="900"/>
                        <a:pt x="2128" y="900"/>
                        <a:pt x="2128" y="900"/>
                      </a:cubicBezTo>
                      <a:cubicBezTo>
                        <a:pt x="2123" y="896"/>
                        <a:pt x="2123" y="896"/>
                        <a:pt x="2123" y="896"/>
                      </a:cubicBezTo>
                      <a:cubicBezTo>
                        <a:pt x="2118" y="895"/>
                        <a:pt x="2118" y="895"/>
                        <a:pt x="2118" y="895"/>
                      </a:cubicBezTo>
                      <a:cubicBezTo>
                        <a:pt x="2113" y="891"/>
                        <a:pt x="2113" y="891"/>
                        <a:pt x="2113" y="891"/>
                      </a:cubicBezTo>
                      <a:cubicBezTo>
                        <a:pt x="2110" y="882"/>
                        <a:pt x="2110" y="882"/>
                        <a:pt x="2110" y="882"/>
                      </a:cubicBezTo>
                      <a:cubicBezTo>
                        <a:pt x="2107" y="878"/>
                        <a:pt x="2107" y="878"/>
                        <a:pt x="2107" y="878"/>
                      </a:cubicBezTo>
                      <a:cubicBezTo>
                        <a:pt x="2099" y="878"/>
                        <a:pt x="2099" y="878"/>
                        <a:pt x="2099" y="878"/>
                      </a:cubicBezTo>
                      <a:cubicBezTo>
                        <a:pt x="2098" y="883"/>
                        <a:pt x="2098" y="883"/>
                        <a:pt x="2098" y="883"/>
                      </a:cubicBezTo>
                      <a:cubicBezTo>
                        <a:pt x="2101" y="885"/>
                        <a:pt x="2101" y="885"/>
                        <a:pt x="2101" y="885"/>
                      </a:cubicBezTo>
                      <a:cubicBezTo>
                        <a:pt x="2100" y="901"/>
                        <a:pt x="2100" y="901"/>
                        <a:pt x="2100" y="901"/>
                      </a:cubicBezTo>
                      <a:lnTo>
                        <a:pt x="2097" y="910"/>
                      </a:lnTo>
                      <a:close/>
                      <a:moveTo>
                        <a:pt x="2041" y="1011"/>
                      </a:moveTo>
                      <a:cubicBezTo>
                        <a:pt x="2038" y="1013"/>
                        <a:pt x="2038" y="1013"/>
                        <a:pt x="2038" y="1013"/>
                      </a:cubicBezTo>
                      <a:cubicBezTo>
                        <a:pt x="2038" y="1019"/>
                        <a:pt x="2038" y="1019"/>
                        <a:pt x="2038" y="1019"/>
                      </a:cubicBezTo>
                      <a:cubicBezTo>
                        <a:pt x="2023" y="1039"/>
                        <a:pt x="2023" y="1039"/>
                        <a:pt x="2023" y="1039"/>
                      </a:cubicBezTo>
                      <a:cubicBezTo>
                        <a:pt x="2014" y="1038"/>
                        <a:pt x="2014" y="1038"/>
                        <a:pt x="2014" y="1038"/>
                      </a:cubicBezTo>
                      <a:cubicBezTo>
                        <a:pt x="2007" y="1041"/>
                        <a:pt x="2007" y="1041"/>
                        <a:pt x="2007" y="1041"/>
                      </a:cubicBezTo>
                      <a:cubicBezTo>
                        <a:pt x="1999" y="1042"/>
                        <a:pt x="1999" y="1042"/>
                        <a:pt x="1999" y="1042"/>
                      </a:cubicBezTo>
                      <a:cubicBezTo>
                        <a:pt x="1992" y="1040"/>
                        <a:pt x="1992" y="1040"/>
                        <a:pt x="1992" y="1040"/>
                      </a:cubicBezTo>
                      <a:cubicBezTo>
                        <a:pt x="1987" y="1040"/>
                        <a:pt x="1987" y="1040"/>
                        <a:pt x="1987" y="1040"/>
                      </a:cubicBezTo>
                      <a:cubicBezTo>
                        <a:pt x="1984" y="1046"/>
                        <a:pt x="1984" y="1046"/>
                        <a:pt x="1984" y="1046"/>
                      </a:cubicBezTo>
                      <a:cubicBezTo>
                        <a:pt x="1973" y="1054"/>
                        <a:pt x="1973" y="1054"/>
                        <a:pt x="1973" y="1054"/>
                      </a:cubicBezTo>
                      <a:cubicBezTo>
                        <a:pt x="1969" y="1055"/>
                        <a:pt x="1969" y="1055"/>
                        <a:pt x="1969" y="1055"/>
                      </a:cubicBezTo>
                      <a:cubicBezTo>
                        <a:pt x="1964" y="1058"/>
                        <a:pt x="1964" y="1058"/>
                        <a:pt x="1964" y="1058"/>
                      </a:cubicBezTo>
                      <a:cubicBezTo>
                        <a:pt x="1965" y="1063"/>
                        <a:pt x="1965" y="1063"/>
                        <a:pt x="1965" y="1063"/>
                      </a:cubicBezTo>
                      <a:cubicBezTo>
                        <a:pt x="1973" y="1063"/>
                        <a:pt x="1973" y="1063"/>
                        <a:pt x="1973" y="1063"/>
                      </a:cubicBezTo>
                      <a:cubicBezTo>
                        <a:pt x="1974" y="1066"/>
                        <a:pt x="1974" y="1066"/>
                        <a:pt x="1974" y="1066"/>
                      </a:cubicBezTo>
                      <a:cubicBezTo>
                        <a:pt x="1980" y="1062"/>
                        <a:pt x="1980" y="1062"/>
                        <a:pt x="1980" y="1062"/>
                      </a:cubicBezTo>
                      <a:cubicBezTo>
                        <a:pt x="1993" y="1059"/>
                        <a:pt x="1993" y="1059"/>
                        <a:pt x="1993" y="1059"/>
                      </a:cubicBezTo>
                      <a:cubicBezTo>
                        <a:pt x="1997" y="1054"/>
                        <a:pt x="1997" y="1054"/>
                        <a:pt x="1997" y="1054"/>
                      </a:cubicBezTo>
                      <a:cubicBezTo>
                        <a:pt x="2011" y="1051"/>
                        <a:pt x="2011" y="1051"/>
                        <a:pt x="2011" y="1051"/>
                      </a:cubicBezTo>
                      <a:cubicBezTo>
                        <a:pt x="2019" y="1054"/>
                        <a:pt x="2019" y="1054"/>
                        <a:pt x="2019" y="1054"/>
                      </a:cubicBezTo>
                      <a:cubicBezTo>
                        <a:pt x="2020" y="1060"/>
                        <a:pt x="2020" y="1060"/>
                        <a:pt x="2020" y="1060"/>
                      </a:cubicBezTo>
                      <a:cubicBezTo>
                        <a:pt x="2018" y="1064"/>
                        <a:pt x="2018" y="1064"/>
                        <a:pt x="2018" y="1064"/>
                      </a:cubicBezTo>
                      <a:cubicBezTo>
                        <a:pt x="2020" y="1070"/>
                        <a:pt x="2020" y="1070"/>
                        <a:pt x="2020" y="1070"/>
                      </a:cubicBezTo>
                      <a:cubicBezTo>
                        <a:pt x="2025" y="1072"/>
                        <a:pt x="2025" y="1072"/>
                        <a:pt x="2025" y="1072"/>
                      </a:cubicBezTo>
                      <a:cubicBezTo>
                        <a:pt x="2030" y="1070"/>
                        <a:pt x="2030" y="1070"/>
                        <a:pt x="2030" y="1070"/>
                      </a:cubicBezTo>
                      <a:cubicBezTo>
                        <a:pt x="2031" y="1063"/>
                        <a:pt x="2031" y="1063"/>
                        <a:pt x="2031" y="1063"/>
                      </a:cubicBezTo>
                      <a:cubicBezTo>
                        <a:pt x="2038" y="1063"/>
                        <a:pt x="2038" y="1063"/>
                        <a:pt x="2038" y="1063"/>
                      </a:cubicBezTo>
                      <a:cubicBezTo>
                        <a:pt x="2037" y="1059"/>
                        <a:pt x="2037" y="1059"/>
                        <a:pt x="2037" y="1059"/>
                      </a:cubicBezTo>
                      <a:cubicBezTo>
                        <a:pt x="2037" y="1056"/>
                        <a:pt x="2037" y="1056"/>
                        <a:pt x="2037" y="1056"/>
                      </a:cubicBezTo>
                      <a:cubicBezTo>
                        <a:pt x="2035" y="1052"/>
                        <a:pt x="2035" y="1052"/>
                        <a:pt x="2035" y="1052"/>
                      </a:cubicBezTo>
                      <a:cubicBezTo>
                        <a:pt x="2037" y="1048"/>
                        <a:pt x="2037" y="1048"/>
                        <a:pt x="2037" y="1048"/>
                      </a:cubicBezTo>
                      <a:cubicBezTo>
                        <a:pt x="2043" y="1048"/>
                        <a:pt x="2043" y="1048"/>
                        <a:pt x="2043" y="1048"/>
                      </a:cubicBezTo>
                      <a:cubicBezTo>
                        <a:pt x="2043" y="1054"/>
                        <a:pt x="2043" y="1054"/>
                        <a:pt x="2043" y="1054"/>
                      </a:cubicBezTo>
                      <a:cubicBezTo>
                        <a:pt x="2054" y="1053"/>
                        <a:pt x="2054" y="1053"/>
                        <a:pt x="2054" y="1053"/>
                      </a:cubicBezTo>
                      <a:cubicBezTo>
                        <a:pt x="2058" y="1048"/>
                        <a:pt x="2058" y="1048"/>
                        <a:pt x="2058" y="1048"/>
                      </a:cubicBezTo>
                      <a:cubicBezTo>
                        <a:pt x="2062" y="1047"/>
                        <a:pt x="2062" y="1047"/>
                        <a:pt x="2062" y="1047"/>
                      </a:cubicBezTo>
                      <a:cubicBezTo>
                        <a:pt x="2062" y="1054"/>
                        <a:pt x="2062" y="1054"/>
                        <a:pt x="2062" y="1054"/>
                      </a:cubicBezTo>
                      <a:cubicBezTo>
                        <a:pt x="2067" y="1053"/>
                        <a:pt x="2067" y="1053"/>
                        <a:pt x="2067" y="1053"/>
                      </a:cubicBezTo>
                      <a:cubicBezTo>
                        <a:pt x="2068" y="1044"/>
                        <a:pt x="2068" y="1044"/>
                        <a:pt x="2068" y="1044"/>
                      </a:cubicBezTo>
                      <a:cubicBezTo>
                        <a:pt x="2074" y="1038"/>
                        <a:pt x="2074" y="1038"/>
                        <a:pt x="2074" y="1038"/>
                      </a:cubicBezTo>
                      <a:cubicBezTo>
                        <a:pt x="2078" y="1041"/>
                        <a:pt x="2078" y="1041"/>
                        <a:pt x="2078" y="1041"/>
                      </a:cubicBezTo>
                      <a:cubicBezTo>
                        <a:pt x="2077" y="1045"/>
                        <a:pt x="2077" y="1045"/>
                        <a:pt x="2077" y="1045"/>
                      </a:cubicBezTo>
                      <a:cubicBezTo>
                        <a:pt x="2075" y="1048"/>
                        <a:pt x="2075" y="1048"/>
                        <a:pt x="2075" y="1048"/>
                      </a:cubicBezTo>
                      <a:cubicBezTo>
                        <a:pt x="2079" y="1049"/>
                        <a:pt x="2079" y="1049"/>
                        <a:pt x="2079" y="1049"/>
                      </a:cubicBezTo>
                      <a:cubicBezTo>
                        <a:pt x="2087" y="1038"/>
                        <a:pt x="2087" y="1038"/>
                        <a:pt x="2087" y="1038"/>
                      </a:cubicBezTo>
                      <a:cubicBezTo>
                        <a:pt x="2085" y="1032"/>
                        <a:pt x="2085" y="1032"/>
                        <a:pt x="2085" y="1032"/>
                      </a:cubicBezTo>
                      <a:cubicBezTo>
                        <a:pt x="2086" y="1027"/>
                        <a:pt x="2086" y="1027"/>
                        <a:pt x="2086" y="1027"/>
                      </a:cubicBezTo>
                      <a:cubicBezTo>
                        <a:pt x="2093" y="1014"/>
                        <a:pt x="2093" y="1014"/>
                        <a:pt x="2093" y="1014"/>
                      </a:cubicBezTo>
                      <a:cubicBezTo>
                        <a:pt x="2089" y="1008"/>
                        <a:pt x="2089" y="1008"/>
                        <a:pt x="2089" y="1008"/>
                      </a:cubicBezTo>
                      <a:cubicBezTo>
                        <a:pt x="2090" y="1001"/>
                        <a:pt x="2090" y="1001"/>
                        <a:pt x="2090" y="1001"/>
                      </a:cubicBezTo>
                      <a:cubicBezTo>
                        <a:pt x="2094" y="998"/>
                        <a:pt x="2094" y="998"/>
                        <a:pt x="2094" y="998"/>
                      </a:cubicBezTo>
                      <a:cubicBezTo>
                        <a:pt x="2098" y="999"/>
                        <a:pt x="2098" y="999"/>
                        <a:pt x="2098" y="999"/>
                      </a:cubicBezTo>
                      <a:cubicBezTo>
                        <a:pt x="2098" y="989"/>
                        <a:pt x="2098" y="989"/>
                        <a:pt x="2098" y="989"/>
                      </a:cubicBezTo>
                      <a:cubicBezTo>
                        <a:pt x="2103" y="978"/>
                        <a:pt x="2103" y="978"/>
                        <a:pt x="2103" y="978"/>
                      </a:cubicBezTo>
                      <a:cubicBezTo>
                        <a:pt x="2104" y="968"/>
                        <a:pt x="2104" y="968"/>
                        <a:pt x="2104" y="968"/>
                      </a:cubicBezTo>
                      <a:cubicBezTo>
                        <a:pt x="2103" y="967"/>
                        <a:pt x="2103" y="967"/>
                        <a:pt x="2103" y="967"/>
                      </a:cubicBezTo>
                      <a:cubicBezTo>
                        <a:pt x="2100" y="961"/>
                        <a:pt x="2100" y="961"/>
                        <a:pt x="2100" y="961"/>
                      </a:cubicBezTo>
                      <a:cubicBezTo>
                        <a:pt x="2095" y="957"/>
                        <a:pt x="2095" y="957"/>
                        <a:pt x="2095" y="957"/>
                      </a:cubicBezTo>
                      <a:cubicBezTo>
                        <a:pt x="2096" y="946"/>
                        <a:pt x="2096" y="946"/>
                        <a:pt x="2096" y="946"/>
                      </a:cubicBezTo>
                      <a:cubicBezTo>
                        <a:pt x="2093" y="943"/>
                        <a:pt x="2093" y="943"/>
                        <a:pt x="2093" y="943"/>
                      </a:cubicBezTo>
                      <a:cubicBezTo>
                        <a:pt x="2088" y="947"/>
                        <a:pt x="2088" y="947"/>
                        <a:pt x="2088" y="947"/>
                      </a:cubicBezTo>
                      <a:cubicBezTo>
                        <a:pt x="2090" y="951"/>
                        <a:pt x="2090" y="951"/>
                        <a:pt x="2090" y="951"/>
                      </a:cubicBezTo>
                      <a:cubicBezTo>
                        <a:pt x="2092" y="956"/>
                        <a:pt x="2092" y="956"/>
                        <a:pt x="2092" y="956"/>
                      </a:cubicBezTo>
                      <a:cubicBezTo>
                        <a:pt x="2089" y="956"/>
                        <a:pt x="2089" y="956"/>
                        <a:pt x="2089" y="956"/>
                      </a:cubicBezTo>
                      <a:cubicBezTo>
                        <a:pt x="2085" y="952"/>
                        <a:pt x="2085" y="952"/>
                        <a:pt x="2085" y="952"/>
                      </a:cubicBezTo>
                      <a:cubicBezTo>
                        <a:pt x="2081" y="952"/>
                        <a:pt x="2081" y="952"/>
                        <a:pt x="2081" y="952"/>
                      </a:cubicBezTo>
                      <a:cubicBezTo>
                        <a:pt x="2077" y="960"/>
                        <a:pt x="2077" y="960"/>
                        <a:pt x="2077" y="960"/>
                      </a:cubicBezTo>
                      <a:cubicBezTo>
                        <a:pt x="2077" y="983"/>
                        <a:pt x="2077" y="983"/>
                        <a:pt x="2077" y="983"/>
                      </a:cubicBezTo>
                      <a:cubicBezTo>
                        <a:pt x="2072" y="996"/>
                        <a:pt x="2072" y="996"/>
                        <a:pt x="2072" y="996"/>
                      </a:cubicBezTo>
                      <a:cubicBezTo>
                        <a:pt x="2062" y="1009"/>
                        <a:pt x="2062" y="1009"/>
                        <a:pt x="2062" y="1009"/>
                      </a:cubicBezTo>
                      <a:cubicBezTo>
                        <a:pt x="2056" y="1013"/>
                        <a:pt x="2056" y="1013"/>
                        <a:pt x="2056" y="1013"/>
                      </a:cubicBezTo>
                      <a:cubicBezTo>
                        <a:pt x="2054" y="1018"/>
                        <a:pt x="2054" y="1018"/>
                        <a:pt x="2054" y="1018"/>
                      </a:cubicBezTo>
                      <a:cubicBezTo>
                        <a:pt x="2046" y="1021"/>
                        <a:pt x="2046" y="1021"/>
                        <a:pt x="2046" y="1021"/>
                      </a:cubicBezTo>
                      <a:cubicBezTo>
                        <a:pt x="2042" y="1019"/>
                        <a:pt x="2042" y="1019"/>
                        <a:pt x="2042" y="1019"/>
                      </a:cubicBezTo>
                      <a:cubicBezTo>
                        <a:pt x="2045" y="1012"/>
                        <a:pt x="2045" y="1012"/>
                        <a:pt x="2045" y="1012"/>
                      </a:cubicBezTo>
                      <a:lnTo>
                        <a:pt x="2041" y="1011"/>
                      </a:lnTo>
                      <a:close/>
                      <a:moveTo>
                        <a:pt x="2061" y="1002"/>
                      </a:moveTo>
                      <a:cubicBezTo>
                        <a:pt x="2063" y="997"/>
                        <a:pt x="2063" y="997"/>
                        <a:pt x="2063" y="997"/>
                      </a:cubicBezTo>
                      <a:cubicBezTo>
                        <a:pt x="2058" y="996"/>
                        <a:pt x="2058" y="996"/>
                        <a:pt x="2058" y="996"/>
                      </a:cubicBezTo>
                      <a:cubicBezTo>
                        <a:pt x="2058" y="999"/>
                        <a:pt x="2058" y="999"/>
                        <a:pt x="2058" y="999"/>
                      </a:cubicBezTo>
                      <a:cubicBezTo>
                        <a:pt x="2054" y="1004"/>
                        <a:pt x="2054" y="1004"/>
                        <a:pt x="2054" y="1004"/>
                      </a:cubicBezTo>
                      <a:cubicBezTo>
                        <a:pt x="2056" y="1007"/>
                        <a:pt x="2056" y="1007"/>
                        <a:pt x="2056" y="1007"/>
                      </a:cubicBezTo>
                      <a:lnTo>
                        <a:pt x="2061" y="1002"/>
                      </a:lnTo>
                      <a:close/>
                      <a:moveTo>
                        <a:pt x="1993" y="1076"/>
                      </a:moveTo>
                      <a:cubicBezTo>
                        <a:pt x="1998" y="1071"/>
                        <a:pt x="1998" y="1071"/>
                        <a:pt x="1998" y="1071"/>
                      </a:cubicBezTo>
                      <a:cubicBezTo>
                        <a:pt x="2002" y="1073"/>
                        <a:pt x="2002" y="1073"/>
                        <a:pt x="2002" y="1073"/>
                      </a:cubicBezTo>
                      <a:cubicBezTo>
                        <a:pt x="2007" y="1072"/>
                        <a:pt x="2007" y="1072"/>
                        <a:pt x="2007" y="1072"/>
                      </a:cubicBezTo>
                      <a:cubicBezTo>
                        <a:pt x="2010" y="1062"/>
                        <a:pt x="2010" y="1062"/>
                        <a:pt x="2010" y="1062"/>
                      </a:cubicBezTo>
                      <a:cubicBezTo>
                        <a:pt x="2005" y="1059"/>
                        <a:pt x="2005" y="1059"/>
                        <a:pt x="2005" y="1059"/>
                      </a:cubicBezTo>
                      <a:cubicBezTo>
                        <a:pt x="2000" y="1060"/>
                        <a:pt x="2000" y="1060"/>
                        <a:pt x="2000" y="1060"/>
                      </a:cubicBezTo>
                      <a:cubicBezTo>
                        <a:pt x="1994" y="1067"/>
                        <a:pt x="1994" y="1067"/>
                        <a:pt x="1994" y="1067"/>
                      </a:cubicBezTo>
                      <a:cubicBezTo>
                        <a:pt x="1985" y="1068"/>
                        <a:pt x="1985" y="1068"/>
                        <a:pt x="1985" y="1068"/>
                      </a:cubicBezTo>
                      <a:cubicBezTo>
                        <a:pt x="1981" y="1072"/>
                        <a:pt x="1981" y="1072"/>
                        <a:pt x="1981" y="1072"/>
                      </a:cubicBezTo>
                      <a:cubicBezTo>
                        <a:pt x="1984" y="1082"/>
                        <a:pt x="1984" y="1082"/>
                        <a:pt x="1984" y="1082"/>
                      </a:cubicBezTo>
                      <a:cubicBezTo>
                        <a:pt x="1990" y="1082"/>
                        <a:pt x="1990" y="1082"/>
                        <a:pt x="1990" y="1082"/>
                      </a:cubicBezTo>
                      <a:lnTo>
                        <a:pt x="1993" y="1076"/>
                      </a:lnTo>
                      <a:close/>
                      <a:moveTo>
                        <a:pt x="1947" y="1079"/>
                      </a:moveTo>
                      <a:cubicBezTo>
                        <a:pt x="1952" y="1084"/>
                        <a:pt x="1952" y="1084"/>
                        <a:pt x="1952" y="1084"/>
                      </a:cubicBezTo>
                      <a:cubicBezTo>
                        <a:pt x="1958" y="1079"/>
                        <a:pt x="1958" y="1079"/>
                        <a:pt x="1958" y="1079"/>
                      </a:cubicBezTo>
                      <a:cubicBezTo>
                        <a:pt x="1958" y="1079"/>
                        <a:pt x="1959" y="1080"/>
                        <a:pt x="1959" y="1085"/>
                      </a:cubicBezTo>
                      <a:cubicBezTo>
                        <a:pt x="1959" y="1091"/>
                        <a:pt x="1954" y="1091"/>
                        <a:pt x="1954" y="1091"/>
                      </a:cubicBezTo>
                      <a:cubicBezTo>
                        <a:pt x="1953" y="1103"/>
                        <a:pt x="1953" y="1103"/>
                        <a:pt x="1953" y="1103"/>
                      </a:cubicBezTo>
                      <a:cubicBezTo>
                        <a:pt x="1955" y="1105"/>
                        <a:pt x="1955" y="1105"/>
                        <a:pt x="1955" y="1105"/>
                      </a:cubicBezTo>
                      <a:cubicBezTo>
                        <a:pt x="1959" y="1100"/>
                        <a:pt x="1959" y="1100"/>
                        <a:pt x="1959" y="1100"/>
                      </a:cubicBezTo>
                      <a:cubicBezTo>
                        <a:pt x="1961" y="1100"/>
                        <a:pt x="1961" y="1100"/>
                        <a:pt x="1961" y="1100"/>
                      </a:cubicBezTo>
                      <a:cubicBezTo>
                        <a:pt x="1960" y="1108"/>
                        <a:pt x="1960" y="1108"/>
                        <a:pt x="1960" y="1108"/>
                      </a:cubicBezTo>
                      <a:cubicBezTo>
                        <a:pt x="1969" y="1105"/>
                        <a:pt x="1969" y="1105"/>
                        <a:pt x="1969" y="1105"/>
                      </a:cubicBezTo>
                      <a:cubicBezTo>
                        <a:pt x="1970" y="1092"/>
                        <a:pt x="1970" y="1092"/>
                        <a:pt x="1970" y="1092"/>
                      </a:cubicBezTo>
                      <a:cubicBezTo>
                        <a:pt x="1978" y="1084"/>
                        <a:pt x="1978" y="1084"/>
                        <a:pt x="1978" y="1084"/>
                      </a:cubicBezTo>
                      <a:cubicBezTo>
                        <a:pt x="1973" y="1076"/>
                        <a:pt x="1973" y="1076"/>
                        <a:pt x="1973" y="1076"/>
                      </a:cubicBezTo>
                      <a:cubicBezTo>
                        <a:pt x="1971" y="1072"/>
                        <a:pt x="1971" y="1072"/>
                        <a:pt x="1971" y="1072"/>
                      </a:cubicBezTo>
                      <a:cubicBezTo>
                        <a:pt x="1960" y="1066"/>
                        <a:pt x="1960" y="1066"/>
                        <a:pt x="1960" y="1066"/>
                      </a:cubicBezTo>
                      <a:cubicBezTo>
                        <a:pt x="1954" y="1071"/>
                        <a:pt x="1954" y="1071"/>
                        <a:pt x="1954" y="1071"/>
                      </a:cubicBezTo>
                      <a:cubicBezTo>
                        <a:pt x="1946" y="1073"/>
                        <a:pt x="1946" y="1073"/>
                        <a:pt x="1946" y="1073"/>
                      </a:cubicBezTo>
                      <a:lnTo>
                        <a:pt x="1947" y="1079"/>
                      </a:lnTo>
                      <a:close/>
                      <a:moveTo>
                        <a:pt x="1944" y="1055"/>
                      </a:moveTo>
                      <a:cubicBezTo>
                        <a:pt x="1940" y="1058"/>
                        <a:pt x="1940" y="1058"/>
                        <a:pt x="1940" y="1058"/>
                      </a:cubicBezTo>
                      <a:cubicBezTo>
                        <a:pt x="1940" y="1061"/>
                        <a:pt x="1940" y="1061"/>
                        <a:pt x="1940" y="1061"/>
                      </a:cubicBezTo>
                      <a:cubicBezTo>
                        <a:pt x="1944" y="1060"/>
                        <a:pt x="1944" y="1060"/>
                        <a:pt x="1944" y="1060"/>
                      </a:cubicBezTo>
                      <a:lnTo>
                        <a:pt x="1944" y="1055"/>
                      </a:lnTo>
                      <a:close/>
                      <a:moveTo>
                        <a:pt x="1908" y="1072"/>
                      </a:moveTo>
                      <a:cubicBezTo>
                        <a:pt x="1905" y="1073"/>
                        <a:pt x="1905" y="1073"/>
                        <a:pt x="1905" y="1073"/>
                      </a:cubicBezTo>
                      <a:cubicBezTo>
                        <a:pt x="1906" y="1075"/>
                        <a:pt x="1906" y="1075"/>
                        <a:pt x="1906" y="1075"/>
                      </a:cubicBezTo>
                      <a:cubicBezTo>
                        <a:pt x="1911" y="1075"/>
                        <a:pt x="1911" y="1075"/>
                        <a:pt x="1911" y="1075"/>
                      </a:cubicBezTo>
                      <a:cubicBezTo>
                        <a:pt x="1914" y="1072"/>
                        <a:pt x="1914" y="1072"/>
                        <a:pt x="1914" y="1072"/>
                      </a:cubicBezTo>
                      <a:cubicBezTo>
                        <a:pt x="1911" y="1070"/>
                        <a:pt x="1911" y="1070"/>
                        <a:pt x="1911" y="1070"/>
                      </a:cubicBezTo>
                      <a:lnTo>
                        <a:pt x="1908" y="1072"/>
                      </a:lnTo>
                      <a:close/>
                      <a:moveTo>
                        <a:pt x="1936" y="1085"/>
                      </a:moveTo>
                      <a:cubicBezTo>
                        <a:pt x="1938" y="1085"/>
                        <a:pt x="1938" y="1085"/>
                        <a:pt x="1938" y="1085"/>
                      </a:cubicBezTo>
                      <a:cubicBezTo>
                        <a:pt x="1938" y="1083"/>
                        <a:pt x="1938" y="1083"/>
                        <a:pt x="1938" y="1083"/>
                      </a:cubicBezTo>
                      <a:cubicBezTo>
                        <a:pt x="1935" y="1083"/>
                        <a:pt x="1935" y="1083"/>
                        <a:pt x="1935" y="1083"/>
                      </a:cubicBezTo>
                      <a:lnTo>
                        <a:pt x="1936" y="1085"/>
                      </a:lnTo>
                      <a:close/>
                      <a:moveTo>
                        <a:pt x="1941" y="1081"/>
                      </a:moveTo>
                      <a:cubicBezTo>
                        <a:pt x="1943" y="1079"/>
                        <a:pt x="1943" y="1079"/>
                        <a:pt x="1943" y="1079"/>
                      </a:cubicBezTo>
                      <a:cubicBezTo>
                        <a:pt x="1941" y="1077"/>
                        <a:pt x="1941" y="1077"/>
                        <a:pt x="1941" y="1077"/>
                      </a:cubicBezTo>
                      <a:cubicBezTo>
                        <a:pt x="1939" y="1079"/>
                        <a:pt x="1939" y="1079"/>
                        <a:pt x="1939" y="1079"/>
                      </a:cubicBezTo>
                      <a:lnTo>
                        <a:pt x="1941" y="1081"/>
                      </a:lnTo>
                      <a:close/>
                      <a:moveTo>
                        <a:pt x="1948" y="1067"/>
                      </a:moveTo>
                      <a:cubicBezTo>
                        <a:pt x="1947" y="1069"/>
                        <a:pt x="1947" y="1069"/>
                        <a:pt x="1947" y="1069"/>
                      </a:cubicBezTo>
                      <a:cubicBezTo>
                        <a:pt x="1951" y="1069"/>
                        <a:pt x="1951" y="1069"/>
                        <a:pt x="1951" y="1069"/>
                      </a:cubicBezTo>
                      <a:cubicBezTo>
                        <a:pt x="1950" y="1067"/>
                        <a:pt x="1950" y="1067"/>
                        <a:pt x="1950" y="1067"/>
                      </a:cubicBezTo>
                      <a:lnTo>
                        <a:pt x="1948" y="1067"/>
                      </a:lnTo>
                      <a:close/>
                      <a:moveTo>
                        <a:pt x="1964" y="1113"/>
                      </a:moveTo>
                      <a:cubicBezTo>
                        <a:pt x="1963" y="1116"/>
                        <a:pt x="1963" y="1116"/>
                        <a:pt x="1963" y="1116"/>
                      </a:cubicBezTo>
                      <a:cubicBezTo>
                        <a:pt x="1963" y="1120"/>
                        <a:pt x="1963" y="1120"/>
                        <a:pt x="1963" y="1120"/>
                      </a:cubicBezTo>
                      <a:cubicBezTo>
                        <a:pt x="1964" y="1119"/>
                        <a:pt x="1964" y="1119"/>
                        <a:pt x="1964" y="1119"/>
                      </a:cubicBezTo>
                      <a:cubicBezTo>
                        <a:pt x="1968" y="1113"/>
                        <a:pt x="1968" y="1113"/>
                        <a:pt x="1968" y="1113"/>
                      </a:cubicBezTo>
                      <a:lnTo>
                        <a:pt x="1964" y="1113"/>
                      </a:lnTo>
                      <a:close/>
                      <a:moveTo>
                        <a:pt x="1957" y="1118"/>
                      </a:moveTo>
                      <a:cubicBezTo>
                        <a:pt x="1955" y="1120"/>
                        <a:pt x="1955" y="1120"/>
                        <a:pt x="1955" y="1120"/>
                      </a:cubicBezTo>
                      <a:cubicBezTo>
                        <a:pt x="1955" y="1122"/>
                        <a:pt x="1955" y="1122"/>
                        <a:pt x="1955" y="1122"/>
                      </a:cubicBezTo>
                      <a:cubicBezTo>
                        <a:pt x="1959" y="1121"/>
                        <a:pt x="1959" y="1121"/>
                        <a:pt x="1959" y="1121"/>
                      </a:cubicBezTo>
                      <a:cubicBezTo>
                        <a:pt x="1959" y="1119"/>
                        <a:pt x="1959" y="1119"/>
                        <a:pt x="1959" y="1119"/>
                      </a:cubicBezTo>
                      <a:lnTo>
                        <a:pt x="1957" y="1118"/>
                      </a:lnTo>
                      <a:close/>
                      <a:moveTo>
                        <a:pt x="1838" y="1231"/>
                      </a:moveTo>
                      <a:cubicBezTo>
                        <a:pt x="1841" y="1217"/>
                        <a:pt x="1841" y="1217"/>
                        <a:pt x="1841" y="1217"/>
                      </a:cubicBezTo>
                      <a:cubicBezTo>
                        <a:pt x="1848" y="1210"/>
                        <a:pt x="1848" y="1210"/>
                        <a:pt x="1848" y="1210"/>
                      </a:cubicBezTo>
                      <a:cubicBezTo>
                        <a:pt x="1848" y="1193"/>
                        <a:pt x="1848" y="1193"/>
                        <a:pt x="1848" y="1193"/>
                      </a:cubicBezTo>
                      <a:cubicBezTo>
                        <a:pt x="1840" y="1192"/>
                        <a:pt x="1840" y="1192"/>
                        <a:pt x="1840" y="1192"/>
                      </a:cubicBezTo>
                      <a:cubicBezTo>
                        <a:pt x="1837" y="1194"/>
                        <a:pt x="1837" y="1194"/>
                        <a:pt x="1837" y="1194"/>
                      </a:cubicBezTo>
                      <a:cubicBezTo>
                        <a:pt x="1837" y="1200"/>
                        <a:pt x="1837" y="1200"/>
                        <a:pt x="1837" y="1200"/>
                      </a:cubicBezTo>
                      <a:cubicBezTo>
                        <a:pt x="1829" y="1213"/>
                        <a:pt x="1829" y="1213"/>
                        <a:pt x="1829" y="1213"/>
                      </a:cubicBezTo>
                      <a:cubicBezTo>
                        <a:pt x="1829" y="1226"/>
                        <a:pt x="1829" y="1226"/>
                        <a:pt x="1829" y="1226"/>
                      </a:cubicBezTo>
                      <a:cubicBezTo>
                        <a:pt x="1833" y="1232"/>
                        <a:pt x="1833" y="1232"/>
                        <a:pt x="1833" y="1232"/>
                      </a:cubicBezTo>
                      <a:lnTo>
                        <a:pt x="1838" y="1231"/>
                      </a:lnTo>
                      <a:close/>
                      <a:moveTo>
                        <a:pt x="1705" y="1278"/>
                      </a:moveTo>
                      <a:cubicBezTo>
                        <a:pt x="1709" y="1267"/>
                        <a:pt x="1709" y="1267"/>
                        <a:pt x="1709" y="1267"/>
                      </a:cubicBezTo>
                      <a:cubicBezTo>
                        <a:pt x="1713" y="1263"/>
                        <a:pt x="1713" y="1263"/>
                        <a:pt x="1713" y="1263"/>
                      </a:cubicBezTo>
                      <a:cubicBezTo>
                        <a:pt x="1706" y="1260"/>
                        <a:pt x="1706" y="1260"/>
                        <a:pt x="1706" y="1260"/>
                      </a:cubicBezTo>
                      <a:cubicBezTo>
                        <a:pt x="1701" y="1260"/>
                        <a:pt x="1701" y="1260"/>
                        <a:pt x="1701" y="1260"/>
                      </a:cubicBezTo>
                      <a:cubicBezTo>
                        <a:pt x="1693" y="1263"/>
                        <a:pt x="1693" y="1263"/>
                        <a:pt x="1693" y="1263"/>
                      </a:cubicBezTo>
                      <a:cubicBezTo>
                        <a:pt x="1691" y="1262"/>
                        <a:pt x="1691" y="1262"/>
                        <a:pt x="1691" y="1262"/>
                      </a:cubicBezTo>
                      <a:cubicBezTo>
                        <a:pt x="1683" y="1270"/>
                        <a:pt x="1683" y="1270"/>
                        <a:pt x="1683" y="1270"/>
                      </a:cubicBezTo>
                      <a:cubicBezTo>
                        <a:pt x="1683" y="1281"/>
                        <a:pt x="1683" y="1281"/>
                        <a:pt x="1683" y="1281"/>
                      </a:cubicBezTo>
                      <a:cubicBezTo>
                        <a:pt x="1691" y="1285"/>
                        <a:pt x="1691" y="1285"/>
                        <a:pt x="1691" y="1285"/>
                      </a:cubicBezTo>
                      <a:cubicBezTo>
                        <a:pt x="1699" y="1284"/>
                        <a:pt x="1699" y="1284"/>
                        <a:pt x="1699" y="1284"/>
                      </a:cubicBezTo>
                      <a:lnTo>
                        <a:pt x="1705" y="1278"/>
                      </a:lnTo>
                      <a:close/>
                      <a:moveTo>
                        <a:pt x="1938" y="1151"/>
                      </a:moveTo>
                      <a:cubicBezTo>
                        <a:pt x="1944" y="1151"/>
                        <a:pt x="1944" y="1151"/>
                        <a:pt x="1944" y="1151"/>
                      </a:cubicBezTo>
                      <a:cubicBezTo>
                        <a:pt x="1948" y="1147"/>
                        <a:pt x="1948" y="1147"/>
                        <a:pt x="1948" y="1147"/>
                      </a:cubicBezTo>
                      <a:cubicBezTo>
                        <a:pt x="1948" y="1145"/>
                        <a:pt x="1948" y="1145"/>
                        <a:pt x="1948" y="1145"/>
                      </a:cubicBezTo>
                      <a:cubicBezTo>
                        <a:pt x="1943" y="1145"/>
                        <a:pt x="1943" y="1145"/>
                        <a:pt x="1943" y="1145"/>
                      </a:cubicBezTo>
                      <a:cubicBezTo>
                        <a:pt x="1938" y="1149"/>
                        <a:pt x="1938" y="1149"/>
                        <a:pt x="1938" y="1149"/>
                      </a:cubicBezTo>
                      <a:lnTo>
                        <a:pt x="1938" y="1151"/>
                      </a:lnTo>
                      <a:close/>
                      <a:moveTo>
                        <a:pt x="1942" y="1158"/>
                      </a:moveTo>
                      <a:cubicBezTo>
                        <a:pt x="1941" y="1155"/>
                        <a:pt x="1941" y="1155"/>
                        <a:pt x="1941" y="1155"/>
                      </a:cubicBezTo>
                      <a:cubicBezTo>
                        <a:pt x="1938" y="1155"/>
                        <a:pt x="1938" y="1155"/>
                        <a:pt x="1938" y="1155"/>
                      </a:cubicBezTo>
                      <a:cubicBezTo>
                        <a:pt x="1937" y="1157"/>
                        <a:pt x="1937" y="1157"/>
                        <a:pt x="1937" y="1157"/>
                      </a:cubicBezTo>
                      <a:cubicBezTo>
                        <a:pt x="1939" y="1159"/>
                        <a:pt x="1939" y="1159"/>
                        <a:pt x="1939" y="1159"/>
                      </a:cubicBezTo>
                      <a:lnTo>
                        <a:pt x="1942" y="1158"/>
                      </a:lnTo>
                      <a:close/>
                      <a:moveTo>
                        <a:pt x="1924" y="1174"/>
                      </a:moveTo>
                      <a:cubicBezTo>
                        <a:pt x="1922" y="1175"/>
                        <a:pt x="1922" y="1175"/>
                        <a:pt x="1922" y="1175"/>
                      </a:cubicBezTo>
                      <a:cubicBezTo>
                        <a:pt x="1923" y="1179"/>
                        <a:pt x="1923" y="1179"/>
                        <a:pt x="1923" y="1179"/>
                      </a:cubicBezTo>
                      <a:cubicBezTo>
                        <a:pt x="1931" y="1171"/>
                        <a:pt x="1931" y="1171"/>
                        <a:pt x="1931" y="1171"/>
                      </a:cubicBezTo>
                      <a:cubicBezTo>
                        <a:pt x="1926" y="1170"/>
                        <a:pt x="1926" y="1170"/>
                        <a:pt x="1926" y="1170"/>
                      </a:cubicBezTo>
                      <a:lnTo>
                        <a:pt x="1924" y="1174"/>
                      </a:lnTo>
                      <a:close/>
                      <a:moveTo>
                        <a:pt x="1895" y="1196"/>
                      </a:moveTo>
                      <a:cubicBezTo>
                        <a:pt x="1894" y="1194"/>
                        <a:pt x="1894" y="1194"/>
                        <a:pt x="1894" y="1194"/>
                      </a:cubicBezTo>
                      <a:cubicBezTo>
                        <a:pt x="1891" y="1193"/>
                        <a:pt x="1891" y="1193"/>
                        <a:pt x="1891" y="1193"/>
                      </a:cubicBezTo>
                      <a:cubicBezTo>
                        <a:pt x="1889" y="1196"/>
                        <a:pt x="1889" y="1196"/>
                        <a:pt x="1889" y="1196"/>
                      </a:cubicBezTo>
                      <a:cubicBezTo>
                        <a:pt x="1892" y="1198"/>
                        <a:pt x="1892" y="1198"/>
                        <a:pt x="1892" y="1198"/>
                      </a:cubicBezTo>
                      <a:lnTo>
                        <a:pt x="1895" y="1196"/>
                      </a:lnTo>
                      <a:close/>
                      <a:moveTo>
                        <a:pt x="1878" y="1201"/>
                      </a:moveTo>
                      <a:cubicBezTo>
                        <a:pt x="1879" y="1203"/>
                        <a:pt x="1879" y="1203"/>
                        <a:pt x="1879" y="1203"/>
                      </a:cubicBezTo>
                      <a:cubicBezTo>
                        <a:pt x="1881" y="1203"/>
                        <a:pt x="1881" y="1203"/>
                        <a:pt x="1881" y="1203"/>
                      </a:cubicBezTo>
                      <a:cubicBezTo>
                        <a:pt x="1881" y="1199"/>
                        <a:pt x="1881" y="1199"/>
                        <a:pt x="1881" y="1199"/>
                      </a:cubicBezTo>
                      <a:cubicBezTo>
                        <a:pt x="1880" y="1197"/>
                        <a:pt x="1880" y="1197"/>
                        <a:pt x="1880" y="1197"/>
                      </a:cubicBezTo>
                      <a:lnTo>
                        <a:pt x="1878" y="1201"/>
                      </a:lnTo>
                      <a:close/>
                      <a:moveTo>
                        <a:pt x="1870" y="1203"/>
                      </a:moveTo>
                      <a:cubicBezTo>
                        <a:pt x="1872" y="1204"/>
                        <a:pt x="1872" y="1204"/>
                        <a:pt x="1872" y="1204"/>
                      </a:cubicBezTo>
                      <a:cubicBezTo>
                        <a:pt x="1876" y="1204"/>
                        <a:pt x="1876" y="1204"/>
                        <a:pt x="1876" y="1204"/>
                      </a:cubicBezTo>
                      <a:cubicBezTo>
                        <a:pt x="1876" y="1203"/>
                        <a:pt x="1876" y="1203"/>
                        <a:pt x="1876" y="1203"/>
                      </a:cubicBezTo>
                      <a:cubicBezTo>
                        <a:pt x="1872" y="1202"/>
                        <a:pt x="1872" y="1202"/>
                        <a:pt x="1872" y="1202"/>
                      </a:cubicBezTo>
                      <a:lnTo>
                        <a:pt x="1870" y="1203"/>
                      </a:lnTo>
                      <a:close/>
                      <a:moveTo>
                        <a:pt x="1645" y="1558"/>
                      </a:moveTo>
                      <a:cubicBezTo>
                        <a:pt x="1636" y="1547"/>
                        <a:pt x="1636" y="1547"/>
                        <a:pt x="1636" y="1547"/>
                      </a:cubicBezTo>
                      <a:cubicBezTo>
                        <a:pt x="1630" y="1546"/>
                        <a:pt x="1630" y="1546"/>
                        <a:pt x="1630" y="1546"/>
                      </a:cubicBezTo>
                      <a:cubicBezTo>
                        <a:pt x="1626" y="1533"/>
                        <a:pt x="1626" y="1533"/>
                        <a:pt x="1626" y="1533"/>
                      </a:cubicBezTo>
                      <a:cubicBezTo>
                        <a:pt x="1618" y="1527"/>
                        <a:pt x="1618" y="1527"/>
                        <a:pt x="1618" y="1527"/>
                      </a:cubicBezTo>
                      <a:cubicBezTo>
                        <a:pt x="1618" y="1520"/>
                        <a:pt x="1618" y="1520"/>
                        <a:pt x="1618" y="1520"/>
                      </a:cubicBezTo>
                      <a:cubicBezTo>
                        <a:pt x="1617" y="1516"/>
                        <a:pt x="1617" y="1516"/>
                        <a:pt x="1617" y="1516"/>
                      </a:cubicBezTo>
                      <a:cubicBezTo>
                        <a:pt x="1607" y="1515"/>
                        <a:pt x="1607" y="1515"/>
                        <a:pt x="1607" y="1515"/>
                      </a:cubicBezTo>
                      <a:cubicBezTo>
                        <a:pt x="1598" y="1508"/>
                        <a:pt x="1598" y="1508"/>
                        <a:pt x="1598" y="1508"/>
                      </a:cubicBezTo>
                      <a:cubicBezTo>
                        <a:pt x="1595" y="1502"/>
                        <a:pt x="1595" y="1502"/>
                        <a:pt x="1595" y="1502"/>
                      </a:cubicBezTo>
                      <a:cubicBezTo>
                        <a:pt x="1583" y="1491"/>
                        <a:pt x="1583" y="1491"/>
                        <a:pt x="1583" y="1491"/>
                      </a:cubicBezTo>
                      <a:cubicBezTo>
                        <a:pt x="1579" y="1491"/>
                        <a:pt x="1579" y="1491"/>
                        <a:pt x="1579" y="1491"/>
                      </a:cubicBezTo>
                      <a:cubicBezTo>
                        <a:pt x="1569" y="1480"/>
                        <a:pt x="1569" y="1480"/>
                        <a:pt x="1569" y="1480"/>
                      </a:cubicBezTo>
                      <a:cubicBezTo>
                        <a:pt x="1561" y="1476"/>
                        <a:pt x="1561" y="1476"/>
                        <a:pt x="1561" y="1476"/>
                      </a:cubicBezTo>
                      <a:cubicBezTo>
                        <a:pt x="1553" y="1468"/>
                        <a:pt x="1553" y="1468"/>
                        <a:pt x="1553" y="1468"/>
                      </a:cubicBezTo>
                      <a:cubicBezTo>
                        <a:pt x="1550" y="1467"/>
                        <a:pt x="1550" y="1467"/>
                        <a:pt x="1550" y="1467"/>
                      </a:cubicBezTo>
                      <a:cubicBezTo>
                        <a:pt x="1547" y="1462"/>
                        <a:pt x="1547" y="1462"/>
                        <a:pt x="1547" y="1462"/>
                      </a:cubicBezTo>
                      <a:cubicBezTo>
                        <a:pt x="1542" y="1454"/>
                        <a:pt x="1542" y="1454"/>
                        <a:pt x="1542" y="1454"/>
                      </a:cubicBezTo>
                      <a:cubicBezTo>
                        <a:pt x="1538" y="1453"/>
                        <a:pt x="1538" y="1453"/>
                        <a:pt x="1538" y="1453"/>
                      </a:cubicBezTo>
                      <a:cubicBezTo>
                        <a:pt x="1521" y="1452"/>
                        <a:pt x="1521" y="1452"/>
                        <a:pt x="1521" y="1452"/>
                      </a:cubicBezTo>
                      <a:cubicBezTo>
                        <a:pt x="1512" y="1449"/>
                        <a:pt x="1512" y="1449"/>
                        <a:pt x="1512" y="1449"/>
                      </a:cubicBezTo>
                      <a:cubicBezTo>
                        <a:pt x="1511" y="1455"/>
                        <a:pt x="1511" y="1455"/>
                        <a:pt x="1511" y="1455"/>
                      </a:cubicBezTo>
                      <a:cubicBezTo>
                        <a:pt x="1525" y="1472"/>
                        <a:pt x="1525" y="1472"/>
                        <a:pt x="1525" y="1472"/>
                      </a:cubicBezTo>
                      <a:cubicBezTo>
                        <a:pt x="1531" y="1473"/>
                        <a:pt x="1531" y="1473"/>
                        <a:pt x="1531" y="1473"/>
                      </a:cubicBezTo>
                      <a:cubicBezTo>
                        <a:pt x="1538" y="1479"/>
                        <a:pt x="1538" y="1479"/>
                        <a:pt x="1538" y="1479"/>
                      </a:cubicBezTo>
                      <a:cubicBezTo>
                        <a:pt x="1540" y="1486"/>
                        <a:pt x="1540" y="1486"/>
                        <a:pt x="1540" y="1486"/>
                      </a:cubicBezTo>
                      <a:cubicBezTo>
                        <a:pt x="1549" y="1490"/>
                        <a:pt x="1549" y="1490"/>
                        <a:pt x="1549" y="1490"/>
                      </a:cubicBezTo>
                      <a:cubicBezTo>
                        <a:pt x="1555" y="1498"/>
                        <a:pt x="1555" y="1498"/>
                        <a:pt x="1555" y="1498"/>
                      </a:cubicBezTo>
                      <a:cubicBezTo>
                        <a:pt x="1559" y="1516"/>
                        <a:pt x="1559" y="1516"/>
                        <a:pt x="1559" y="1516"/>
                      </a:cubicBezTo>
                      <a:cubicBezTo>
                        <a:pt x="1565" y="1517"/>
                        <a:pt x="1565" y="1517"/>
                        <a:pt x="1565" y="1517"/>
                      </a:cubicBezTo>
                      <a:cubicBezTo>
                        <a:pt x="1580" y="1533"/>
                        <a:pt x="1580" y="1533"/>
                        <a:pt x="1580" y="1533"/>
                      </a:cubicBezTo>
                      <a:cubicBezTo>
                        <a:pt x="1582" y="1542"/>
                        <a:pt x="1582" y="1542"/>
                        <a:pt x="1582" y="1542"/>
                      </a:cubicBezTo>
                      <a:cubicBezTo>
                        <a:pt x="1595" y="1561"/>
                        <a:pt x="1595" y="1561"/>
                        <a:pt x="1595" y="1561"/>
                      </a:cubicBezTo>
                      <a:cubicBezTo>
                        <a:pt x="1617" y="1579"/>
                        <a:pt x="1617" y="1579"/>
                        <a:pt x="1617" y="1579"/>
                      </a:cubicBezTo>
                      <a:cubicBezTo>
                        <a:pt x="1628" y="1582"/>
                        <a:pt x="1628" y="1582"/>
                        <a:pt x="1628" y="1582"/>
                      </a:cubicBezTo>
                      <a:cubicBezTo>
                        <a:pt x="1640" y="1589"/>
                        <a:pt x="1640" y="1589"/>
                        <a:pt x="1640" y="1589"/>
                      </a:cubicBezTo>
                      <a:cubicBezTo>
                        <a:pt x="1645" y="1588"/>
                        <a:pt x="1645" y="1588"/>
                        <a:pt x="1645" y="1588"/>
                      </a:cubicBezTo>
                      <a:lnTo>
                        <a:pt x="1645" y="1558"/>
                      </a:lnTo>
                      <a:close/>
                      <a:moveTo>
                        <a:pt x="1658" y="1552"/>
                      </a:moveTo>
                      <a:cubicBezTo>
                        <a:pt x="1647" y="1536"/>
                        <a:pt x="1647" y="1536"/>
                        <a:pt x="1647" y="1536"/>
                      </a:cubicBezTo>
                      <a:cubicBezTo>
                        <a:pt x="1639" y="1537"/>
                        <a:pt x="1639" y="1537"/>
                        <a:pt x="1639" y="1537"/>
                      </a:cubicBezTo>
                      <a:cubicBezTo>
                        <a:pt x="1639" y="1541"/>
                        <a:pt x="1639" y="1541"/>
                        <a:pt x="1639" y="1541"/>
                      </a:cubicBezTo>
                      <a:cubicBezTo>
                        <a:pt x="1642" y="1542"/>
                        <a:pt x="1642" y="1542"/>
                        <a:pt x="1642" y="1542"/>
                      </a:cubicBezTo>
                      <a:cubicBezTo>
                        <a:pt x="1652" y="1555"/>
                        <a:pt x="1652" y="1555"/>
                        <a:pt x="1652" y="1555"/>
                      </a:cubicBezTo>
                      <a:lnTo>
                        <a:pt x="1658" y="1552"/>
                      </a:lnTo>
                      <a:close/>
                      <a:moveTo>
                        <a:pt x="1678" y="1553"/>
                      </a:moveTo>
                      <a:cubicBezTo>
                        <a:pt x="1675" y="1549"/>
                        <a:pt x="1675" y="1549"/>
                        <a:pt x="1675" y="1549"/>
                      </a:cubicBezTo>
                      <a:cubicBezTo>
                        <a:pt x="1671" y="1548"/>
                        <a:pt x="1671" y="1548"/>
                        <a:pt x="1671" y="1548"/>
                      </a:cubicBezTo>
                      <a:cubicBezTo>
                        <a:pt x="1667" y="1553"/>
                        <a:pt x="1667" y="1553"/>
                        <a:pt x="1667" y="1553"/>
                      </a:cubicBezTo>
                      <a:cubicBezTo>
                        <a:pt x="1670" y="1558"/>
                        <a:pt x="1670" y="1558"/>
                        <a:pt x="1670" y="1558"/>
                      </a:cubicBezTo>
                      <a:cubicBezTo>
                        <a:pt x="1677" y="1556"/>
                        <a:pt x="1677" y="1556"/>
                        <a:pt x="1677" y="1556"/>
                      </a:cubicBezTo>
                      <a:lnTo>
                        <a:pt x="1678" y="1553"/>
                      </a:lnTo>
                      <a:close/>
                      <a:moveTo>
                        <a:pt x="1753" y="1625"/>
                      </a:moveTo>
                      <a:cubicBezTo>
                        <a:pt x="1752" y="1618"/>
                        <a:pt x="1752" y="1618"/>
                        <a:pt x="1752" y="1618"/>
                      </a:cubicBezTo>
                      <a:cubicBezTo>
                        <a:pt x="1750" y="1614"/>
                        <a:pt x="1750" y="1614"/>
                        <a:pt x="1750" y="1614"/>
                      </a:cubicBezTo>
                      <a:cubicBezTo>
                        <a:pt x="1744" y="1615"/>
                        <a:pt x="1744" y="1615"/>
                        <a:pt x="1744" y="1615"/>
                      </a:cubicBezTo>
                      <a:cubicBezTo>
                        <a:pt x="1730" y="1612"/>
                        <a:pt x="1730" y="1612"/>
                        <a:pt x="1730" y="1612"/>
                      </a:cubicBezTo>
                      <a:cubicBezTo>
                        <a:pt x="1729" y="1604"/>
                        <a:pt x="1729" y="1604"/>
                        <a:pt x="1729" y="1604"/>
                      </a:cubicBezTo>
                      <a:cubicBezTo>
                        <a:pt x="1708" y="1598"/>
                        <a:pt x="1708" y="1598"/>
                        <a:pt x="1708" y="1598"/>
                      </a:cubicBezTo>
                      <a:cubicBezTo>
                        <a:pt x="1706" y="1601"/>
                        <a:pt x="1706" y="1601"/>
                        <a:pt x="1706" y="1601"/>
                      </a:cubicBezTo>
                      <a:cubicBezTo>
                        <a:pt x="1704" y="1605"/>
                        <a:pt x="1704" y="1605"/>
                        <a:pt x="1704" y="1605"/>
                      </a:cubicBezTo>
                      <a:cubicBezTo>
                        <a:pt x="1681" y="1601"/>
                        <a:pt x="1681" y="1601"/>
                        <a:pt x="1681" y="1601"/>
                      </a:cubicBezTo>
                      <a:cubicBezTo>
                        <a:pt x="1678" y="1595"/>
                        <a:pt x="1678" y="1595"/>
                        <a:pt x="1678" y="1595"/>
                      </a:cubicBezTo>
                      <a:cubicBezTo>
                        <a:pt x="1666" y="1595"/>
                        <a:pt x="1666" y="1595"/>
                        <a:pt x="1666" y="1595"/>
                      </a:cubicBezTo>
                      <a:cubicBezTo>
                        <a:pt x="1663" y="1597"/>
                        <a:pt x="1663" y="1597"/>
                        <a:pt x="1663" y="1597"/>
                      </a:cubicBezTo>
                      <a:cubicBezTo>
                        <a:pt x="1652" y="1591"/>
                        <a:pt x="1652" y="1591"/>
                        <a:pt x="1652" y="1591"/>
                      </a:cubicBezTo>
                      <a:cubicBezTo>
                        <a:pt x="1645" y="1601"/>
                        <a:pt x="1645" y="1601"/>
                        <a:pt x="1645" y="1601"/>
                      </a:cubicBezTo>
                      <a:cubicBezTo>
                        <a:pt x="1652" y="1610"/>
                        <a:pt x="1652" y="1610"/>
                        <a:pt x="1652" y="1610"/>
                      </a:cubicBezTo>
                      <a:cubicBezTo>
                        <a:pt x="1673" y="1612"/>
                        <a:pt x="1673" y="1612"/>
                        <a:pt x="1673" y="1612"/>
                      </a:cubicBezTo>
                      <a:cubicBezTo>
                        <a:pt x="1677" y="1614"/>
                        <a:pt x="1677" y="1614"/>
                        <a:pt x="1677" y="1614"/>
                      </a:cubicBezTo>
                      <a:cubicBezTo>
                        <a:pt x="1694" y="1614"/>
                        <a:pt x="1694" y="1614"/>
                        <a:pt x="1694" y="1614"/>
                      </a:cubicBezTo>
                      <a:cubicBezTo>
                        <a:pt x="1707" y="1620"/>
                        <a:pt x="1707" y="1620"/>
                        <a:pt x="1707" y="1620"/>
                      </a:cubicBezTo>
                      <a:cubicBezTo>
                        <a:pt x="1730" y="1620"/>
                        <a:pt x="1730" y="1620"/>
                        <a:pt x="1730" y="1620"/>
                      </a:cubicBezTo>
                      <a:cubicBezTo>
                        <a:pt x="1744" y="1625"/>
                        <a:pt x="1744" y="1625"/>
                        <a:pt x="1744" y="1625"/>
                      </a:cubicBezTo>
                      <a:lnTo>
                        <a:pt x="1753" y="1625"/>
                      </a:lnTo>
                      <a:close/>
                      <a:moveTo>
                        <a:pt x="1735" y="1609"/>
                      </a:moveTo>
                      <a:cubicBezTo>
                        <a:pt x="1752" y="1607"/>
                        <a:pt x="1752" y="1607"/>
                        <a:pt x="1752" y="1607"/>
                      </a:cubicBezTo>
                      <a:cubicBezTo>
                        <a:pt x="1754" y="1604"/>
                        <a:pt x="1754" y="1604"/>
                        <a:pt x="1754" y="1604"/>
                      </a:cubicBezTo>
                      <a:cubicBezTo>
                        <a:pt x="1735" y="1606"/>
                        <a:pt x="1735" y="1606"/>
                        <a:pt x="1735" y="1606"/>
                      </a:cubicBezTo>
                      <a:lnTo>
                        <a:pt x="1735" y="1609"/>
                      </a:lnTo>
                      <a:close/>
                      <a:moveTo>
                        <a:pt x="1758" y="1624"/>
                      </a:moveTo>
                      <a:cubicBezTo>
                        <a:pt x="1763" y="1627"/>
                        <a:pt x="1763" y="1627"/>
                        <a:pt x="1763" y="1627"/>
                      </a:cubicBezTo>
                      <a:cubicBezTo>
                        <a:pt x="1769" y="1625"/>
                        <a:pt x="1769" y="1625"/>
                        <a:pt x="1769" y="1625"/>
                      </a:cubicBezTo>
                      <a:cubicBezTo>
                        <a:pt x="1767" y="1619"/>
                        <a:pt x="1767" y="1619"/>
                        <a:pt x="1767" y="1619"/>
                      </a:cubicBezTo>
                      <a:cubicBezTo>
                        <a:pt x="1757" y="1618"/>
                        <a:pt x="1757" y="1618"/>
                        <a:pt x="1757" y="1618"/>
                      </a:cubicBezTo>
                      <a:lnTo>
                        <a:pt x="1758" y="1624"/>
                      </a:lnTo>
                      <a:close/>
                      <a:moveTo>
                        <a:pt x="1779" y="1556"/>
                      </a:moveTo>
                      <a:cubicBezTo>
                        <a:pt x="1776" y="1559"/>
                        <a:pt x="1776" y="1559"/>
                        <a:pt x="1776" y="1559"/>
                      </a:cubicBezTo>
                      <a:cubicBezTo>
                        <a:pt x="1775" y="1564"/>
                        <a:pt x="1775" y="1564"/>
                        <a:pt x="1775" y="1564"/>
                      </a:cubicBezTo>
                      <a:cubicBezTo>
                        <a:pt x="1778" y="1564"/>
                        <a:pt x="1778" y="1564"/>
                        <a:pt x="1778" y="1564"/>
                      </a:cubicBezTo>
                      <a:lnTo>
                        <a:pt x="1779" y="1556"/>
                      </a:lnTo>
                      <a:close/>
                      <a:moveTo>
                        <a:pt x="1776" y="1628"/>
                      </a:moveTo>
                      <a:cubicBezTo>
                        <a:pt x="1790" y="1631"/>
                        <a:pt x="1790" y="1631"/>
                        <a:pt x="1790" y="1631"/>
                      </a:cubicBezTo>
                      <a:cubicBezTo>
                        <a:pt x="1812" y="1628"/>
                        <a:pt x="1812" y="1628"/>
                        <a:pt x="1812" y="1628"/>
                      </a:cubicBezTo>
                      <a:cubicBezTo>
                        <a:pt x="1817" y="1624"/>
                        <a:pt x="1817" y="1624"/>
                        <a:pt x="1817" y="1624"/>
                      </a:cubicBezTo>
                      <a:cubicBezTo>
                        <a:pt x="1814" y="1621"/>
                        <a:pt x="1814" y="1621"/>
                        <a:pt x="1814" y="1621"/>
                      </a:cubicBezTo>
                      <a:cubicBezTo>
                        <a:pt x="1799" y="1622"/>
                        <a:pt x="1799" y="1622"/>
                        <a:pt x="1799" y="1622"/>
                      </a:cubicBezTo>
                      <a:cubicBezTo>
                        <a:pt x="1797" y="1624"/>
                        <a:pt x="1797" y="1624"/>
                        <a:pt x="1797" y="1624"/>
                      </a:cubicBezTo>
                      <a:cubicBezTo>
                        <a:pt x="1793" y="1622"/>
                        <a:pt x="1793" y="1622"/>
                        <a:pt x="1793" y="1622"/>
                      </a:cubicBezTo>
                      <a:cubicBezTo>
                        <a:pt x="1784" y="1624"/>
                        <a:pt x="1784" y="1624"/>
                        <a:pt x="1784" y="1624"/>
                      </a:cubicBezTo>
                      <a:cubicBezTo>
                        <a:pt x="1778" y="1621"/>
                        <a:pt x="1778" y="1621"/>
                        <a:pt x="1778" y="1621"/>
                      </a:cubicBezTo>
                      <a:cubicBezTo>
                        <a:pt x="1775" y="1625"/>
                        <a:pt x="1775" y="1625"/>
                        <a:pt x="1775" y="1625"/>
                      </a:cubicBezTo>
                      <a:lnTo>
                        <a:pt x="1776" y="1628"/>
                      </a:lnTo>
                      <a:close/>
                      <a:moveTo>
                        <a:pt x="1853" y="1626"/>
                      </a:moveTo>
                      <a:cubicBezTo>
                        <a:pt x="1851" y="1622"/>
                        <a:pt x="1851" y="1622"/>
                        <a:pt x="1851" y="1622"/>
                      </a:cubicBezTo>
                      <a:cubicBezTo>
                        <a:pt x="1833" y="1622"/>
                        <a:pt x="1833" y="1622"/>
                        <a:pt x="1833" y="1622"/>
                      </a:cubicBezTo>
                      <a:cubicBezTo>
                        <a:pt x="1821" y="1626"/>
                        <a:pt x="1821" y="1626"/>
                        <a:pt x="1821" y="1626"/>
                      </a:cubicBezTo>
                      <a:cubicBezTo>
                        <a:pt x="1824" y="1629"/>
                        <a:pt x="1824" y="1629"/>
                        <a:pt x="1824" y="1629"/>
                      </a:cubicBezTo>
                      <a:cubicBezTo>
                        <a:pt x="1850" y="1628"/>
                        <a:pt x="1850" y="1628"/>
                        <a:pt x="1850" y="1628"/>
                      </a:cubicBezTo>
                      <a:lnTo>
                        <a:pt x="1853" y="1626"/>
                      </a:lnTo>
                      <a:close/>
                      <a:moveTo>
                        <a:pt x="1833" y="1646"/>
                      </a:moveTo>
                      <a:cubicBezTo>
                        <a:pt x="1836" y="1645"/>
                        <a:pt x="1836" y="1645"/>
                        <a:pt x="1836" y="1645"/>
                      </a:cubicBezTo>
                      <a:cubicBezTo>
                        <a:pt x="1827" y="1636"/>
                        <a:pt x="1827" y="1636"/>
                        <a:pt x="1827" y="1636"/>
                      </a:cubicBezTo>
                      <a:cubicBezTo>
                        <a:pt x="1815" y="1634"/>
                        <a:pt x="1815" y="1634"/>
                        <a:pt x="1815" y="1634"/>
                      </a:cubicBezTo>
                      <a:cubicBezTo>
                        <a:pt x="1812" y="1636"/>
                        <a:pt x="1812" y="1636"/>
                        <a:pt x="1812" y="1636"/>
                      </a:cubicBezTo>
                      <a:cubicBezTo>
                        <a:pt x="1821" y="1643"/>
                        <a:pt x="1821" y="1643"/>
                        <a:pt x="1821" y="1643"/>
                      </a:cubicBezTo>
                      <a:lnTo>
                        <a:pt x="1833" y="1646"/>
                      </a:lnTo>
                      <a:close/>
                      <a:moveTo>
                        <a:pt x="1889" y="1641"/>
                      </a:moveTo>
                      <a:cubicBezTo>
                        <a:pt x="1893" y="1634"/>
                        <a:pt x="1893" y="1634"/>
                        <a:pt x="1893" y="1634"/>
                      </a:cubicBezTo>
                      <a:cubicBezTo>
                        <a:pt x="1901" y="1633"/>
                        <a:pt x="1901" y="1633"/>
                        <a:pt x="1901" y="1633"/>
                      </a:cubicBezTo>
                      <a:cubicBezTo>
                        <a:pt x="1913" y="1629"/>
                        <a:pt x="1913" y="1629"/>
                        <a:pt x="1913" y="1629"/>
                      </a:cubicBezTo>
                      <a:cubicBezTo>
                        <a:pt x="1916" y="1625"/>
                        <a:pt x="1916" y="1625"/>
                        <a:pt x="1916" y="1625"/>
                      </a:cubicBezTo>
                      <a:cubicBezTo>
                        <a:pt x="1914" y="1622"/>
                        <a:pt x="1914" y="1622"/>
                        <a:pt x="1914" y="1622"/>
                      </a:cubicBezTo>
                      <a:cubicBezTo>
                        <a:pt x="1892" y="1625"/>
                        <a:pt x="1892" y="1625"/>
                        <a:pt x="1892" y="1625"/>
                      </a:cubicBezTo>
                      <a:cubicBezTo>
                        <a:pt x="1881" y="1633"/>
                        <a:pt x="1881" y="1633"/>
                        <a:pt x="1881" y="1633"/>
                      </a:cubicBezTo>
                      <a:cubicBezTo>
                        <a:pt x="1877" y="1635"/>
                        <a:pt x="1877" y="1635"/>
                        <a:pt x="1877" y="1635"/>
                      </a:cubicBezTo>
                      <a:cubicBezTo>
                        <a:pt x="1871" y="1641"/>
                        <a:pt x="1871" y="1641"/>
                        <a:pt x="1871" y="1641"/>
                      </a:cubicBezTo>
                      <a:cubicBezTo>
                        <a:pt x="1871" y="1645"/>
                        <a:pt x="1871" y="1645"/>
                        <a:pt x="1871" y="1645"/>
                      </a:cubicBezTo>
                      <a:cubicBezTo>
                        <a:pt x="1878" y="1646"/>
                        <a:pt x="1878" y="1646"/>
                        <a:pt x="1878" y="1646"/>
                      </a:cubicBezTo>
                      <a:lnTo>
                        <a:pt x="1889" y="1641"/>
                      </a:lnTo>
                      <a:close/>
                      <a:moveTo>
                        <a:pt x="1877" y="1625"/>
                      </a:moveTo>
                      <a:cubicBezTo>
                        <a:pt x="1883" y="1625"/>
                        <a:pt x="1883" y="1625"/>
                        <a:pt x="1883" y="1625"/>
                      </a:cubicBezTo>
                      <a:cubicBezTo>
                        <a:pt x="1890" y="1622"/>
                        <a:pt x="1890" y="1622"/>
                        <a:pt x="1890" y="1622"/>
                      </a:cubicBezTo>
                      <a:cubicBezTo>
                        <a:pt x="1890" y="1619"/>
                        <a:pt x="1890" y="1619"/>
                        <a:pt x="1890" y="1619"/>
                      </a:cubicBezTo>
                      <a:cubicBezTo>
                        <a:pt x="1883" y="1620"/>
                        <a:pt x="1883" y="1620"/>
                        <a:pt x="1883" y="1620"/>
                      </a:cubicBezTo>
                      <a:cubicBezTo>
                        <a:pt x="1877" y="1622"/>
                        <a:pt x="1877" y="1622"/>
                        <a:pt x="1877" y="1622"/>
                      </a:cubicBezTo>
                      <a:lnTo>
                        <a:pt x="1877" y="1625"/>
                      </a:lnTo>
                      <a:close/>
                      <a:moveTo>
                        <a:pt x="1874" y="1621"/>
                      </a:moveTo>
                      <a:cubicBezTo>
                        <a:pt x="1874" y="1619"/>
                        <a:pt x="1874" y="1619"/>
                        <a:pt x="1874" y="1619"/>
                      </a:cubicBezTo>
                      <a:cubicBezTo>
                        <a:pt x="1868" y="1620"/>
                        <a:pt x="1868" y="1620"/>
                        <a:pt x="1868" y="1620"/>
                      </a:cubicBezTo>
                      <a:cubicBezTo>
                        <a:pt x="1865" y="1624"/>
                        <a:pt x="1865" y="1624"/>
                        <a:pt x="1865" y="1624"/>
                      </a:cubicBezTo>
                      <a:cubicBezTo>
                        <a:pt x="1867" y="1625"/>
                        <a:pt x="1867" y="1625"/>
                        <a:pt x="1867" y="1625"/>
                      </a:cubicBezTo>
                      <a:lnTo>
                        <a:pt x="1874" y="1621"/>
                      </a:lnTo>
                      <a:close/>
                      <a:moveTo>
                        <a:pt x="1865" y="1620"/>
                      </a:moveTo>
                      <a:cubicBezTo>
                        <a:pt x="1862" y="1618"/>
                        <a:pt x="1862" y="1618"/>
                        <a:pt x="1862" y="1618"/>
                      </a:cubicBezTo>
                      <a:cubicBezTo>
                        <a:pt x="1855" y="1624"/>
                        <a:pt x="1855" y="1624"/>
                        <a:pt x="1855" y="1624"/>
                      </a:cubicBezTo>
                      <a:cubicBezTo>
                        <a:pt x="1859" y="1625"/>
                        <a:pt x="1859" y="1625"/>
                        <a:pt x="1859" y="1625"/>
                      </a:cubicBezTo>
                      <a:lnTo>
                        <a:pt x="1865" y="1620"/>
                      </a:lnTo>
                      <a:close/>
                      <a:moveTo>
                        <a:pt x="1901" y="1618"/>
                      </a:moveTo>
                      <a:cubicBezTo>
                        <a:pt x="1908" y="1616"/>
                        <a:pt x="1908" y="1616"/>
                        <a:pt x="1908" y="1616"/>
                      </a:cubicBezTo>
                      <a:cubicBezTo>
                        <a:pt x="1911" y="1613"/>
                        <a:pt x="1911" y="1613"/>
                        <a:pt x="1911" y="1613"/>
                      </a:cubicBezTo>
                      <a:cubicBezTo>
                        <a:pt x="1910" y="1611"/>
                        <a:pt x="1910" y="1611"/>
                        <a:pt x="1910" y="1611"/>
                      </a:cubicBezTo>
                      <a:cubicBezTo>
                        <a:pt x="1900" y="1615"/>
                        <a:pt x="1900" y="1615"/>
                        <a:pt x="1900" y="1615"/>
                      </a:cubicBezTo>
                      <a:lnTo>
                        <a:pt x="1901" y="1618"/>
                      </a:lnTo>
                      <a:close/>
                      <a:moveTo>
                        <a:pt x="1813" y="1549"/>
                      </a:moveTo>
                      <a:cubicBezTo>
                        <a:pt x="1811" y="1560"/>
                        <a:pt x="1811" y="1560"/>
                        <a:pt x="1811" y="1560"/>
                      </a:cubicBezTo>
                      <a:cubicBezTo>
                        <a:pt x="1818" y="1561"/>
                        <a:pt x="1818" y="1561"/>
                        <a:pt x="1818" y="1561"/>
                      </a:cubicBezTo>
                      <a:cubicBezTo>
                        <a:pt x="1821" y="1565"/>
                        <a:pt x="1821" y="1565"/>
                        <a:pt x="1821" y="1565"/>
                      </a:cubicBezTo>
                      <a:cubicBezTo>
                        <a:pt x="1823" y="1576"/>
                        <a:pt x="1823" y="1576"/>
                        <a:pt x="1823" y="1576"/>
                      </a:cubicBezTo>
                      <a:cubicBezTo>
                        <a:pt x="1818" y="1585"/>
                        <a:pt x="1818" y="1585"/>
                        <a:pt x="1818" y="1585"/>
                      </a:cubicBezTo>
                      <a:cubicBezTo>
                        <a:pt x="1818" y="1588"/>
                        <a:pt x="1818" y="1588"/>
                        <a:pt x="1818" y="1588"/>
                      </a:cubicBezTo>
                      <a:cubicBezTo>
                        <a:pt x="1824" y="1588"/>
                        <a:pt x="1824" y="1588"/>
                        <a:pt x="1824" y="1588"/>
                      </a:cubicBezTo>
                      <a:cubicBezTo>
                        <a:pt x="1828" y="1577"/>
                        <a:pt x="1828" y="1577"/>
                        <a:pt x="1828" y="1577"/>
                      </a:cubicBezTo>
                      <a:cubicBezTo>
                        <a:pt x="1829" y="1558"/>
                        <a:pt x="1829" y="1558"/>
                        <a:pt x="1829" y="1558"/>
                      </a:cubicBezTo>
                      <a:cubicBezTo>
                        <a:pt x="1826" y="1554"/>
                        <a:pt x="1826" y="1554"/>
                        <a:pt x="1826" y="1554"/>
                      </a:cubicBezTo>
                      <a:cubicBezTo>
                        <a:pt x="1829" y="1552"/>
                        <a:pt x="1829" y="1552"/>
                        <a:pt x="1829" y="1552"/>
                      </a:cubicBezTo>
                      <a:cubicBezTo>
                        <a:pt x="1833" y="1552"/>
                        <a:pt x="1833" y="1552"/>
                        <a:pt x="1833" y="1552"/>
                      </a:cubicBezTo>
                      <a:cubicBezTo>
                        <a:pt x="1834" y="1548"/>
                        <a:pt x="1834" y="1548"/>
                        <a:pt x="1834" y="1548"/>
                      </a:cubicBezTo>
                      <a:cubicBezTo>
                        <a:pt x="1839" y="1551"/>
                        <a:pt x="1839" y="1551"/>
                        <a:pt x="1839" y="1551"/>
                      </a:cubicBezTo>
                      <a:cubicBezTo>
                        <a:pt x="1839" y="1563"/>
                        <a:pt x="1839" y="1563"/>
                        <a:pt x="1839" y="1563"/>
                      </a:cubicBezTo>
                      <a:cubicBezTo>
                        <a:pt x="1845" y="1570"/>
                        <a:pt x="1845" y="1570"/>
                        <a:pt x="1845" y="1570"/>
                      </a:cubicBezTo>
                      <a:cubicBezTo>
                        <a:pt x="1844" y="1579"/>
                        <a:pt x="1844" y="1579"/>
                        <a:pt x="1844" y="1579"/>
                      </a:cubicBezTo>
                      <a:cubicBezTo>
                        <a:pt x="1850" y="1580"/>
                        <a:pt x="1850" y="1580"/>
                        <a:pt x="1850" y="1580"/>
                      </a:cubicBezTo>
                      <a:cubicBezTo>
                        <a:pt x="1853" y="1571"/>
                        <a:pt x="1853" y="1571"/>
                        <a:pt x="1853" y="1571"/>
                      </a:cubicBezTo>
                      <a:cubicBezTo>
                        <a:pt x="1857" y="1570"/>
                        <a:pt x="1857" y="1570"/>
                        <a:pt x="1857" y="1570"/>
                      </a:cubicBezTo>
                      <a:cubicBezTo>
                        <a:pt x="1857" y="1567"/>
                        <a:pt x="1857" y="1567"/>
                        <a:pt x="1857" y="1567"/>
                      </a:cubicBezTo>
                      <a:cubicBezTo>
                        <a:pt x="1853" y="1559"/>
                        <a:pt x="1853" y="1559"/>
                        <a:pt x="1853" y="1559"/>
                      </a:cubicBezTo>
                      <a:cubicBezTo>
                        <a:pt x="1853" y="1548"/>
                        <a:pt x="1853" y="1548"/>
                        <a:pt x="1853" y="1548"/>
                      </a:cubicBezTo>
                      <a:cubicBezTo>
                        <a:pt x="1843" y="1545"/>
                        <a:pt x="1843" y="1545"/>
                        <a:pt x="1843" y="1545"/>
                      </a:cubicBezTo>
                      <a:cubicBezTo>
                        <a:pt x="1841" y="1540"/>
                        <a:pt x="1841" y="1540"/>
                        <a:pt x="1841" y="1540"/>
                      </a:cubicBezTo>
                      <a:cubicBezTo>
                        <a:pt x="1844" y="1539"/>
                        <a:pt x="1844" y="1539"/>
                        <a:pt x="1844" y="1539"/>
                      </a:cubicBezTo>
                      <a:cubicBezTo>
                        <a:pt x="1851" y="1540"/>
                        <a:pt x="1851" y="1540"/>
                        <a:pt x="1851" y="1540"/>
                      </a:cubicBezTo>
                      <a:cubicBezTo>
                        <a:pt x="1860" y="1531"/>
                        <a:pt x="1860" y="1531"/>
                        <a:pt x="1860" y="1531"/>
                      </a:cubicBezTo>
                      <a:cubicBezTo>
                        <a:pt x="1868" y="1530"/>
                        <a:pt x="1868" y="1530"/>
                        <a:pt x="1868" y="1530"/>
                      </a:cubicBezTo>
                      <a:cubicBezTo>
                        <a:pt x="1871" y="1527"/>
                        <a:pt x="1871" y="1527"/>
                        <a:pt x="1871" y="1527"/>
                      </a:cubicBezTo>
                      <a:cubicBezTo>
                        <a:pt x="1865" y="1524"/>
                        <a:pt x="1865" y="1524"/>
                        <a:pt x="1865" y="1524"/>
                      </a:cubicBezTo>
                      <a:cubicBezTo>
                        <a:pt x="1853" y="1525"/>
                        <a:pt x="1853" y="1525"/>
                        <a:pt x="1853" y="1525"/>
                      </a:cubicBezTo>
                      <a:cubicBezTo>
                        <a:pt x="1842" y="1529"/>
                        <a:pt x="1842" y="1529"/>
                        <a:pt x="1842" y="1529"/>
                      </a:cubicBezTo>
                      <a:cubicBezTo>
                        <a:pt x="1837" y="1535"/>
                        <a:pt x="1837" y="1535"/>
                        <a:pt x="1837" y="1535"/>
                      </a:cubicBezTo>
                      <a:cubicBezTo>
                        <a:pt x="1826" y="1525"/>
                        <a:pt x="1826" y="1525"/>
                        <a:pt x="1826" y="1525"/>
                      </a:cubicBezTo>
                      <a:cubicBezTo>
                        <a:pt x="1827" y="1518"/>
                        <a:pt x="1827" y="1518"/>
                        <a:pt x="1827" y="1518"/>
                      </a:cubicBezTo>
                      <a:cubicBezTo>
                        <a:pt x="1832" y="1512"/>
                        <a:pt x="1832" y="1512"/>
                        <a:pt x="1832" y="1512"/>
                      </a:cubicBezTo>
                      <a:cubicBezTo>
                        <a:pt x="1865" y="1512"/>
                        <a:pt x="1865" y="1512"/>
                        <a:pt x="1865" y="1512"/>
                      </a:cubicBezTo>
                      <a:cubicBezTo>
                        <a:pt x="1872" y="1515"/>
                        <a:pt x="1872" y="1515"/>
                        <a:pt x="1872" y="1515"/>
                      </a:cubicBezTo>
                      <a:cubicBezTo>
                        <a:pt x="1884" y="1510"/>
                        <a:pt x="1884" y="1510"/>
                        <a:pt x="1884" y="1510"/>
                      </a:cubicBezTo>
                      <a:cubicBezTo>
                        <a:pt x="1889" y="1496"/>
                        <a:pt x="1889" y="1496"/>
                        <a:pt x="1889" y="1496"/>
                      </a:cubicBezTo>
                      <a:cubicBezTo>
                        <a:pt x="1883" y="1496"/>
                        <a:pt x="1883" y="1496"/>
                        <a:pt x="1883" y="1496"/>
                      </a:cubicBezTo>
                      <a:cubicBezTo>
                        <a:pt x="1880" y="1503"/>
                        <a:pt x="1880" y="1503"/>
                        <a:pt x="1880" y="1503"/>
                      </a:cubicBezTo>
                      <a:cubicBezTo>
                        <a:pt x="1871" y="1506"/>
                        <a:pt x="1871" y="1506"/>
                        <a:pt x="1871" y="1506"/>
                      </a:cubicBezTo>
                      <a:cubicBezTo>
                        <a:pt x="1855" y="1506"/>
                        <a:pt x="1855" y="1506"/>
                        <a:pt x="1855" y="1506"/>
                      </a:cubicBezTo>
                      <a:cubicBezTo>
                        <a:pt x="1841" y="1500"/>
                        <a:pt x="1841" y="1500"/>
                        <a:pt x="1841" y="1500"/>
                      </a:cubicBezTo>
                      <a:cubicBezTo>
                        <a:pt x="1838" y="1500"/>
                        <a:pt x="1838" y="1500"/>
                        <a:pt x="1838" y="1500"/>
                      </a:cubicBezTo>
                      <a:cubicBezTo>
                        <a:pt x="1833" y="1507"/>
                        <a:pt x="1833" y="1507"/>
                        <a:pt x="1833" y="1507"/>
                      </a:cubicBezTo>
                      <a:cubicBezTo>
                        <a:pt x="1830" y="1506"/>
                        <a:pt x="1830" y="1506"/>
                        <a:pt x="1830" y="1506"/>
                      </a:cubicBezTo>
                      <a:cubicBezTo>
                        <a:pt x="1826" y="1508"/>
                        <a:pt x="1826" y="1508"/>
                        <a:pt x="1826" y="1508"/>
                      </a:cubicBezTo>
                      <a:cubicBezTo>
                        <a:pt x="1823" y="1519"/>
                        <a:pt x="1823" y="1519"/>
                        <a:pt x="1823" y="1519"/>
                      </a:cubicBezTo>
                      <a:cubicBezTo>
                        <a:pt x="1819" y="1525"/>
                        <a:pt x="1819" y="1525"/>
                        <a:pt x="1819" y="1525"/>
                      </a:cubicBezTo>
                      <a:cubicBezTo>
                        <a:pt x="1817" y="1532"/>
                        <a:pt x="1817" y="1532"/>
                        <a:pt x="1817" y="1532"/>
                      </a:cubicBezTo>
                      <a:cubicBezTo>
                        <a:pt x="1818" y="1542"/>
                        <a:pt x="1818" y="1542"/>
                        <a:pt x="1818" y="1542"/>
                      </a:cubicBezTo>
                      <a:cubicBezTo>
                        <a:pt x="1815" y="1549"/>
                        <a:pt x="1815" y="1549"/>
                        <a:pt x="1815" y="1549"/>
                      </a:cubicBezTo>
                      <a:lnTo>
                        <a:pt x="1813" y="1549"/>
                      </a:lnTo>
                      <a:close/>
                      <a:moveTo>
                        <a:pt x="1824" y="1310"/>
                      </a:moveTo>
                      <a:cubicBezTo>
                        <a:pt x="1823" y="1314"/>
                        <a:pt x="1823" y="1314"/>
                        <a:pt x="1823" y="1314"/>
                      </a:cubicBezTo>
                      <a:cubicBezTo>
                        <a:pt x="1828" y="1327"/>
                        <a:pt x="1828" y="1327"/>
                        <a:pt x="1828" y="1327"/>
                      </a:cubicBezTo>
                      <a:cubicBezTo>
                        <a:pt x="1836" y="1331"/>
                        <a:pt x="1836" y="1331"/>
                        <a:pt x="1836" y="1331"/>
                      </a:cubicBezTo>
                      <a:cubicBezTo>
                        <a:pt x="1836" y="1341"/>
                        <a:pt x="1836" y="1341"/>
                        <a:pt x="1836" y="1341"/>
                      </a:cubicBezTo>
                      <a:cubicBezTo>
                        <a:pt x="1844" y="1346"/>
                        <a:pt x="1844" y="1346"/>
                        <a:pt x="1844" y="1346"/>
                      </a:cubicBezTo>
                      <a:cubicBezTo>
                        <a:pt x="1847" y="1343"/>
                        <a:pt x="1847" y="1343"/>
                        <a:pt x="1847" y="1343"/>
                      </a:cubicBezTo>
                      <a:cubicBezTo>
                        <a:pt x="1849" y="1337"/>
                        <a:pt x="1849" y="1337"/>
                        <a:pt x="1849" y="1337"/>
                      </a:cubicBezTo>
                      <a:cubicBezTo>
                        <a:pt x="1847" y="1333"/>
                        <a:pt x="1847" y="1333"/>
                        <a:pt x="1847" y="1333"/>
                      </a:cubicBezTo>
                      <a:cubicBezTo>
                        <a:pt x="1844" y="1322"/>
                        <a:pt x="1844" y="1322"/>
                        <a:pt x="1844" y="1322"/>
                      </a:cubicBezTo>
                      <a:cubicBezTo>
                        <a:pt x="1845" y="1317"/>
                        <a:pt x="1845" y="1317"/>
                        <a:pt x="1845" y="1317"/>
                      </a:cubicBezTo>
                      <a:cubicBezTo>
                        <a:pt x="1857" y="1307"/>
                        <a:pt x="1857" y="1307"/>
                        <a:pt x="1857" y="1307"/>
                      </a:cubicBezTo>
                      <a:cubicBezTo>
                        <a:pt x="1858" y="1299"/>
                        <a:pt x="1858" y="1299"/>
                        <a:pt x="1858" y="1299"/>
                      </a:cubicBezTo>
                      <a:cubicBezTo>
                        <a:pt x="1854" y="1295"/>
                        <a:pt x="1854" y="1295"/>
                        <a:pt x="1854" y="1295"/>
                      </a:cubicBezTo>
                      <a:cubicBezTo>
                        <a:pt x="1856" y="1282"/>
                        <a:pt x="1856" y="1282"/>
                        <a:pt x="1856" y="1282"/>
                      </a:cubicBezTo>
                      <a:cubicBezTo>
                        <a:pt x="1852" y="1280"/>
                        <a:pt x="1852" y="1280"/>
                        <a:pt x="1852" y="1280"/>
                      </a:cubicBezTo>
                      <a:cubicBezTo>
                        <a:pt x="1845" y="1284"/>
                        <a:pt x="1845" y="1284"/>
                        <a:pt x="1845" y="1284"/>
                      </a:cubicBezTo>
                      <a:cubicBezTo>
                        <a:pt x="1839" y="1281"/>
                        <a:pt x="1839" y="1281"/>
                        <a:pt x="1839" y="1281"/>
                      </a:cubicBezTo>
                      <a:cubicBezTo>
                        <a:pt x="1835" y="1282"/>
                        <a:pt x="1835" y="1282"/>
                        <a:pt x="1835" y="1282"/>
                      </a:cubicBezTo>
                      <a:cubicBezTo>
                        <a:pt x="1835" y="1287"/>
                        <a:pt x="1835" y="1287"/>
                        <a:pt x="1835" y="1287"/>
                      </a:cubicBezTo>
                      <a:cubicBezTo>
                        <a:pt x="1832" y="1290"/>
                        <a:pt x="1832" y="1290"/>
                        <a:pt x="1832" y="1290"/>
                      </a:cubicBezTo>
                      <a:cubicBezTo>
                        <a:pt x="1829" y="1309"/>
                        <a:pt x="1829" y="1309"/>
                        <a:pt x="1829" y="1309"/>
                      </a:cubicBezTo>
                      <a:lnTo>
                        <a:pt x="1824" y="1310"/>
                      </a:lnTo>
                      <a:close/>
                      <a:moveTo>
                        <a:pt x="1837" y="1346"/>
                      </a:moveTo>
                      <a:cubicBezTo>
                        <a:pt x="1831" y="1345"/>
                        <a:pt x="1831" y="1345"/>
                        <a:pt x="1831" y="1345"/>
                      </a:cubicBezTo>
                      <a:cubicBezTo>
                        <a:pt x="1829" y="1347"/>
                        <a:pt x="1829" y="1347"/>
                        <a:pt x="1829" y="1347"/>
                      </a:cubicBezTo>
                      <a:cubicBezTo>
                        <a:pt x="1835" y="1352"/>
                        <a:pt x="1835" y="1352"/>
                        <a:pt x="1835" y="1352"/>
                      </a:cubicBezTo>
                      <a:cubicBezTo>
                        <a:pt x="1837" y="1360"/>
                        <a:pt x="1837" y="1360"/>
                        <a:pt x="1837" y="1360"/>
                      </a:cubicBezTo>
                      <a:cubicBezTo>
                        <a:pt x="1842" y="1361"/>
                        <a:pt x="1842" y="1361"/>
                        <a:pt x="1842" y="1361"/>
                      </a:cubicBezTo>
                      <a:cubicBezTo>
                        <a:pt x="1845" y="1358"/>
                        <a:pt x="1845" y="1358"/>
                        <a:pt x="1845" y="1358"/>
                      </a:cubicBezTo>
                      <a:cubicBezTo>
                        <a:pt x="1844" y="1351"/>
                        <a:pt x="1844" y="1351"/>
                        <a:pt x="1844" y="1351"/>
                      </a:cubicBezTo>
                      <a:lnTo>
                        <a:pt x="1837" y="1346"/>
                      </a:lnTo>
                      <a:close/>
                      <a:moveTo>
                        <a:pt x="1864" y="1341"/>
                      </a:moveTo>
                      <a:cubicBezTo>
                        <a:pt x="1860" y="1337"/>
                        <a:pt x="1860" y="1337"/>
                        <a:pt x="1860" y="1337"/>
                      </a:cubicBezTo>
                      <a:cubicBezTo>
                        <a:pt x="1855" y="1337"/>
                        <a:pt x="1855" y="1337"/>
                        <a:pt x="1855" y="1337"/>
                      </a:cubicBezTo>
                      <a:cubicBezTo>
                        <a:pt x="1850" y="1341"/>
                        <a:pt x="1850" y="1341"/>
                        <a:pt x="1850" y="1341"/>
                      </a:cubicBezTo>
                      <a:cubicBezTo>
                        <a:pt x="1857" y="1349"/>
                        <a:pt x="1857" y="1349"/>
                        <a:pt x="1857" y="1349"/>
                      </a:cubicBezTo>
                      <a:cubicBezTo>
                        <a:pt x="1859" y="1345"/>
                        <a:pt x="1859" y="1345"/>
                        <a:pt x="1859" y="1345"/>
                      </a:cubicBezTo>
                      <a:cubicBezTo>
                        <a:pt x="1866" y="1351"/>
                        <a:pt x="1866" y="1351"/>
                        <a:pt x="1866" y="1351"/>
                      </a:cubicBezTo>
                      <a:cubicBezTo>
                        <a:pt x="1877" y="1357"/>
                        <a:pt x="1877" y="1357"/>
                        <a:pt x="1877" y="1357"/>
                      </a:cubicBezTo>
                      <a:cubicBezTo>
                        <a:pt x="1879" y="1353"/>
                        <a:pt x="1879" y="1353"/>
                        <a:pt x="1879" y="1353"/>
                      </a:cubicBezTo>
                      <a:cubicBezTo>
                        <a:pt x="1875" y="1352"/>
                        <a:pt x="1875" y="1352"/>
                        <a:pt x="1875" y="1352"/>
                      </a:cubicBezTo>
                      <a:cubicBezTo>
                        <a:pt x="1873" y="1344"/>
                        <a:pt x="1873" y="1344"/>
                        <a:pt x="1873" y="1344"/>
                      </a:cubicBezTo>
                      <a:cubicBezTo>
                        <a:pt x="1869" y="1338"/>
                        <a:pt x="1869" y="1338"/>
                        <a:pt x="1869" y="1338"/>
                      </a:cubicBezTo>
                      <a:lnTo>
                        <a:pt x="1864" y="1341"/>
                      </a:lnTo>
                      <a:close/>
                      <a:moveTo>
                        <a:pt x="1882" y="1361"/>
                      </a:moveTo>
                      <a:cubicBezTo>
                        <a:pt x="1882" y="1363"/>
                        <a:pt x="1882" y="1363"/>
                        <a:pt x="1882" y="1363"/>
                      </a:cubicBezTo>
                      <a:cubicBezTo>
                        <a:pt x="1887" y="1367"/>
                        <a:pt x="1887" y="1367"/>
                        <a:pt x="1887" y="1367"/>
                      </a:cubicBezTo>
                      <a:cubicBezTo>
                        <a:pt x="1889" y="1373"/>
                        <a:pt x="1889" y="1373"/>
                        <a:pt x="1889" y="1373"/>
                      </a:cubicBezTo>
                      <a:cubicBezTo>
                        <a:pt x="1895" y="1376"/>
                        <a:pt x="1895" y="1376"/>
                        <a:pt x="1895" y="1376"/>
                      </a:cubicBezTo>
                      <a:cubicBezTo>
                        <a:pt x="1896" y="1367"/>
                        <a:pt x="1896" y="1367"/>
                        <a:pt x="1896" y="1367"/>
                      </a:cubicBezTo>
                      <a:cubicBezTo>
                        <a:pt x="1892" y="1361"/>
                        <a:pt x="1892" y="1361"/>
                        <a:pt x="1892" y="1361"/>
                      </a:cubicBezTo>
                      <a:cubicBezTo>
                        <a:pt x="1886" y="1359"/>
                        <a:pt x="1886" y="1359"/>
                        <a:pt x="1886" y="1359"/>
                      </a:cubicBezTo>
                      <a:lnTo>
                        <a:pt x="1882" y="1361"/>
                      </a:lnTo>
                      <a:close/>
                      <a:moveTo>
                        <a:pt x="1876" y="1342"/>
                      </a:moveTo>
                      <a:cubicBezTo>
                        <a:pt x="1877" y="1344"/>
                        <a:pt x="1877" y="1344"/>
                        <a:pt x="1877" y="1344"/>
                      </a:cubicBezTo>
                      <a:cubicBezTo>
                        <a:pt x="1881" y="1343"/>
                        <a:pt x="1881" y="1343"/>
                        <a:pt x="1881" y="1343"/>
                      </a:cubicBezTo>
                      <a:cubicBezTo>
                        <a:pt x="1881" y="1340"/>
                        <a:pt x="1881" y="1340"/>
                        <a:pt x="1881" y="1340"/>
                      </a:cubicBezTo>
                      <a:cubicBezTo>
                        <a:pt x="1877" y="1338"/>
                        <a:pt x="1877" y="1338"/>
                        <a:pt x="1877" y="1338"/>
                      </a:cubicBezTo>
                      <a:lnTo>
                        <a:pt x="1876" y="1342"/>
                      </a:lnTo>
                      <a:close/>
                      <a:moveTo>
                        <a:pt x="1866" y="1361"/>
                      </a:moveTo>
                      <a:cubicBezTo>
                        <a:pt x="1866" y="1367"/>
                        <a:pt x="1866" y="1367"/>
                        <a:pt x="1866" y="1367"/>
                      </a:cubicBezTo>
                      <a:cubicBezTo>
                        <a:pt x="1869" y="1364"/>
                        <a:pt x="1869" y="1364"/>
                        <a:pt x="1869" y="1364"/>
                      </a:cubicBezTo>
                      <a:cubicBezTo>
                        <a:pt x="1875" y="1367"/>
                        <a:pt x="1875" y="1367"/>
                        <a:pt x="1875" y="1367"/>
                      </a:cubicBezTo>
                      <a:cubicBezTo>
                        <a:pt x="1875" y="1364"/>
                        <a:pt x="1875" y="1364"/>
                        <a:pt x="1875" y="1364"/>
                      </a:cubicBezTo>
                      <a:cubicBezTo>
                        <a:pt x="1870" y="1361"/>
                        <a:pt x="1870" y="1361"/>
                        <a:pt x="1870" y="1361"/>
                      </a:cubicBezTo>
                      <a:lnTo>
                        <a:pt x="1866" y="1361"/>
                      </a:lnTo>
                      <a:close/>
                      <a:moveTo>
                        <a:pt x="1854" y="1372"/>
                      </a:moveTo>
                      <a:cubicBezTo>
                        <a:pt x="1853" y="1385"/>
                        <a:pt x="1853" y="1385"/>
                        <a:pt x="1853" y="1385"/>
                      </a:cubicBezTo>
                      <a:cubicBezTo>
                        <a:pt x="1862" y="1380"/>
                        <a:pt x="1862" y="1380"/>
                        <a:pt x="1862" y="1380"/>
                      </a:cubicBezTo>
                      <a:cubicBezTo>
                        <a:pt x="1863" y="1374"/>
                        <a:pt x="1863" y="1374"/>
                        <a:pt x="1863" y="1374"/>
                      </a:cubicBezTo>
                      <a:cubicBezTo>
                        <a:pt x="1859" y="1372"/>
                        <a:pt x="1859" y="1372"/>
                        <a:pt x="1859" y="1372"/>
                      </a:cubicBezTo>
                      <a:lnTo>
                        <a:pt x="1854" y="1372"/>
                      </a:lnTo>
                      <a:close/>
                      <a:moveTo>
                        <a:pt x="1863" y="1386"/>
                      </a:moveTo>
                      <a:cubicBezTo>
                        <a:pt x="1866" y="1389"/>
                        <a:pt x="1866" y="1389"/>
                        <a:pt x="1866" y="1389"/>
                      </a:cubicBezTo>
                      <a:cubicBezTo>
                        <a:pt x="1857" y="1392"/>
                        <a:pt x="1857" y="1392"/>
                        <a:pt x="1857" y="1392"/>
                      </a:cubicBezTo>
                      <a:cubicBezTo>
                        <a:pt x="1856" y="1396"/>
                        <a:pt x="1856" y="1396"/>
                        <a:pt x="1856" y="1396"/>
                      </a:cubicBezTo>
                      <a:cubicBezTo>
                        <a:pt x="1862" y="1401"/>
                        <a:pt x="1862" y="1401"/>
                        <a:pt x="1862" y="1401"/>
                      </a:cubicBezTo>
                      <a:cubicBezTo>
                        <a:pt x="1866" y="1398"/>
                        <a:pt x="1866" y="1398"/>
                        <a:pt x="1866" y="1398"/>
                      </a:cubicBezTo>
                      <a:cubicBezTo>
                        <a:pt x="1870" y="1392"/>
                        <a:pt x="1870" y="1392"/>
                        <a:pt x="1870" y="1392"/>
                      </a:cubicBezTo>
                      <a:cubicBezTo>
                        <a:pt x="1871" y="1382"/>
                        <a:pt x="1871" y="1382"/>
                        <a:pt x="1871" y="1382"/>
                      </a:cubicBezTo>
                      <a:cubicBezTo>
                        <a:pt x="1865" y="1380"/>
                        <a:pt x="1865" y="1380"/>
                        <a:pt x="1865" y="1380"/>
                      </a:cubicBezTo>
                      <a:lnTo>
                        <a:pt x="1863" y="1386"/>
                      </a:lnTo>
                      <a:close/>
                      <a:moveTo>
                        <a:pt x="1872" y="1396"/>
                      </a:moveTo>
                      <a:cubicBezTo>
                        <a:pt x="1875" y="1395"/>
                        <a:pt x="1875" y="1395"/>
                        <a:pt x="1875" y="1395"/>
                      </a:cubicBezTo>
                      <a:cubicBezTo>
                        <a:pt x="1877" y="1390"/>
                        <a:pt x="1877" y="1390"/>
                        <a:pt x="1877" y="1390"/>
                      </a:cubicBezTo>
                      <a:cubicBezTo>
                        <a:pt x="1875" y="1379"/>
                        <a:pt x="1875" y="1379"/>
                        <a:pt x="1875" y="1379"/>
                      </a:cubicBezTo>
                      <a:lnTo>
                        <a:pt x="1872" y="1396"/>
                      </a:lnTo>
                      <a:close/>
                      <a:moveTo>
                        <a:pt x="1885" y="1382"/>
                      </a:moveTo>
                      <a:cubicBezTo>
                        <a:pt x="1886" y="1388"/>
                        <a:pt x="1886" y="1388"/>
                        <a:pt x="1886" y="1388"/>
                      </a:cubicBezTo>
                      <a:cubicBezTo>
                        <a:pt x="1892" y="1387"/>
                        <a:pt x="1892" y="1387"/>
                        <a:pt x="1892" y="1387"/>
                      </a:cubicBezTo>
                      <a:cubicBezTo>
                        <a:pt x="1890" y="1382"/>
                        <a:pt x="1890" y="1382"/>
                        <a:pt x="1890" y="1382"/>
                      </a:cubicBezTo>
                      <a:cubicBezTo>
                        <a:pt x="1886" y="1376"/>
                        <a:pt x="1886" y="1376"/>
                        <a:pt x="1886" y="1376"/>
                      </a:cubicBezTo>
                      <a:cubicBezTo>
                        <a:pt x="1879" y="1376"/>
                        <a:pt x="1879" y="1376"/>
                        <a:pt x="1879" y="1376"/>
                      </a:cubicBezTo>
                      <a:lnTo>
                        <a:pt x="1885" y="1382"/>
                      </a:lnTo>
                      <a:close/>
                      <a:moveTo>
                        <a:pt x="1887" y="1390"/>
                      </a:moveTo>
                      <a:cubicBezTo>
                        <a:pt x="1881" y="1390"/>
                        <a:pt x="1881" y="1390"/>
                        <a:pt x="1881" y="1390"/>
                      </a:cubicBezTo>
                      <a:cubicBezTo>
                        <a:pt x="1878" y="1396"/>
                        <a:pt x="1878" y="1396"/>
                        <a:pt x="1878" y="1396"/>
                      </a:cubicBezTo>
                      <a:cubicBezTo>
                        <a:pt x="1883" y="1396"/>
                        <a:pt x="1883" y="1396"/>
                        <a:pt x="1883" y="1396"/>
                      </a:cubicBezTo>
                      <a:lnTo>
                        <a:pt x="1887" y="1390"/>
                      </a:lnTo>
                      <a:close/>
                      <a:moveTo>
                        <a:pt x="1903" y="1402"/>
                      </a:moveTo>
                      <a:cubicBezTo>
                        <a:pt x="1894" y="1397"/>
                        <a:pt x="1894" y="1397"/>
                        <a:pt x="1894" y="1397"/>
                      </a:cubicBezTo>
                      <a:cubicBezTo>
                        <a:pt x="1896" y="1402"/>
                        <a:pt x="1896" y="1402"/>
                        <a:pt x="1896" y="1402"/>
                      </a:cubicBezTo>
                      <a:cubicBezTo>
                        <a:pt x="1894" y="1406"/>
                        <a:pt x="1894" y="1406"/>
                        <a:pt x="1894" y="1406"/>
                      </a:cubicBezTo>
                      <a:cubicBezTo>
                        <a:pt x="1892" y="1404"/>
                        <a:pt x="1892" y="1404"/>
                        <a:pt x="1892" y="1404"/>
                      </a:cubicBezTo>
                      <a:cubicBezTo>
                        <a:pt x="1889" y="1404"/>
                        <a:pt x="1889" y="1404"/>
                        <a:pt x="1889" y="1404"/>
                      </a:cubicBezTo>
                      <a:cubicBezTo>
                        <a:pt x="1887" y="1409"/>
                        <a:pt x="1887" y="1409"/>
                        <a:pt x="1887" y="1409"/>
                      </a:cubicBezTo>
                      <a:cubicBezTo>
                        <a:pt x="1883" y="1410"/>
                        <a:pt x="1883" y="1410"/>
                        <a:pt x="1883" y="1410"/>
                      </a:cubicBezTo>
                      <a:cubicBezTo>
                        <a:pt x="1881" y="1416"/>
                        <a:pt x="1881" y="1416"/>
                        <a:pt x="1881" y="1416"/>
                      </a:cubicBezTo>
                      <a:cubicBezTo>
                        <a:pt x="1877" y="1417"/>
                        <a:pt x="1877" y="1417"/>
                        <a:pt x="1877" y="1417"/>
                      </a:cubicBezTo>
                      <a:cubicBezTo>
                        <a:pt x="1875" y="1411"/>
                        <a:pt x="1875" y="1411"/>
                        <a:pt x="1875" y="1411"/>
                      </a:cubicBezTo>
                      <a:cubicBezTo>
                        <a:pt x="1869" y="1407"/>
                        <a:pt x="1869" y="1407"/>
                        <a:pt x="1869" y="1407"/>
                      </a:cubicBezTo>
                      <a:cubicBezTo>
                        <a:pt x="1859" y="1417"/>
                        <a:pt x="1859" y="1417"/>
                        <a:pt x="1859" y="1417"/>
                      </a:cubicBezTo>
                      <a:cubicBezTo>
                        <a:pt x="1855" y="1419"/>
                        <a:pt x="1855" y="1419"/>
                        <a:pt x="1855" y="1419"/>
                      </a:cubicBezTo>
                      <a:cubicBezTo>
                        <a:pt x="1851" y="1425"/>
                        <a:pt x="1851" y="1425"/>
                        <a:pt x="1851" y="1425"/>
                      </a:cubicBezTo>
                      <a:cubicBezTo>
                        <a:pt x="1851" y="1429"/>
                        <a:pt x="1851" y="1429"/>
                        <a:pt x="1851" y="1429"/>
                      </a:cubicBezTo>
                      <a:cubicBezTo>
                        <a:pt x="1854" y="1428"/>
                        <a:pt x="1854" y="1428"/>
                        <a:pt x="1854" y="1428"/>
                      </a:cubicBezTo>
                      <a:cubicBezTo>
                        <a:pt x="1857" y="1426"/>
                        <a:pt x="1857" y="1426"/>
                        <a:pt x="1857" y="1426"/>
                      </a:cubicBezTo>
                      <a:cubicBezTo>
                        <a:pt x="1857" y="1423"/>
                        <a:pt x="1857" y="1423"/>
                        <a:pt x="1857" y="1423"/>
                      </a:cubicBezTo>
                      <a:cubicBezTo>
                        <a:pt x="1861" y="1420"/>
                        <a:pt x="1861" y="1420"/>
                        <a:pt x="1861" y="1420"/>
                      </a:cubicBezTo>
                      <a:cubicBezTo>
                        <a:pt x="1865" y="1425"/>
                        <a:pt x="1865" y="1425"/>
                        <a:pt x="1865" y="1425"/>
                      </a:cubicBezTo>
                      <a:cubicBezTo>
                        <a:pt x="1868" y="1422"/>
                        <a:pt x="1868" y="1422"/>
                        <a:pt x="1868" y="1422"/>
                      </a:cubicBezTo>
                      <a:cubicBezTo>
                        <a:pt x="1875" y="1422"/>
                        <a:pt x="1875" y="1422"/>
                        <a:pt x="1875" y="1422"/>
                      </a:cubicBezTo>
                      <a:cubicBezTo>
                        <a:pt x="1880" y="1426"/>
                        <a:pt x="1880" y="1426"/>
                        <a:pt x="1880" y="1426"/>
                      </a:cubicBezTo>
                      <a:cubicBezTo>
                        <a:pt x="1877" y="1432"/>
                        <a:pt x="1877" y="1432"/>
                        <a:pt x="1877" y="1432"/>
                      </a:cubicBezTo>
                      <a:cubicBezTo>
                        <a:pt x="1877" y="1436"/>
                        <a:pt x="1877" y="1436"/>
                        <a:pt x="1877" y="1436"/>
                      </a:cubicBezTo>
                      <a:cubicBezTo>
                        <a:pt x="1887" y="1444"/>
                        <a:pt x="1887" y="1444"/>
                        <a:pt x="1887" y="1444"/>
                      </a:cubicBezTo>
                      <a:cubicBezTo>
                        <a:pt x="1890" y="1442"/>
                        <a:pt x="1890" y="1442"/>
                        <a:pt x="1890" y="1442"/>
                      </a:cubicBezTo>
                      <a:cubicBezTo>
                        <a:pt x="1893" y="1441"/>
                        <a:pt x="1893" y="1441"/>
                        <a:pt x="1893" y="1441"/>
                      </a:cubicBezTo>
                      <a:cubicBezTo>
                        <a:pt x="1892" y="1445"/>
                        <a:pt x="1892" y="1445"/>
                        <a:pt x="1892" y="1445"/>
                      </a:cubicBezTo>
                      <a:cubicBezTo>
                        <a:pt x="1895" y="1447"/>
                        <a:pt x="1895" y="1447"/>
                        <a:pt x="1895" y="1447"/>
                      </a:cubicBezTo>
                      <a:cubicBezTo>
                        <a:pt x="1897" y="1446"/>
                        <a:pt x="1897" y="1446"/>
                        <a:pt x="1897" y="1446"/>
                      </a:cubicBezTo>
                      <a:cubicBezTo>
                        <a:pt x="1897" y="1438"/>
                        <a:pt x="1897" y="1438"/>
                        <a:pt x="1897" y="1438"/>
                      </a:cubicBezTo>
                      <a:cubicBezTo>
                        <a:pt x="1894" y="1434"/>
                        <a:pt x="1894" y="1434"/>
                        <a:pt x="1894" y="1434"/>
                      </a:cubicBezTo>
                      <a:cubicBezTo>
                        <a:pt x="1895" y="1430"/>
                        <a:pt x="1895" y="1430"/>
                        <a:pt x="1895" y="1430"/>
                      </a:cubicBezTo>
                      <a:cubicBezTo>
                        <a:pt x="1898" y="1429"/>
                        <a:pt x="1898" y="1429"/>
                        <a:pt x="1898" y="1429"/>
                      </a:cubicBezTo>
                      <a:cubicBezTo>
                        <a:pt x="1904" y="1433"/>
                        <a:pt x="1904" y="1433"/>
                        <a:pt x="1904" y="1433"/>
                      </a:cubicBezTo>
                      <a:cubicBezTo>
                        <a:pt x="1907" y="1429"/>
                        <a:pt x="1907" y="1429"/>
                        <a:pt x="1907" y="1429"/>
                      </a:cubicBezTo>
                      <a:cubicBezTo>
                        <a:pt x="1908" y="1421"/>
                        <a:pt x="1908" y="1421"/>
                        <a:pt x="1908" y="1421"/>
                      </a:cubicBezTo>
                      <a:cubicBezTo>
                        <a:pt x="1905" y="1416"/>
                        <a:pt x="1905" y="1416"/>
                        <a:pt x="1905" y="1416"/>
                      </a:cubicBezTo>
                      <a:cubicBezTo>
                        <a:pt x="1905" y="1410"/>
                        <a:pt x="1905" y="1410"/>
                        <a:pt x="1905" y="1410"/>
                      </a:cubicBezTo>
                      <a:lnTo>
                        <a:pt x="1903" y="1402"/>
                      </a:lnTo>
                      <a:close/>
                      <a:moveTo>
                        <a:pt x="1894" y="1389"/>
                      </a:moveTo>
                      <a:cubicBezTo>
                        <a:pt x="1897" y="1391"/>
                        <a:pt x="1897" y="1391"/>
                        <a:pt x="1897" y="1391"/>
                      </a:cubicBezTo>
                      <a:cubicBezTo>
                        <a:pt x="1899" y="1390"/>
                        <a:pt x="1899" y="1390"/>
                        <a:pt x="1899" y="1390"/>
                      </a:cubicBezTo>
                      <a:cubicBezTo>
                        <a:pt x="1900" y="1385"/>
                        <a:pt x="1900" y="1385"/>
                        <a:pt x="1900" y="1385"/>
                      </a:cubicBezTo>
                      <a:cubicBezTo>
                        <a:pt x="1895" y="1385"/>
                        <a:pt x="1895" y="1385"/>
                        <a:pt x="1895" y="1385"/>
                      </a:cubicBezTo>
                      <a:lnTo>
                        <a:pt x="1894" y="1389"/>
                      </a:lnTo>
                      <a:close/>
                      <a:moveTo>
                        <a:pt x="1928" y="1504"/>
                      </a:moveTo>
                      <a:cubicBezTo>
                        <a:pt x="1922" y="1509"/>
                        <a:pt x="1922" y="1509"/>
                        <a:pt x="1922" y="1509"/>
                      </a:cubicBezTo>
                      <a:cubicBezTo>
                        <a:pt x="1924" y="1516"/>
                        <a:pt x="1924" y="1516"/>
                        <a:pt x="1924" y="1516"/>
                      </a:cubicBezTo>
                      <a:cubicBezTo>
                        <a:pt x="1928" y="1522"/>
                        <a:pt x="1928" y="1522"/>
                        <a:pt x="1928" y="1522"/>
                      </a:cubicBezTo>
                      <a:cubicBezTo>
                        <a:pt x="1931" y="1522"/>
                        <a:pt x="1931" y="1522"/>
                        <a:pt x="1931" y="1522"/>
                      </a:cubicBezTo>
                      <a:cubicBezTo>
                        <a:pt x="1928" y="1516"/>
                        <a:pt x="1928" y="1516"/>
                        <a:pt x="1928" y="1516"/>
                      </a:cubicBezTo>
                      <a:cubicBezTo>
                        <a:pt x="1927" y="1511"/>
                        <a:pt x="1927" y="1511"/>
                        <a:pt x="1927" y="1511"/>
                      </a:cubicBezTo>
                      <a:cubicBezTo>
                        <a:pt x="1938" y="1511"/>
                        <a:pt x="1938" y="1511"/>
                        <a:pt x="1938" y="1511"/>
                      </a:cubicBezTo>
                      <a:cubicBezTo>
                        <a:pt x="1935" y="1507"/>
                        <a:pt x="1935" y="1507"/>
                        <a:pt x="1935" y="1507"/>
                      </a:cubicBezTo>
                      <a:cubicBezTo>
                        <a:pt x="1931" y="1507"/>
                        <a:pt x="1931" y="1507"/>
                        <a:pt x="1931" y="1507"/>
                      </a:cubicBezTo>
                      <a:cubicBezTo>
                        <a:pt x="1932" y="1504"/>
                        <a:pt x="1932" y="1504"/>
                        <a:pt x="1932" y="1504"/>
                      </a:cubicBezTo>
                      <a:cubicBezTo>
                        <a:pt x="1938" y="1503"/>
                        <a:pt x="1938" y="1503"/>
                        <a:pt x="1938" y="1503"/>
                      </a:cubicBezTo>
                      <a:cubicBezTo>
                        <a:pt x="1939" y="1499"/>
                        <a:pt x="1939" y="1499"/>
                        <a:pt x="1939" y="1499"/>
                      </a:cubicBezTo>
                      <a:cubicBezTo>
                        <a:pt x="1933" y="1499"/>
                        <a:pt x="1933" y="1499"/>
                        <a:pt x="1933" y="1499"/>
                      </a:cubicBezTo>
                      <a:lnTo>
                        <a:pt x="1928" y="1504"/>
                      </a:lnTo>
                      <a:close/>
                      <a:moveTo>
                        <a:pt x="1922" y="1504"/>
                      </a:moveTo>
                      <a:cubicBezTo>
                        <a:pt x="1925" y="1500"/>
                        <a:pt x="1925" y="1500"/>
                        <a:pt x="1925" y="1500"/>
                      </a:cubicBezTo>
                      <a:cubicBezTo>
                        <a:pt x="1924" y="1494"/>
                        <a:pt x="1924" y="1494"/>
                        <a:pt x="1924" y="1494"/>
                      </a:cubicBezTo>
                      <a:cubicBezTo>
                        <a:pt x="1921" y="1494"/>
                        <a:pt x="1921" y="1494"/>
                        <a:pt x="1921" y="1494"/>
                      </a:cubicBezTo>
                      <a:lnTo>
                        <a:pt x="1922" y="1504"/>
                      </a:lnTo>
                      <a:close/>
                      <a:moveTo>
                        <a:pt x="1931" y="1489"/>
                      </a:moveTo>
                      <a:cubicBezTo>
                        <a:pt x="1934" y="1492"/>
                        <a:pt x="1934" y="1492"/>
                        <a:pt x="1934" y="1492"/>
                      </a:cubicBezTo>
                      <a:cubicBezTo>
                        <a:pt x="1937" y="1488"/>
                        <a:pt x="1937" y="1488"/>
                        <a:pt x="1937" y="1488"/>
                      </a:cubicBezTo>
                      <a:cubicBezTo>
                        <a:pt x="1934" y="1485"/>
                        <a:pt x="1934" y="1485"/>
                        <a:pt x="1934" y="1485"/>
                      </a:cubicBezTo>
                      <a:lnTo>
                        <a:pt x="1931" y="1489"/>
                      </a:lnTo>
                      <a:close/>
                      <a:moveTo>
                        <a:pt x="1910" y="1463"/>
                      </a:moveTo>
                      <a:cubicBezTo>
                        <a:pt x="1911" y="1465"/>
                        <a:pt x="1911" y="1465"/>
                        <a:pt x="1911" y="1465"/>
                      </a:cubicBezTo>
                      <a:cubicBezTo>
                        <a:pt x="1913" y="1464"/>
                        <a:pt x="1913" y="1464"/>
                        <a:pt x="1913" y="1464"/>
                      </a:cubicBezTo>
                      <a:cubicBezTo>
                        <a:pt x="1915" y="1459"/>
                        <a:pt x="1915" y="1459"/>
                        <a:pt x="1915" y="1459"/>
                      </a:cubicBezTo>
                      <a:cubicBezTo>
                        <a:pt x="1913" y="1457"/>
                        <a:pt x="1913" y="1457"/>
                        <a:pt x="1913" y="1457"/>
                      </a:cubicBezTo>
                      <a:lnTo>
                        <a:pt x="1910" y="1463"/>
                      </a:lnTo>
                      <a:close/>
                      <a:moveTo>
                        <a:pt x="1919" y="1521"/>
                      </a:moveTo>
                      <a:cubicBezTo>
                        <a:pt x="1920" y="1524"/>
                        <a:pt x="1920" y="1524"/>
                        <a:pt x="1920" y="1524"/>
                      </a:cubicBezTo>
                      <a:cubicBezTo>
                        <a:pt x="1923" y="1527"/>
                        <a:pt x="1923" y="1527"/>
                        <a:pt x="1923" y="1527"/>
                      </a:cubicBezTo>
                      <a:cubicBezTo>
                        <a:pt x="1925" y="1524"/>
                        <a:pt x="1925" y="1524"/>
                        <a:pt x="1925" y="1524"/>
                      </a:cubicBezTo>
                      <a:cubicBezTo>
                        <a:pt x="1923" y="1522"/>
                        <a:pt x="1923" y="1522"/>
                        <a:pt x="1923" y="1522"/>
                      </a:cubicBezTo>
                      <a:cubicBezTo>
                        <a:pt x="1921" y="1519"/>
                        <a:pt x="1921" y="1519"/>
                        <a:pt x="1921" y="1519"/>
                      </a:cubicBezTo>
                      <a:lnTo>
                        <a:pt x="1919" y="1521"/>
                      </a:lnTo>
                      <a:close/>
                      <a:moveTo>
                        <a:pt x="1918" y="1557"/>
                      </a:moveTo>
                      <a:cubicBezTo>
                        <a:pt x="1915" y="1553"/>
                        <a:pt x="1915" y="1553"/>
                        <a:pt x="1915" y="1553"/>
                      </a:cubicBezTo>
                      <a:cubicBezTo>
                        <a:pt x="1907" y="1552"/>
                        <a:pt x="1907" y="1552"/>
                        <a:pt x="1907" y="1552"/>
                      </a:cubicBezTo>
                      <a:cubicBezTo>
                        <a:pt x="1905" y="1556"/>
                        <a:pt x="1905" y="1556"/>
                        <a:pt x="1905" y="1556"/>
                      </a:cubicBezTo>
                      <a:cubicBezTo>
                        <a:pt x="1910" y="1560"/>
                        <a:pt x="1910" y="1560"/>
                        <a:pt x="1910" y="1560"/>
                      </a:cubicBezTo>
                      <a:cubicBezTo>
                        <a:pt x="1916" y="1561"/>
                        <a:pt x="1916" y="1561"/>
                        <a:pt x="1916" y="1561"/>
                      </a:cubicBezTo>
                      <a:lnTo>
                        <a:pt x="1918" y="1557"/>
                      </a:lnTo>
                      <a:close/>
                      <a:moveTo>
                        <a:pt x="1964" y="1565"/>
                      </a:moveTo>
                      <a:cubicBezTo>
                        <a:pt x="1966" y="1564"/>
                        <a:pt x="1966" y="1564"/>
                        <a:pt x="1966" y="1564"/>
                      </a:cubicBezTo>
                      <a:cubicBezTo>
                        <a:pt x="1966" y="1558"/>
                        <a:pt x="1966" y="1558"/>
                        <a:pt x="1966" y="1558"/>
                      </a:cubicBezTo>
                      <a:cubicBezTo>
                        <a:pt x="1962" y="1555"/>
                        <a:pt x="1962" y="1555"/>
                        <a:pt x="1962" y="1555"/>
                      </a:cubicBezTo>
                      <a:cubicBezTo>
                        <a:pt x="1956" y="1555"/>
                        <a:pt x="1956" y="1555"/>
                        <a:pt x="1956" y="1555"/>
                      </a:cubicBezTo>
                      <a:cubicBezTo>
                        <a:pt x="1951" y="1551"/>
                        <a:pt x="1951" y="1551"/>
                        <a:pt x="1951" y="1551"/>
                      </a:cubicBezTo>
                      <a:cubicBezTo>
                        <a:pt x="1937" y="1552"/>
                        <a:pt x="1937" y="1552"/>
                        <a:pt x="1937" y="1552"/>
                      </a:cubicBezTo>
                      <a:cubicBezTo>
                        <a:pt x="1927" y="1556"/>
                        <a:pt x="1927" y="1556"/>
                        <a:pt x="1927" y="1556"/>
                      </a:cubicBezTo>
                      <a:cubicBezTo>
                        <a:pt x="1930" y="1561"/>
                        <a:pt x="1930" y="1561"/>
                        <a:pt x="1930" y="1561"/>
                      </a:cubicBezTo>
                      <a:cubicBezTo>
                        <a:pt x="1935" y="1558"/>
                        <a:pt x="1935" y="1558"/>
                        <a:pt x="1935" y="1558"/>
                      </a:cubicBezTo>
                      <a:cubicBezTo>
                        <a:pt x="1943" y="1557"/>
                        <a:pt x="1943" y="1557"/>
                        <a:pt x="1943" y="1557"/>
                      </a:cubicBezTo>
                      <a:cubicBezTo>
                        <a:pt x="1953" y="1558"/>
                        <a:pt x="1953" y="1558"/>
                        <a:pt x="1953" y="1558"/>
                      </a:cubicBezTo>
                      <a:lnTo>
                        <a:pt x="1964" y="1565"/>
                      </a:lnTo>
                      <a:close/>
                      <a:moveTo>
                        <a:pt x="1889" y="1537"/>
                      </a:moveTo>
                      <a:cubicBezTo>
                        <a:pt x="1885" y="1536"/>
                        <a:pt x="1885" y="1536"/>
                        <a:pt x="1885" y="1536"/>
                      </a:cubicBezTo>
                      <a:cubicBezTo>
                        <a:pt x="1880" y="1537"/>
                        <a:pt x="1880" y="1537"/>
                        <a:pt x="1880" y="1537"/>
                      </a:cubicBezTo>
                      <a:cubicBezTo>
                        <a:pt x="1880" y="1539"/>
                        <a:pt x="1880" y="1539"/>
                        <a:pt x="1880" y="1539"/>
                      </a:cubicBezTo>
                      <a:cubicBezTo>
                        <a:pt x="1884" y="1542"/>
                        <a:pt x="1884" y="1542"/>
                        <a:pt x="1884" y="1542"/>
                      </a:cubicBezTo>
                      <a:cubicBezTo>
                        <a:pt x="1901" y="1541"/>
                        <a:pt x="1901" y="1541"/>
                        <a:pt x="1901" y="1541"/>
                      </a:cubicBezTo>
                      <a:cubicBezTo>
                        <a:pt x="1901" y="1539"/>
                        <a:pt x="1901" y="1539"/>
                        <a:pt x="1901" y="1539"/>
                      </a:cubicBezTo>
                      <a:cubicBezTo>
                        <a:pt x="1892" y="1539"/>
                        <a:pt x="1892" y="1539"/>
                        <a:pt x="1892" y="1539"/>
                      </a:cubicBezTo>
                      <a:lnTo>
                        <a:pt x="1889" y="1537"/>
                      </a:lnTo>
                      <a:close/>
                      <a:moveTo>
                        <a:pt x="1857" y="1587"/>
                      </a:moveTo>
                      <a:cubicBezTo>
                        <a:pt x="1860" y="1588"/>
                        <a:pt x="1860" y="1588"/>
                        <a:pt x="1860" y="1588"/>
                      </a:cubicBezTo>
                      <a:cubicBezTo>
                        <a:pt x="1864" y="1583"/>
                        <a:pt x="1864" y="1583"/>
                        <a:pt x="1864" y="1583"/>
                      </a:cubicBezTo>
                      <a:cubicBezTo>
                        <a:pt x="1866" y="1574"/>
                        <a:pt x="1866" y="1574"/>
                        <a:pt x="1866" y="1574"/>
                      </a:cubicBezTo>
                      <a:cubicBezTo>
                        <a:pt x="1863" y="1571"/>
                        <a:pt x="1863" y="1571"/>
                        <a:pt x="1863" y="1571"/>
                      </a:cubicBezTo>
                      <a:cubicBezTo>
                        <a:pt x="1860" y="1574"/>
                        <a:pt x="1860" y="1574"/>
                        <a:pt x="1860" y="1574"/>
                      </a:cubicBezTo>
                      <a:cubicBezTo>
                        <a:pt x="1863" y="1578"/>
                        <a:pt x="1863" y="1578"/>
                        <a:pt x="1863" y="1578"/>
                      </a:cubicBezTo>
                      <a:cubicBezTo>
                        <a:pt x="1860" y="1584"/>
                        <a:pt x="1860" y="1584"/>
                        <a:pt x="1860" y="1584"/>
                      </a:cubicBezTo>
                      <a:lnTo>
                        <a:pt x="1857" y="1587"/>
                      </a:lnTo>
                      <a:close/>
                      <a:moveTo>
                        <a:pt x="1855" y="1577"/>
                      </a:moveTo>
                      <a:cubicBezTo>
                        <a:pt x="1853" y="1582"/>
                        <a:pt x="1853" y="1582"/>
                        <a:pt x="1853" y="1582"/>
                      </a:cubicBezTo>
                      <a:cubicBezTo>
                        <a:pt x="1856" y="1582"/>
                        <a:pt x="1856" y="1582"/>
                        <a:pt x="1856" y="1582"/>
                      </a:cubicBezTo>
                      <a:cubicBezTo>
                        <a:pt x="1856" y="1580"/>
                        <a:pt x="1856" y="1580"/>
                        <a:pt x="1856" y="1580"/>
                      </a:cubicBezTo>
                      <a:cubicBezTo>
                        <a:pt x="1860" y="1579"/>
                        <a:pt x="1860" y="1579"/>
                        <a:pt x="1860" y="1579"/>
                      </a:cubicBezTo>
                      <a:cubicBezTo>
                        <a:pt x="1858" y="1576"/>
                        <a:pt x="1858" y="1576"/>
                        <a:pt x="1858" y="1576"/>
                      </a:cubicBezTo>
                      <a:lnTo>
                        <a:pt x="1855" y="1577"/>
                      </a:lnTo>
                      <a:close/>
                      <a:moveTo>
                        <a:pt x="1983" y="1587"/>
                      </a:moveTo>
                      <a:cubicBezTo>
                        <a:pt x="1986" y="1592"/>
                        <a:pt x="1986" y="1592"/>
                        <a:pt x="1986" y="1592"/>
                      </a:cubicBezTo>
                      <a:cubicBezTo>
                        <a:pt x="1992" y="1589"/>
                        <a:pt x="1992" y="1589"/>
                        <a:pt x="1992" y="1589"/>
                      </a:cubicBezTo>
                      <a:cubicBezTo>
                        <a:pt x="1991" y="1586"/>
                        <a:pt x="1991" y="1586"/>
                        <a:pt x="1991" y="1586"/>
                      </a:cubicBezTo>
                      <a:cubicBezTo>
                        <a:pt x="1986" y="1586"/>
                        <a:pt x="1986" y="1586"/>
                        <a:pt x="1986" y="1586"/>
                      </a:cubicBezTo>
                      <a:lnTo>
                        <a:pt x="1983" y="1587"/>
                      </a:lnTo>
                      <a:close/>
                      <a:moveTo>
                        <a:pt x="1974" y="1611"/>
                      </a:moveTo>
                      <a:cubicBezTo>
                        <a:pt x="1973" y="1607"/>
                        <a:pt x="1973" y="1607"/>
                        <a:pt x="1973" y="1607"/>
                      </a:cubicBezTo>
                      <a:cubicBezTo>
                        <a:pt x="1966" y="1614"/>
                        <a:pt x="1966" y="1614"/>
                        <a:pt x="1966" y="1614"/>
                      </a:cubicBezTo>
                      <a:cubicBezTo>
                        <a:pt x="1966" y="1618"/>
                        <a:pt x="1966" y="1618"/>
                        <a:pt x="1966" y="1618"/>
                      </a:cubicBezTo>
                      <a:cubicBezTo>
                        <a:pt x="1972" y="1616"/>
                        <a:pt x="1972" y="1616"/>
                        <a:pt x="1972" y="1616"/>
                      </a:cubicBezTo>
                      <a:lnTo>
                        <a:pt x="1974" y="1611"/>
                      </a:lnTo>
                      <a:close/>
                      <a:moveTo>
                        <a:pt x="1950" y="1619"/>
                      </a:moveTo>
                      <a:cubicBezTo>
                        <a:pt x="1953" y="1619"/>
                        <a:pt x="1953" y="1619"/>
                        <a:pt x="1953" y="1619"/>
                      </a:cubicBezTo>
                      <a:cubicBezTo>
                        <a:pt x="1953" y="1614"/>
                        <a:pt x="1953" y="1614"/>
                        <a:pt x="1953" y="1614"/>
                      </a:cubicBezTo>
                      <a:cubicBezTo>
                        <a:pt x="1947" y="1614"/>
                        <a:pt x="1947" y="1614"/>
                        <a:pt x="1947" y="1614"/>
                      </a:cubicBezTo>
                      <a:cubicBezTo>
                        <a:pt x="1948" y="1616"/>
                        <a:pt x="1948" y="1616"/>
                        <a:pt x="1948" y="1616"/>
                      </a:cubicBezTo>
                      <a:lnTo>
                        <a:pt x="1950" y="1619"/>
                      </a:lnTo>
                      <a:close/>
                      <a:moveTo>
                        <a:pt x="2004" y="1595"/>
                      </a:moveTo>
                      <a:cubicBezTo>
                        <a:pt x="2005" y="1601"/>
                        <a:pt x="2005" y="1601"/>
                        <a:pt x="2005" y="1601"/>
                      </a:cubicBezTo>
                      <a:cubicBezTo>
                        <a:pt x="2010" y="1598"/>
                        <a:pt x="2010" y="1598"/>
                        <a:pt x="2010" y="1598"/>
                      </a:cubicBezTo>
                      <a:cubicBezTo>
                        <a:pt x="2007" y="1594"/>
                        <a:pt x="2007" y="1594"/>
                        <a:pt x="2007" y="1594"/>
                      </a:cubicBezTo>
                      <a:lnTo>
                        <a:pt x="2004" y="1595"/>
                      </a:lnTo>
                      <a:close/>
                      <a:moveTo>
                        <a:pt x="2013" y="1585"/>
                      </a:moveTo>
                      <a:cubicBezTo>
                        <a:pt x="2009" y="1585"/>
                        <a:pt x="2009" y="1585"/>
                        <a:pt x="2009" y="1585"/>
                      </a:cubicBezTo>
                      <a:cubicBezTo>
                        <a:pt x="2008" y="1589"/>
                        <a:pt x="2008" y="1589"/>
                        <a:pt x="2008" y="1589"/>
                      </a:cubicBezTo>
                      <a:cubicBezTo>
                        <a:pt x="2013" y="1592"/>
                        <a:pt x="2013" y="1592"/>
                        <a:pt x="2013" y="1592"/>
                      </a:cubicBezTo>
                      <a:lnTo>
                        <a:pt x="2013" y="1585"/>
                      </a:lnTo>
                      <a:close/>
                      <a:moveTo>
                        <a:pt x="2150" y="1618"/>
                      </a:moveTo>
                      <a:cubicBezTo>
                        <a:pt x="2157" y="1619"/>
                        <a:pt x="2157" y="1619"/>
                        <a:pt x="2157" y="1619"/>
                      </a:cubicBezTo>
                      <a:cubicBezTo>
                        <a:pt x="2161" y="1628"/>
                        <a:pt x="2161" y="1628"/>
                        <a:pt x="2161" y="1628"/>
                      </a:cubicBezTo>
                      <a:cubicBezTo>
                        <a:pt x="2167" y="1631"/>
                        <a:pt x="2167" y="1631"/>
                        <a:pt x="2167" y="1631"/>
                      </a:cubicBezTo>
                      <a:cubicBezTo>
                        <a:pt x="2170" y="1640"/>
                        <a:pt x="2170" y="1640"/>
                        <a:pt x="2170" y="1640"/>
                      </a:cubicBezTo>
                      <a:cubicBezTo>
                        <a:pt x="2178" y="1644"/>
                        <a:pt x="2178" y="1644"/>
                        <a:pt x="2178" y="1644"/>
                      </a:cubicBezTo>
                      <a:cubicBezTo>
                        <a:pt x="2190" y="1644"/>
                        <a:pt x="2190" y="1644"/>
                        <a:pt x="2190" y="1644"/>
                      </a:cubicBezTo>
                      <a:cubicBezTo>
                        <a:pt x="2200" y="1648"/>
                        <a:pt x="2200" y="1648"/>
                        <a:pt x="2200" y="1648"/>
                      </a:cubicBezTo>
                      <a:cubicBezTo>
                        <a:pt x="2211" y="1651"/>
                        <a:pt x="2211" y="1651"/>
                        <a:pt x="2211" y="1651"/>
                      </a:cubicBezTo>
                      <a:cubicBezTo>
                        <a:pt x="2214" y="1650"/>
                        <a:pt x="2214" y="1650"/>
                        <a:pt x="2214" y="1650"/>
                      </a:cubicBezTo>
                      <a:cubicBezTo>
                        <a:pt x="2212" y="1644"/>
                        <a:pt x="2212" y="1644"/>
                        <a:pt x="2212" y="1644"/>
                      </a:cubicBezTo>
                      <a:cubicBezTo>
                        <a:pt x="2197" y="1635"/>
                        <a:pt x="2197" y="1635"/>
                        <a:pt x="2197" y="1635"/>
                      </a:cubicBezTo>
                      <a:cubicBezTo>
                        <a:pt x="2187" y="1631"/>
                        <a:pt x="2187" y="1631"/>
                        <a:pt x="2187" y="1631"/>
                      </a:cubicBezTo>
                      <a:cubicBezTo>
                        <a:pt x="2181" y="1622"/>
                        <a:pt x="2181" y="1622"/>
                        <a:pt x="2181" y="1622"/>
                      </a:cubicBezTo>
                      <a:cubicBezTo>
                        <a:pt x="2182" y="1616"/>
                        <a:pt x="2182" y="1616"/>
                        <a:pt x="2182" y="1616"/>
                      </a:cubicBezTo>
                      <a:cubicBezTo>
                        <a:pt x="2174" y="1615"/>
                        <a:pt x="2174" y="1615"/>
                        <a:pt x="2174" y="1615"/>
                      </a:cubicBezTo>
                      <a:cubicBezTo>
                        <a:pt x="2167" y="1606"/>
                        <a:pt x="2167" y="1606"/>
                        <a:pt x="2167" y="1606"/>
                      </a:cubicBezTo>
                      <a:cubicBezTo>
                        <a:pt x="2167" y="1603"/>
                        <a:pt x="2167" y="1603"/>
                        <a:pt x="2167" y="1603"/>
                      </a:cubicBezTo>
                      <a:cubicBezTo>
                        <a:pt x="2175" y="1601"/>
                        <a:pt x="2175" y="1601"/>
                        <a:pt x="2175" y="1601"/>
                      </a:cubicBezTo>
                      <a:cubicBezTo>
                        <a:pt x="2176" y="1597"/>
                        <a:pt x="2176" y="1597"/>
                        <a:pt x="2176" y="1597"/>
                      </a:cubicBezTo>
                      <a:cubicBezTo>
                        <a:pt x="2172" y="1594"/>
                        <a:pt x="2172" y="1594"/>
                        <a:pt x="2172" y="1594"/>
                      </a:cubicBezTo>
                      <a:cubicBezTo>
                        <a:pt x="2152" y="1586"/>
                        <a:pt x="2152" y="1586"/>
                        <a:pt x="2152" y="1586"/>
                      </a:cubicBezTo>
                      <a:cubicBezTo>
                        <a:pt x="2150" y="1575"/>
                        <a:pt x="2150" y="1575"/>
                        <a:pt x="2150" y="1575"/>
                      </a:cubicBezTo>
                      <a:cubicBezTo>
                        <a:pt x="2142" y="1571"/>
                        <a:pt x="2142" y="1571"/>
                        <a:pt x="2142" y="1571"/>
                      </a:cubicBezTo>
                      <a:cubicBezTo>
                        <a:pt x="2131" y="1563"/>
                        <a:pt x="2131" y="1563"/>
                        <a:pt x="2131" y="1563"/>
                      </a:cubicBezTo>
                      <a:cubicBezTo>
                        <a:pt x="2123" y="1560"/>
                        <a:pt x="2123" y="1560"/>
                        <a:pt x="2123" y="1560"/>
                      </a:cubicBezTo>
                      <a:cubicBezTo>
                        <a:pt x="2103" y="1554"/>
                        <a:pt x="2103" y="1554"/>
                        <a:pt x="2103" y="1554"/>
                      </a:cubicBezTo>
                      <a:cubicBezTo>
                        <a:pt x="2091" y="1548"/>
                        <a:pt x="2091" y="1548"/>
                        <a:pt x="2091" y="1548"/>
                      </a:cubicBezTo>
                      <a:cubicBezTo>
                        <a:pt x="2080" y="1548"/>
                        <a:pt x="2080" y="1548"/>
                        <a:pt x="2080" y="1548"/>
                      </a:cubicBezTo>
                      <a:cubicBezTo>
                        <a:pt x="2068" y="1539"/>
                        <a:pt x="2068" y="1539"/>
                        <a:pt x="2068" y="1539"/>
                      </a:cubicBezTo>
                      <a:cubicBezTo>
                        <a:pt x="2046" y="1536"/>
                        <a:pt x="2046" y="1536"/>
                        <a:pt x="2046" y="1536"/>
                      </a:cubicBezTo>
                      <a:cubicBezTo>
                        <a:pt x="2039" y="1539"/>
                        <a:pt x="2039" y="1539"/>
                        <a:pt x="2039" y="1539"/>
                      </a:cubicBezTo>
                      <a:cubicBezTo>
                        <a:pt x="2039" y="1543"/>
                        <a:pt x="2039" y="1543"/>
                        <a:pt x="2039" y="1543"/>
                      </a:cubicBezTo>
                      <a:cubicBezTo>
                        <a:pt x="2020" y="1559"/>
                        <a:pt x="2020" y="1559"/>
                        <a:pt x="2020" y="1559"/>
                      </a:cubicBezTo>
                      <a:cubicBezTo>
                        <a:pt x="2014" y="1555"/>
                        <a:pt x="2014" y="1555"/>
                        <a:pt x="2014" y="1555"/>
                      </a:cubicBezTo>
                      <a:cubicBezTo>
                        <a:pt x="2012" y="1548"/>
                        <a:pt x="2012" y="1548"/>
                        <a:pt x="2012" y="1548"/>
                      </a:cubicBezTo>
                      <a:cubicBezTo>
                        <a:pt x="2006" y="1544"/>
                        <a:pt x="2006" y="1544"/>
                        <a:pt x="2006" y="1544"/>
                      </a:cubicBezTo>
                      <a:cubicBezTo>
                        <a:pt x="2006" y="1534"/>
                        <a:pt x="2006" y="1534"/>
                        <a:pt x="2006" y="1534"/>
                      </a:cubicBezTo>
                      <a:cubicBezTo>
                        <a:pt x="2003" y="1527"/>
                        <a:pt x="2003" y="1527"/>
                        <a:pt x="2003" y="1527"/>
                      </a:cubicBezTo>
                      <a:cubicBezTo>
                        <a:pt x="1993" y="1527"/>
                        <a:pt x="1993" y="1527"/>
                        <a:pt x="1993" y="1527"/>
                      </a:cubicBezTo>
                      <a:cubicBezTo>
                        <a:pt x="1986" y="1523"/>
                        <a:pt x="1986" y="1523"/>
                        <a:pt x="1986" y="1523"/>
                      </a:cubicBezTo>
                      <a:cubicBezTo>
                        <a:pt x="1981" y="1523"/>
                        <a:pt x="1981" y="1523"/>
                        <a:pt x="1981" y="1523"/>
                      </a:cubicBezTo>
                      <a:cubicBezTo>
                        <a:pt x="1976" y="1527"/>
                        <a:pt x="1976" y="1527"/>
                        <a:pt x="1976" y="1527"/>
                      </a:cubicBezTo>
                      <a:cubicBezTo>
                        <a:pt x="1971" y="1527"/>
                        <a:pt x="1971" y="1527"/>
                        <a:pt x="1971" y="1527"/>
                      </a:cubicBezTo>
                      <a:cubicBezTo>
                        <a:pt x="1968" y="1534"/>
                        <a:pt x="1968" y="1534"/>
                        <a:pt x="1968" y="1534"/>
                      </a:cubicBezTo>
                      <a:cubicBezTo>
                        <a:pt x="1976" y="1536"/>
                        <a:pt x="1976" y="1536"/>
                        <a:pt x="1976" y="1536"/>
                      </a:cubicBezTo>
                      <a:cubicBezTo>
                        <a:pt x="1981" y="1544"/>
                        <a:pt x="1981" y="1544"/>
                        <a:pt x="1981" y="1544"/>
                      </a:cubicBezTo>
                      <a:cubicBezTo>
                        <a:pt x="1985" y="1546"/>
                        <a:pt x="1985" y="1546"/>
                        <a:pt x="1985" y="1546"/>
                      </a:cubicBezTo>
                      <a:cubicBezTo>
                        <a:pt x="1997" y="1546"/>
                        <a:pt x="1997" y="1546"/>
                        <a:pt x="1997" y="1546"/>
                      </a:cubicBezTo>
                      <a:cubicBezTo>
                        <a:pt x="2000" y="1548"/>
                        <a:pt x="2000" y="1548"/>
                        <a:pt x="2000" y="1548"/>
                      </a:cubicBezTo>
                      <a:cubicBezTo>
                        <a:pt x="1997" y="1552"/>
                        <a:pt x="1997" y="1552"/>
                        <a:pt x="1997" y="1552"/>
                      </a:cubicBezTo>
                      <a:cubicBezTo>
                        <a:pt x="1979" y="1551"/>
                        <a:pt x="1979" y="1551"/>
                        <a:pt x="1979" y="1551"/>
                      </a:cubicBezTo>
                      <a:cubicBezTo>
                        <a:pt x="1979" y="1553"/>
                        <a:pt x="1979" y="1553"/>
                        <a:pt x="1979" y="1553"/>
                      </a:cubicBezTo>
                      <a:cubicBezTo>
                        <a:pt x="1985" y="1558"/>
                        <a:pt x="1985" y="1558"/>
                        <a:pt x="1985" y="1558"/>
                      </a:cubicBezTo>
                      <a:cubicBezTo>
                        <a:pt x="1988" y="1567"/>
                        <a:pt x="1988" y="1567"/>
                        <a:pt x="1988" y="1567"/>
                      </a:cubicBezTo>
                      <a:cubicBezTo>
                        <a:pt x="1995" y="1571"/>
                        <a:pt x="1995" y="1571"/>
                        <a:pt x="1995" y="1571"/>
                      </a:cubicBezTo>
                      <a:cubicBezTo>
                        <a:pt x="1997" y="1566"/>
                        <a:pt x="1997" y="1566"/>
                        <a:pt x="1997" y="1566"/>
                      </a:cubicBezTo>
                      <a:cubicBezTo>
                        <a:pt x="2002" y="1565"/>
                        <a:pt x="2002" y="1565"/>
                        <a:pt x="2002" y="1565"/>
                      </a:cubicBezTo>
                      <a:cubicBezTo>
                        <a:pt x="2013" y="1570"/>
                        <a:pt x="2013" y="1570"/>
                        <a:pt x="2013" y="1570"/>
                      </a:cubicBezTo>
                      <a:cubicBezTo>
                        <a:pt x="2025" y="1575"/>
                        <a:pt x="2025" y="1575"/>
                        <a:pt x="2025" y="1575"/>
                      </a:cubicBezTo>
                      <a:cubicBezTo>
                        <a:pt x="2036" y="1577"/>
                        <a:pt x="2036" y="1577"/>
                        <a:pt x="2036" y="1577"/>
                      </a:cubicBezTo>
                      <a:cubicBezTo>
                        <a:pt x="2045" y="1580"/>
                        <a:pt x="2045" y="1580"/>
                        <a:pt x="2045" y="1580"/>
                      </a:cubicBezTo>
                      <a:cubicBezTo>
                        <a:pt x="2058" y="1590"/>
                        <a:pt x="2058" y="1590"/>
                        <a:pt x="2058" y="1590"/>
                      </a:cubicBezTo>
                      <a:cubicBezTo>
                        <a:pt x="2059" y="1601"/>
                        <a:pt x="2059" y="1601"/>
                        <a:pt x="2059" y="1601"/>
                      </a:cubicBezTo>
                      <a:cubicBezTo>
                        <a:pt x="2064" y="1605"/>
                        <a:pt x="2064" y="1605"/>
                        <a:pt x="2064" y="1605"/>
                      </a:cubicBezTo>
                      <a:cubicBezTo>
                        <a:pt x="2067" y="1611"/>
                        <a:pt x="2067" y="1611"/>
                        <a:pt x="2067" y="1611"/>
                      </a:cubicBezTo>
                      <a:cubicBezTo>
                        <a:pt x="2068" y="1621"/>
                        <a:pt x="2068" y="1621"/>
                        <a:pt x="2068" y="1621"/>
                      </a:cubicBezTo>
                      <a:cubicBezTo>
                        <a:pt x="2079" y="1620"/>
                        <a:pt x="2079" y="1620"/>
                        <a:pt x="2079" y="1620"/>
                      </a:cubicBezTo>
                      <a:cubicBezTo>
                        <a:pt x="2086" y="1627"/>
                        <a:pt x="2086" y="1627"/>
                        <a:pt x="2086" y="1627"/>
                      </a:cubicBezTo>
                      <a:cubicBezTo>
                        <a:pt x="2095" y="1633"/>
                        <a:pt x="2095" y="1633"/>
                        <a:pt x="2095" y="1633"/>
                      </a:cubicBezTo>
                      <a:cubicBezTo>
                        <a:pt x="2118" y="1633"/>
                        <a:pt x="2118" y="1633"/>
                        <a:pt x="2118" y="1633"/>
                      </a:cubicBezTo>
                      <a:cubicBezTo>
                        <a:pt x="2124" y="1629"/>
                        <a:pt x="2124" y="1629"/>
                        <a:pt x="2124" y="1629"/>
                      </a:cubicBezTo>
                      <a:cubicBezTo>
                        <a:pt x="2117" y="1624"/>
                        <a:pt x="2117" y="1624"/>
                        <a:pt x="2117" y="1624"/>
                      </a:cubicBezTo>
                      <a:cubicBezTo>
                        <a:pt x="2119" y="1620"/>
                        <a:pt x="2119" y="1620"/>
                        <a:pt x="2119" y="1620"/>
                      </a:cubicBezTo>
                      <a:cubicBezTo>
                        <a:pt x="2130" y="1620"/>
                        <a:pt x="2130" y="1620"/>
                        <a:pt x="2130" y="1620"/>
                      </a:cubicBezTo>
                      <a:cubicBezTo>
                        <a:pt x="2128" y="1613"/>
                        <a:pt x="2128" y="1613"/>
                        <a:pt x="2128" y="1613"/>
                      </a:cubicBezTo>
                      <a:cubicBezTo>
                        <a:pt x="2137" y="1612"/>
                        <a:pt x="2137" y="1612"/>
                        <a:pt x="2137" y="1612"/>
                      </a:cubicBezTo>
                      <a:lnTo>
                        <a:pt x="2150" y="1618"/>
                      </a:lnTo>
                      <a:close/>
                      <a:moveTo>
                        <a:pt x="2062" y="1607"/>
                      </a:moveTo>
                      <a:cubicBezTo>
                        <a:pt x="2055" y="1609"/>
                        <a:pt x="2055" y="1609"/>
                        <a:pt x="2055" y="1609"/>
                      </a:cubicBezTo>
                      <a:cubicBezTo>
                        <a:pt x="2050" y="1618"/>
                        <a:pt x="2050" y="1618"/>
                        <a:pt x="2050" y="1618"/>
                      </a:cubicBezTo>
                      <a:cubicBezTo>
                        <a:pt x="2051" y="1622"/>
                        <a:pt x="2051" y="1622"/>
                        <a:pt x="2051" y="1622"/>
                      </a:cubicBezTo>
                      <a:cubicBezTo>
                        <a:pt x="2065" y="1621"/>
                        <a:pt x="2065" y="1621"/>
                        <a:pt x="2065" y="1621"/>
                      </a:cubicBezTo>
                      <a:cubicBezTo>
                        <a:pt x="2064" y="1612"/>
                        <a:pt x="2064" y="1612"/>
                        <a:pt x="2064" y="1612"/>
                      </a:cubicBezTo>
                      <a:lnTo>
                        <a:pt x="2062" y="1607"/>
                      </a:lnTo>
                      <a:close/>
                      <a:moveTo>
                        <a:pt x="1922" y="1533"/>
                      </a:moveTo>
                      <a:cubicBezTo>
                        <a:pt x="1920" y="1535"/>
                        <a:pt x="1920" y="1535"/>
                        <a:pt x="1920" y="1535"/>
                      </a:cubicBezTo>
                      <a:cubicBezTo>
                        <a:pt x="1922" y="1536"/>
                        <a:pt x="1922" y="1536"/>
                        <a:pt x="1922" y="1536"/>
                      </a:cubicBezTo>
                      <a:cubicBezTo>
                        <a:pt x="1927" y="1537"/>
                        <a:pt x="1927" y="1537"/>
                        <a:pt x="1927" y="1537"/>
                      </a:cubicBezTo>
                      <a:cubicBezTo>
                        <a:pt x="1928" y="1534"/>
                        <a:pt x="1928" y="1534"/>
                        <a:pt x="1928" y="1534"/>
                      </a:cubicBezTo>
                      <a:lnTo>
                        <a:pt x="1922" y="1533"/>
                      </a:lnTo>
                      <a:close/>
                      <a:moveTo>
                        <a:pt x="1951" y="1537"/>
                      </a:moveTo>
                      <a:cubicBezTo>
                        <a:pt x="1952" y="1540"/>
                        <a:pt x="1952" y="1540"/>
                        <a:pt x="1952" y="1540"/>
                      </a:cubicBezTo>
                      <a:cubicBezTo>
                        <a:pt x="1956" y="1540"/>
                        <a:pt x="1956" y="1540"/>
                        <a:pt x="1956" y="1540"/>
                      </a:cubicBezTo>
                      <a:cubicBezTo>
                        <a:pt x="1960" y="1537"/>
                        <a:pt x="1960" y="1537"/>
                        <a:pt x="1960" y="1537"/>
                      </a:cubicBezTo>
                      <a:cubicBezTo>
                        <a:pt x="1960" y="1534"/>
                        <a:pt x="1960" y="1534"/>
                        <a:pt x="1960" y="1534"/>
                      </a:cubicBezTo>
                      <a:cubicBezTo>
                        <a:pt x="1953" y="1534"/>
                        <a:pt x="1953" y="1534"/>
                        <a:pt x="1953" y="1534"/>
                      </a:cubicBezTo>
                      <a:lnTo>
                        <a:pt x="1951" y="1537"/>
                      </a:lnTo>
                      <a:close/>
                      <a:moveTo>
                        <a:pt x="2035" y="1530"/>
                      </a:moveTo>
                      <a:cubicBezTo>
                        <a:pt x="2027" y="1524"/>
                        <a:pt x="2027" y="1524"/>
                        <a:pt x="2027" y="1524"/>
                      </a:cubicBezTo>
                      <a:cubicBezTo>
                        <a:pt x="2019" y="1523"/>
                        <a:pt x="2019" y="1523"/>
                        <a:pt x="2019" y="1523"/>
                      </a:cubicBezTo>
                      <a:cubicBezTo>
                        <a:pt x="2030" y="1533"/>
                        <a:pt x="2030" y="1533"/>
                        <a:pt x="2030" y="1533"/>
                      </a:cubicBezTo>
                      <a:lnTo>
                        <a:pt x="2035" y="1530"/>
                      </a:lnTo>
                      <a:close/>
                      <a:moveTo>
                        <a:pt x="2182" y="1583"/>
                      </a:moveTo>
                      <a:cubicBezTo>
                        <a:pt x="2185" y="1588"/>
                        <a:pt x="2185" y="1588"/>
                        <a:pt x="2185" y="1588"/>
                      </a:cubicBezTo>
                      <a:cubicBezTo>
                        <a:pt x="2194" y="1594"/>
                        <a:pt x="2194" y="1594"/>
                        <a:pt x="2194" y="1594"/>
                      </a:cubicBezTo>
                      <a:cubicBezTo>
                        <a:pt x="2208" y="1593"/>
                        <a:pt x="2208" y="1593"/>
                        <a:pt x="2208" y="1593"/>
                      </a:cubicBezTo>
                      <a:cubicBezTo>
                        <a:pt x="2230" y="1585"/>
                        <a:pt x="2230" y="1585"/>
                        <a:pt x="2230" y="1585"/>
                      </a:cubicBezTo>
                      <a:cubicBezTo>
                        <a:pt x="2233" y="1585"/>
                        <a:pt x="2233" y="1585"/>
                        <a:pt x="2233" y="1585"/>
                      </a:cubicBezTo>
                      <a:cubicBezTo>
                        <a:pt x="2232" y="1574"/>
                        <a:pt x="2232" y="1574"/>
                        <a:pt x="2232" y="1574"/>
                      </a:cubicBezTo>
                      <a:cubicBezTo>
                        <a:pt x="2234" y="1571"/>
                        <a:pt x="2234" y="1571"/>
                        <a:pt x="2234" y="1571"/>
                      </a:cubicBezTo>
                      <a:cubicBezTo>
                        <a:pt x="2229" y="1566"/>
                        <a:pt x="2229" y="1566"/>
                        <a:pt x="2229" y="1566"/>
                      </a:cubicBezTo>
                      <a:cubicBezTo>
                        <a:pt x="2226" y="1569"/>
                        <a:pt x="2226" y="1569"/>
                        <a:pt x="2226" y="1569"/>
                      </a:cubicBezTo>
                      <a:cubicBezTo>
                        <a:pt x="2225" y="1575"/>
                        <a:pt x="2225" y="1575"/>
                        <a:pt x="2225" y="1575"/>
                      </a:cubicBezTo>
                      <a:cubicBezTo>
                        <a:pt x="2213" y="1585"/>
                        <a:pt x="2213" y="1585"/>
                        <a:pt x="2213" y="1585"/>
                      </a:cubicBezTo>
                      <a:cubicBezTo>
                        <a:pt x="2201" y="1585"/>
                        <a:pt x="2201" y="1585"/>
                        <a:pt x="2201" y="1585"/>
                      </a:cubicBezTo>
                      <a:cubicBezTo>
                        <a:pt x="2201" y="1585"/>
                        <a:pt x="2195" y="1585"/>
                        <a:pt x="2191" y="1583"/>
                      </a:cubicBezTo>
                      <a:cubicBezTo>
                        <a:pt x="2188" y="1582"/>
                        <a:pt x="2182" y="1583"/>
                        <a:pt x="2182" y="1583"/>
                      </a:cubicBezTo>
                      <a:close/>
                      <a:moveTo>
                        <a:pt x="2215" y="1548"/>
                      </a:moveTo>
                      <a:cubicBezTo>
                        <a:pt x="2209" y="1545"/>
                        <a:pt x="2209" y="1545"/>
                        <a:pt x="2209" y="1545"/>
                      </a:cubicBezTo>
                      <a:cubicBezTo>
                        <a:pt x="2205" y="1545"/>
                        <a:pt x="2205" y="1545"/>
                        <a:pt x="2205" y="1545"/>
                      </a:cubicBezTo>
                      <a:cubicBezTo>
                        <a:pt x="2205" y="1549"/>
                        <a:pt x="2205" y="1549"/>
                        <a:pt x="2205" y="1549"/>
                      </a:cubicBezTo>
                      <a:cubicBezTo>
                        <a:pt x="2225" y="1555"/>
                        <a:pt x="2225" y="1555"/>
                        <a:pt x="2225" y="1555"/>
                      </a:cubicBezTo>
                      <a:cubicBezTo>
                        <a:pt x="2230" y="1561"/>
                        <a:pt x="2230" y="1561"/>
                        <a:pt x="2230" y="1561"/>
                      </a:cubicBezTo>
                      <a:cubicBezTo>
                        <a:pt x="2234" y="1562"/>
                        <a:pt x="2234" y="1562"/>
                        <a:pt x="2234" y="1562"/>
                      </a:cubicBezTo>
                      <a:cubicBezTo>
                        <a:pt x="2239" y="1574"/>
                        <a:pt x="2239" y="1574"/>
                        <a:pt x="2239" y="1574"/>
                      </a:cubicBezTo>
                      <a:cubicBezTo>
                        <a:pt x="2244" y="1572"/>
                        <a:pt x="2244" y="1572"/>
                        <a:pt x="2244" y="1572"/>
                      </a:cubicBezTo>
                      <a:cubicBezTo>
                        <a:pt x="2242" y="1564"/>
                        <a:pt x="2242" y="1564"/>
                        <a:pt x="2242" y="1564"/>
                      </a:cubicBezTo>
                      <a:cubicBezTo>
                        <a:pt x="2236" y="1561"/>
                        <a:pt x="2236" y="1561"/>
                        <a:pt x="2236" y="1561"/>
                      </a:cubicBezTo>
                      <a:cubicBezTo>
                        <a:pt x="2230" y="1554"/>
                        <a:pt x="2230" y="1554"/>
                        <a:pt x="2230" y="1554"/>
                      </a:cubicBezTo>
                      <a:cubicBezTo>
                        <a:pt x="2222" y="1549"/>
                        <a:pt x="2222" y="1549"/>
                        <a:pt x="2222" y="1549"/>
                      </a:cubicBezTo>
                      <a:lnTo>
                        <a:pt x="2215" y="1548"/>
                      </a:lnTo>
                      <a:close/>
                      <a:moveTo>
                        <a:pt x="2265" y="1584"/>
                      </a:moveTo>
                      <a:cubicBezTo>
                        <a:pt x="2265" y="1588"/>
                        <a:pt x="2265" y="1588"/>
                        <a:pt x="2265" y="1588"/>
                      </a:cubicBezTo>
                      <a:cubicBezTo>
                        <a:pt x="2265" y="1588"/>
                        <a:pt x="2269" y="1597"/>
                        <a:pt x="2271" y="1597"/>
                      </a:cubicBezTo>
                      <a:cubicBezTo>
                        <a:pt x="2272" y="1598"/>
                        <a:pt x="2277" y="1603"/>
                        <a:pt x="2277" y="1603"/>
                      </a:cubicBezTo>
                      <a:cubicBezTo>
                        <a:pt x="2277" y="1597"/>
                        <a:pt x="2277" y="1597"/>
                        <a:pt x="2277" y="1597"/>
                      </a:cubicBezTo>
                      <a:cubicBezTo>
                        <a:pt x="2276" y="1594"/>
                        <a:pt x="2276" y="1594"/>
                        <a:pt x="2276" y="1594"/>
                      </a:cubicBezTo>
                      <a:cubicBezTo>
                        <a:pt x="2265" y="1584"/>
                        <a:pt x="2265" y="1584"/>
                        <a:pt x="2265" y="1584"/>
                      </a:cubicBezTo>
                      <a:close/>
                      <a:moveTo>
                        <a:pt x="2287" y="1597"/>
                      </a:moveTo>
                      <a:cubicBezTo>
                        <a:pt x="2286" y="1601"/>
                        <a:pt x="2286" y="1601"/>
                        <a:pt x="2286" y="1601"/>
                      </a:cubicBezTo>
                      <a:cubicBezTo>
                        <a:pt x="2295" y="1607"/>
                        <a:pt x="2295" y="1607"/>
                        <a:pt x="2295" y="1607"/>
                      </a:cubicBezTo>
                      <a:cubicBezTo>
                        <a:pt x="2298" y="1605"/>
                        <a:pt x="2298" y="1605"/>
                        <a:pt x="2298" y="1605"/>
                      </a:cubicBezTo>
                      <a:cubicBezTo>
                        <a:pt x="2293" y="1599"/>
                        <a:pt x="2293" y="1599"/>
                        <a:pt x="2293" y="1599"/>
                      </a:cubicBezTo>
                      <a:lnTo>
                        <a:pt x="2287" y="1597"/>
                      </a:lnTo>
                      <a:close/>
                      <a:moveTo>
                        <a:pt x="2325" y="1614"/>
                      </a:moveTo>
                      <a:cubicBezTo>
                        <a:pt x="2314" y="1609"/>
                        <a:pt x="2314" y="1609"/>
                        <a:pt x="2314" y="1609"/>
                      </a:cubicBezTo>
                      <a:cubicBezTo>
                        <a:pt x="2310" y="1610"/>
                        <a:pt x="2310" y="1610"/>
                        <a:pt x="2310" y="1610"/>
                      </a:cubicBezTo>
                      <a:cubicBezTo>
                        <a:pt x="2311" y="1615"/>
                        <a:pt x="2311" y="1615"/>
                        <a:pt x="2311" y="1615"/>
                      </a:cubicBezTo>
                      <a:cubicBezTo>
                        <a:pt x="2326" y="1621"/>
                        <a:pt x="2326" y="1621"/>
                        <a:pt x="2326" y="1621"/>
                      </a:cubicBezTo>
                      <a:cubicBezTo>
                        <a:pt x="2331" y="1621"/>
                        <a:pt x="2331" y="1621"/>
                        <a:pt x="2331" y="1621"/>
                      </a:cubicBezTo>
                      <a:lnTo>
                        <a:pt x="2325" y="1614"/>
                      </a:lnTo>
                      <a:close/>
                      <a:moveTo>
                        <a:pt x="2353" y="1635"/>
                      </a:moveTo>
                      <a:cubicBezTo>
                        <a:pt x="2344" y="1623"/>
                        <a:pt x="2344" y="1623"/>
                        <a:pt x="2344" y="1623"/>
                      </a:cubicBezTo>
                      <a:cubicBezTo>
                        <a:pt x="2340" y="1622"/>
                        <a:pt x="2340" y="1622"/>
                        <a:pt x="2340" y="1622"/>
                      </a:cubicBezTo>
                      <a:cubicBezTo>
                        <a:pt x="2338" y="1625"/>
                        <a:pt x="2338" y="1625"/>
                        <a:pt x="2338" y="1625"/>
                      </a:cubicBezTo>
                      <a:cubicBezTo>
                        <a:pt x="2340" y="1629"/>
                        <a:pt x="2340" y="1629"/>
                        <a:pt x="2340" y="1629"/>
                      </a:cubicBezTo>
                      <a:cubicBezTo>
                        <a:pt x="2348" y="1637"/>
                        <a:pt x="2348" y="1637"/>
                        <a:pt x="2348" y="1637"/>
                      </a:cubicBezTo>
                      <a:cubicBezTo>
                        <a:pt x="2352" y="1638"/>
                        <a:pt x="2352" y="1638"/>
                        <a:pt x="2352" y="1638"/>
                      </a:cubicBezTo>
                      <a:lnTo>
                        <a:pt x="2353" y="1635"/>
                      </a:lnTo>
                      <a:close/>
                      <a:moveTo>
                        <a:pt x="2355" y="1645"/>
                      </a:moveTo>
                      <a:cubicBezTo>
                        <a:pt x="2349" y="1645"/>
                        <a:pt x="2349" y="1645"/>
                        <a:pt x="2349" y="1645"/>
                      </a:cubicBezTo>
                      <a:cubicBezTo>
                        <a:pt x="2350" y="1648"/>
                        <a:pt x="2350" y="1648"/>
                        <a:pt x="2350" y="1648"/>
                      </a:cubicBezTo>
                      <a:cubicBezTo>
                        <a:pt x="2357" y="1653"/>
                        <a:pt x="2357" y="1653"/>
                        <a:pt x="2357" y="1653"/>
                      </a:cubicBezTo>
                      <a:cubicBezTo>
                        <a:pt x="2360" y="1652"/>
                        <a:pt x="2360" y="1652"/>
                        <a:pt x="2360" y="1652"/>
                      </a:cubicBezTo>
                      <a:cubicBezTo>
                        <a:pt x="2359" y="1647"/>
                        <a:pt x="2359" y="1647"/>
                        <a:pt x="2359" y="1647"/>
                      </a:cubicBezTo>
                      <a:lnTo>
                        <a:pt x="2355" y="1645"/>
                      </a:lnTo>
                      <a:close/>
                      <a:moveTo>
                        <a:pt x="2331" y="1659"/>
                      </a:moveTo>
                      <a:cubicBezTo>
                        <a:pt x="2331" y="1662"/>
                        <a:pt x="2331" y="1662"/>
                        <a:pt x="2331" y="1662"/>
                      </a:cubicBezTo>
                      <a:cubicBezTo>
                        <a:pt x="2332" y="1664"/>
                        <a:pt x="2332" y="1664"/>
                        <a:pt x="2332" y="1664"/>
                      </a:cubicBezTo>
                      <a:cubicBezTo>
                        <a:pt x="2338" y="1663"/>
                        <a:pt x="2338" y="1663"/>
                        <a:pt x="2338" y="1663"/>
                      </a:cubicBezTo>
                      <a:cubicBezTo>
                        <a:pt x="2334" y="1658"/>
                        <a:pt x="2334" y="1658"/>
                        <a:pt x="2334" y="1658"/>
                      </a:cubicBezTo>
                      <a:lnTo>
                        <a:pt x="2331" y="1659"/>
                      </a:lnTo>
                      <a:close/>
                      <a:moveTo>
                        <a:pt x="2328" y="1632"/>
                      </a:moveTo>
                      <a:cubicBezTo>
                        <a:pt x="2328" y="1634"/>
                        <a:pt x="2328" y="1634"/>
                        <a:pt x="2328" y="1634"/>
                      </a:cubicBezTo>
                      <a:cubicBezTo>
                        <a:pt x="2334" y="1638"/>
                        <a:pt x="2334" y="1638"/>
                        <a:pt x="2334" y="1638"/>
                      </a:cubicBezTo>
                      <a:cubicBezTo>
                        <a:pt x="2340" y="1636"/>
                        <a:pt x="2340" y="1636"/>
                        <a:pt x="2340" y="1636"/>
                      </a:cubicBezTo>
                      <a:cubicBezTo>
                        <a:pt x="2334" y="1632"/>
                        <a:pt x="2334" y="1632"/>
                        <a:pt x="2334" y="1632"/>
                      </a:cubicBezTo>
                      <a:lnTo>
                        <a:pt x="2328" y="1632"/>
                      </a:lnTo>
                      <a:close/>
                      <a:moveTo>
                        <a:pt x="2220" y="1647"/>
                      </a:moveTo>
                      <a:cubicBezTo>
                        <a:pt x="2220" y="1643"/>
                        <a:pt x="2220" y="1643"/>
                        <a:pt x="2220" y="1643"/>
                      </a:cubicBezTo>
                      <a:cubicBezTo>
                        <a:pt x="2217" y="1638"/>
                        <a:pt x="2217" y="1638"/>
                        <a:pt x="2217" y="1638"/>
                      </a:cubicBezTo>
                      <a:cubicBezTo>
                        <a:pt x="2214" y="1640"/>
                        <a:pt x="2214" y="1640"/>
                        <a:pt x="2214" y="1640"/>
                      </a:cubicBezTo>
                      <a:cubicBezTo>
                        <a:pt x="2217" y="1643"/>
                        <a:pt x="2217" y="1643"/>
                        <a:pt x="2217" y="1643"/>
                      </a:cubicBezTo>
                      <a:cubicBezTo>
                        <a:pt x="2217" y="1647"/>
                        <a:pt x="2217" y="1647"/>
                        <a:pt x="2217" y="1647"/>
                      </a:cubicBezTo>
                      <a:lnTo>
                        <a:pt x="2220" y="1647"/>
                      </a:lnTo>
                      <a:close/>
                      <a:moveTo>
                        <a:pt x="2236" y="1652"/>
                      </a:moveTo>
                      <a:cubicBezTo>
                        <a:pt x="2241" y="1654"/>
                        <a:pt x="2241" y="1654"/>
                        <a:pt x="2241" y="1654"/>
                      </a:cubicBezTo>
                      <a:cubicBezTo>
                        <a:pt x="2244" y="1652"/>
                        <a:pt x="2244" y="1652"/>
                        <a:pt x="2244" y="1652"/>
                      </a:cubicBezTo>
                      <a:cubicBezTo>
                        <a:pt x="2241" y="1649"/>
                        <a:pt x="2241" y="1649"/>
                        <a:pt x="2241" y="1649"/>
                      </a:cubicBezTo>
                      <a:cubicBezTo>
                        <a:pt x="2236" y="1649"/>
                        <a:pt x="2236" y="1649"/>
                        <a:pt x="2236" y="1649"/>
                      </a:cubicBezTo>
                      <a:lnTo>
                        <a:pt x="2236" y="1652"/>
                      </a:lnTo>
                      <a:close/>
                      <a:moveTo>
                        <a:pt x="2177" y="2078"/>
                      </a:moveTo>
                      <a:cubicBezTo>
                        <a:pt x="2170" y="2084"/>
                        <a:pt x="2170" y="2084"/>
                        <a:pt x="2170" y="2084"/>
                      </a:cubicBezTo>
                      <a:cubicBezTo>
                        <a:pt x="2162" y="2086"/>
                        <a:pt x="2162" y="2086"/>
                        <a:pt x="2162" y="2086"/>
                      </a:cubicBezTo>
                      <a:cubicBezTo>
                        <a:pt x="2152" y="2082"/>
                        <a:pt x="2152" y="2082"/>
                        <a:pt x="2152" y="2082"/>
                      </a:cubicBezTo>
                      <a:cubicBezTo>
                        <a:pt x="2143" y="2077"/>
                        <a:pt x="2143" y="2077"/>
                        <a:pt x="2143" y="2077"/>
                      </a:cubicBezTo>
                      <a:cubicBezTo>
                        <a:pt x="2138" y="2077"/>
                        <a:pt x="2138" y="2077"/>
                        <a:pt x="2138" y="2077"/>
                      </a:cubicBezTo>
                      <a:cubicBezTo>
                        <a:pt x="2136" y="2080"/>
                        <a:pt x="2136" y="2080"/>
                        <a:pt x="2136" y="2080"/>
                      </a:cubicBezTo>
                      <a:cubicBezTo>
                        <a:pt x="2139" y="2088"/>
                        <a:pt x="2139" y="2088"/>
                        <a:pt x="2139" y="2088"/>
                      </a:cubicBezTo>
                      <a:cubicBezTo>
                        <a:pt x="2143" y="2093"/>
                        <a:pt x="2143" y="2093"/>
                        <a:pt x="2143" y="2093"/>
                      </a:cubicBezTo>
                      <a:cubicBezTo>
                        <a:pt x="2144" y="2107"/>
                        <a:pt x="2144" y="2107"/>
                        <a:pt x="2144" y="2107"/>
                      </a:cubicBezTo>
                      <a:cubicBezTo>
                        <a:pt x="2150" y="2114"/>
                        <a:pt x="2150" y="2114"/>
                        <a:pt x="2150" y="2114"/>
                      </a:cubicBezTo>
                      <a:cubicBezTo>
                        <a:pt x="2154" y="2122"/>
                        <a:pt x="2154" y="2122"/>
                        <a:pt x="2154" y="2122"/>
                      </a:cubicBezTo>
                      <a:cubicBezTo>
                        <a:pt x="2157" y="2126"/>
                        <a:pt x="2157" y="2126"/>
                        <a:pt x="2157" y="2126"/>
                      </a:cubicBezTo>
                      <a:cubicBezTo>
                        <a:pt x="2169" y="2125"/>
                        <a:pt x="2169" y="2125"/>
                        <a:pt x="2169" y="2125"/>
                      </a:cubicBezTo>
                      <a:cubicBezTo>
                        <a:pt x="2171" y="2118"/>
                        <a:pt x="2171" y="2118"/>
                        <a:pt x="2171" y="2118"/>
                      </a:cubicBezTo>
                      <a:cubicBezTo>
                        <a:pt x="2176" y="2118"/>
                        <a:pt x="2176" y="2118"/>
                        <a:pt x="2176" y="2118"/>
                      </a:cubicBezTo>
                      <a:cubicBezTo>
                        <a:pt x="2179" y="2110"/>
                        <a:pt x="2179" y="2110"/>
                        <a:pt x="2179" y="2110"/>
                      </a:cubicBezTo>
                      <a:cubicBezTo>
                        <a:pt x="2183" y="2104"/>
                        <a:pt x="2183" y="2104"/>
                        <a:pt x="2183" y="2104"/>
                      </a:cubicBezTo>
                      <a:cubicBezTo>
                        <a:pt x="2185" y="2091"/>
                        <a:pt x="2185" y="2091"/>
                        <a:pt x="2185" y="2091"/>
                      </a:cubicBezTo>
                      <a:cubicBezTo>
                        <a:pt x="2185" y="2079"/>
                        <a:pt x="2185" y="2079"/>
                        <a:pt x="2185" y="2079"/>
                      </a:cubicBezTo>
                      <a:cubicBezTo>
                        <a:pt x="2181" y="2077"/>
                        <a:pt x="2181" y="2077"/>
                        <a:pt x="2181" y="2077"/>
                      </a:cubicBezTo>
                      <a:lnTo>
                        <a:pt x="2177" y="2078"/>
                      </a:lnTo>
                      <a:close/>
                      <a:moveTo>
                        <a:pt x="2127" y="2061"/>
                      </a:moveTo>
                      <a:cubicBezTo>
                        <a:pt x="2127" y="2063"/>
                        <a:pt x="2127" y="2063"/>
                        <a:pt x="2127" y="2063"/>
                      </a:cubicBezTo>
                      <a:cubicBezTo>
                        <a:pt x="2128" y="2066"/>
                        <a:pt x="2128" y="2066"/>
                        <a:pt x="2128" y="2066"/>
                      </a:cubicBezTo>
                      <a:cubicBezTo>
                        <a:pt x="2130" y="2063"/>
                        <a:pt x="2130" y="2063"/>
                        <a:pt x="2130" y="2063"/>
                      </a:cubicBezTo>
                      <a:cubicBezTo>
                        <a:pt x="2128" y="2060"/>
                        <a:pt x="2128" y="2060"/>
                        <a:pt x="2128" y="2060"/>
                      </a:cubicBezTo>
                      <a:lnTo>
                        <a:pt x="2127" y="2061"/>
                      </a:lnTo>
                      <a:close/>
                      <a:moveTo>
                        <a:pt x="2180" y="2061"/>
                      </a:moveTo>
                      <a:cubicBezTo>
                        <a:pt x="2179" y="2064"/>
                        <a:pt x="2179" y="2064"/>
                        <a:pt x="2179" y="2064"/>
                      </a:cubicBezTo>
                      <a:cubicBezTo>
                        <a:pt x="2179" y="2065"/>
                        <a:pt x="2179" y="2065"/>
                        <a:pt x="2179" y="2065"/>
                      </a:cubicBezTo>
                      <a:cubicBezTo>
                        <a:pt x="2181" y="2068"/>
                        <a:pt x="2181" y="2068"/>
                        <a:pt x="2181" y="2068"/>
                      </a:cubicBezTo>
                      <a:cubicBezTo>
                        <a:pt x="2185" y="2068"/>
                        <a:pt x="2185" y="2068"/>
                        <a:pt x="2185" y="2068"/>
                      </a:cubicBezTo>
                      <a:cubicBezTo>
                        <a:pt x="2183" y="2061"/>
                        <a:pt x="2183" y="2061"/>
                        <a:pt x="2183" y="2061"/>
                      </a:cubicBezTo>
                      <a:cubicBezTo>
                        <a:pt x="2180" y="2061"/>
                        <a:pt x="2180" y="2061"/>
                        <a:pt x="2180" y="2061"/>
                      </a:cubicBezTo>
                      <a:close/>
                      <a:moveTo>
                        <a:pt x="2244" y="1864"/>
                      </a:moveTo>
                      <a:cubicBezTo>
                        <a:pt x="2246" y="1845"/>
                        <a:pt x="2246" y="1845"/>
                        <a:pt x="2246" y="1845"/>
                      </a:cubicBezTo>
                      <a:cubicBezTo>
                        <a:pt x="2245" y="1842"/>
                        <a:pt x="2245" y="1842"/>
                        <a:pt x="2245" y="1842"/>
                      </a:cubicBezTo>
                      <a:cubicBezTo>
                        <a:pt x="2241" y="1847"/>
                        <a:pt x="2241" y="1847"/>
                        <a:pt x="2241" y="1847"/>
                      </a:cubicBezTo>
                      <a:cubicBezTo>
                        <a:pt x="2235" y="1838"/>
                        <a:pt x="2235" y="1838"/>
                        <a:pt x="2235" y="1838"/>
                      </a:cubicBezTo>
                      <a:cubicBezTo>
                        <a:pt x="2229" y="1827"/>
                        <a:pt x="2229" y="1827"/>
                        <a:pt x="2229" y="1827"/>
                      </a:cubicBezTo>
                      <a:cubicBezTo>
                        <a:pt x="2223" y="1823"/>
                        <a:pt x="2223" y="1823"/>
                        <a:pt x="2223" y="1823"/>
                      </a:cubicBezTo>
                      <a:cubicBezTo>
                        <a:pt x="2214" y="1815"/>
                        <a:pt x="2214" y="1815"/>
                        <a:pt x="2214" y="1815"/>
                      </a:cubicBezTo>
                      <a:cubicBezTo>
                        <a:pt x="2213" y="1806"/>
                        <a:pt x="2213" y="1806"/>
                        <a:pt x="2213" y="1806"/>
                      </a:cubicBezTo>
                      <a:cubicBezTo>
                        <a:pt x="2209" y="1807"/>
                        <a:pt x="2209" y="1807"/>
                        <a:pt x="2209" y="1807"/>
                      </a:cubicBezTo>
                      <a:cubicBezTo>
                        <a:pt x="2203" y="1808"/>
                        <a:pt x="2203" y="1808"/>
                        <a:pt x="2203" y="1808"/>
                      </a:cubicBezTo>
                      <a:cubicBezTo>
                        <a:pt x="2196" y="1801"/>
                        <a:pt x="2196" y="1801"/>
                        <a:pt x="2196" y="1801"/>
                      </a:cubicBezTo>
                      <a:cubicBezTo>
                        <a:pt x="2196" y="1789"/>
                        <a:pt x="2196" y="1789"/>
                        <a:pt x="2196" y="1789"/>
                      </a:cubicBezTo>
                      <a:cubicBezTo>
                        <a:pt x="2190" y="1781"/>
                        <a:pt x="2190" y="1781"/>
                        <a:pt x="2190" y="1781"/>
                      </a:cubicBezTo>
                      <a:cubicBezTo>
                        <a:pt x="2189" y="1775"/>
                        <a:pt x="2189" y="1775"/>
                        <a:pt x="2189" y="1775"/>
                      </a:cubicBezTo>
                      <a:cubicBezTo>
                        <a:pt x="2187" y="1771"/>
                        <a:pt x="2187" y="1771"/>
                        <a:pt x="2187" y="1771"/>
                      </a:cubicBezTo>
                      <a:cubicBezTo>
                        <a:pt x="2178" y="1770"/>
                        <a:pt x="2178" y="1770"/>
                        <a:pt x="2178" y="1770"/>
                      </a:cubicBezTo>
                      <a:cubicBezTo>
                        <a:pt x="2172" y="1763"/>
                        <a:pt x="2172" y="1763"/>
                        <a:pt x="2172" y="1763"/>
                      </a:cubicBezTo>
                      <a:cubicBezTo>
                        <a:pt x="2162" y="1761"/>
                        <a:pt x="2162" y="1761"/>
                        <a:pt x="2162" y="1761"/>
                      </a:cubicBezTo>
                      <a:cubicBezTo>
                        <a:pt x="2160" y="1752"/>
                        <a:pt x="2160" y="1752"/>
                        <a:pt x="2160" y="1752"/>
                      </a:cubicBezTo>
                      <a:cubicBezTo>
                        <a:pt x="2157" y="1746"/>
                        <a:pt x="2157" y="1746"/>
                        <a:pt x="2157" y="1746"/>
                      </a:cubicBezTo>
                      <a:cubicBezTo>
                        <a:pt x="2154" y="1731"/>
                        <a:pt x="2154" y="1731"/>
                        <a:pt x="2154" y="1731"/>
                      </a:cubicBezTo>
                      <a:cubicBezTo>
                        <a:pt x="2148" y="1724"/>
                        <a:pt x="2148" y="1724"/>
                        <a:pt x="2148" y="1724"/>
                      </a:cubicBezTo>
                      <a:cubicBezTo>
                        <a:pt x="2146" y="1702"/>
                        <a:pt x="2146" y="1702"/>
                        <a:pt x="2146" y="1702"/>
                      </a:cubicBezTo>
                      <a:cubicBezTo>
                        <a:pt x="2142" y="1700"/>
                        <a:pt x="2142" y="1700"/>
                        <a:pt x="2142" y="1700"/>
                      </a:cubicBezTo>
                      <a:cubicBezTo>
                        <a:pt x="2136" y="1696"/>
                        <a:pt x="2136" y="1696"/>
                        <a:pt x="2136" y="1696"/>
                      </a:cubicBezTo>
                      <a:cubicBezTo>
                        <a:pt x="2132" y="1695"/>
                        <a:pt x="2132" y="1695"/>
                        <a:pt x="2132" y="1695"/>
                      </a:cubicBezTo>
                      <a:cubicBezTo>
                        <a:pt x="2130" y="1699"/>
                        <a:pt x="2130" y="1699"/>
                        <a:pt x="2130" y="1699"/>
                      </a:cubicBezTo>
                      <a:cubicBezTo>
                        <a:pt x="2127" y="1688"/>
                        <a:pt x="2127" y="1688"/>
                        <a:pt x="2127" y="1688"/>
                      </a:cubicBezTo>
                      <a:cubicBezTo>
                        <a:pt x="2121" y="1675"/>
                        <a:pt x="2121" y="1675"/>
                        <a:pt x="2121" y="1675"/>
                      </a:cubicBezTo>
                      <a:cubicBezTo>
                        <a:pt x="2120" y="1667"/>
                        <a:pt x="2120" y="1667"/>
                        <a:pt x="2120" y="1667"/>
                      </a:cubicBezTo>
                      <a:cubicBezTo>
                        <a:pt x="2116" y="1663"/>
                        <a:pt x="2116" y="1663"/>
                        <a:pt x="2116" y="1663"/>
                      </a:cubicBezTo>
                      <a:cubicBezTo>
                        <a:pt x="2115" y="1654"/>
                        <a:pt x="2115" y="1654"/>
                        <a:pt x="2115" y="1654"/>
                      </a:cubicBezTo>
                      <a:cubicBezTo>
                        <a:pt x="2111" y="1651"/>
                        <a:pt x="2111" y="1651"/>
                        <a:pt x="2111" y="1651"/>
                      </a:cubicBezTo>
                      <a:cubicBezTo>
                        <a:pt x="2109" y="1652"/>
                        <a:pt x="2109" y="1652"/>
                        <a:pt x="2109" y="1652"/>
                      </a:cubicBezTo>
                      <a:cubicBezTo>
                        <a:pt x="2107" y="1661"/>
                        <a:pt x="2107" y="1661"/>
                        <a:pt x="2107" y="1661"/>
                      </a:cubicBezTo>
                      <a:cubicBezTo>
                        <a:pt x="2105" y="1666"/>
                        <a:pt x="2105" y="1666"/>
                        <a:pt x="2105" y="1666"/>
                      </a:cubicBezTo>
                      <a:cubicBezTo>
                        <a:pt x="2101" y="1669"/>
                        <a:pt x="2101" y="1669"/>
                        <a:pt x="2101" y="1669"/>
                      </a:cubicBezTo>
                      <a:cubicBezTo>
                        <a:pt x="2099" y="1673"/>
                        <a:pt x="2099" y="1673"/>
                        <a:pt x="2099" y="1673"/>
                      </a:cubicBezTo>
                      <a:cubicBezTo>
                        <a:pt x="2103" y="1678"/>
                        <a:pt x="2103" y="1678"/>
                        <a:pt x="2103" y="1678"/>
                      </a:cubicBezTo>
                      <a:cubicBezTo>
                        <a:pt x="2101" y="1681"/>
                        <a:pt x="2101" y="1681"/>
                        <a:pt x="2101" y="1681"/>
                      </a:cubicBezTo>
                      <a:cubicBezTo>
                        <a:pt x="2098" y="1684"/>
                        <a:pt x="2098" y="1684"/>
                        <a:pt x="2098" y="1684"/>
                      </a:cubicBezTo>
                      <a:cubicBezTo>
                        <a:pt x="2098" y="1691"/>
                        <a:pt x="2098" y="1691"/>
                        <a:pt x="2098" y="1691"/>
                      </a:cubicBezTo>
                      <a:cubicBezTo>
                        <a:pt x="2101" y="1696"/>
                        <a:pt x="2101" y="1696"/>
                        <a:pt x="2101" y="1696"/>
                      </a:cubicBezTo>
                      <a:cubicBezTo>
                        <a:pt x="2100" y="1702"/>
                        <a:pt x="2100" y="1702"/>
                        <a:pt x="2100" y="1702"/>
                      </a:cubicBezTo>
                      <a:cubicBezTo>
                        <a:pt x="2097" y="1715"/>
                        <a:pt x="2097" y="1715"/>
                        <a:pt x="2097" y="1715"/>
                      </a:cubicBezTo>
                      <a:cubicBezTo>
                        <a:pt x="2093" y="1734"/>
                        <a:pt x="2093" y="1734"/>
                        <a:pt x="2093" y="1734"/>
                      </a:cubicBezTo>
                      <a:cubicBezTo>
                        <a:pt x="2086" y="1741"/>
                        <a:pt x="2086" y="1741"/>
                        <a:pt x="2086" y="1741"/>
                      </a:cubicBezTo>
                      <a:cubicBezTo>
                        <a:pt x="2075" y="1740"/>
                        <a:pt x="2075" y="1740"/>
                        <a:pt x="2075" y="1740"/>
                      </a:cubicBezTo>
                      <a:cubicBezTo>
                        <a:pt x="2068" y="1734"/>
                        <a:pt x="2068" y="1734"/>
                        <a:pt x="2068" y="1734"/>
                      </a:cubicBezTo>
                      <a:cubicBezTo>
                        <a:pt x="2064" y="1731"/>
                        <a:pt x="2064" y="1731"/>
                        <a:pt x="2064" y="1731"/>
                      </a:cubicBezTo>
                      <a:cubicBezTo>
                        <a:pt x="2054" y="1727"/>
                        <a:pt x="2054" y="1727"/>
                        <a:pt x="2054" y="1727"/>
                      </a:cubicBezTo>
                      <a:cubicBezTo>
                        <a:pt x="2044" y="1720"/>
                        <a:pt x="2044" y="1720"/>
                        <a:pt x="2044" y="1720"/>
                      </a:cubicBezTo>
                      <a:cubicBezTo>
                        <a:pt x="2043" y="1717"/>
                        <a:pt x="2043" y="1717"/>
                        <a:pt x="2043" y="1717"/>
                      </a:cubicBezTo>
                      <a:cubicBezTo>
                        <a:pt x="2035" y="1716"/>
                        <a:pt x="2035" y="1716"/>
                        <a:pt x="2035" y="1716"/>
                      </a:cubicBezTo>
                      <a:cubicBezTo>
                        <a:pt x="2033" y="1713"/>
                        <a:pt x="2033" y="1713"/>
                        <a:pt x="2033" y="1713"/>
                      </a:cubicBezTo>
                      <a:cubicBezTo>
                        <a:pt x="2027" y="1709"/>
                        <a:pt x="2027" y="1709"/>
                        <a:pt x="2027" y="1709"/>
                      </a:cubicBezTo>
                      <a:cubicBezTo>
                        <a:pt x="2022" y="1707"/>
                        <a:pt x="2022" y="1707"/>
                        <a:pt x="2022" y="1707"/>
                      </a:cubicBezTo>
                      <a:cubicBezTo>
                        <a:pt x="2024" y="1702"/>
                        <a:pt x="2024" y="1702"/>
                        <a:pt x="2024" y="1702"/>
                      </a:cubicBezTo>
                      <a:cubicBezTo>
                        <a:pt x="2028" y="1699"/>
                        <a:pt x="2028" y="1699"/>
                        <a:pt x="2028" y="1699"/>
                      </a:cubicBezTo>
                      <a:cubicBezTo>
                        <a:pt x="2028" y="1688"/>
                        <a:pt x="2028" y="1688"/>
                        <a:pt x="2028" y="1688"/>
                      </a:cubicBezTo>
                      <a:cubicBezTo>
                        <a:pt x="2035" y="1685"/>
                        <a:pt x="2035" y="1685"/>
                        <a:pt x="2035" y="1685"/>
                      </a:cubicBezTo>
                      <a:cubicBezTo>
                        <a:pt x="2038" y="1682"/>
                        <a:pt x="2038" y="1682"/>
                        <a:pt x="2038" y="1682"/>
                      </a:cubicBezTo>
                      <a:cubicBezTo>
                        <a:pt x="2039" y="1676"/>
                        <a:pt x="2039" y="1676"/>
                        <a:pt x="2039" y="1676"/>
                      </a:cubicBezTo>
                      <a:cubicBezTo>
                        <a:pt x="2039" y="1670"/>
                        <a:pt x="2039" y="1670"/>
                        <a:pt x="2039" y="1670"/>
                      </a:cubicBezTo>
                      <a:cubicBezTo>
                        <a:pt x="2035" y="1669"/>
                        <a:pt x="2035" y="1669"/>
                        <a:pt x="2035" y="1669"/>
                      </a:cubicBezTo>
                      <a:cubicBezTo>
                        <a:pt x="2030" y="1671"/>
                        <a:pt x="2030" y="1671"/>
                        <a:pt x="2030" y="1671"/>
                      </a:cubicBezTo>
                      <a:cubicBezTo>
                        <a:pt x="2027" y="1669"/>
                        <a:pt x="2027" y="1669"/>
                        <a:pt x="2027" y="1669"/>
                      </a:cubicBezTo>
                      <a:cubicBezTo>
                        <a:pt x="2016" y="1669"/>
                        <a:pt x="2016" y="1669"/>
                        <a:pt x="2016" y="1669"/>
                      </a:cubicBezTo>
                      <a:cubicBezTo>
                        <a:pt x="2009" y="1665"/>
                        <a:pt x="2009" y="1665"/>
                        <a:pt x="2009" y="1665"/>
                      </a:cubicBezTo>
                      <a:cubicBezTo>
                        <a:pt x="1995" y="1664"/>
                        <a:pt x="1995" y="1664"/>
                        <a:pt x="1995" y="1664"/>
                      </a:cubicBezTo>
                      <a:cubicBezTo>
                        <a:pt x="1989" y="1660"/>
                        <a:pt x="1989" y="1660"/>
                        <a:pt x="1989" y="1660"/>
                      </a:cubicBezTo>
                      <a:cubicBezTo>
                        <a:pt x="1977" y="1659"/>
                        <a:pt x="1977" y="1659"/>
                        <a:pt x="1977" y="1659"/>
                      </a:cubicBezTo>
                      <a:cubicBezTo>
                        <a:pt x="1977" y="1662"/>
                        <a:pt x="1977" y="1662"/>
                        <a:pt x="1977" y="1662"/>
                      </a:cubicBezTo>
                      <a:cubicBezTo>
                        <a:pt x="1986" y="1667"/>
                        <a:pt x="1986" y="1667"/>
                        <a:pt x="1986" y="1667"/>
                      </a:cubicBezTo>
                      <a:cubicBezTo>
                        <a:pt x="1985" y="1673"/>
                        <a:pt x="1985" y="1673"/>
                        <a:pt x="1985" y="1673"/>
                      </a:cubicBezTo>
                      <a:cubicBezTo>
                        <a:pt x="1968" y="1672"/>
                        <a:pt x="1968" y="1672"/>
                        <a:pt x="1968" y="1672"/>
                      </a:cubicBezTo>
                      <a:cubicBezTo>
                        <a:pt x="1961" y="1673"/>
                        <a:pt x="1961" y="1673"/>
                        <a:pt x="1961" y="1673"/>
                      </a:cubicBezTo>
                      <a:cubicBezTo>
                        <a:pt x="1955" y="1680"/>
                        <a:pt x="1955" y="1680"/>
                        <a:pt x="1955" y="1680"/>
                      </a:cubicBezTo>
                      <a:cubicBezTo>
                        <a:pt x="1955" y="1685"/>
                        <a:pt x="1955" y="1685"/>
                        <a:pt x="1955" y="1685"/>
                      </a:cubicBezTo>
                      <a:cubicBezTo>
                        <a:pt x="1951" y="1687"/>
                        <a:pt x="1951" y="1687"/>
                        <a:pt x="1951" y="1687"/>
                      </a:cubicBezTo>
                      <a:cubicBezTo>
                        <a:pt x="1946" y="1700"/>
                        <a:pt x="1946" y="1700"/>
                        <a:pt x="1946" y="1700"/>
                      </a:cubicBezTo>
                      <a:cubicBezTo>
                        <a:pt x="1952" y="1706"/>
                        <a:pt x="1952" y="1706"/>
                        <a:pt x="1952" y="1706"/>
                      </a:cubicBezTo>
                      <a:cubicBezTo>
                        <a:pt x="1953" y="1712"/>
                        <a:pt x="1953" y="1712"/>
                        <a:pt x="1953" y="1712"/>
                      </a:cubicBezTo>
                      <a:cubicBezTo>
                        <a:pt x="1951" y="1714"/>
                        <a:pt x="1951" y="1714"/>
                        <a:pt x="1951" y="1714"/>
                      </a:cubicBezTo>
                      <a:cubicBezTo>
                        <a:pt x="1948" y="1709"/>
                        <a:pt x="1948" y="1709"/>
                        <a:pt x="1948" y="1709"/>
                      </a:cubicBezTo>
                      <a:cubicBezTo>
                        <a:pt x="1943" y="1710"/>
                        <a:pt x="1943" y="1710"/>
                        <a:pt x="1943" y="1710"/>
                      </a:cubicBezTo>
                      <a:cubicBezTo>
                        <a:pt x="1940" y="1710"/>
                        <a:pt x="1940" y="1710"/>
                        <a:pt x="1940" y="1710"/>
                      </a:cubicBezTo>
                      <a:cubicBezTo>
                        <a:pt x="1939" y="1706"/>
                        <a:pt x="1939" y="1706"/>
                        <a:pt x="1939" y="1706"/>
                      </a:cubicBezTo>
                      <a:cubicBezTo>
                        <a:pt x="1936" y="1706"/>
                        <a:pt x="1936" y="1706"/>
                        <a:pt x="1936" y="1706"/>
                      </a:cubicBezTo>
                      <a:cubicBezTo>
                        <a:pt x="1932" y="1710"/>
                        <a:pt x="1932" y="1710"/>
                        <a:pt x="1932" y="1710"/>
                      </a:cubicBezTo>
                      <a:cubicBezTo>
                        <a:pt x="1923" y="1691"/>
                        <a:pt x="1923" y="1691"/>
                        <a:pt x="1923" y="1691"/>
                      </a:cubicBezTo>
                      <a:cubicBezTo>
                        <a:pt x="1917" y="1692"/>
                        <a:pt x="1917" y="1692"/>
                        <a:pt x="1917" y="1692"/>
                      </a:cubicBezTo>
                      <a:cubicBezTo>
                        <a:pt x="1913" y="1695"/>
                        <a:pt x="1913" y="1695"/>
                        <a:pt x="1913" y="1695"/>
                      </a:cubicBezTo>
                      <a:cubicBezTo>
                        <a:pt x="1908" y="1695"/>
                        <a:pt x="1908" y="1695"/>
                        <a:pt x="1908" y="1695"/>
                      </a:cubicBezTo>
                      <a:cubicBezTo>
                        <a:pt x="1904" y="1700"/>
                        <a:pt x="1904" y="1700"/>
                        <a:pt x="1904" y="1700"/>
                      </a:cubicBezTo>
                      <a:cubicBezTo>
                        <a:pt x="1899" y="1699"/>
                        <a:pt x="1899" y="1699"/>
                        <a:pt x="1899" y="1699"/>
                      </a:cubicBezTo>
                      <a:cubicBezTo>
                        <a:pt x="1892" y="1705"/>
                        <a:pt x="1892" y="1705"/>
                        <a:pt x="1892" y="1705"/>
                      </a:cubicBezTo>
                      <a:cubicBezTo>
                        <a:pt x="1892" y="1711"/>
                        <a:pt x="1892" y="1711"/>
                        <a:pt x="1892" y="1711"/>
                      </a:cubicBezTo>
                      <a:cubicBezTo>
                        <a:pt x="1884" y="1712"/>
                        <a:pt x="1884" y="1712"/>
                        <a:pt x="1884" y="1712"/>
                      </a:cubicBezTo>
                      <a:cubicBezTo>
                        <a:pt x="1882" y="1726"/>
                        <a:pt x="1882" y="1726"/>
                        <a:pt x="1882" y="1726"/>
                      </a:cubicBezTo>
                      <a:cubicBezTo>
                        <a:pt x="1877" y="1726"/>
                        <a:pt x="1877" y="1726"/>
                        <a:pt x="1877" y="1726"/>
                      </a:cubicBezTo>
                      <a:cubicBezTo>
                        <a:pt x="1873" y="1727"/>
                        <a:pt x="1873" y="1727"/>
                        <a:pt x="1873" y="1727"/>
                      </a:cubicBezTo>
                      <a:cubicBezTo>
                        <a:pt x="1872" y="1729"/>
                        <a:pt x="1872" y="1729"/>
                        <a:pt x="1872" y="1729"/>
                      </a:cubicBezTo>
                      <a:cubicBezTo>
                        <a:pt x="1875" y="1733"/>
                        <a:pt x="1875" y="1733"/>
                        <a:pt x="1875" y="1733"/>
                      </a:cubicBezTo>
                      <a:cubicBezTo>
                        <a:pt x="1868" y="1733"/>
                        <a:pt x="1868" y="1733"/>
                        <a:pt x="1868" y="1733"/>
                      </a:cubicBezTo>
                      <a:cubicBezTo>
                        <a:pt x="1861" y="1726"/>
                        <a:pt x="1861" y="1726"/>
                        <a:pt x="1861" y="1726"/>
                      </a:cubicBezTo>
                      <a:cubicBezTo>
                        <a:pt x="1857" y="1731"/>
                        <a:pt x="1857" y="1731"/>
                        <a:pt x="1857" y="1731"/>
                      </a:cubicBezTo>
                      <a:cubicBezTo>
                        <a:pt x="1854" y="1740"/>
                        <a:pt x="1854" y="1740"/>
                        <a:pt x="1854" y="1740"/>
                      </a:cubicBezTo>
                      <a:cubicBezTo>
                        <a:pt x="1852" y="1746"/>
                        <a:pt x="1852" y="1746"/>
                        <a:pt x="1852" y="1746"/>
                      </a:cubicBezTo>
                      <a:cubicBezTo>
                        <a:pt x="1856" y="1749"/>
                        <a:pt x="1856" y="1749"/>
                        <a:pt x="1856" y="1749"/>
                      </a:cubicBezTo>
                      <a:cubicBezTo>
                        <a:pt x="1848" y="1758"/>
                        <a:pt x="1848" y="1758"/>
                        <a:pt x="1848" y="1758"/>
                      </a:cubicBezTo>
                      <a:cubicBezTo>
                        <a:pt x="1845" y="1762"/>
                        <a:pt x="1845" y="1762"/>
                        <a:pt x="1845" y="1762"/>
                      </a:cubicBezTo>
                      <a:cubicBezTo>
                        <a:pt x="1833" y="1770"/>
                        <a:pt x="1833" y="1770"/>
                        <a:pt x="1833" y="1770"/>
                      </a:cubicBezTo>
                      <a:cubicBezTo>
                        <a:pt x="1830" y="1772"/>
                        <a:pt x="1830" y="1772"/>
                        <a:pt x="1830" y="1772"/>
                      </a:cubicBezTo>
                      <a:cubicBezTo>
                        <a:pt x="1817" y="1773"/>
                        <a:pt x="1817" y="1773"/>
                        <a:pt x="1817" y="1773"/>
                      </a:cubicBezTo>
                      <a:cubicBezTo>
                        <a:pt x="1813" y="1777"/>
                        <a:pt x="1813" y="1777"/>
                        <a:pt x="1813" y="1777"/>
                      </a:cubicBezTo>
                      <a:cubicBezTo>
                        <a:pt x="1805" y="1778"/>
                        <a:pt x="1805" y="1778"/>
                        <a:pt x="1805" y="1778"/>
                      </a:cubicBezTo>
                      <a:cubicBezTo>
                        <a:pt x="1798" y="1785"/>
                        <a:pt x="1798" y="1785"/>
                        <a:pt x="1798" y="1785"/>
                      </a:cubicBezTo>
                      <a:cubicBezTo>
                        <a:pt x="1792" y="1785"/>
                        <a:pt x="1792" y="1785"/>
                        <a:pt x="1792" y="1785"/>
                      </a:cubicBezTo>
                      <a:cubicBezTo>
                        <a:pt x="1788" y="1782"/>
                        <a:pt x="1788" y="1782"/>
                        <a:pt x="1788" y="1782"/>
                      </a:cubicBezTo>
                      <a:cubicBezTo>
                        <a:pt x="1782" y="1784"/>
                        <a:pt x="1782" y="1784"/>
                        <a:pt x="1782" y="1784"/>
                      </a:cubicBezTo>
                      <a:cubicBezTo>
                        <a:pt x="1772" y="1793"/>
                        <a:pt x="1772" y="1793"/>
                        <a:pt x="1772" y="1793"/>
                      </a:cubicBezTo>
                      <a:cubicBezTo>
                        <a:pt x="1770" y="1794"/>
                        <a:pt x="1770" y="1794"/>
                        <a:pt x="1770" y="1794"/>
                      </a:cubicBezTo>
                      <a:cubicBezTo>
                        <a:pt x="1762" y="1797"/>
                        <a:pt x="1762" y="1797"/>
                        <a:pt x="1762" y="1797"/>
                      </a:cubicBezTo>
                      <a:cubicBezTo>
                        <a:pt x="1756" y="1805"/>
                        <a:pt x="1756" y="1805"/>
                        <a:pt x="1756" y="1805"/>
                      </a:cubicBezTo>
                      <a:cubicBezTo>
                        <a:pt x="1754" y="1801"/>
                        <a:pt x="1754" y="1801"/>
                        <a:pt x="1754" y="1801"/>
                      </a:cubicBezTo>
                      <a:cubicBezTo>
                        <a:pt x="1752" y="1799"/>
                        <a:pt x="1752" y="1799"/>
                        <a:pt x="1752" y="1799"/>
                      </a:cubicBezTo>
                      <a:cubicBezTo>
                        <a:pt x="1750" y="1802"/>
                        <a:pt x="1750" y="1802"/>
                        <a:pt x="1750" y="1802"/>
                      </a:cubicBezTo>
                      <a:cubicBezTo>
                        <a:pt x="1744" y="1831"/>
                        <a:pt x="1744" y="1831"/>
                        <a:pt x="1744" y="1831"/>
                      </a:cubicBezTo>
                      <a:cubicBezTo>
                        <a:pt x="1747" y="1841"/>
                        <a:pt x="1747" y="1841"/>
                        <a:pt x="1747" y="1841"/>
                      </a:cubicBezTo>
                      <a:cubicBezTo>
                        <a:pt x="1753" y="1856"/>
                        <a:pt x="1753" y="1856"/>
                        <a:pt x="1753" y="1856"/>
                      </a:cubicBezTo>
                      <a:cubicBezTo>
                        <a:pt x="1752" y="1860"/>
                        <a:pt x="1752" y="1860"/>
                        <a:pt x="1752" y="1860"/>
                      </a:cubicBezTo>
                      <a:cubicBezTo>
                        <a:pt x="1751" y="1861"/>
                        <a:pt x="1751" y="1861"/>
                        <a:pt x="1751" y="1861"/>
                      </a:cubicBezTo>
                      <a:cubicBezTo>
                        <a:pt x="1746" y="1854"/>
                        <a:pt x="1746" y="1854"/>
                        <a:pt x="1746" y="1854"/>
                      </a:cubicBezTo>
                      <a:cubicBezTo>
                        <a:pt x="1744" y="1854"/>
                        <a:pt x="1744" y="1854"/>
                        <a:pt x="1744" y="1854"/>
                      </a:cubicBezTo>
                      <a:cubicBezTo>
                        <a:pt x="1745" y="1857"/>
                        <a:pt x="1745" y="1857"/>
                        <a:pt x="1745" y="1857"/>
                      </a:cubicBezTo>
                      <a:cubicBezTo>
                        <a:pt x="1749" y="1865"/>
                        <a:pt x="1749" y="1865"/>
                        <a:pt x="1749" y="1865"/>
                      </a:cubicBezTo>
                      <a:cubicBezTo>
                        <a:pt x="1746" y="1866"/>
                        <a:pt x="1746" y="1866"/>
                        <a:pt x="1746" y="1866"/>
                      </a:cubicBezTo>
                      <a:cubicBezTo>
                        <a:pt x="1738" y="1852"/>
                        <a:pt x="1738" y="1852"/>
                        <a:pt x="1738" y="1852"/>
                      </a:cubicBezTo>
                      <a:cubicBezTo>
                        <a:pt x="1735" y="1851"/>
                        <a:pt x="1735" y="1851"/>
                        <a:pt x="1735" y="1851"/>
                      </a:cubicBezTo>
                      <a:cubicBezTo>
                        <a:pt x="1735" y="1854"/>
                        <a:pt x="1735" y="1854"/>
                        <a:pt x="1735" y="1854"/>
                      </a:cubicBezTo>
                      <a:cubicBezTo>
                        <a:pt x="1746" y="1872"/>
                        <a:pt x="1746" y="1872"/>
                        <a:pt x="1746" y="1872"/>
                      </a:cubicBezTo>
                      <a:cubicBezTo>
                        <a:pt x="1748" y="1877"/>
                        <a:pt x="1748" y="1877"/>
                        <a:pt x="1748" y="1877"/>
                      </a:cubicBezTo>
                      <a:cubicBezTo>
                        <a:pt x="1752" y="1884"/>
                        <a:pt x="1752" y="1884"/>
                        <a:pt x="1752" y="1884"/>
                      </a:cubicBezTo>
                      <a:cubicBezTo>
                        <a:pt x="1752" y="1888"/>
                        <a:pt x="1752" y="1888"/>
                        <a:pt x="1752" y="1888"/>
                      </a:cubicBezTo>
                      <a:cubicBezTo>
                        <a:pt x="1760" y="1897"/>
                        <a:pt x="1760" y="1897"/>
                        <a:pt x="1760" y="1897"/>
                      </a:cubicBezTo>
                      <a:cubicBezTo>
                        <a:pt x="1761" y="1902"/>
                        <a:pt x="1761" y="1902"/>
                        <a:pt x="1761" y="1902"/>
                      </a:cubicBezTo>
                      <a:cubicBezTo>
                        <a:pt x="1761" y="1923"/>
                        <a:pt x="1761" y="1923"/>
                        <a:pt x="1761" y="1923"/>
                      </a:cubicBezTo>
                      <a:cubicBezTo>
                        <a:pt x="1767" y="1930"/>
                        <a:pt x="1767" y="1930"/>
                        <a:pt x="1767" y="1930"/>
                      </a:cubicBezTo>
                      <a:cubicBezTo>
                        <a:pt x="1769" y="1937"/>
                        <a:pt x="1769" y="1937"/>
                        <a:pt x="1769" y="1937"/>
                      </a:cubicBezTo>
                      <a:cubicBezTo>
                        <a:pt x="1772" y="1948"/>
                        <a:pt x="1772" y="1948"/>
                        <a:pt x="1772" y="1948"/>
                      </a:cubicBezTo>
                      <a:cubicBezTo>
                        <a:pt x="1770" y="1953"/>
                        <a:pt x="1770" y="1953"/>
                        <a:pt x="1770" y="1953"/>
                      </a:cubicBezTo>
                      <a:cubicBezTo>
                        <a:pt x="1768" y="1967"/>
                        <a:pt x="1768" y="1967"/>
                        <a:pt x="1768" y="1967"/>
                      </a:cubicBezTo>
                      <a:cubicBezTo>
                        <a:pt x="1763" y="1968"/>
                        <a:pt x="1763" y="1968"/>
                        <a:pt x="1763" y="1968"/>
                      </a:cubicBezTo>
                      <a:cubicBezTo>
                        <a:pt x="1761" y="1974"/>
                        <a:pt x="1761" y="1974"/>
                        <a:pt x="1761" y="1974"/>
                      </a:cubicBezTo>
                      <a:cubicBezTo>
                        <a:pt x="1764" y="1981"/>
                        <a:pt x="1764" y="1981"/>
                        <a:pt x="1764" y="1981"/>
                      </a:cubicBezTo>
                      <a:cubicBezTo>
                        <a:pt x="1775" y="1984"/>
                        <a:pt x="1775" y="1984"/>
                        <a:pt x="1775" y="1984"/>
                      </a:cubicBezTo>
                      <a:cubicBezTo>
                        <a:pt x="1780" y="1989"/>
                        <a:pt x="1780" y="1989"/>
                        <a:pt x="1780" y="1989"/>
                      </a:cubicBezTo>
                      <a:cubicBezTo>
                        <a:pt x="1792" y="1991"/>
                        <a:pt x="1792" y="1991"/>
                        <a:pt x="1792" y="1991"/>
                      </a:cubicBezTo>
                      <a:cubicBezTo>
                        <a:pt x="1806" y="1991"/>
                        <a:pt x="1806" y="1991"/>
                        <a:pt x="1806" y="1991"/>
                      </a:cubicBezTo>
                      <a:cubicBezTo>
                        <a:pt x="1808" y="1989"/>
                        <a:pt x="1808" y="1989"/>
                        <a:pt x="1808" y="1989"/>
                      </a:cubicBezTo>
                      <a:cubicBezTo>
                        <a:pt x="1809" y="1983"/>
                        <a:pt x="1809" y="1983"/>
                        <a:pt x="1809" y="1983"/>
                      </a:cubicBezTo>
                      <a:cubicBezTo>
                        <a:pt x="1817" y="1981"/>
                        <a:pt x="1817" y="1981"/>
                        <a:pt x="1817" y="1981"/>
                      </a:cubicBezTo>
                      <a:cubicBezTo>
                        <a:pt x="1821" y="1977"/>
                        <a:pt x="1821" y="1977"/>
                        <a:pt x="1821" y="1977"/>
                      </a:cubicBezTo>
                      <a:cubicBezTo>
                        <a:pt x="1833" y="1974"/>
                        <a:pt x="1833" y="1974"/>
                        <a:pt x="1833" y="1974"/>
                      </a:cubicBezTo>
                      <a:cubicBezTo>
                        <a:pt x="1837" y="1971"/>
                        <a:pt x="1837" y="1971"/>
                        <a:pt x="1837" y="1971"/>
                      </a:cubicBezTo>
                      <a:cubicBezTo>
                        <a:pt x="1857" y="1971"/>
                        <a:pt x="1857" y="1971"/>
                        <a:pt x="1857" y="1971"/>
                      </a:cubicBezTo>
                      <a:cubicBezTo>
                        <a:pt x="1860" y="1973"/>
                        <a:pt x="1860" y="1973"/>
                        <a:pt x="1860" y="1973"/>
                      </a:cubicBezTo>
                      <a:cubicBezTo>
                        <a:pt x="1869" y="1973"/>
                        <a:pt x="1869" y="1973"/>
                        <a:pt x="1869" y="1973"/>
                      </a:cubicBezTo>
                      <a:cubicBezTo>
                        <a:pt x="1875" y="1968"/>
                        <a:pt x="1875" y="1968"/>
                        <a:pt x="1875" y="1968"/>
                      </a:cubicBezTo>
                      <a:cubicBezTo>
                        <a:pt x="1875" y="1964"/>
                        <a:pt x="1875" y="1964"/>
                        <a:pt x="1875" y="1964"/>
                      </a:cubicBezTo>
                      <a:cubicBezTo>
                        <a:pt x="1886" y="1957"/>
                        <a:pt x="1886" y="1957"/>
                        <a:pt x="1886" y="1957"/>
                      </a:cubicBezTo>
                      <a:cubicBezTo>
                        <a:pt x="1894" y="1957"/>
                        <a:pt x="1894" y="1957"/>
                        <a:pt x="1894" y="1957"/>
                      </a:cubicBezTo>
                      <a:cubicBezTo>
                        <a:pt x="1904" y="1948"/>
                        <a:pt x="1904" y="1948"/>
                        <a:pt x="1904" y="1948"/>
                      </a:cubicBezTo>
                      <a:cubicBezTo>
                        <a:pt x="1922" y="1947"/>
                        <a:pt x="1922" y="1947"/>
                        <a:pt x="1922" y="1947"/>
                      </a:cubicBezTo>
                      <a:cubicBezTo>
                        <a:pt x="1940" y="1940"/>
                        <a:pt x="1940" y="1940"/>
                        <a:pt x="1940" y="1940"/>
                      </a:cubicBezTo>
                      <a:cubicBezTo>
                        <a:pt x="1967" y="1938"/>
                        <a:pt x="1967" y="1938"/>
                        <a:pt x="1967" y="1938"/>
                      </a:cubicBezTo>
                      <a:cubicBezTo>
                        <a:pt x="1982" y="1948"/>
                        <a:pt x="1982" y="1948"/>
                        <a:pt x="1982" y="1948"/>
                      </a:cubicBezTo>
                      <a:cubicBezTo>
                        <a:pt x="1989" y="1945"/>
                        <a:pt x="1989" y="1945"/>
                        <a:pt x="1989" y="1945"/>
                      </a:cubicBezTo>
                      <a:cubicBezTo>
                        <a:pt x="2001" y="1950"/>
                        <a:pt x="2001" y="1950"/>
                        <a:pt x="2001" y="1950"/>
                      </a:cubicBezTo>
                      <a:cubicBezTo>
                        <a:pt x="2008" y="1962"/>
                        <a:pt x="2008" y="1962"/>
                        <a:pt x="2008" y="1962"/>
                      </a:cubicBezTo>
                      <a:cubicBezTo>
                        <a:pt x="2015" y="1969"/>
                        <a:pt x="2015" y="1969"/>
                        <a:pt x="2015" y="1969"/>
                      </a:cubicBezTo>
                      <a:cubicBezTo>
                        <a:pt x="2016" y="1977"/>
                        <a:pt x="2016" y="1977"/>
                        <a:pt x="2016" y="1977"/>
                      </a:cubicBezTo>
                      <a:cubicBezTo>
                        <a:pt x="2013" y="1981"/>
                        <a:pt x="2013" y="1981"/>
                        <a:pt x="2013" y="1981"/>
                      </a:cubicBezTo>
                      <a:cubicBezTo>
                        <a:pt x="2016" y="1984"/>
                        <a:pt x="2016" y="1984"/>
                        <a:pt x="2016" y="1984"/>
                      </a:cubicBezTo>
                      <a:cubicBezTo>
                        <a:pt x="2026" y="1989"/>
                        <a:pt x="2026" y="1989"/>
                        <a:pt x="2026" y="1989"/>
                      </a:cubicBezTo>
                      <a:cubicBezTo>
                        <a:pt x="2033" y="1984"/>
                        <a:pt x="2033" y="1984"/>
                        <a:pt x="2033" y="1984"/>
                      </a:cubicBezTo>
                      <a:cubicBezTo>
                        <a:pt x="2031" y="1978"/>
                        <a:pt x="2031" y="1978"/>
                        <a:pt x="2031" y="1978"/>
                      </a:cubicBezTo>
                      <a:cubicBezTo>
                        <a:pt x="2042" y="1965"/>
                        <a:pt x="2042" y="1965"/>
                        <a:pt x="2042" y="1965"/>
                      </a:cubicBezTo>
                      <a:cubicBezTo>
                        <a:pt x="2046" y="1962"/>
                        <a:pt x="2046" y="1962"/>
                        <a:pt x="2046" y="1962"/>
                      </a:cubicBezTo>
                      <a:cubicBezTo>
                        <a:pt x="2047" y="1957"/>
                        <a:pt x="2047" y="1957"/>
                        <a:pt x="2047" y="1957"/>
                      </a:cubicBezTo>
                      <a:cubicBezTo>
                        <a:pt x="2053" y="1958"/>
                        <a:pt x="2053" y="1958"/>
                        <a:pt x="2053" y="1958"/>
                      </a:cubicBezTo>
                      <a:cubicBezTo>
                        <a:pt x="2053" y="1967"/>
                        <a:pt x="2053" y="1967"/>
                        <a:pt x="2053" y="1967"/>
                      </a:cubicBezTo>
                      <a:cubicBezTo>
                        <a:pt x="2048" y="1974"/>
                        <a:pt x="2048" y="1974"/>
                        <a:pt x="2048" y="1974"/>
                      </a:cubicBezTo>
                      <a:cubicBezTo>
                        <a:pt x="2046" y="1983"/>
                        <a:pt x="2046" y="1983"/>
                        <a:pt x="2046" y="1983"/>
                      </a:cubicBezTo>
                      <a:cubicBezTo>
                        <a:pt x="2042" y="1987"/>
                        <a:pt x="2042" y="1987"/>
                        <a:pt x="2042" y="1987"/>
                      </a:cubicBezTo>
                      <a:cubicBezTo>
                        <a:pt x="2039" y="1989"/>
                        <a:pt x="2039" y="1989"/>
                        <a:pt x="2039" y="1989"/>
                      </a:cubicBezTo>
                      <a:cubicBezTo>
                        <a:pt x="2039" y="1995"/>
                        <a:pt x="2039" y="1995"/>
                        <a:pt x="2039" y="1995"/>
                      </a:cubicBezTo>
                      <a:cubicBezTo>
                        <a:pt x="2046" y="1995"/>
                        <a:pt x="2046" y="1995"/>
                        <a:pt x="2046" y="1995"/>
                      </a:cubicBezTo>
                      <a:cubicBezTo>
                        <a:pt x="2052" y="1989"/>
                        <a:pt x="2052" y="1989"/>
                        <a:pt x="2052" y="1989"/>
                      </a:cubicBezTo>
                      <a:cubicBezTo>
                        <a:pt x="2052" y="1983"/>
                        <a:pt x="2052" y="1983"/>
                        <a:pt x="2052" y="1983"/>
                      </a:cubicBezTo>
                      <a:cubicBezTo>
                        <a:pt x="2059" y="1984"/>
                        <a:pt x="2059" y="1984"/>
                        <a:pt x="2059" y="1984"/>
                      </a:cubicBezTo>
                      <a:cubicBezTo>
                        <a:pt x="2062" y="1990"/>
                        <a:pt x="2062" y="1990"/>
                        <a:pt x="2062" y="1990"/>
                      </a:cubicBezTo>
                      <a:cubicBezTo>
                        <a:pt x="2055" y="1993"/>
                        <a:pt x="2055" y="1993"/>
                        <a:pt x="2055" y="1993"/>
                      </a:cubicBezTo>
                      <a:cubicBezTo>
                        <a:pt x="2057" y="1999"/>
                        <a:pt x="2057" y="1999"/>
                        <a:pt x="2057" y="1999"/>
                      </a:cubicBezTo>
                      <a:cubicBezTo>
                        <a:pt x="2068" y="2002"/>
                        <a:pt x="2068" y="2002"/>
                        <a:pt x="2068" y="2002"/>
                      </a:cubicBezTo>
                      <a:cubicBezTo>
                        <a:pt x="2071" y="2007"/>
                        <a:pt x="2071" y="2007"/>
                        <a:pt x="2071" y="2007"/>
                      </a:cubicBezTo>
                      <a:cubicBezTo>
                        <a:pt x="2076" y="2013"/>
                        <a:pt x="2076" y="2013"/>
                        <a:pt x="2076" y="2013"/>
                      </a:cubicBezTo>
                      <a:cubicBezTo>
                        <a:pt x="2073" y="2021"/>
                        <a:pt x="2073" y="2021"/>
                        <a:pt x="2073" y="2021"/>
                      </a:cubicBezTo>
                      <a:cubicBezTo>
                        <a:pt x="2079" y="2026"/>
                        <a:pt x="2079" y="2026"/>
                        <a:pt x="2079" y="2026"/>
                      </a:cubicBezTo>
                      <a:cubicBezTo>
                        <a:pt x="2082" y="2033"/>
                        <a:pt x="2082" y="2033"/>
                        <a:pt x="2082" y="2033"/>
                      </a:cubicBezTo>
                      <a:cubicBezTo>
                        <a:pt x="2088" y="2037"/>
                        <a:pt x="2088" y="2037"/>
                        <a:pt x="2088" y="2037"/>
                      </a:cubicBezTo>
                      <a:cubicBezTo>
                        <a:pt x="2095" y="2038"/>
                        <a:pt x="2095" y="2038"/>
                        <a:pt x="2095" y="2038"/>
                      </a:cubicBezTo>
                      <a:cubicBezTo>
                        <a:pt x="2098" y="2042"/>
                        <a:pt x="2098" y="2042"/>
                        <a:pt x="2098" y="2042"/>
                      </a:cubicBezTo>
                      <a:cubicBezTo>
                        <a:pt x="2098" y="2042"/>
                        <a:pt x="2101" y="2041"/>
                        <a:pt x="2103" y="2041"/>
                      </a:cubicBezTo>
                      <a:cubicBezTo>
                        <a:pt x="2105" y="2042"/>
                        <a:pt x="2127" y="2050"/>
                        <a:pt x="2127" y="2050"/>
                      </a:cubicBezTo>
                      <a:cubicBezTo>
                        <a:pt x="2126" y="2043"/>
                        <a:pt x="2126" y="2043"/>
                        <a:pt x="2126" y="2043"/>
                      </a:cubicBezTo>
                      <a:cubicBezTo>
                        <a:pt x="2133" y="2040"/>
                        <a:pt x="2133" y="2040"/>
                        <a:pt x="2133" y="2040"/>
                      </a:cubicBezTo>
                      <a:cubicBezTo>
                        <a:pt x="2137" y="2031"/>
                        <a:pt x="2137" y="2031"/>
                        <a:pt x="2137" y="2031"/>
                      </a:cubicBezTo>
                      <a:cubicBezTo>
                        <a:pt x="2148" y="2033"/>
                        <a:pt x="2148" y="2033"/>
                        <a:pt x="2148" y="2033"/>
                      </a:cubicBezTo>
                      <a:cubicBezTo>
                        <a:pt x="2146" y="2041"/>
                        <a:pt x="2146" y="2041"/>
                        <a:pt x="2146" y="2041"/>
                      </a:cubicBezTo>
                      <a:cubicBezTo>
                        <a:pt x="2152" y="2047"/>
                        <a:pt x="2152" y="2047"/>
                        <a:pt x="2152" y="2047"/>
                      </a:cubicBezTo>
                      <a:cubicBezTo>
                        <a:pt x="2163" y="2046"/>
                        <a:pt x="2163" y="2046"/>
                        <a:pt x="2163" y="2046"/>
                      </a:cubicBezTo>
                      <a:cubicBezTo>
                        <a:pt x="2171" y="2042"/>
                        <a:pt x="2171" y="2042"/>
                        <a:pt x="2171" y="2042"/>
                      </a:cubicBezTo>
                      <a:cubicBezTo>
                        <a:pt x="2172" y="2037"/>
                        <a:pt x="2172" y="2037"/>
                        <a:pt x="2172" y="2037"/>
                      </a:cubicBezTo>
                      <a:cubicBezTo>
                        <a:pt x="2177" y="2031"/>
                        <a:pt x="2177" y="2031"/>
                        <a:pt x="2177" y="2031"/>
                      </a:cubicBezTo>
                      <a:cubicBezTo>
                        <a:pt x="2185" y="2029"/>
                        <a:pt x="2185" y="2029"/>
                        <a:pt x="2185" y="2029"/>
                      </a:cubicBezTo>
                      <a:cubicBezTo>
                        <a:pt x="2205" y="2023"/>
                        <a:pt x="2205" y="2023"/>
                        <a:pt x="2205" y="2023"/>
                      </a:cubicBezTo>
                      <a:cubicBezTo>
                        <a:pt x="2206" y="2017"/>
                        <a:pt x="2206" y="2017"/>
                        <a:pt x="2206" y="2017"/>
                      </a:cubicBezTo>
                      <a:cubicBezTo>
                        <a:pt x="2205" y="2005"/>
                        <a:pt x="2205" y="2005"/>
                        <a:pt x="2205" y="2005"/>
                      </a:cubicBezTo>
                      <a:cubicBezTo>
                        <a:pt x="2215" y="1985"/>
                        <a:pt x="2215" y="1985"/>
                        <a:pt x="2215" y="1985"/>
                      </a:cubicBezTo>
                      <a:cubicBezTo>
                        <a:pt x="2214" y="1980"/>
                        <a:pt x="2214" y="1980"/>
                        <a:pt x="2214" y="1980"/>
                      </a:cubicBezTo>
                      <a:cubicBezTo>
                        <a:pt x="2223" y="1966"/>
                        <a:pt x="2223" y="1966"/>
                        <a:pt x="2223" y="1966"/>
                      </a:cubicBezTo>
                      <a:cubicBezTo>
                        <a:pt x="2223" y="1961"/>
                        <a:pt x="2223" y="1961"/>
                        <a:pt x="2223" y="1961"/>
                      </a:cubicBezTo>
                      <a:cubicBezTo>
                        <a:pt x="2236" y="1945"/>
                        <a:pt x="2236" y="1945"/>
                        <a:pt x="2236" y="1945"/>
                      </a:cubicBezTo>
                      <a:cubicBezTo>
                        <a:pt x="2241" y="1939"/>
                        <a:pt x="2241" y="1939"/>
                        <a:pt x="2241" y="1939"/>
                      </a:cubicBezTo>
                      <a:cubicBezTo>
                        <a:pt x="2241" y="1934"/>
                        <a:pt x="2241" y="1934"/>
                        <a:pt x="2241" y="1934"/>
                      </a:cubicBezTo>
                      <a:cubicBezTo>
                        <a:pt x="2246" y="1927"/>
                        <a:pt x="2246" y="1927"/>
                        <a:pt x="2246" y="1927"/>
                      </a:cubicBezTo>
                      <a:cubicBezTo>
                        <a:pt x="2246" y="1923"/>
                        <a:pt x="2246" y="1923"/>
                        <a:pt x="2246" y="1923"/>
                      </a:cubicBezTo>
                      <a:cubicBezTo>
                        <a:pt x="2245" y="1914"/>
                        <a:pt x="2245" y="1914"/>
                        <a:pt x="2245" y="1914"/>
                      </a:cubicBezTo>
                      <a:cubicBezTo>
                        <a:pt x="2248" y="1903"/>
                        <a:pt x="2248" y="1903"/>
                        <a:pt x="2248" y="1903"/>
                      </a:cubicBezTo>
                      <a:cubicBezTo>
                        <a:pt x="2248" y="1887"/>
                        <a:pt x="2248" y="1887"/>
                        <a:pt x="2248" y="1887"/>
                      </a:cubicBezTo>
                      <a:cubicBezTo>
                        <a:pt x="2251" y="1879"/>
                        <a:pt x="2251" y="1879"/>
                        <a:pt x="2251" y="1879"/>
                      </a:cubicBezTo>
                      <a:cubicBezTo>
                        <a:pt x="2245" y="1872"/>
                        <a:pt x="2245" y="1872"/>
                        <a:pt x="2245" y="1872"/>
                      </a:cubicBezTo>
                      <a:cubicBezTo>
                        <a:pt x="2244" y="1864"/>
                        <a:pt x="2244" y="1864"/>
                        <a:pt x="2244" y="1864"/>
                      </a:cubicBezTo>
                      <a:close/>
                      <a:moveTo>
                        <a:pt x="2028" y="1953"/>
                      </a:moveTo>
                      <a:cubicBezTo>
                        <a:pt x="2024" y="1955"/>
                        <a:pt x="2026" y="1950"/>
                        <a:pt x="2023" y="1949"/>
                      </a:cubicBezTo>
                      <a:cubicBezTo>
                        <a:pt x="2021" y="1947"/>
                        <a:pt x="2017" y="1940"/>
                        <a:pt x="2023" y="1941"/>
                      </a:cubicBezTo>
                      <a:cubicBezTo>
                        <a:pt x="2026" y="1940"/>
                        <a:pt x="2027" y="1943"/>
                        <a:pt x="2028" y="1946"/>
                      </a:cubicBezTo>
                      <a:lnTo>
                        <a:pt x="2028" y="1953"/>
                      </a:lnTo>
                      <a:close/>
                      <a:moveTo>
                        <a:pt x="2037" y="1889"/>
                      </a:moveTo>
                      <a:cubicBezTo>
                        <a:pt x="2042" y="1890"/>
                        <a:pt x="2047" y="1892"/>
                        <a:pt x="2049" y="1897"/>
                      </a:cubicBezTo>
                      <a:cubicBezTo>
                        <a:pt x="2049" y="1900"/>
                        <a:pt x="2046" y="1901"/>
                        <a:pt x="2044" y="1903"/>
                      </a:cubicBezTo>
                      <a:cubicBezTo>
                        <a:pt x="2036" y="1903"/>
                        <a:pt x="2036" y="1903"/>
                        <a:pt x="2036" y="1903"/>
                      </a:cubicBezTo>
                      <a:cubicBezTo>
                        <a:pt x="2037" y="1898"/>
                        <a:pt x="2028" y="1891"/>
                        <a:pt x="2037" y="1889"/>
                      </a:cubicBezTo>
                      <a:close/>
                      <a:moveTo>
                        <a:pt x="2047" y="1949"/>
                      </a:moveTo>
                      <a:cubicBezTo>
                        <a:pt x="2046" y="1942"/>
                        <a:pt x="2044" y="1936"/>
                        <a:pt x="2041" y="1931"/>
                      </a:cubicBezTo>
                      <a:cubicBezTo>
                        <a:pt x="2041" y="1929"/>
                        <a:pt x="2041" y="1927"/>
                        <a:pt x="2043" y="1927"/>
                      </a:cubicBezTo>
                      <a:cubicBezTo>
                        <a:pt x="2050" y="1928"/>
                        <a:pt x="2049" y="1936"/>
                        <a:pt x="2051" y="1941"/>
                      </a:cubicBezTo>
                      <a:cubicBezTo>
                        <a:pt x="2050" y="1943"/>
                        <a:pt x="2051" y="1949"/>
                        <a:pt x="2047" y="1949"/>
                      </a:cubicBezTo>
                      <a:close/>
                      <a:moveTo>
                        <a:pt x="1010" y="1177"/>
                      </a:moveTo>
                      <a:cubicBezTo>
                        <a:pt x="1019" y="1173"/>
                        <a:pt x="1019" y="1173"/>
                        <a:pt x="1019" y="1173"/>
                      </a:cubicBezTo>
                      <a:cubicBezTo>
                        <a:pt x="1017" y="1171"/>
                        <a:pt x="1017" y="1171"/>
                        <a:pt x="1017" y="1171"/>
                      </a:cubicBezTo>
                      <a:cubicBezTo>
                        <a:pt x="1010" y="1175"/>
                        <a:pt x="1010" y="1175"/>
                        <a:pt x="1010" y="1175"/>
                      </a:cubicBezTo>
                      <a:lnTo>
                        <a:pt x="1010" y="1177"/>
                      </a:lnTo>
                      <a:close/>
                      <a:moveTo>
                        <a:pt x="940" y="1175"/>
                      </a:moveTo>
                      <a:cubicBezTo>
                        <a:pt x="943" y="1178"/>
                        <a:pt x="943" y="1178"/>
                        <a:pt x="943" y="1178"/>
                      </a:cubicBezTo>
                      <a:cubicBezTo>
                        <a:pt x="947" y="1175"/>
                        <a:pt x="947" y="1175"/>
                        <a:pt x="947" y="1175"/>
                      </a:cubicBezTo>
                      <a:cubicBezTo>
                        <a:pt x="944" y="1174"/>
                        <a:pt x="944" y="1174"/>
                        <a:pt x="944" y="1174"/>
                      </a:cubicBezTo>
                      <a:lnTo>
                        <a:pt x="940" y="1175"/>
                      </a:lnTo>
                      <a:close/>
                      <a:moveTo>
                        <a:pt x="2416" y="1709"/>
                      </a:moveTo>
                      <a:cubicBezTo>
                        <a:pt x="2416" y="1714"/>
                        <a:pt x="2416" y="1714"/>
                        <a:pt x="2416" y="1714"/>
                      </a:cubicBezTo>
                      <a:cubicBezTo>
                        <a:pt x="2419" y="1717"/>
                        <a:pt x="2419" y="1717"/>
                        <a:pt x="2419" y="1717"/>
                      </a:cubicBezTo>
                      <a:cubicBezTo>
                        <a:pt x="2422" y="1713"/>
                        <a:pt x="2422" y="1713"/>
                        <a:pt x="2422" y="1713"/>
                      </a:cubicBezTo>
                      <a:cubicBezTo>
                        <a:pt x="2422" y="1707"/>
                        <a:pt x="2422" y="1707"/>
                        <a:pt x="2422" y="1707"/>
                      </a:cubicBezTo>
                      <a:cubicBezTo>
                        <a:pt x="2417" y="1705"/>
                        <a:pt x="2417" y="1705"/>
                        <a:pt x="2417" y="1705"/>
                      </a:cubicBezTo>
                      <a:lnTo>
                        <a:pt x="2416" y="1709"/>
                      </a:lnTo>
                      <a:close/>
                      <a:moveTo>
                        <a:pt x="2429" y="1724"/>
                      </a:moveTo>
                      <a:cubicBezTo>
                        <a:pt x="2429" y="1722"/>
                        <a:pt x="2429" y="1722"/>
                        <a:pt x="2429" y="1722"/>
                      </a:cubicBezTo>
                      <a:cubicBezTo>
                        <a:pt x="2423" y="1718"/>
                        <a:pt x="2423" y="1718"/>
                        <a:pt x="2423" y="1718"/>
                      </a:cubicBezTo>
                      <a:cubicBezTo>
                        <a:pt x="2422" y="1720"/>
                        <a:pt x="2422" y="1720"/>
                        <a:pt x="2422" y="1720"/>
                      </a:cubicBezTo>
                      <a:lnTo>
                        <a:pt x="2429" y="1724"/>
                      </a:lnTo>
                      <a:close/>
                      <a:moveTo>
                        <a:pt x="2447" y="1751"/>
                      </a:moveTo>
                      <a:cubicBezTo>
                        <a:pt x="2443" y="1752"/>
                        <a:pt x="2443" y="1752"/>
                        <a:pt x="2443" y="1752"/>
                      </a:cubicBezTo>
                      <a:cubicBezTo>
                        <a:pt x="2444" y="1755"/>
                        <a:pt x="2444" y="1755"/>
                        <a:pt x="2444" y="1755"/>
                      </a:cubicBezTo>
                      <a:cubicBezTo>
                        <a:pt x="2447" y="1758"/>
                        <a:pt x="2447" y="1758"/>
                        <a:pt x="2447" y="1758"/>
                      </a:cubicBezTo>
                      <a:cubicBezTo>
                        <a:pt x="2450" y="1757"/>
                        <a:pt x="2450" y="1757"/>
                        <a:pt x="2450" y="1757"/>
                      </a:cubicBezTo>
                      <a:lnTo>
                        <a:pt x="2447" y="1751"/>
                      </a:lnTo>
                      <a:close/>
                      <a:moveTo>
                        <a:pt x="2447" y="1766"/>
                      </a:moveTo>
                      <a:cubicBezTo>
                        <a:pt x="2450" y="1765"/>
                        <a:pt x="2450" y="1765"/>
                        <a:pt x="2450" y="1765"/>
                      </a:cubicBezTo>
                      <a:cubicBezTo>
                        <a:pt x="2450" y="1762"/>
                        <a:pt x="2450" y="1762"/>
                        <a:pt x="2450" y="1762"/>
                      </a:cubicBezTo>
                      <a:cubicBezTo>
                        <a:pt x="2447" y="1762"/>
                        <a:pt x="2447" y="1762"/>
                        <a:pt x="2447" y="1762"/>
                      </a:cubicBezTo>
                      <a:lnTo>
                        <a:pt x="2447" y="1766"/>
                      </a:lnTo>
                      <a:close/>
                      <a:moveTo>
                        <a:pt x="2421" y="1785"/>
                      </a:moveTo>
                      <a:cubicBezTo>
                        <a:pt x="2424" y="1785"/>
                        <a:pt x="2424" y="1785"/>
                        <a:pt x="2424" y="1785"/>
                      </a:cubicBezTo>
                      <a:cubicBezTo>
                        <a:pt x="2426" y="1783"/>
                        <a:pt x="2426" y="1783"/>
                        <a:pt x="2426" y="1783"/>
                      </a:cubicBezTo>
                      <a:cubicBezTo>
                        <a:pt x="2423" y="1781"/>
                        <a:pt x="2423" y="1781"/>
                        <a:pt x="2423" y="1781"/>
                      </a:cubicBezTo>
                      <a:cubicBezTo>
                        <a:pt x="2422" y="1782"/>
                        <a:pt x="2422" y="1782"/>
                        <a:pt x="2422" y="1782"/>
                      </a:cubicBezTo>
                      <a:lnTo>
                        <a:pt x="2421" y="1785"/>
                      </a:lnTo>
                      <a:close/>
                      <a:moveTo>
                        <a:pt x="2415" y="1779"/>
                      </a:moveTo>
                      <a:cubicBezTo>
                        <a:pt x="2415" y="1777"/>
                        <a:pt x="2415" y="1777"/>
                        <a:pt x="2415" y="1777"/>
                      </a:cubicBezTo>
                      <a:cubicBezTo>
                        <a:pt x="2413" y="1778"/>
                        <a:pt x="2413" y="1778"/>
                        <a:pt x="2413" y="1778"/>
                      </a:cubicBezTo>
                      <a:cubicBezTo>
                        <a:pt x="2413" y="1780"/>
                        <a:pt x="2413" y="1780"/>
                        <a:pt x="2413" y="1780"/>
                      </a:cubicBezTo>
                      <a:lnTo>
                        <a:pt x="2415" y="1779"/>
                      </a:lnTo>
                      <a:close/>
                      <a:moveTo>
                        <a:pt x="2418" y="1799"/>
                      </a:moveTo>
                      <a:cubicBezTo>
                        <a:pt x="2417" y="1796"/>
                        <a:pt x="2417" y="1796"/>
                        <a:pt x="2417" y="1796"/>
                      </a:cubicBezTo>
                      <a:cubicBezTo>
                        <a:pt x="2406" y="1788"/>
                        <a:pt x="2406" y="1788"/>
                        <a:pt x="2406" y="1788"/>
                      </a:cubicBezTo>
                      <a:cubicBezTo>
                        <a:pt x="2402" y="1786"/>
                        <a:pt x="2402" y="1786"/>
                        <a:pt x="2402" y="1786"/>
                      </a:cubicBezTo>
                      <a:cubicBezTo>
                        <a:pt x="2394" y="1779"/>
                        <a:pt x="2394" y="1779"/>
                        <a:pt x="2394" y="1779"/>
                      </a:cubicBezTo>
                      <a:cubicBezTo>
                        <a:pt x="2390" y="1779"/>
                        <a:pt x="2390" y="1779"/>
                        <a:pt x="2390" y="1779"/>
                      </a:cubicBezTo>
                      <a:cubicBezTo>
                        <a:pt x="2387" y="1776"/>
                        <a:pt x="2387" y="1776"/>
                        <a:pt x="2387" y="1776"/>
                      </a:cubicBezTo>
                      <a:cubicBezTo>
                        <a:pt x="2384" y="1775"/>
                        <a:pt x="2384" y="1775"/>
                        <a:pt x="2384" y="1775"/>
                      </a:cubicBezTo>
                      <a:cubicBezTo>
                        <a:pt x="2384" y="1782"/>
                        <a:pt x="2384" y="1782"/>
                        <a:pt x="2384" y="1782"/>
                      </a:cubicBezTo>
                      <a:cubicBezTo>
                        <a:pt x="2391" y="1789"/>
                        <a:pt x="2391" y="1789"/>
                        <a:pt x="2391" y="1789"/>
                      </a:cubicBezTo>
                      <a:cubicBezTo>
                        <a:pt x="2395" y="1791"/>
                        <a:pt x="2395" y="1791"/>
                        <a:pt x="2395" y="1791"/>
                      </a:cubicBezTo>
                      <a:cubicBezTo>
                        <a:pt x="2408" y="1799"/>
                        <a:pt x="2408" y="1799"/>
                        <a:pt x="2408" y="1799"/>
                      </a:cubicBezTo>
                      <a:cubicBezTo>
                        <a:pt x="2416" y="1801"/>
                        <a:pt x="2416" y="1801"/>
                        <a:pt x="2416" y="1801"/>
                      </a:cubicBezTo>
                      <a:lnTo>
                        <a:pt x="2418" y="1799"/>
                      </a:lnTo>
                      <a:close/>
                      <a:moveTo>
                        <a:pt x="2550" y="1744"/>
                      </a:moveTo>
                      <a:cubicBezTo>
                        <a:pt x="2555" y="1748"/>
                        <a:pt x="2555" y="1748"/>
                        <a:pt x="2555" y="1748"/>
                      </a:cubicBezTo>
                      <a:cubicBezTo>
                        <a:pt x="2564" y="1747"/>
                        <a:pt x="2564" y="1747"/>
                        <a:pt x="2564" y="1747"/>
                      </a:cubicBezTo>
                      <a:cubicBezTo>
                        <a:pt x="2564" y="1742"/>
                        <a:pt x="2564" y="1742"/>
                        <a:pt x="2564" y="1742"/>
                      </a:cubicBezTo>
                      <a:cubicBezTo>
                        <a:pt x="2562" y="1737"/>
                        <a:pt x="2562" y="1737"/>
                        <a:pt x="2562" y="1737"/>
                      </a:cubicBezTo>
                      <a:cubicBezTo>
                        <a:pt x="2551" y="1738"/>
                        <a:pt x="2551" y="1738"/>
                        <a:pt x="2551" y="1738"/>
                      </a:cubicBezTo>
                      <a:lnTo>
                        <a:pt x="2550" y="1744"/>
                      </a:lnTo>
                      <a:close/>
                      <a:moveTo>
                        <a:pt x="2574" y="1721"/>
                      </a:moveTo>
                      <a:cubicBezTo>
                        <a:pt x="2563" y="1727"/>
                        <a:pt x="2563" y="1727"/>
                        <a:pt x="2563" y="1727"/>
                      </a:cubicBezTo>
                      <a:cubicBezTo>
                        <a:pt x="2569" y="1729"/>
                        <a:pt x="2569" y="1729"/>
                        <a:pt x="2569" y="1729"/>
                      </a:cubicBezTo>
                      <a:cubicBezTo>
                        <a:pt x="2582" y="1722"/>
                        <a:pt x="2582" y="1722"/>
                        <a:pt x="2582" y="1722"/>
                      </a:cubicBezTo>
                      <a:cubicBezTo>
                        <a:pt x="2579" y="1719"/>
                        <a:pt x="2579" y="1719"/>
                        <a:pt x="2579" y="1719"/>
                      </a:cubicBezTo>
                      <a:lnTo>
                        <a:pt x="2574" y="1721"/>
                      </a:lnTo>
                      <a:close/>
                      <a:moveTo>
                        <a:pt x="2554" y="2025"/>
                      </a:moveTo>
                      <a:cubicBezTo>
                        <a:pt x="2545" y="2027"/>
                        <a:pt x="2545" y="2027"/>
                        <a:pt x="2545" y="2027"/>
                      </a:cubicBezTo>
                      <a:cubicBezTo>
                        <a:pt x="2536" y="2021"/>
                        <a:pt x="2536" y="2021"/>
                        <a:pt x="2536" y="2021"/>
                      </a:cubicBezTo>
                      <a:cubicBezTo>
                        <a:pt x="2533" y="2010"/>
                        <a:pt x="2533" y="2010"/>
                        <a:pt x="2533" y="2010"/>
                      </a:cubicBezTo>
                      <a:cubicBezTo>
                        <a:pt x="2527" y="2004"/>
                        <a:pt x="2527" y="2004"/>
                        <a:pt x="2527" y="2004"/>
                      </a:cubicBezTo>
                      <a:cubicBezTo>
                        <a:pt x="2528" y="2010"/>
                        <a:pt x="2528" y="2010"/>
                        <a:pt x="2528" y="2010"/>
                      </a:cubicBezTo>
                      <a:cubicBezTo>
                        <a:pt x="2527" y="2013"/>
                        <a:pt x="2527" y="2013"/>
                        <a:pt x="2527" y="2013"/>
                      </a:cubicBezTo>
                      <a:cubicBezTo>
                        <a:pt x="2522" y="2009"/>
                        <a:pt x="2522" y="2009"/>
                        <a:pt x="2522" y="2009"/>
                      </a:cubicBezTo>
                      <a:cubicBezTo>
                        <a:pt x="2517" y="1997"/>
                        <a:pt x="2517" y="1997"/>
                        <a:pt x="2517" y="1997"/>
                      </a:cubicBezTo>
                      <a:cubicBezTo>
                        <a:pt x="2517" y="1991"/>
                        <a:pt x="2517" y="1991"/>
                        <a:pt x="2517" y="1991"/>
                      </a:cubicBezTo>
                      <a:cubicBezTo>
                        <a:pt x="2510" y="1984"/>
                        <a:pt x="2510" y="1984"/>
                        <a:pt x="2510" y="1984"/>
                      </a:cubicBezTo>
                      <a:cubicBezTo>
                        <a:pt x="2507" y="1984"/>
                        <a:pt x="2507" y="1984"/>
                        <a:pt x="2507" y="1984"/>
                      </a:cubicBezTo>
                      <a:cubicBezTo>
                        <a:pt x="2493" y="1973"/>
                        <a:pt x="2493" y="1973"/>
                        <a:pt x="2493" y="1973"/>
                      </a:cubicBezTo>
                      <a:cubicBezTo>
                        <a:pt x="2493" y="1979"/>
                        <a:pt x="2493" y="1979"/>
                        <a:pt x="2493" y="1979"/>
                      </a:cubicBezTo>
                      <a:cubicBezTo>
                        <a:pt x="2498" y="1984"/>
                        <a:pt x="2498" y="1984"/>
                        <a:pt x="2498" y="1984"/>
                      </a:cubicBezTo>
                      <a:cubicBezTo>
                        <a:pt x="2510" y="2003"/>
                        <a:pt x="2510" y="2003"/>
                        <a:pt x="2510" y="2003"/>
                      </a:cubicBezTo>
                      <a:cubicBezTo>
                        <a:pt x="2516" y="2014"/>
                        <a:pt x="2516" y="2014"/>
                        <a:pt x="2516" y="2014"/>
                      </a:cubicBezTo>
                      <a:cubicBezTo>
                        <a:pt x="2520" y="2032"/>
                        <a:pt x="2520" y="2032"/>
                        <a:pt x="2520" y="2032"/>
                      </a:cubicBezTo>
                      <a:cubicBezTo>
                        <a:pt x="2518" y="2043"/>
                        <a:pt x="2518" y="2043"/>
                        <a:pt x="2518" y="2043"/>
                      </a:cubicBezTo>
                      <a:cubicBezTo>
                        <a:pt x="2507" y="2046"/>
                        <a:pt x="2507" y="2046"/>
                        <a:pt x="2507" y="2046"/>
                      </a:cubicBezTo>
                      <a:cubicBezTo>
                        <a:pt x="2507" y="2052"/>
                        <a:pt x="2507" y="2052"/>
                        <a:pt x="2507" y="2052"/>
                      </a:cubicBezTo>
                      <a:cubicBezTo>
                        <a:pt x="2516" y="2055"/>
                        <a:pt x="2516" y="2055"/>
                        <a:pt x="2516" y="2055"/>
                      </a:cubicBezTo>
                      <a:cubicBezTo>
                        <a:pt x="2524" y="2064"/>
                        <a:pt x="2524" y="2064"/>
                        <a:pt x="2524" y="2064"/>
                      </a:cubicBezTo>
                      <a:cubicBezTo>
                        <a:pt x="2523" y="2073"/>
                        <a:pt x="2523" y="2073"/>
                        <a:pt x="2523" y="2073"/>
                      </a:cubicBezTo>
                      <a:cubicBezTo>
                        <a:pt x="2516" y="2081"/>
                        <a:pt x="2516" y="2081"/>
                        <a:pt x="2516" y="2081"/>
                      </a:cubicBezTo>
                      <a:cubicBezTo>
                        <a:pt x="2524" y="2084"/>
                        <a:pt x="2524" y="2084"/>
                        <a:pt x="2524" y="2084"/>
                      </a:cubicBezTo>
                      <a:cubicBezTo>
                        <a:pt x="2532" y="2081"/>
                        <a:pt x="2532" y="2081"/>
                        <a:pt x="2532" y="2081"/>
                      </a:cubicBezTo>
                      <a:cubicBezTo>
                        <a:pt x="2543" y="2059"/>
                        <a:pt x="2543" y="2059"/>
                        <a:pt x="2543" y="2059"/>
                      </a:cubicBezTo>
                      <a:cubicBezTo>
                        <a:pt x="2547" y="2054"/>
                        <a:pt x="2547" y="2054"/>
                        <a:pt x="2547" y="2054"/>
                      </a:cubicBezTo>
                      <a:cubicBezTo>
                        <a:pt x="2545" y="2048"/>
                        <a:pt x="2545" y="2048"/>
                        <a:pt x="2545" y="2048"/>
                      </a:cubicBezTo>
                      <a:cubicBezTo>
                        <a:pt x="2545" y="2045"/>
                        <a:pt x="2545" y="2045"/>
                        <a:pt x="2545" y="2045"/>
                      </a:cubicBezTo>
                      <a:cubicBezTo>
                        <a:pt x="2554" y="2045"/>
                        <a:pt x="2554" y="2045"/>
                        <a:pt x="2554" y="2045"/>
                      </a:cubicBezTo>
                      <a:cubicBezTo>
                        <a:pt x="2560" y="2047"/>
                        <a:pt x="2560" y="2047"/>
                        <a:pt x="2560" y="2047"/>
                      </a:cubicBezTo>
                      <a:cubicBezTo>
                        <a:pt x="2562" y="2032"/>
                        <a:pt x="2562" y="2032"/>
                        <a:pt x="2562" y="2032"/>
                      </a:cubicBezTo>
                      <a:cubicBezTo>
                        <a:pt x="2565" y="2027"/>
                        <a:pt x="2565" y="2027"/>
                        <a:pt x="2565" y="2027"/>
                      </a:cubicBezTo>
                      <a:cubicBezTo>
                        <a:pt x="2565" y="2017"/>
                        <a:pt x="2565" y="2017"/>
                        <a:pt x="2565" y="2017"/>
                      </a:cubicBezTo>
                      <a:cubicBezTo>
                        <a:pt x="2558" y="2019"/>
                        <a:pt x="2558" y="2019"/>
                        <a:pt x="2558" y="2019"/>
                      </a:cubicBezTo>
                      <a:lnTo>
                        <a:pt x="2554" y="2025"/>
                      </a:lnTo>
                      <a:close/>
                      <a:moveTo>
                        <a:pt x="2501" y="2081"/>
                      </a:moveTo>
                      <a:cubicBezTo>
                        <a:pt x="2496" y="2081"/>
                        <a:pt x="2496" y="2081"/>
                        <a:pt x="2496" y="2081"/>
                      </a:cubicBezTo>
                      <a:cubicBezTo>
                        <a:pt x="2496" y="2074"/>
                        <a:pt x="2496" y="2074"/>
                        <a:pt x="2496" y="2074"/>
                      </a:cubicBezTo>
                      <a:cubicBezTo>
                        <a:pt x="2492" y="2070"/>
                        <a:pt x="2492" y="2070"/>
                        <a:pt x="2492" y="2070"/>
                      </a:cubicBezTo>
                      <a:cubicBezTo>
                        <a:pt x="2485" y="2073"/>
                        <a:pt x="2485" y="2073"/>
                        <a:pt x="2485" y="2073"/>
                      </a:cubicBezTo>
                      <a:cubicBezTo>
                        <a:pt x="2484" y="2081"/>
                        <a:pt x="2484" y="2081"/>
                        <a:pt x="2484" y="2081"/>
                      </a:cubicBezTo>
                      <a:cubicBezTo>
                        <a:pt x="2476" y="2091"/>
                        <a:pt x="2476" y="2091"/>
                        <a:pt x="2476" y="2091"/>
                      </a:cubicBezTo>
                      <a:cubicBezTo>
                        <a:pt x="2476" y="2098"/>
                        <a:pt x="2476" y="2098"/>
                        <a:pt x="2476" y="2098"/>
                      </a:cubicBezTo>
                      <a:cubicBezTo>
                        <a:pt x="2472" y="2106"/>
                        <a:pt x="2472" y="2106"/>
                        <a:pt x="2472" y="2106"/>
                      </a:cubicBezTo>
                      <a:cubicBezTo>
                        <a:pt x="2456" y="2115"/>
                        <a:pt x="2456" y="2115"/>
                        <a:pt x="2456" y="2115"/>
                      </a:cubicBezTo>
                      <a:cubicBezTo>
                        <a:pt x="2446" y="2126"/>
                        <a:pt x="2446" y="2126"/>
                        <a:pt x="2446" y="2126"/>
                      </a:cubicBezTo>
                      <a:cubicBezTo>
                        <a:pt x="2431" y="2134"/>
                        <a:pt x="2431" y="2134"/>
                        <a:pt x="2431" y="2134"/>
                      </a:cubicBezTo>
                      <a:cubicBezTo>
                        <a:pt x="2423" y="2143"/>
                        <a:pt x="2423" y="2143"/>
                        <a:pt x="2423" y="2143"/>
                      </a:cubicBezTo>
                      <a:cubicBezTo>
                        <a:pt x="2416" y="2158"/>
                        <a:pt x="2416" y="2158"/>
                        <a:pt x="2416" y="2158"/>
                      </a:cubicBezTo>
                      <a:cubicBezTo>
                        <a:pt x="2418" y="2165"/>
                        <a:pt x="2418" y="2165"/>
                        <a:pt x="2418" y="2165"/>
                      </a:cubicBezTo>
                      <a:cubicBezTo>
                        <a:pt x="2428" y="2165"/>
                        <a:pt x="2428" y="2165"/>
                        <a:pt x="2428" y="2165"/>
                      </a:cubicBezTo>
                      <a:cubicBezTo>
                        <a:pt x="2448" y="2172"/>
                        <a:pt x="2448" y="2172"/>
                        <a:pt x="2448" y="2172"/>
                      </a:cubicBezTo>
                      <a:cubicBezTo>
                        <a:pt x="2465" y="2156"/>
                        <a:pt x="2465" y="2156"/>
                        <a:pt x="2465" y="2156"/>
                      </a:cubicBezTo>
                      <a:cubicBezTo>
                        <a:pt x="2475" y="2135"/>
                        <a:pt x="2475" y="2135"/>
                        <a:pt x="2475" y="2135"/>
                      </a:cubicBezTo>
                      <a:cubicBezTo>
                        <a:pt x="2482" y="2126"/>
                        <a:pt x="2482" y="2126"/>
                        <a:pt x="2482" y="2126"/>
                      </a:cubicBezTo>
                      <a:cubicBezTo>
                        <a:pt x="2493" y="2123"/>
                        <a:pt x="2493" y="2123"/>
                        <a:pt x="2493" y="2123"/>
                      </a:cubicBezTo>
                      <a:cubicBezTo>
                        <a:pt x="2496" y="2114"/>
                        <a:pt x="2496" y="2114"/>
                        <a:pt x="2496" y="2114"/>
                      </a:cubicBezTo>
                      <a:cubicBezTo>
                        <a:pt x="2501" y="2108"/>
                        <a:pt x="2501" y="2108"/>
                        <a:pt x="2501" y="2108"/>
                      </a:cubicBezTo>
                      <a:cubicBezTo>
                        <a:pt x="2508" y="2097"/>
                        <a:pt x="2508" y="2097"/>
                        <a:pt x="2508" y="2097"/>
                      </a:cubicBezTo>
                      <a:cubicBezTo>
                        <a:pt x="2509" y="2078"/>
                        <a:pt x="2509" y="2078"/>
                        <a:pt x="2509" y="2078"/>
                      </a:cubicBezTo>
                      <a:cubicBezTo>
                        <a:pt x="2503" y="2077"/>
                        <a:pt x="2503" y="2077"/>
                        <a:pt x="2503" y="2077"/>
                      </a:cubicBezTo>
                      <a:lnTo>
                        <a:pt x="2501" y="2081"/>
                      </a:lnTo>
                      <a:close/>
                      <a:moveTo>
                        <a:pt x="2429" y="2182"/>
                      </a:moveTo>
                      <a:cubicBezTo>
                        <a:pt x="2434" y="2180"/>
                        <a:pt x="2434" y="2180"/>
                        <a:pt x="2434" y="2180"/>
                      </a:cubicBezTo>
                      <a:cubicBezTo>
                        <a:pt x="2434" y="2175"/>
                        <a:pt x="2434" y="2175"/>
                        <a:pt x="2434" y="2175"/>
                      </a:cubicBezTo>
                      <a:cubicBezTo>
                        <a:pt x="2430" y="2174"/>
                        <a:pt x="2430" y="2174"/>
                        <a:pt x="2430" y="2174"/>
                      </a:cubicBezTo>
                      <a:lnTo>
                        <a:pt x="2429" y="2182"/>
                      </a:lnTo>
                      <a:close/>
                      <a:moveTo>
                        <a:pt x="91" y="475"/>
                      </a:moveTo>
                      <a:cubicBezTo>
                        <a:pt x="101" y="473"/>
                        <a:pt x="101" y="473"/>
                        <a:pt x="101" y="473"/>
                      </a:cubicBezTo>
                      <a:cubicBezTo>
                        <a:pt x="109" y="464"/>
                        <a:pt x="109" y="464"/>
                        <a:pt x="109" y="464"/>
                      </a:cubicBezTo>
                      <a:cubicBezTo>
                        <a:pt x="121" y="463"/>
                        <a:pt x="121" y="463"/>
                        <a:pt x="121" y="463"/>
                      </a:cubicBezTo>
                      <a:cubicBezTo>
                        <a:pt x="124" y="454"/>
                        <a:pt x="124" y="454"/>
                        <a:pt x="124" y="454"/>
                      </a:cubicBezTo>
                      <a:cubicBezTo>
                        <a:pt x="134" y="447"/>
                        <a:pt x="134" y="447"/>
                        <a:pt x="134" y="447"/>
                      </a:cubicBezTo>
                      <a:cubicBezTo>
                        <a:pt x="140" y="434"/>
                        <a:pt x="140" y="434"/>
                        <a:pt x="140" y="434"/>
                      </a:cubicBezTo>
                      <a:cubicBezTo>
                        <a:pt x="138" y="425"/>
                        <a:pt x="138" y="425"/>
                        <a:pt x="138" y="425"/>
                      </a:cubicBezTo>
                      <a:cubicBezTo>
                        <a:pt x="132" y="425"/>
                        <a:pt x="132" y="425"/>
                        <a:pt x="132" y="425"/>
                      </a:cubicBezTo>
                      <a:cubicBezTo>
                        <a:pt x="130" y="419"/>
                        <a:pt x="130" y="419"/>
                        <a:pt x="130" y="419"/>
                      </a:cubicBezTo>
                      <a:cubicBezTo>
                        <a:pt x="125" y="418"/>
                        <a:pt x="125" y="418"/>
                        <a:pt x="125" y="418"/>
                      </a:cubicBezTo>
                      <a:cubicBezTo>
                        <a:pt x="126" y="409"/>
                        <a:pt x="126" y="409"/>
                        <a:pt x="126" y="409"/>
                      </a:cubicBezTo>
                      <a:cubicBezTo>
                        <a:pt x="123" y="404"/>
                        <a:pt x="123" y="404"/>
                        <a:pt x="123" y="404"/>
                      </a:cubicBezTo>
                      <a:cubicBezTo>
                        <a:pt x="129" y="400"/>
                        <a:pt x="129" y="400"/>
                        <a:pt x="129" y="400"/>
                      </a:cubicBezTo>
                      <a:cubicBezTo>
                        <a:pt x="128" y="397"/>
                        <a:pt x="128" y="397"/>
                        <a:pt x="128" y="397"/>
                      </a:cubicBezTo>
                      <a:cubicBezTo>
                        <a:pt x="123" y="399"/>
                        <a:pt x="123" y="399"/>
                        <a:pt x="123" y="399"/>
                      </a:cubicBezTo>
                      <a:cubicBezTo>
                        <a:pt x="116" y="399"/>
                        <a:pt x="116" y="399"/>
                        <a:pt x="116" y="399"/>
                      </a:cubicBezTo>
                      <a:cubicBezTo>
                        <a:pt x="113" y="393"/>
                        <a:pt x="113" y="393"/>
                        <a:pt x="113" y="393"/>
                      </a:cubicBezTo>
                      <a:cubicBezTo>
                        <a:pt x="103" y="393"/>
                        <a:pt x="103" y="393"/>
                        <a:pt x="103" y="393"/>
                      </a:cubicBezTo>
                      <a:cubicBezTo>
                        <a:pt x="104" y="405"/>
                        <a:pt x="104" y="405"/>
                        <a:pt x="104" y="405"/>
                      </a:cubicBezTo>
                      <a:cubicBezTo>
                        <a:pt x="93" y="409"/>
                        <a:pt x="93" y="409"/>
                        <a:pt x="93" y="409"/>
                      </a:cubicBezTo>
                      <a:cubicBezTo>
                        <a:pt x="86" y="405"/>
                        <a:pt x="86" y="405"/>
                        <a:pt x="86" y="405"/>
                      </a:cubicBezTo>
                      <a:cubicBezTo>
                        <a:pt x="79" y="407"/>
                        <a:pt x="79" y="407"/>
                        <a:pt x="79" y="407"/>
                      </a:cubicBezTo>
                      <a:cubicBezTo>
                        <a:pt x="81" y="412"/>
                        <a:pt x="81" y="412"/>
                        <a:pt x="81" y="412"/>
                      </a:cubicBezTo>
                      <a:cubicBezTo>
                        <a:pt x="78" y="414"/>
                        <a:pt x="78" y="414"/>
                        <a:pt x="78" y="414"/>
                      </a:cubicBezTo>
                      <a:cubicBezTo>
                        <a:pt x="74" y="407"/>
                        <a:pt x="74" y="407"/>
                        <a:pt x="74" y="407"/>
                      </a:cubicBezTo>
                      <a:cubicBezTo>
                        <a:pt x="63" y="409"/>
                        <a:pt x="63" y="409"/>
                        <a:pt x="63" y="409"/>
                      </a:cubicBezTo>
                      <a:cubicBezTo>
                        <a:pt x="63" y="418"/>
                        <a:pt x="63" y="418"/>
                        <a:pt x="63" y="418"/>
                      </a:cubicBezTo>
                      <a:cubicBezTo>
                        <a:pt x="58" y="411"/>
                        <a:pt x="58" y="411"/>
                        <a:pt x="58" y="411"/>
                      </a:cubicBezTo>
                      <a:cubicBezTo>
                        <a:pt x="53" y="410"/>
                        <a:pt x="53" y="410"/>
                        <a:pt x="53" y="410"/>
                      </a:cubicBezTo>
                      <a:cubicBezTo>
                        <a:pt x="50" y="413"/>
                        <a:pt x="50" y="413"/>
                        <a:pt x="50" y="413"/>
                      </a:cubicBezTo>
                      <a:cubicBezTo>
                        <a:pt x="55" y="417"/>
                        <a:pt x="55" y="417"/>
                        <a:pt x="55" y="417"/>
                      </a:cubicBezTo>
                      <a:cubicBezTo>
                        <a:pt x="52" y="421"/>
                        <a:pt x="52" y="421"/>
                        <a:pt x="52" y="421"/>
                      </a:cubicBezTo>
                      <a:cubicBezTo>
                        <a:pt x="45" y="423"/>
                        <a:pt x="45" y="423"/>
                        <a:pt x="45" y="423"/>
                      </a:cubicBezTo>
                      <a:cubicBezTo>
                        <a:pt x="47" y="426"/>
                        <a:pt x="47" y="426"/>
                        <a:pt x="47" y="426"/>
                      </a:cubicBezTo>
                      <a:cubicBezTo>
                        <a:pt x="44" y="429"/>
                        <a:pt x="44" y="429"/>
                        <a:pt x="44" y="429"/>
                      </a:cubicBezTo>
                      <a:cubicBezTo>
                        <a:pt x="40" y="426"/>
                        <a:pt x="40" y="426"/>
                        <a:pt x="40" y="426"/>
                      </a:cubicBezTo>
                      <a:cubicBezTo>
                        <a:pt x="36" y="415"/>
                        <a:pt x="36" y="415"/>
                        <a:pt x="36" y="415"/>
                      </a:cubicBezTo>
                      <a:cubicBezTo>
                        <a:pt x="38" y="406"/>
                        <a:pt x="38" y="406"/>
                        <a:pt x="38" y="406"/>
                      </a:cubicBezTo>
                      <a:cubicBezTo>
                        <a:pt x="26" y="396"/>
                        <a:pt x="26" y="396"/>
                        <a:pt x="26" y="396"/>
                      </a:cubicBezTo>
                      <a:cubicBezTo>
                        <a:pt x="17" y="396"/>
                        <a:pt x="17" y="396"/>
                        <a:pt x="17" y="396"/>
                      </a:cubicBezTo>
                      <a:cubicBezTo>
                        <a:pt x="21" y="404"/>
                        <a:pt x="21" y="404"/>
                        <a:pt x="21" y="404"/>
                      </a:cubicBezTo>
                      <a:cubicBezTo>
                        <a:pt x="25" y="410"/>
                        <a:pt x="25" y="410"/>
                        <a:pt x="25" y="410"/>
                      </a:cubicBezTo>
                      <a:cubicBezTo>
                        <a:pt x="19" y="412"/>
                        <a:pt x="19" y="412"/>
                        <a:pt x="19" y="412"/>
                      </a:cubicBezTo>
                      <a:cubicBezTo>
                        <a:pt x="17" y="409"/>
                        <a:pt x="17" y="409"/>
                        <a:pt x="17" y="409"/>
                      </a:cubicBezTo>
                      <a:cubicBezTo>
                        <a:pt x="15" y="407"/>
                        <a:pt x="15" y="407"/>
                        <a:pt x="15" y="407"/>
                      </a:cubicBezTo>
                      <a:cubicBezTo>
                        <a:pt x="3" y="421"/>
                        <a:pt x="3" y="421"/>
                        <a:pt x="3" y="421"/>
                      </a:cubicBezTo>
                      <a:cubicBezTo>
                        <a:pt x="4" y="426"/>
                        <a:pt x="4" y="426"/>
                        <a:pt x="4" y="426"/>
                      </a:cubicBezTo>
                      <a:cubicBezTo>
                        <a:pt x="12" y="425"/>
                        <a:pt x="12" y="425"/>
                        <a:pt x="12" y="425"/>
                      </a:cubicBezTo>
                      <a:cubicBezTo>
                        <a:pt x="29" y="425"/>
                        <a:pt x="29" y="425"/>
                        <a:pt x="29" y="425"/>
                      </a:cubicBezTo>
                      <a:cubicBezTo>
                        <a:pt x="32" y="429"/>
                        <a:pt x="32" y="429"/>
                        <a:pt x="32" y="429"/>
                      </a:cubicBezTo>
                      <a:cubicBezTo>
                        <a:pt x="26" y="433"/>
                        <a:pt x="26" y="433"/>
                        <a:pt x="26" y="433"/>
                      </a:cubicBezTo>
                      <a:cubicBezTo>
                        <a:pt x="38" y="438"/>
                        <a:pt x="38" y="438"/>
                        <a:pt x="38" y="438"/>
                      </a:cubicBezTo>
                      <a:cubicBezTo>
                        <a:pt x="35" y="441"/>
                        <a:pt x="35" y="441"/>
                        <a:pt x="35" y="441"/>
                      </a:cubicBezTo>
                      <a:cubicBezTo>
                        <a:pt x="28" y="440"/>
                        <a:pt x="28" y="440"/>
                        <a:pt x="28" y="440"/>
                      </a:cubicBezTo>
                      <a:cubicBezTo>
                        <a:pt x="18" y="441"/>
                        <a:pt x="18" y="441"/>
                        <a:pt x="18" y="441"/>
                      </a:cubicBezTo>
                      <a:cubicBezTo>
                        <a:pt x="10" y="443"/>
                        <a:pt x="10" y="443"/>
                        <a:pt x="10" y="443"/>
                      </a:cubicBezTo>
                      <a:cubicBezTo>
                        <a:pt x="9" y="448"/>
                        <a:pt x="9" y="448"/>
                        <a:pt x="9" y="448"/>
                      </a:cubicBezTo>
                      <a:cubicBezTo>
                        <a:pt x="24" y="446"/>
                        <a:pt x="24" y="446"/>
                        <a:pt x="24" y="446"/>
                      </a:cubicBezTo>
                      <a:cubicBezTo>
                        <a:pt x="29" y="448"/>
                        <a:pt x="29" y="448"/>
                        <a:pt x="29" y="448"/>
                      </a:cubicBezTo>
                      <a:cubicBezTo>
                        <a:pt x="29" y="453"/>
                        <a:pt x="29" y="453"/>
                        <a:pt x="29" y="453"/>
                      </a:cubicBezTo>
                      <a:cubicBezTo>
                        <a:pt x="34" y="460"/>
                        <a:pt x="34" y="460"/>
                        <a:pt x="34" y="460"/>
                      </a:cubicBezTo>
                      <a:cubicBezTo>
                        <a:pt x="33" y="467"/>
                        <a:pt x="33" y="467"/>
                        <a:pt x="33" y="467"/>
                      </a:cubicBezTo>
                      <a:cubicBezTo>
                        <a:pt x="24" y="467"/>
                        <a:pt x="24" y="467"/>
                        <a:pt x="24" y="467"/>
                      </a:cubicBezTo>
                      <a:cubicBezTo>
                        <a:pt x="24" y="471"/>
                        <a:pt x="24" y="471"/>
                        <a:pt x="24" y="471"/>
                      </a:cubicBezTo>
                      <a:cubicBezTo>
                        <a:pt x="31" y="474"/>
                        <a:pt x="31" y="474"/>
                        <a:pt x="31" y="474"/>
                      </a:cubicBezTo>
                      <a:cubicBezTo>
                        <a:pt x="44" y="476"/>
                        <a:pt x="44" y="476"/>
                        <a:pt x="44" y="476"/>
                      </a:cubicBezTo>
                      <a:cubicBezTo>
                        <a:pt x="59" y="486"/>
                        <a:pt x="59" y="486"/>
                        <a:pt x="59" y="486"/>
                      </a:cubicBezTo>
                      <a:cubicBezTo>
                        <a:pt x="82" y="485"/>
                        <a:pt x="82" y="485"/>
                        <a:pt x="82" y="485"/>
                      </a:cubicBezTo>
                      <a:lnTo>
                        <a:pt x="91" y="475"/>
                      </a:lnTo>
                      <a:close/>
                      <a:moveTo>
                        <a:pt x="239" y="650"/>
                      </a:moveTo>
                      <a:cubicBezTo>
                        <a:pt x="233" y="655"/>
                        <a:pt x="233" y="655"/>
                        <a:pt x="233" y="655"/>
                      </a:cubicBezTo>
                      <a:cubicBezTo>
                        <a:pt x="231" y="661"/>
                        <a:pt x="231" y="661"/>
                        <a:pt x="231" y="661"/>
                      </a:cubicBezTo>
                      <a:cubicBezTo>
                        <a:pt x="232" y="667"/>
                        <a:pt x="232" y="667"/>
                        <a:pt x="232" y="667"/>
                      </a:cubicBezTo>
                      <a:cubicBezTo>
                        <a:pt x="233" y="670"/>
                        <a:pt x="233" y="670"/>
                        <a:pt x="233" y="670"/>
                      </a:cubicBezTo>
                      <a:cubicBezTo>
                        <a:pt x="237" y="667"/>
                        <a:pt x="237" y="667"/>
                        <a:pt x="237" y="667"/>
                      </a:cubicBezTo>
                      <a:cubicBezTo>
                        <a:pt x="237" y="662"/>
                        <a:pt x="237" y="662"/>
                        <a:pt x="237" y="662"/>
                      </a:cubicBezTo>
                      <a:cubicBezTo>
                        <a:pt x="241" y="658"/>
                        <a:pt x="241" y="658"/>
                        <a:pt x="241" y="658"/>
                      </a:cubicBezTo>
                      <a:cubicBezTo>
                        <a:pt x="243" y="660"/>
                        <a:pt x="243" y="660"/>
                        <a:pt x="243" y="660"/>
                      </a:cubicBezTo>
                      <a:cubicBezTo>
                        <a:pt x="242" y="663"/>
                        <a:pt x="242" y="663"/>
                        <a:pt x="242" y="663"/>
                      </a:cubicBezTo>
                      <a:cubicBezTo>
                        <a:pt x="238" y="670"/>
                        <a:pt x="238" y="670"/>
                        <a:pt x="238" y="670"/>
                      </a:cubicBezTo>
                      <a:cubicBezTo>
                        <a:pt x="238" y="684"/>
                        <a:pt x="238" y="684"/>
                        <a:pt x="238" y="684"/>
                      </a:cubicBezTo>
                      <a:cubicBezTo>
                        <a:pt x="239" y="688"/>
                        <a:pt x="239" y="688"/>
                        <a:pt x="239" y="688"/>
                      </a:cubicBezTo>
                      <a:cubicBezTo>
                        <a:pt x="241" y="685"/>
                        <a:pt x="241" y="685"/>
                        <a:pt x="241" y="685"/>
                      </a:cubicBezTo>
                      <a:cubicBezTo>
                        <a:pt x="242" y="679"/>
                        <a:pt x="242" y="679"/>
                        <a:pt x="242" y="679"/>
                      </a:cubicBezTo>
                      <a:cubicBezTo>
                        <a:pt x="247" y="676"/>
                        <a:pt x="247" y="676"/>
                        <a:pt x="247" y="676"/>
                      </a:cubicBezTo>
                      <a:cubicBezTo>
                        <a:pt x="248" y="679"/>
                        <a:pt x="248" y="679"/>
                        <a:pt x="248" y="679"/>
                      </a:cubicBezTo>
                      <a:cubicBezTo>
                        <a:pt x="249" y="683"/>
                        <a:pt x="249" y="683"/>
                        <a:pt x="249" y="683"/>
                      </a:cubicBezTo>
                      <a:cubicBezTo>
                        <a:pt x="251" y="687"/>
                        <a:pt x="251" y="687"/>
                        <a:pt x="251" y="687"/>
                      </a:cubicBezTo>
                      <a:cubicBezTo>
                        <a:pt x="250" y="691"/>
                        <a:pt x="250" y="691"/>
                        <a:pt x="250" y="691"/>
                      </a:cubicBezTo>
                      <a:cubicBezTo>
                        <a:pt x="246" y="695"/>
                        <a:pt x="246" y="695"/>
                        <a:pt x="246" y="695"/>
                      </a:cubicBezTo>
                      <a:cubicBezTo>
                        <a:pt x="245" y="702"/>
                        <a:pt x="245" y="702"/>
                        <a:pt x="245" y="702"/>
                      </a:cubicBezTo>
                      <a:cubicBezTo>
                        <a:pt x="247" y="703"/>
                        <a:pt x="247" y="703"/>
                        <a:pt x="247" y="703"/>
                      </a:cubicBezTo>
                      <a:cubicBezTo>
                        <a:pt x="261" y="702"/>
                        <a:pt x="261" y="702"/>
                        <a:pt x="261" y="702"/>
                      </a:cubicBezTo>
                      <a:cubicBezTo>
                        <a:pt x="267" y="699"/>
                        <a:pt x="267" y="699"/>
                        <a:pt x="267" y="699"/>
                      </a:cubicBezTo>
                      <a:cubicBezTo>
                        <a:pt x="266" y="708"/>
                        <a:pt x="266" y="708"/>
                        <a:pt x="266" y="708"/>
                      </a:cubicBezTo>
                      <a:cubicBezTo>
                        <a:pt x="268" y="714"/>
                        <a:pt x="268" y="714"/>
                        <a:pt x="268" y="714"/>
                      </a:cubicBezTo>
                      <a:cubicBezTo>
                        <a:pt x="270" y="718"/>
                        <a:pt x="270" y="718"/>
                        <a:pt x="270" y="718"/>
                      </a:cubicBezTo>
                      <a:cubicBezTo>
                        <a:pt x="273" y="720"/>
                        <a:pt x="273" y="720"/>
                        <a:pt x="273" y="720"/>
                      </a:cubicBezTo>
                      <a:cubicBezTo>
                        <a:pt x="274" y="726"/>
                        <a:pt x="274" y="726"/>
                        <a:pt x="274" y="726"/>
                      </a:cubicBezTo>
                      <a:cubicBezTo>
                        <a:pt x="271" y="730"/>
                        <a:pt x="271" y="730"/>
                        <a:pt x="271" y="730"/>
                      </a:cubicBezTo>
                      <a:cubicBezTo>
                        <a:pt x="264" y="733"/>
                        <a:pt x="264" y="733"/>
                        <a:pt x="264" y="733"/>
                      </a:cubicBezTo>
                      <a:cubicBezTo>
                        <a:pt x="256" y="735"/>
                        <a:pt x="256" y="735"/>
                        <a:pt x="256" y="735"/>
                      </a:cubicBezTo>
                      <a:cubicBezTo>
                        <a:pt x="254" y="741"/>
                        <a:pt x="254" y="741"/>
                        <a:pt x="254" y="741"/>
                      </a:cubicBezTo>
                      <a:cubicBezTo>
                        <a:pt x="257" y="742"/>
                        <a:pt x="257" y="742"/>
                        <a:pt x="257" y="742"/>
                      </a:cubicBezTo>
                      <a:cubicBezTo>
                        <a:pt x="255" y="757"/>
                        <a:pt x="255" y="757"/>
                        <a:pt x="255" y="757"/>
                      </a:cubicBezTo>
                      <a:cubicBezTo>
                        <a:pt x="250" y="758"/>
                        <a:pt x="250" y="758"/>
                        <a:pt x="250" y="758"/>
                      </a:cubicBezTo>
                      <a:cubicBezTo>
                        <a:pt x="246" y="760"/>
                        <a:pt x="246" y="760"/>
                        <a:pt x="246" y="760"/>
                      </a:cubicBezTo>
                      <a:cubicBezTo>
                        <a:pt x="244" y="764"/>
                        <a:pt x="244" y="764"/>
                        <a:pt x="244" y="764"/>
                      </a:cubicBezTo>
                      <a:cubicBezTo>
                        <a:pt x="246" y="767"/>
                        <a:pt x="246" y="767"/>
                        <a:pt x="246" y="767"/>
                      </a:cubicBezTo>
                      <a:cubicBezTo>
                        <a:pt x="260" y="767"/>
                        <a:pt x="260" y="767"/>
                        <a:pt x="260" y="767"/>
                      </a:cubicBezTo>
                      <a:cubicBezTo>
                        <a:pt x="263" y="770"/>
                        <a:pt x="263" y="770"/>
                        <a:pt x="263" y="770"/>
                      </a:cubicBezTo>
                      <a:cubicBezTo>
                        <a:pt x="269" y="771"/>
                        <a:pt x="269" y="771"/>
                        <a:pt x="269" y="771"/>
                      </a:cubicBezTo>
                      <a:cubicBezTo>
                        <a:pt x="270" y="770"/>
                        <a:pt x="270" y="770"/>
                        <a:pt x="270" y="770"/>
                      </a:cubicBezTo>
                      <a:cubicBezTo>
                        <a:pt x="274" y="770"/>
                        <a:pt x="274" y="770"/>
                        <a:pt x="274" y="770"/>
                      </a:cubicBezTo>
                      <a:cubicBezTo>
                        <a:pt x="272" y="774"/>
                        <a:pt x="272" y="774"/>
                        <a:pt x="272" y="774"/>
                      </a:cubicBezTo>
                      <a:cubicBezTo>
                        <a:pt x="266" y="776"/>
                        <a:pt x="266" y="776"/>
                        <a:pt x="266" y="776"/>
                      </a:cubicBezTo>
                      <a:cubicBezTo>
                        <a:pt x="258" y="777"/>
                        <a:pt x="258" y="777"/>
                        <a:pt x="258" y="777"/>
                      </a:cubicBezTo>
                      <a:cubicBezTo>
                        <a:pt x="257" y="782"/>
                        <a:pt x="257" y="782"/>
                        <a:pt x="257" y="782"/>
                      </a:cubicBezTo>
                      <a:cubicBezTo>
                        <a:pt x="252" y="783"/>
                        <a:pt x="252" y="783"/>
                        <a:pt x="252" y="783"/>
                      </a:cubicBezTo>
                      <a:cubicBezTo>
                        <a:pt x="250" y="790"/>
                        <a:pt x="250" y="790"/>
                        <a:pt x="250" y="790"/>
                      </a:cubicBezTo>
                      <a:cubicBezTo>
                        <a:pt x="243" y="796"/>
                        <a:pt x="243" y="796"/>
                        <a:pt x="243" y="796"/>
                      </a:cubicBezTo>
                      <a:cubicBezTo>
                        <a:pt x="244" y="799"/>
                        <a:pt x="244" y="799"/>
                        <a:pt x="244" y="799"/>
                      </a:cubicBezTo>
                      <a:cubicBezTo>
                        <a:pt x="249" y="798"/>
                        <a:pt x="249" y="798"/>
                        <a:pt x="249" y="798"/>
                      </a:cubicBezTo>
                      <a:cubicBezTo>
                        <a:pt x="252" y="793"/>
                        <a:pt x="252" y="793"/>
                        <a:pt x="252" y="793"/>
                      </a:cubicBezTo>
                      <a:cubicBezTo>
                        <a:pt x="267" y="793"/>
                        <a:pt x="267" y="793"/>
                        <a:pt x="267" y="793"/>
                      </a:cubicBezTo>
                      <a:cubicBezTo>
                        <a:pt x="268" y="789"/>
                        <a:pt x="268" y="789"/>
                        <a:pt x="268" y="789"/>
                      </a:cubicBezTo>
                      <a:cubicBezTo>
                        <a:pt x="277" y="786"/>
                        <a:pt x="277" y="786"/>
                        <a:pt x="277" y="786"/>
                      </a:cubicBezTo>
                      <a:cubicBezTo>
                        <a:pt x="279" y="788"/>
                        <a:pt x="279" y="788"/>
                        <a:pt x="279" y="788"/>
                      </a:cubicBezTo>
                      <a:cubicBezTo>
                        <a:pt x="297" y="782"/>
                        <a:pt x="297" y="782"/>
                        <a:pt x="297" y="782"/>
                      </a:cubicBezTo>
                      <a:cubicBezTo>
                        <a:pt x="303" y="784"/>
                        <a:pt x="303" y="784"/>
                        <a:pt x="303" y="784"/>
                      </a:cubicBezTo>
                      <a:cubicBezTo>
                        <a:pt x="313" y="784"/>
                        <a:pt x="313" y="784"/>
                        <a:pt x="313" y="784"/>
                      </a:cubicBezTo>
                      <a:cubicBezTo>
                        <a:pt x="324" y="776"/>
                        <a:pt x="324" y="776"/>
                        <a:pt x="324" y="776"/>
                      </a:cubicBezTo>
                      <a:cubicBezTo>
                        <a:pt x="324" y="773"/>
                        <a:pt x="324" y="773"/>
                        <a:pt x="324" y="773"/>
                      </a:cubicBezTo>
                      <a:cubicBezTo>
                        <a:pt x="317" y="772"/>
                        <a:pt x="317" y="772"/>
                        <a:pt x="317" y="772"/>
                      </a:cubicBezTo>
                      <a:cubicBezTo>
                        <a:pt x="312" y="772"/>
                        <a:pt x="312" y="772"/>
                        <a:pt x="312" y="772"/>
                      </a:cubicBezTo>
                      <a:cubicBezTo>
                        <a:pt x="313" y="769"/>
                        <a:pt x="313" y="769"/>
                        <a:pt x="313" y="769"/>
                      </a:cubicBezTo>
                      <a:cubicBezTo>
                        <a:pt x="319" y="769"/>
                        <a:pt x="319" y="769"/>
                        <a:pt x="319" y="769"/>
                      </a:cubicBezTo>
                      <a:cubicBezTo>
                        <a:pt x="325" y="762"/>
                        <a:pt x="325" y="762"/>
                        <a:pt x="325" y="762"/>
                      </a:cubicBezTo>
                      <a:cubicBezTo>
                        <a:pt x="328" y="755"/>
                        <a:pt x="328" y="755"/>
                        <a:pt x="328" y="755"/>
                      </a:cubicBezTo>
                      <a:cubicBezTo>
                        <a:pt x="327" y="742"/>
                        <a:pt x="327" y="742"/>
                        <a:pt x="327" y="742"/>
                      </a:cubicBezTo>
                      <a:cubicBezTo>
                        <a:pt x="315" y="744"/>
                        <a:pt x="315" y="744"/>
                        <a:pt x="315" y="744"/>
                      </a:cubicBezTo>
                      <a:cubicBezTo>
                        <a:pt x="310" y="741"/>
                        <a:pt x="310" y="741"/>
                        <a:pt x="310" y="741"/>
                      </a:cubicBezTo>
                      <a:cubicBezTo>
                        <a:pt x="309" y="720"/>
                        <a:pt x="309" y="720"/>
                        <a:pt x="309" y="720"/>
                      </a:cubicBezTo>
                      <a:cubicBezTo>
                        <a:pt x="307" y="716"/>
                        <a:pt x="307" y="716"/>
                        <a:pt x="307" y="716"/>
                      </a:cubicBezTo>
                      <a:cubicBezTo>
                        <a:pt x="298" y="705"/>
                        <a:pt x="298" y="705"/>
                        <a:pt x="298" y="705"/>
                      </a:cubicBezTo>
                      <a:cubicBezTo>
                        <a:pt x="293" y="702"/>
                        <a:pt x="293" y="702"/>
                        <a:pt x="293" y="702"/>
                      </a:cubicBezTo>
                      <a:cubicBezTo>
                        <a:pt x="292" y="688"/>
                        <a:pt x="292" y="688"/>
                        <a:pt x="292" y="688"/>
                      </a:cubicBezTo>
                      <a:cubicBezTo>
                        <a:pt x="286" y="676"/>
                        <a:pt x="286" y="676"/>
                        <a:pt x="286" y="676"/>
                      </a:cubicBezTo>
                      <a:cubicBezTo>
                        <a:pt x="279" y="673"/>
                        <a:pt x="279" y="673"/>
                        <a:pt x="279" y="673"/>
                      </a:cubicBezTo>
                      <a:cubicBezTo>
                        <a:pt x="272" y="676"/>
                        <a:pt x="272" y="676"/>
                        <a:pt x="272" y="676"/>
                      </a:cubicBezTo>
                      <a:cubicBezTo>
                        <a:pt x="271" y="673"/>
                        <a:pt x="271" y="673"/>
                        <a:pt x="271" y="673"/>
                      </a:cubicBezTo>
                      <a:cubicBezTo>
                        <a:pt x="276" y="669"/>
                        <a:pt x="276" y="669"/>
                        <a:pt x="276" y="669"/>
                      </a:cubicBezTo>
                      <a:cubicBezTo>
                        <a:pt x="275" y="658"/>
                        <a:pt x="275" y="658"/>
                        <a:pt x="275" y="658"/>
                      </a:cubicBezTo>
                      <a:cubicBezTo>
                        <a:pt x="285" y="641"/>
                        <a:pt x="285" y="641"/>
                        <a:pt x="285" y="641"/>
                      </a:cubicBezTo>
                      <a:cubicBezTo>
                        <a:pt x="284" y="634"/>
                        <a:pt x="284" y="634"/>
                        <a:pt x="284" y="634"/>
                      </a:cubicBezTo>
                      <a:cubicBezTo>
                        <a:pt x="272" y="633"/>
                        <a:pt x="272" y="633"/>
                        <a:pt x="272" y="633"/>
                      </a:cubicBezTo>
                      <a:cubicBezTo>
                        <a:pt x="260" y="634"/>
                        <a:pt x="260" y="634"/>
                        <a:pt x="260" y="634"/>
                      </a:cubicBezTo>
                      <a:cubicBezTo>
                        <a:pt x="262" y="625"/>
                        <a:pt x="262" y="625"/>
                        <a:pt x="262" y="625"/>
                      </a:cubicBezTo>
                      <a:cubicBezTo>
                        <a:pt x="270" y="618"/>
                        <a:pt x="270" y="618"/>
                        <a:pt x="270" y="618"/>
                      </a:cubicBezTo>
                      <a:cubicBezTo>
                        <a:pt x="271" y="613"/>
                        <a:pt x="271" y="613"/>
                        <a:pt x="271" y="613"/>
                      </a:cubicBezTo>
                      <a:cubicBezTo>
                        <a:pt x="265" y="615"/>
                        <a:pt x="265" y="615"/>
                        <a:pt x="265" y="615"/>
                      </a:cubicBezTo>
                      <a:cubicBezTo>
                        <a:pt x="249" y="615"/>
                        <a:pt x="249" y="615"/>
                        <a:pt x="249" y="615"/>
                      </a:cubicBezTo>
                      <a:cubicBezTo>
                        <a:pt x="245" y="620"/>
                        <a:pt x="245" y="620"/>
                        <a:pt x="245" y="620"/>
                      </a:cubicBezTo>
                      <a:cubicBezTo>
                        <a:pt x="243" y="629"/>
                        <a:pt x="243" y="629"/>
                        <a:pt x="243" y="629"/>
                      </a:cubicBezTo>
                      <a:cubicBezTo>
                        <a:pt x="236" y="635"/>
                        <a:pt x="236" y="635"/>
                        <a:pt x="236" y="635"/>
                      </a:cubicBezTo>
                      <a:cubicBezTo>
                        <a:pt x="236" y="640"/>
                        <a:pt x="236" y="640"/>
                        <a:pt x="236" y="640"/>
                      </a:cubicBezTo>
                      <a:cubicBezTo>
                        <a:pt x="239" y="643"/>
                        <a:pt x="239" y="643"/>
                        <a:pt x="239" y="643"/>
                      </a:cubicBezTo>
                      <a:lnTo>
                        <a:pt x="239" y="650"/>
                      </a:lnTo>
                      <a:close/>
                      <a:moveTo>
                        <a:pt x="294" y="785"/>
                      </a:moveTo>
                      <a:cubicBezTo>
                        <a:pt x="297" y="787"/>
                        <a:pt x="297" y="787"/>
                        <a:pt x="297" y="787"/>
                      </a:cubicBezTo>
                      <a:cubicBezTo>
                        <a:pt x="300" y="786"/>
                        <a:pt x="300" y="786"/>
                        <a:pt x="300" y="786"/>
                      </a:cubicBezTo>
                      <a:cubicBezTo>
                        <a:pt x="297" y="784"/>
                        <a:pt x="297" y="784"/>
                        <a:pt x="297" y="784"/>
                      </a:cubicBezTo>
                      <a:lnTo>
                        <a:pt x="294" y="785"/>
                      </a:lnTo>
                      <a:close/>
                      <a:moveTo>
                        <a:pt x="257" y="712"/>
                      </a:moveTo>
                      <a:cubicBezTo>
                        <a:pt x="253" y="715"/>
                        <a:pt x="253" y="715"/>
                        <a:pt x="253" y="715"/>
                      </a:cubicBezTo>
                      <a:cubicBezTo>
                        <a:pt x="253" y="718"/>
                        <a:pt x="253" y="718"/>
                        <a:pt x="253" y="718"/>
                      </a:cubicBezTo>
                      <a:cubicBezTo>
                        <a:pt x="255" y="720"/>
                        <a:pt x="255" y="720"/>
                        <a:pt x="255" y="720"/>
                      </a:cubicBezTo>
                      <a:lnTo>
                        <a:pt x="257" y="712"/>
                      </a:lnTo>
                      <a:close/>
                      <a:moveTo>
                        <a:pt x="230" y="683"/>
                      </a:moveTo>
                      <a:cubicBezTo>
                        <a:pt x="233" y="683"/>
                        <a:pt x="233" y="683"/>
                        <a:pt x="233" y="683"/>
                      </a:cubicBezTo>
                      <a:cubicBezTo>
                        <a:pt x="234" y="678"/>
                        <a:pt x="234" y="678"/>
                        <a:pt x="234" y="678"/>
                      </a:cubicBezTo>
                      <a:cubicBezTo>
                        <a:pt x="231" y="678"/>
                        <a:pt x="231" y="678"/>
                        <a:pt x="231" y="678"/>
                      </a:cubicBezTo>
                      <a:lnTo>
                        <a:pt x="230" y="683"/>
                      </a:lnTo>
                      <a:close/>
                      <a:moveTo>
                        <a:pt x="228" y="637"/>
                      </a:moveTo>
                      <a:cubicBezTo>
                        <a:pt x="227" y="642"/>
                        <a:pt x="227" y="642"/>
                        <a:pt x="227" y="642"/>
                      </a:cubicBezTo>
                      <a:cubicBezTo>
                        <a:pt x="232" y="642"/>
                        <a:pt x="232" y="642"/>
                        <a:pt x="232" y="642"/>
                      </a:cubicBezTo>
                      <a:cubicBezTo>
                        <a:pt x="234" y="636"/>
                        <a:pt x="234" y="636"/>
                        <a:pt x="234" y="636"/>
                      </a:cubicBezTo>
                      <a:cubicBezTo>
                        <a:pt x="230" y="636"/>
                        <a:pt x="230" y="636"/>
                        <a:pt x="230" y="636"/>
                      </a:cubicBezTo>
                      <a:lnTo>
                        <a:pt x="228" y="637"/>
                      </a:lnTo>
                      <a:close/>
                      <a:moveTo>
                        <a:pt x="231" y="623"/>
                      </a:moveTo>
                      <a:cubicBezTo>
                        <a:pt x="230" y="617"/>
                        <a:pt x="230" y="617"/>
                        <a:pt x="230" y="617"/>
                      </a:cubicBezTo>
                      <a:cubicBezTo>
                        <a:pt x="227" y="619"/>
                        <a:pt x="227" y="619"/>
                        <a:pt x="227" y="619"/>
                      </a:cubicBezTo>
                      <a:cubicBezTo>
                        <a:pt x="221" y="626"/>
                        <a:pt x="221" y="626"/>
                        <a:pt x="221" y="626"/>
                      </a:cubicBezTo>
                      <a:cubicBezTo>
                        <a:pt x="221" y="630"/>
                        <a:pt x="221" y="630"/>
                        <a:pt x="221" y="630"/>
                      </a:cubicBezTo>
                      <a:cubicBezTo>
                        <a:pt x="226" y="627"/>
                        <a:pt x="226" y="627"/>
                        <a:pt x="226" y="627"/>
                      </a:cubicBezTo>
                      <a:lnTo>
                        <a:pt x="231" y="623"/>
                      </a:lnTo>
                      <a:close/>
                      <a:moveTo>
                        <a:pt x="182" y="753"/>
                      </a:moveTo>
                      <a:cubicBezTo>
                        <a:pt x="178" y="757"/>
                        <a:pt x="178" y="757"/>
                        <a:pt x="178" y="757"/>
                      </a:cubicBezTo>
                      <a:cubicBezTo>
                        <a:pt x="179" y="765"/>
                        <a:pt x="179" y="765"/>
                        <a:pt x="179" y="765"/>
                      </a:cubicBezTo>
                      <a:cubicBezTo>
                        <a:pt x="183" y="766"/>
                        <a:pt x="183" y="766"/>
                        <a:pt x="183" y="766"/>
                      </a:cubicBezTo>
                      <a:cubicBezTo>
                        <a:pt x="185" y="770"/>
                        <a:pt x="185" y="770"/>
                        <a:pt x="185" y="770"/>
                      </a:cubicBezTo>
                      <a:cubicBezTo>
                        <a:pt x="190" y="772"/>
                        <a:pt x="190" y="772"/>
                        <a:pt x="190" y="772"/>
                      </a:cubicBezTo>
                      <a:cubicBezTo>
                        <a:pt x="197" y="768"/>
                        <a:pt x="197" y="768"/>
                        <a:pt x="197" y="768"/>
                      </a:cubicBezTo>
                      <a:cubicBezTo>
                        <a:pt x="207" y="763"/>
                        <a:pt x="207" y="763"/>
                        <a:pt x="207" y="763"/>
                      </a:cubicBezTo>
                      <a:cubicBezTo>
                        <a:pt x="219" y="758"/>
                        <a:pt x="219" y="758"/>
                        <a:pt x="219" y="758"/>
                      </a:cubicBezTo>
                      <a:cubicBezTo>
                        <a:pt x="227" y="756"/>
                        <a:pt x="227" y="756"/>
                        <a:pt x="227" y="756"/>
                      </a:cubicBezTo>
                      <a:cubicBezTo>
                        <a:pt x="230" y="742"/>
                        <a:pt x="230" y="742"/>
                        <a:pt x="230" y="742"/>
                      </a:cubicBezTo>
                      <a:cubicBezTo>
                        <a:pt x="232" y="734"/>
                        <a:pt x="232" y="734"/>
                        <a:pt x="232" y="734"/>
                      </a:cubicBezTo>
                      <a:cubicBezTo>
                        <a:pt x="231" y="729"/>
                        <a:pt x="231" y="729"/>
                        <a:pt x="231" y="729"/>
                      </a:cubicBezTo>
                      <a:cubicBezTo>
                        <a:pt x="231" y="718"/>
                        <a:pt x="231" y="718"/>
                        <a:pt x="231" y="718"/>
                      </a:cubicBezTo>
                      <a:cubicBezTo>
                        <a:pt x="238" y="713"/>
                        <a:pt x="238" y="713"/>
                        <a:pt x="238" y="713"/>
                      </a:cubicBezTo>
                      <a:cubicBezTo>
                        <a:pt x="242" y="705"/>
                        <a:pt x="242" y="705"/>
                        <a:pt x="242" y="705"/>
                      </a:cubicBezTo>
                      <a:cubicBezTo>
                        <a:pt x="238" y="703"/>
                        <a:pt x="238" y="703"/>
                        <a:pt x="238" y="703"/>
                      </a:cubicBezTo>
                      <a:cubicBezTo>
                        <a:pt x="232" y="693"/>
                        <a:pt x="232" y="693"/>
                        <a:pt x="232" y="693"/>
                      </a:cubicBezTo>
                      <a:cubicBezTo>
                        <a:pt x="224" y="692"/>
                        <a:pt x="224" y="692"/>
                        <a:pt x="224" y="692"/>
                      </a:cubicBezTo>
                      <a:cubicBezTo>
                        <a:pt x="222" y="690"/>
                        <a:pt x="222" y="690"/>
                        <a:pt x="222" y="690"/>
                      </a:cubicBezTo>
                      <a:cubicBezTo>
                        <a:pt x="215" y="691"/>
                        <a:pt x="215" y="691"/>
                        <a:pt x="215" y="691"/>
                      </a:cubicBezTo>
                      <a:cubicBezTo>
                        <a:pt x="205" y="692"/>
                        <a:pt x="205" y="692"/>
                        <a:pt x="205" y="692"/>
                      </a:cubicBezTo>
                      <a:cubicBezTo>
                        <a:pt x="202" y="696"/>
                        <a:pt x="202" y="696"/>
                        <a:pt x="202" y="696"/>
                      </a:cubicBezTo>
                      <a:cubicBezTo>
                        <a:pt x="199" y="705"/>
                        <a:pt x="199" y="705"/>
                        <a:pt x="199" y="705"/>
                      </a:cubicBezTo>
                      <a:cubicBezTo>
                        <a:pt x="202" y="710"/>
                        <a:pt x="202" y="710"/>
                        <a:pt x="202" y="710"/>
                      </a:cubicBezTo>
                      <a:cubicBezTo>
                        <a:pt x="196" y="713"/>
                        <a:pt x="196" y="713"/>
                        <a:pt x="196" y="713"/>
                      </a:cubicBezTo>
                      <a:cubicBezTo>
                        <a:pt x="189" y="711"/>
                        <a:pt x="189" y="711"/>
                        <a:pt x="189" y="711"/>
                      </a:cubicBezTo>
                      <a:cubicBezTo>
                        <a:pt x="184" y="713"/>
                        <a:pt x="184" y="713"/>
                        <a:pt x="184" y="713"/>
                      </a:cubicBezTo>
                      <a:cubicBezTo>
                        <a:pt x="181" y="718"/>
                        <a:pt x="181" y="718"/>
                        <a:pt x="181" y="718"/>
                      </a:cubicBezTo>
                      <a:cubicBezTo>
                        <a:pt x="186" y="725"/>
                        <a:pt x="186" y="725"/>
                        <a:pt x="186" y="725"/>
                      </a:cubicBezTo>
                      <a:cubicBezTo>
                        <a:pt x="185" y="728"/>
                        <a:pt x="185" y="728"/>
                        <a:pt x="185" y="728"/>
                      </a:cubicBezTo>
                      <a:cubicBezTo>
                        <a:pt x="182" y="731"/>
                        <a:pt x="182" y="731"/>
                        <a:pt x="182" y="731"/>
                      </a:cubicBezTo>
                      <a:cubicBezTo>
                        <a:pt x="185" y="733"/>
                        <a:pt x="185" y="733"/>
                        <a:pt x="185" y="733"/>
                      </a:cubicBezTo>
                      <a:cubicBezTo>
                        <a:pt x="189" y="731"/>
                        <a:pt x="189" y="731"/>
                        <a:pt x="189" y="731"/>
                      </a:cubicBezTo>
                      <a:cubicBezTo>
                        <a:pt x="193" y="733"/>
                        <a:pt x="193" y="733"/>
                        <a:pt x="193" y="733"/>
                      </a:cubicBezTo>
                      <a:cubicBezTo>
                        <a:pt x="189" y="740"/>
                        <a:pt x="189" y="740"/>
                        <a:pt x="189" y="740"/>
                      </a:cubicBezTo>
                      <a:cubicBezTo>
                        <a:pt x="189" y="746"/>
                        <a:pt x="189" y="746"/>
                        <a:pt x="189" y="746"/>
                      </a:cubicBezTo>
                      <a:cubicBezTo>
                        <a:pt x="193" y="748"/>
                        <a:pt x="193" y="748"/>
                        <a:pt x="193" y="748"/>
                      </a:cubicBezTo>
                      <a:cubicBezTo>
                        <a:pt x="193" y="749"/>
                        <a:pt x="193" y="749"/>
                        <a:pt x="193" y="749"/>
                      </a:cubicBezTo>
                      <a:lnTo>
                        <a:pt x="182" y="753"/>
                      </a:lnTo>
                      <a:close/>
                      <a:moveTo>
                        <a:pt x="1690" y="1524"/>
                      </a:moveTo>
                      <a:cubicBezTo>
                        <a:pt x="1698" y="1531"/>
                        <a:pt x="1698" y="1531"/>
                        <a:pt x="1698" y="1531"/>
                      </a:cubicBezTo>
                      <a:cubicBezTo>
                        <a:pt x="1704" y="1551"/>
                        <a:pt x="1704" y="1551"/>
                        <a:pt x="1704" y="1551"/>
                      </a:cubicBezTo>
                      <a:cubicBezTo>
                        <a:pt x="1721" y="1554"/>
                        <a:pt x="1721" y="1554"/>
                        <a:pt x="1721" y="1554"/>
                      </a:cubicBezTo>
                      <a:cubicBezTo>
                        <a:pt x="1726" y="1559"/>
                        <a:pt x="1726" y="1559"/>
                        <a:pt x="1726" y="1559"/>
                      </a:cubicBezTo>
                      <a:cubicBezTo>
                        <a:pt x="1735" y="1555"/>
                        <a:pt x="1735" y="1555"/>
                        <a:pt x="1735" y="1555"/>
                      </a:cubicBezTo>
                      <a:cubicBezTo>
                        <a:pt x="1742" y="1556"/>
                        <a:pt x="1742" y="1556"/>
                        <a:pt x="1742" y="1556"/>
                      </a:cubicBezTo>
                      <a:cubicBezTo>
                        <a:pt x="1745" y="1559"/>
                        <a:pt x="1745" y="1559"/>
                        <a:pt x="1745" y="1559"/>
                      </a:cubicBezTo>
                      <a:cubicBezTo>
                        <a:pt x="1751" y="1557"/>
                        <a:pt x="1751" y="1557"/>
                        <a:pt x="1751" y="1557"/>
                      </a:cubicBezTo>
                      <a:cubicBezTo>
                        <a:pt x="1758" y="1562"/>
                        <a:pt x="1758" y="1562"/>
                        <a:pt x="1758" y="1562"/>
                      </a:cubicBezTo>
                      <a:cubicBezTo>
                        <a:pt x="1759" y="1565"/>
                        <a:pt x="1759" y="1565"/>
                        <a:pt x="1759" y="1565"/>
                      </a:cubicBezTo>
                      <a:cubicBezTo>
                        <a:pt x="1769" y="1562"/>
                        <a:pt x="1769" y="1562"/>
                        <a:pt x="1769" y="1562"/>
                      </a:cubicBezTo>
                      <a:cubicBezTo>
                        <a:pt x="1780" y="1550"/>
                        <a:pt x="1780" y="1550"/>
                        <a:pt x="1780" y="1550"/>
                      </a:cubicBezTo>
                      <a:cubicBezTo>
                        <a:pt x="1779" y="1537"/>
                        <a:pt x="1779" y="1537"/>
                        <a:pt x="1779" y="1537"/>
                      </a:cubicBezTo>
                      <a:cubicBezTo>
                        <a:pt x="1785" y="1535"/>
                        <a:pt x="1785" y="1535"/>
                        <a:pt x="1785" y="1535"/>
                      </a:cubicBezTo>
                      <a:cubicBezTo>
                        <a:pt x="1796" y="1522"/>
                        <a:pt x="1796" y="1522"/>
                        <a:pt x="1796" y="1522"/>
                      </a:cubicBezTo>
                      <a:cubicBezTo>
                        <a:pt x="1793" y="1510"/>
                        <a:pt x="1793" y="1510"/>
                        <a:pt x="1793" y="1510"/>
                      </a:cubicBezTo>
                      <a:cubicBezTo>
                        <a:pt x="1801" y="1503"/>
                        <a:pt x="1801" y="1503"/>
                        <a:pt x="1801" y="1503"/>
                      </a:cubicBezTo>
                      <a:cubicBezTo>
                        <a:pt x="1803" y="1506"/>
                        <a:pt x="1803" y="1506"/>
                        <a:pt x="1803" y="1506"/>
                      </a:cubicBezTo>
                      <a:cubicBezTo>
                        <a:pt x="1812" y="1506"/>
                        <a:pt x="1812" y="1506"/>
                        <a:pt x="1812" y="1506"/>
                      </a:cubicBezTo>
                      <a:cubicBezTo>
                        <a:pt x="1809" y="1499"/>
                        <a:pt x="1809" y="1499"/>
                        <a:pt x="1809" y="1499"/>
                      </a:cubicBezTo>
                      <a:cubicBezTo>
                        <a:pt x="1800" y="1495"/>
                        <a:pt x="1800" y="1495"/>
                        <a:pt x="1800" y="1495"/>
                      </a:cubicBezTo>
                      <a:cubicBezTo>
                        <a:pt x="1800" y="1483"/>
                        <a:pt x="1800" y="1483"/>
                        <a:pt x="1800" y="1483"/>
                      </a:cubicBezTo>
                      <a:cubicBezTo>
                        <a:pt x="1794" y="1477"/>
                        <a:pt x="1794" y="1477"/>
                        <a:pt x="1794" y="1477"/>
                      </a:cubicBezTo>
                      <a:cubicBezTo>
                        <a:pt x="1794" y="1467"/>
                        <a:pt x="1794" y="1467"/>
                        <a:pt x="1794" y="1467"/>
                      </a:cubicBezTo>
                      <a:cubicBezTo>
                        <a:pt x="1800" y="1462"/>
                        <a:pt x="1800" y="1462"/>
                        <a:pt x="1800" y="1462"/>
                      </a:cubicBezTo>
                      <a:cubicBezTo>
                        <a:pt x="1806" y="1459"/>
                        <a:pt x="1806" y="1459"/>
                        <a:pt x="1806" y="1459"/>
                      </a:cubicBezTo>
                      <a:cubicBezTo>
                        <a:pt x="1803" y="1453"/>
                        <a:pt x="1803" y="1453"/>
                        <a:pt x="1803" y="1453"/>
                      </a:cubicBezTo>
                      <a:cubicBezTo>
                        <a:pt x="1815" y="1450"/>
                        <a:pt x="1815" y="1450"/>
                        <a:pt x="1815" y="1450"/>
                      </a:cubicBezTo>
                      <a:cubicBezTo>
                        <a:pt x="1807" y="1441"/>
                        <a:pt x="1807" y="1441"/>
                        <a:pt x="1807" y="1441"/>
                      </a:cubicBezTo>
                      <a:cubicBezTo>
                        <a:pt x="1796" y="1439"/>
                        <a:pt x="1796" y="1439"/>
                        <a:pt x="1796" y="1439"/>
                      </a:cubicBezTo>
                      <a:cubicBezTo>
                        <a:pt x="1791" y="1425"/>
                        <a:pt x="1791" y="1425"/>
                        <a:pt x="1791" y="1425"/>
                      </a:cubicBezTo>
                      <a:cubicBezTo>
                        <a:pt x="1770" y="1445"/>
                        <a:pt x="1770" y="1445"/>
                        <a:pt x="1770" y="1445"/>
                      </a:cubicBezTo>
                      <a:cubicBezTo>
                        <a:pt x="1769" y="1457"/>
                        <a:pt x="1769" y="1457"/>
                        <a:pt x="1769" y="1457"/>
                      </a:cubicBezTo>
                      <a:cubicBezTo>
                        <a:pt x="1760" y="1456"/>
                        <a:pt x="1760" y="1456"/>
                        <a:pt x="1760" y="1456"/>
                      </a:cubicBezTo>
                      <a:cubicBezTo>
                        <a:pt x="1750" y="1461"/>
                        <a:pt x="1750" y="1461"/>
                        <a:pt x="1750" y="1461"/>
                      </a:cubicBezTo>
                      <a:cubicBezTo>
                        <a:pt x="1744" y="1473"/>
                        <a:pt x="1744" y="1473"/>
                        <a:pt x="1744" y="1473"/>
                      </a:cubicBezTo>
                      <a:cubicBezTo>
                        <a:pt x="1730" y="1477"/>
                        <a:pt x="1730" y="1477"/>
                        <a:pt x="1730" y="1477"/>
                      </a:cubicBezTo>
                      <a:cubicBezTo>
                        <a:pt x="1725" y="1482"/>
                        <a:pt x="1725" y="1482"/>
                        <a:pt x="1725" y="1482"/>
                      </a:cubicBezTo>
                      <a:cubicBezTo>
                        <a:pt x="1715" y="1482"/>
                        <a:pt x="1715" y="1482"/>
                        <a:pt x="1715" y="1482"/>
                      </a:cubicBezTo>
                      <a:cubicBezTo>
                        <a:pt x="1714" y="1495"/>
                        <a:pt x="1714" y="1495"/>
                        <a:pt x="1714" y="1495"/>
                      </a:cubicBezTo>
                      <a:cubicBezTo>
                        <a:pt x="1697" y="1496"/>
                        <a:pt x="1697" y="1496"/>
                        <a:pt x="1697" y="1496"/>
                      </a:cubicBezTo>
                      <a:cubicBezTo>
                        <a:pt x="1696" y="1495"/>
                        <a:pt x="1696" y="1495"/>
                        <a:pt x="1696" y="1495"/>
                      </a:cubicBezTo>
                      <a:cubicBezTo>
                        <a:pt x="1693" y="1494"/>
                        <a:pt x="1693" y="1494"/>
                        <a:pt x="1693" y="1494"/>
                      </a:cubicBezTo>
                      <a:cubicBezTo>
                        <a:pt x="1687" y="1498"/>
                        <a:pt x="1687" y="1498"/>
                        <a:pt x="1687" y="1498"/>
                      </a:cubicBezTo>
                      <a:lnTo>
                        <a:pt x="1690" y="1524"/>
                      </a:lnTo>
                      <a:close/>
                      <a:moveTo>
                        <a:pt x="2608" y="771"/>
                      </a:moveTo>
                      <a:cubicBezTo>
                        <a:pt x="2606" y="774"/>
                        <a:pt x="2606" y="774"/>
                        <a:pt x="2606" y="774"/>
                      </a:cubicBezTo>
                      <a:cubicBezTo>
                        <a:pt x="2608" y="775"/>
                        <a:pt x="2608" y="775"/>
                        <a:pt x="2608" y="775"/>
                      </a:cubicBezTo>
                      <a:cubicBezTo>
                        <a:pt x="2614" y="770"/>
                        <a:pt x="2614" y="770"/>
                        <a:pt x="2614" y="770"/>
                      </a:cubicBezTo>
                      <a:cubicBezTo>
                        <a:pt x="2614" y="768"/>
                        <a:pt x="2614" y="768"/>
                        <a:pt x="2614" y="768"/>
                      </a:cubicBezTo>
                      <a:cubicBezTo>
                        <a:pt x="2610" y="767"/>
                        <a:pt x="2610" y="767"/>
                        <a:pt x="2610" y="767"/>
                      </a:cubicBezTo>
                      <a:lnTo>
                        <a:pt x="2608" y="771"/>
                      </a:lnTo>
                      <a:close/>
                      <a:moveTo>
                        <a:pt x="2593" y="767"/>
                      </a:moveTo>
                      <a:cubicBezTo>
                        <a:pt x="2591" y="771"/>
                        <a:pt x="2591" y="771"/>
                        <a:pt x="2591" y="771"/>
                      </a:cubicBezTo>
                      <a:cubicBezTo>
                        <a:pt x="2603" y="773"/>
                        <a:pt x="2603" y="773"/>
                        <a:pt x="2603" y="773"/>
                      </a:cubicBezTo>
                      <a:cubicBezTo>
                        <a:pt x="2603" y="768"/>
                        <a:pt x="2603" y="768"/>
                        <a:pt x="2603" y="768"/>
                      </a:cubicBezTo>
                      <a:cubicBezTo>
                        <a:pt x="2597" y="767"/>
                        <a:pt x="2597" y="767"/>
                        <a:pt x="2597" y="767"/>
                      </a:cubicBezTo>
                      <a:lnTo>
                        <a:pt x="2593" y="767"/>
                      </a:lnTo>
                      <a:close/>
                      <a:moveTo>
                        <a:pt x="2563" y="775"/>
                      </a:moveTo>
                      <a:cubicBezTo>
                        <a:pt x="2557" y="770"/>
                        <a:pt x="2557" y="770"/>
                        <a:pt x="2557" y="770"/>
                      </a:cubicBezTo>
                      <a:cubicBezTo>
                        <a:pt x="2552" y="770"/>
                        <a:pt x="2552" y="770"/>
                        <a:pt x="2552" y="770"/>
                      </a:cubicBezTo>
                      <a:cubicBezTo>
                        <a:pt x="2553" y="772"/>
                        <a:pt x="2553" y="772"/>
                        <a:pt x="2553" y="772"/>
                      </a:cubicBezTo>
                      <a:cubicBezTo>
                        <a:pt x="2558" y="777"/>
                        <a:pt x="2558" y="777"/>
                        <a:pt x="2558" y="777"/>
                      </a:cubicBezTo>
                      <a:lnTo>
                        <a:pt x="2563" y="775"/>
                      </a:lnTo>
                      <a:close/>
                      <a:moveTo>
                        <a:pt x="2643" y="765"/>
                      </a:moveTo>
                      <a:cubicBezTo>
                        <a:pt x="2654" y="765"/>
                        <a:pt x="2654" y="765"/>
                        <a:pt x="2654" y="765"/>
                      </a:cubicBezTo>
                      <a:cubicBezTo>
                        <a:pt x="2654" y="762"/>
                        <a:pt x="2654" y="762"/>
                        <a:pt x="2654" y="762"/>
                      </a:cubicBezTo>
                      <a:cubicBezTo>
                        <a:pt x="2645" y="762"/>
                        <a:pt x="2645" y="762"/>
                        <a:pt x="2645" y="762"/>
                      </a:cubicBezTo>
                      <a:lnTo>
                        <a:pt x="2643" y="765"/>
                      </a:lnTo>
                      <a:close/>
                      <a:moveTo>
                        <a:pt x="2541" y="764"/>
                      </a:moveTo>
                      <a:cubicBezTo>
                        <a:pt x="2542" y="759"/>
                        <a:pt x="2542" y="759"/>
                        <a:pt x="2542" y="759"/>
                      </a:cubicBezTo>
                      <a:cubicBezTo>
                        <a:pt x="2539" y="759"/>
                        <a:pt x="2539" y="759"/>
                        <a:pt x="2539" y="759"/>
                      </a:cubicBezTo>
                      <a:cubicBezTo>
                        <a:pt x="2536" y="762"/>
                        <a:pt x="2536" y="762"/>
                        <a:pt x="2536" y="762"/>
                      </a:cubicBezTo>
                      <a:cubicBezTo>
                        <a:pt x="2533" y="764"/>
                        <a:pt x="2533" y="764"/>
                        <a:pt x="2533" y="764"/>
                      </a:cubicBezTo>
                      <a:cubicBezTo>
                        <a:pt x="2537" y="765"/>
                        <a:pt x="2537" y="765"/>
                        <a:pt x="2537" y="765"/>
                      </a:cubicBezTo>
                      <a:lnTo>
                        <a:pt x="2541" y="764"/>
                      </a:lnTo>
                      <a:close/>
                      <a:moveTo>
                        <a:pt x="2474" y="741"/>
                      </a:moveTo>
                      <a:cubicBezTo>
                        <a:pt x="2473" y="744"/>
                        <a:pt x="2473" y="744"/>
                        <a:pt x="2473" y="744"/>
                      </a:cubicBezTo>
                      <a:cubicBezTo>
                        <a:pt x="2481" y="748"/>
                        <a:pt x="2481" y="748"/>
                        <a:pt x="2481" y="748"/>
                      </a:cubicBezTo>
                      <a:cubicBezTo>
                        <a:pt x="2485" y="747"/>
                        <a:pt x="2485" y="747"/>
                        <a:pt x="2485" y="747"/>
                      </a:cubicBezTo>
                      <a:cubicBezTo>
                        <a:pt x="2482" y="743"/>
                        <a:pt x="2482" y="743"/>
                        <a:pt x="2482" y="743"/>
                      </a:cubicBezTo>
                      <a:lnTo>
                        <a:pt x="2474" y="741"/>
                      </a:lnTo>
                      <a:close/>
                      <a:moveTo>
                        <a:pt x="2644" y="757"/>
                      </a:moveTo>
                      <a:cubicBezTo>
                        <a:pt x="2641" y="756"/>
                        <a:pt x="2641" y="756"/>
                        <a:pt x="2641" y="756"/>
                      </a:cubicBezTo>
                      <a:cubicBezTo>
                        <a:pt x="2639" y="758"/>
                        <a:pt x="2639" y="758"/>
                        <a:pt x="2639" y="758"/>
                      </a:cubicBezTo>
                      <a:cubicBezTo>
                        <a:pt x="2631" y="762"/>
                        <a:pt x="2631" y="762"/>
                        <a:pt x="2631" y="762"/>
                      </a:cubicBezTo>
                      <a:cubicBezTo>
                        <a:pt x="2630" y="765"/>
                        <a:pt x="2630" y="765"/>
                        <a:pt x="2630" y="765"/>
                      </a:cubicBezTo>
                      <a:cubicBezTo>
                        <a:pt x="2635" y="766"/>
                        <a:pt x="2635" y="766"/>
                        <a:pt x="2635" y="766"/>
                      </a:cubicBezTo>
                      <a:cubicBezTo>
                        <a:pt x="2643" y="761"/>
                        <a:pt x="2643" y="761"/>
                        <a:pt x="2643" y="761"/>
                      </a:cubicBezTo>
                      <a:lnTo>
                        <a:pt x="2644" y="757"/>
                      </a:lnTo>
                      <a:close/>
                      <a:moveTo>
                        <a:pt x="2492" y="756"/>
                      </a:moveTo>
                      <a:cubicBezTo>
                        <a:pt x="2489" y="753"/>
                        <a:pt x="2489" y="753"/>
                        <a:pt x="2489" y="753"/>
                      </a:cubicBezTo>
                      <a:cubicBezTo>
                        <a:pt x="2482" y="753"/>
                        <a:pt x="2482" y="753"/>
                        <a:pt x="2482" y="753"/>
                      </a:cubicBezTo>
                      <a:cubicBezTo>
                        <a:pt x="2485" y="756"/>
                        <a:pt x="2485" y="756"/>
                        <a:pt x="2485" y="756"/>
                      </a:cubicBezTo>
                      <a:lnTo>
                        <a:pt x="2492" y="756"/>
                      </a:lnTo>
                      <a:close/>
                      <a:moveTo>
                        <a:pt x="0" y="1334"/>
                      </a:moveTo>
                      <a:cubicBezTo>
                        <a:pt x="2" y="1337"/>
                        <a:pt x="2" y="1337"/>
                        <a:pt x="2" y="1337"/>
                      </a:cubicBezTo>
                      <a:cubicBezTo>
                        <a:pt x="5" y="1334"/>
                        <a:pt x="5" y="1334"/>
                        <a:pt x="5" y="1334"/>
                      </a:cubicBezTo>
                      <a:cubicBezTo>
                        <a:pt x="2" y="1332"/>
                        <a:pt x="2" y="1332"/>
                        <a:pt x="2" y="1332"/>
                      </a:cubicBezTo>
                      <a:lnTo>
                        <a:pt x="0" y="1334"/>
                      </a:lnTo>
                      <a:close/>
                      <a:moveTo>
                        <a:pt x="2" y="1309"/>
                      </a:moveTo>
                      <a:cubicBezTo>
                        <a:pt x="1" y="1312"/>
                        <a:pt x="1" y="1312"/>
                        <a:pt x="1" y="1312"/>
                      </a:cubicBezTo>
                      <a:cubicBezTo>
                        <a:pt x="7" y="1312"/>
                        <a:pt x="7" y="1312"/>
                        <a:pt x="7" y="1312"/>
                      </a:cubicBezTo>
                      <a:cubicBezTo>
                        <a:pt x="6" y="1309"/>
                        <a:pt x="6" y="1309"/>
                        <a:pt x="6" y="1309"/>
                      </a:cubicBezTo>
                      <a:lnTo>
                        <a:pt x="2" y="1309"/>
                      </a:lnTo>
                      <a:close/>
                      <a:moveTo>
                        <a:pt x="12" y="1330"/>
                      </a:moveTo>
                      <a:cubicBezTo>
                        <a:pt x="14" y="1333"/>
                        <a:pt x="14" y="1333"/>
                        <a:pt x="14" y="1333"/>
                      </a:cubicBezTo>
                      <a:cubicBezTo>
                        <a:pt x="17" y="1331"/>
                        <a:pt x="17" y="1331"/>
                        <a:pt x="17" y="1331"/>
                      </a:cubicBezTo>
                      <a:cubicBezTo>
                        <a:pt x="15" y="1329"/>
                        <a:pt x="15" y="1329"/>
                        <a:pt x="15" y="1329"/>
                      </a:cubicBezTo>
                      <a:lnTo>
                        <a:pt x="12" y="1330"/>
                      </a:lnTo>
                      <a:close/>
                      <a:moveTo>
                        <a:pt x="66" y="1154"/>
                      </a:moveTo>
                      <a:cubicBezTo>
                        <a:pt x="68" y="1156"/>
                        <a:pt x="68" y="1156"/>
                        <a:pt x="68" y="1156"/>
                      </a:cubicBezTo>
                      <a:cubicBezTo>
                        <a:pt x="70" y="1154"/>
                        <a:pt x="70" y="1154"/>
                        <a:pt x="70" y="1154"/>
                      </a:cubicBezTo>
                      <a:cubicBezTo>
                        <a:pt x="69" y="1152"/>
                        <a:pt x="69" y="1152"/>
                        <a:pt x="69" y="1152"/>
                      </a:cubicBezTo>
                      <a:lnTo>
                        <a:pt x="66" y="1154"/>
                      </a:lnTo>
                      <a:close/>
                      <a:moveTo>
                        <a:pt x="78" y="1161"/>
                      </a:moveTo>
                      <a:cubicBezTo>
                        <a:pt x="81" y="1164"/>
                        <a:pt x="81" y="1164"/>
                        <a:pt x="81" y="1164"/>
                      </a:cubicBezTo>
                      <a:cubicBezTo>
                        <a:pt x="84" y="1162"/>
                        <a:pt x="84" y="1162"/>
                        <a:pt x="84" y="1162"/>
                      </a:cubicBezTo>
                      <a:cubicBezTo>
                        <a:pt x="81" y="1160"/>
                        <a:pt x="81" y="1160"/>
                        <a:pt x="81" y="1160"/>
                      </a:cubicBezTo>
                      <a:lnTo>
                        <a:pt x="78" y="1161"/>
                      </a:lnTo>
                      <a:close/>
                      <a:moveTo>
                        <a:pt x="93" y="1158"/>
                      </a:moveTo>
                      <a:cubicBezTo>
                        <a:pt x="90" y="1159"/>
                        <a:pt x="90" y="1159"/>
                        <a:pt x="90" y="1159"/>
                      </a:cubicBezTo>
                      <a:cubicBezTo>
                        <a:pt x="90" y="1160"/>
                        <a:pt x="90" y="1160"/>
                        <a:pt x="90" y="1160"/>
                      </a:cubicBezTo>
                      <a:cubicBezTo>
                        <a:pt x="91" y="1162"/>
                        <a:pt x="91" y="1162"/>
                        <a:pt x="91" y="1162"/>
                      </a:cubicBezTo>
                      <a:cubicBezTo>
                        <a:pt x="93" y="1161"/>
                        <a:pt x="93" y="1161"/>
                        <a:pt x="93" y="1161"/>
                      </a:cubicBezTo>
                      <a:lnTo>
                        <a:pt x="93" y="1158"/>
                      </a:lnTo>
                      <a:close/>
                      <a:moveTo>
                        <a:pt x="98" y="1156"/>
                      </a:moveTo>
                      <a:cubicBezTo>
                        <a:pt x="99" y="1160"/>
                        <a:pt x="99" y="1160"/>
                        <a:pt x="99" y="1160"/>
                      </a:cubicBezTo>
                      <a:cubicBezTo>
                        <a:pt x="103" y="1158"/>
                        <a:pt x="103" y="1158"/>
                        <a:pt x="103" y="1158"/>
                      </a:cubicBezTo>
                      <a:cubicBezTo>
                        <a:pt x="104" y="1155"/>
                        <a:pt x="104" y="1155"/>
                        <a:pt x="104" y="1155"/>
                      </a:cubicBezTo>
                      <a:cubicBezTo>
                        <a:pt x="101" y="1153"/>
                        <a:pt x="101" y="1153"/>
                        <a:pt x="101" y="1153"/>
                      </a:cubicBezTo>
                      <a:lnTo>
                        <a:pt x="98" y="1156"/>
                      </a:lnTo>
                      <a:close/>
                      <a:moveTo>
                        <a:pt x="108" y="1149"/>
                      </a:moveTo>
                      <a:cubicBezTo>
                        <a:pt x="104" y="1150"/>
                        <a:pt x="104" y="1150"/>
                        <a:pt x="104" y="1150"/>
                      </a:cubicBezTo>
                      <a:cubicBezTo>
                        <a:pt x="107" y="1152"/>
                        <a:pt x="107" y="1152"/>
                        <a:pt x="107" y="1152"/>
                      </a:cubicBezTo>
                      <a:lnTo>
                        <a:pt x="108" y="1149"/>
                      </a:lnTo>
                      <a:close/>
                      <a:moveTo>
                        <a:pt x="599" y="302"/>
                      </a:moveTo>
                      <a:cubicBezTo>
                        <a:pt x="595" y="303"/>
                        <a:pt x="595" y="303"/>
                        <a:pt x="595" y="303"/>
                      </a:cubicBezTo>
                      <a:cubicBezTo>
                        <a:pt x="590" y="306"/>
                        <a:pt x="590" y="306"/>
                        <a:pt x="590" y="306"/>
                      </a:cubicBezTo>
                      <a:cubicBezTo>
                        <a:pt x="582" y="307"/>
                        <a:pt x="582" y="307"/>
                        <a:pt x="582" y="307"/>
                      </a:cubicBezTo>
                      <a:cubicBezTo>
                        <a:pt x="584" y="309"/>
                        <a:pt x="584" y="309"/>
                        <a:pt x="584" y="309"/>
                      </a:cubicBezTo>
                      <a:cubicBezTo>
                        <a:pt x="587" y="310"/>
                        <a:pt x="587" y="310"/>
                        <a:pt x="587" y="310"/>
                      </a:cubicBezTo>
                      <a:cubicBezTo>
                        <a:pt x="598" y="306"/>
                        <a:pt x="598" y="306"/>
                        <a:pt x="598" y="306"/>
                      </a:cubicBezTo>
                      <a:cubicBezTo>
                        <a:pt x="599" y="302"/>
                        <a:pt x="599" y="302"/>
                        <a:pt x="599" y="302"/>
                      </a:cubicBezTo>
                      <a:close/>
                      <a:moveTo>
                        <a:pt x="595" y="315"/>
                      </a:moveTo>
                      <a:cubicBezTo>
                        <a:pt x="597" y="314"/>
                        <a:pt x="597" y="314"/>
                        <a:pt x="597" y="314"/>
                      </a:cubicBezTo>
                      <a:cubicBezTo>
                        <a:pt x="597" y="312"/>
                        <a:pt x="597" y="312"/>
                        <a:pt x="597" y="312"/>
                      </a:cubicBezTo>
                      <a:cubicBezTo>
                        <a:pt x="595" y="311"/>
                        <a:pt x="595" y="311"/>
                        <a:pt x="595" y="311"/>
                      </a:cubicBezTo>
                      <a:cubicBezTo>
                        <a:pt x="593" y="313"/>
                        <a:pt x="593" y="313"/>
                        <a:pt x="593" y="313"/>
                      </a:cubicBezTo>
                      <a:lnTo>
                        <a:pt x="595" y="315"/>
                      </a:lnTo>
                      <a:close/>
                      <a:moveTo>
                        <a:pt x="563" y="319"/>
                      </a:moveTo>
                      <a:cubicBezTo>
                        <a:pt x="567" y="320"/>
                        <a:pt x="567" y="320"/>
                        <a:pt x="567" y="320"/>
                      </a:cubicBezTo>
                      <a:cubicBezTo>
                        <a:pt x="569" y="317"/>
                        <a:pt x="569" y="317"/>
                        <a:pt x="569" y="317"/>
                      </a:cubicBezTo>
                      <a:cubicBezTo>
                        <a:pt x="568" y="315"/>
                        <a:pt x="568" y="315"/>
                        <a:pt x="568" y="315"/>
                      </a:cubicBezTo>
                      <a:cubicBezTo>
                        <a:pt x="564" y="318"/>
                        <a:pt x="564" y="318"/>
                        <a:pt x="564" y="318"/>
                      </a:cubicBezTo>
                      <a:cubicBezTo>
                        <a:pt x="563" y="319"/>
                        <a:pt x="563" y="319"/>
                        <a:pt x="563" y="319"/>
                      </a:cubicBezTo>
                      <a:close/>
                      <a:moveTo>
                        <a:pt x="611" y="306"/>
                      </a:moveTo>
                      <a:cubicBezTo>
                        <a:pt x="613" y="305"/>
                        <a:pt x="613" y="305"/>
                        <a:pt x="613" y="305"/>
                      </a:cubicBezTo>
                      <a:cubicBezTo>
                        <a:pt x="610" y="304"/>
                        <a:pt x="610" y="304"/>
                        <a:pt x="610" y="304"/>
                      </a:cubicBezTo>
                      <a:cubicBezTo>
                        <a:pt x="608" y="305"/>
                        <a:pt x="608" y="305"/>
                        <a:pt x="608" y="305"/>
                      </a:cubicBezTo>
                      <a:cubicBezTo>
                        <a:pt x="609" y="306"/>
                        <a:pt x="609" y="306"/>
                        <a:pt x="609" y="306"/>
                      </a:cubicBezTo>
                      <a:cubicBezTo>
                        <a:pt x="611" y="306"/>
                        <a:pt x="611" y="306"/>
                        <a:pt x="611" y="306"/>
                      </a:cubicBezTo>
                      <a:close/>
                      <a:moveTo>
                        <a:pt x="621" y="296"/>
                      </a:moveTo>
                      <a:cubicBezTo>
                        <a:pt x="616" y="298"/>
                        <a:pt x="616" y="298"/>
                        <a:pt x="616" y="298"/>
                      </a:cubicBezTo>
                      <a:cubicBezTo>
                        <a:pt x="623" y="298"/>
                        <a:pt x="623" y="298"/>
                        <a:pt x="623" y="298"/>
                      </a:cubicBezTo>
                      <a:lnTo>
                        <a:pt x="621" y="296"/>
                      </a:lnTo>
                      <a:close/>
                      <a:moveTo>
                        <a:pt x="627" y="296"/>
                      </a:moveTo>
                      <a:cubicBezTo>
                        <a:pt x="629" y="298"/>
                        <a:pt x="629" y="298"/>
                        <a:pt x="629" y="298"/>
                      </a:cubicBezTo>
                      <a:cubicBezTo>
                        <a:pt x="634" y="298"/>
                        <a:pt x="634" y="298"/>
                        <a:pt x="634" y="298"/>
                      </a:cubicBezTo>
                      <a:cubicBezTo>
                        <a:pt x="632" y="295"/>
                        <a:pt x="632" y="295"/>
                        <a:pt x="632" y="295"/>
                      </a:cubicBezTo>
                      <a:cubicBezTo>
                        <a:pt x="627" y="296"/>
                        <a:pt x="627" y="296"/>
                        <a:pt x="627" y="296"/>
                      </a:cubicBezTo>
                      <a:close/>
                      <a:moveTo>
                        <a:pt x="612" y="298"/>
                      </a:moveTo>
                      <a:cubicBezTo>
                        <a:pt x="611" y="297"/>
                        <a:pt x="611" y="297"/>
                        <a:pt x="611" y="297"/>
                      </a:cubicBezTo>
                      <a:cubicBezTo>
                        <a:pt x="608" y="297"/>
                        <a:pt x="608" y="297"/>
                        <a:pt x="608" y="297"/>
                      </a:cubicBezTo>
                      <a:cubicBezTo>
                        <a:pt x="605" y="299"/>
                        <a:pt x="605" y="299"/>
                        <a:pt x="605" y="299"/>
                      </a:cubicBezTo>
                      <a:cubicBezTo>
                        <a:pt x="609" y="301"/>
                        <a:pt x="609" y="301"/>
                        <a:pt x="609" y="301"/>
                      </a:cubicBezTo>
                      <a:lnTo>
                        <a:pt x="612" y="298"/>
                      </a:lnTo>
                      <a:close/>
                      <a:moveTo>
                        <a:pt x="602" y="309"/>
                      </a:moveTo>
                      <a:cubicBezTo>
                        <a:pt x="602" y="310"/>
                        <a:pt x="602" y="310"/>
                        <a:pt x="602" y="310"/>
                      </a:cubicBezTo>
                      <a:cubicBezTo>
                        <a:pt x="604" y="311"/>
                        <a:pt x="604" y="311"/>
                        <a:pt x="604" y="311"/>
                      </a:cubicBezTo>
                      <a:cubicBezTo>
                        <a:pt x="607" y="310"/>
                        <a:pt x="607" y="310"/>
                        <a:pt x="607" y="310"/>
                      </a:cubicBezTo>
                      <a:cubicBezTo>
                        <a:pt x="605" y="308"/>
                        <a:pt x="605" y="308"/>
                        <a:pt x="605" y="308"/>
                      </a:cubicBezTo>
                      <a:cubicBezTo>
                        <a:pt x="602" y="309"/>
                        <a:pt x="602" y="309"/>
                        <a:pt x="602" y="309"/>
                      </a:cubicBezTo>
                      <a:close/>
                      <a:moveTo>
                        <a:pt x="496" y="347"/>
                      </a:moveTo>
                      <a:cubicBezTo>
                        <a:pt x="491" y="347"/>
                        <a:pt x="491" y="347"/>
                        <a:pt x="491" y="347"/>
                      </a:cubicBezTo>
                      <a:cubicBezTo>
                        <a:pt x="489" y="349"/>
                        <a:pt x="489" y="349"/>
                        <a:pt x="489" y="349"/>
                      </a:cubicBezTo>
                      <a:cubicBezTo>
                        <a:pt x="491" y="350"/>
                        <a:pt x="491" y="350"/>
                        <a:pt x="491" y="350"/>
                      </a:cubicBezTo>
                      <a:cubicBezTo>
                        <a:pt x="496" y="349"/>
                        <a:pt x="496" y="349"/>
                        <a:pt x="496" y="349"/>
                      </a:cubicBezTo>
                      <a:cubicBezTo>
                        <a:pt x="496" y="347"/>
                        <a:pt x="496" y="347"/>
                        <a:pt x="496" y="347"/>
                      </a:cubicBezTo>
                      <a:close/>
                      <a:moveTo>
                        <a:pt x="507" y="356"/>
                      </a:moveTo>
                      <a:cubicBezTo>
                        <a:pt x="511" y="351"/>
                        <a:pt x="511" y="351"/>
                        <a:pt x="511" y="351"/>
                      </a:cubicBezTo>
                      <a:cubicBezTo>
                        <a:pt x="516" y="348"/>
                        <a:pt x="516" y="348"/>
                        <a:pt x="516" y="348"/>
                      </a:cubicBezTo>
                      <a:cubicBezTo>
                        <a:pt x="513" y="347"/>
                        <a:pt x="513" y="347"/>
                        <a:pt x="513" y="347"/>
                      </a:cubicBezTo>
                      <a:cubicBezTo>
                        <a:pt x="508" y="348"/>
                        <a:pt x="508" y="348"/>
                        <a:pt x="508" y="348"/>
                      </a:cubicBezTo>
                      <a:cubicBezTo>
                        <a:pt x="504" y="347"/>
                        <a:pt x="504" y="347"/>
                        <a:pt x="504" y="347"/>
                      </a:cubicBezTo>
                      <a:cubicBezTo>
                        <a:pt x="503" y="352"/>
                        <a:pt x="503" y="352"/>
                        <a:pt x="503" y="352"/>
                      </a:cubicBezTo>
                      <a:cubicBezTo>
                        <a:pt x="500" y="356"/>
                        <a:pt x="500" y="356"/>
                        <a:pt x="500" y="356"/>
                      </a:cubicBezTo>
                      <a:cubicBezTo>
                        <a:pt x="502" y="358"/>
                        <a:pt x="502" y="358"/>
                        <a:pt x="502" y="358"/>
                      </a:cubicBezTo>
                      <a:cubicBezTo>
                        <a:pt x="507" y="356"/>
                        <a:pt x="507" y="356"/>
                        <a:pt x="507" y="356"/>
                      </a:cubicBezTo>
                      <a:close/>
                      <a:moveTo>
                        <a:pt x="513" y="337"/>
                      </a:moveTo>
                      <a:cubicBezTo>
                        <a:pt x="508" y="338"/>
                        <a:pt x="508" y="338"/>
                        <a:pt x="508" y="338"/>
                      </a:cubicBezTo>
                      <a:cubicBezTo>
                        <a:pt x="501" y="341"/>
                        <a:pt x="501" y="341"/>
                        <a:pt x="501" y="341"/>
                      </a:cubicBezTo>
                      <a:cubicBezTo>
                        <a:pt x="498" y="343"/>
                        <a:pt x="498" y="343"/>
                        <a:pt x="498" y="343"/>
                      </a:cubicBezTo>
                      <a:cubicBezTo>
                        <a:pt x="502" y="344"/>
                        <a:pt x="502" y="344"/>
                        <a:pt x="502" y="344"/>
                      </a:cubicBezTo>
                      <a:cubicBezTo>
                        <a:pt x="506" y="343"/>
                        <a:pt x="506" y="343"/>
                        <a:pt x="506" y="343"/>
                      </a:cubicBezTo>
                      <a:cubicBezTo>
                        <a:pt x="513" y="337"/>
                        <a:pt x="513" y="337"/>
                        <a:pt x="513" y="337"/>
                      </a:cubicBezTo>
                      <a:close/>
                      <a:moveTo>
                        <a:pt x="550" y="315"/>
                      </a:moveTo>
                      <a:cubicBezTo>
                        <a:pt x="544" y="316"/>
                        <a:pt x="544" y="316"/>
                        <a:pt x="544" y="316"/>
                      </a:cubicBezTo>
                      <a:cubicBezTo>
                        <a:pt x="544" y="318"/>
                        <a:pt x="544" y="318"/>
                        <a:pt x="544" y="318"/>
                      </a:cubicBezTo>
                      <a:cubicBezTo>
                        <a:pt x="551" y="318"/>
                        <a:pt x="551" y="318"/>
                        <a:pt x="551" y="318"/>
                      </a:cubicBezTo>
                      <a:lnTo>
                        <a:pt x="550" y="315"/>
                      </a:lnTo>
                      <a:close/>
                      <a:moveTo>
                        <a:pt x="490" y="359"/>
                      </a:moveTo>
                      <a:cubicBezTo>
                        <a:pt x="495" y="356"/>
                        <a:pt x="495" y="356"/>
                        <a:pt x="495" y="356"/>
                      </a:cubicBezTo>
                      <a:cubicBezTo>
                        <a:pt x="495" y="355"/>
                        <a:pt x="495" y="355"/>
                        <a:pt x="495" y="355"/>
                      </a:cubicBezTo>
                      <a:cubicBezTo>
                        <a:pt x="492" y="355"/>
                        <a:pt x="492" y="355"/>
                        <a:pt x="492" y="355"/>
                      </a:cubicBezTo>
                      <a:cubicBezTo>
                        <a:pt x="489" y="357"/>
                        <a:pt x="489" y="357"/>
                        <a:pt x="489" y="357"/>
                      </a:cubicBezTo>
                      <a:cubicBezTo>
                        <a:pt x="490" y="359"/>
                        <a:pt x="490" y="359"/>
                        <a:pt x="490" y="359"/>
                      </a:cubicBezTo>
                      <a:close/>
                      <a:moveTo>
                        <a:pt x="551" y="320"/>
                      </a:moveTo>
                      <a:cubicBezTo>
                        <a:pt x="544" y="320"/>
                        <a:pt x="544" y="320"/>
                        <a:pt x="544" y="320"/>
                      </a:cubicBezTo>
                      <a:cubicBezTo>
                        <a:pt x="542" y="323"/>
                        <a:pt x="542" y="323"/>
                        <a:pt x="542" y="323"/>
                      </a:cubicBezTo>
                      <a:cubicBezTo>
                        <a:pt x="543" y="324"/>
                        <a:pt x="543" y="324"/>
                        <a:pt x="543" y="324"/>
                      </a:cubicBezTo>
                      <a:cubicBezTo>
                        <a:pt x="552" y="324"/>
                        <a:pt x="552" y="324"/>
                        <a:pt x="552" y="324"/>
                      </a:cubicBezTo>
                      <a:cubicBezTo>
                        <a:pt x="551" y="320"/>
                        <a:pt x="551" y="320"/>
                        <a:pt x="551" y="320"/>
                      </a:cubicBezTo>
                      <a:close/>
                      <a:moveTo>
                        <a:pt x="469" y="363"/>
                      </a:moveTo>
                      <a:cubicBezTo>
                        <a:pt x="469" y="367"/>
                        <a:pt x="469" y="367"/>
                        <a:pt x="469" y="367"/>
                      </a:cubicBezTo>
                      <a:cubicBezTo>
                        <a:pt x="471" y="365"/>
                        <a:pt x="471" y="365"/>
                        <a:pt x="471" y="365"/>
                      </a:cubicBezTo>
                      <a:cubicBezTo>
                        <a:pt x="477" y="362"/>
                        <a:pt x="477" y="362"/>
                        <a:pt x="477" y="362"/>
                      </a:cubicBezTo>
                      <a:cubicBezTo>
                        <a:pt x="482" y="360"/>
                        <a:pt x="482" y="360"/>
                        <a:pt x="482" y="360"/>
                      </a:cubicBezTo>
                      <a:cubicBezTo>
                        <a:pt x="481" y="359"/>
                        <a:pt x="481" y="359"/>
                        <a:pt x="481" y="359"/>
                      </a:cubicBezTo>
                      <a:cubicBezTo>
                        <a:pt x="477" y="359"/>
                        <a:pt x="477" y="359"/>
                        <a:pt x="477" y="359"/>
                      </a:cubicBezTo>
                      <a:cubicBezTo>
                        <a:pt x="469" y="363"/>
                        <a:pt x="469" y="363"/>
                        <a:pt x="469" y="363"/>
                      </a:cubicBezTo>
                      <a:close/>
                      <a:moveTo>
                        <a:pt x="519" y="336"/>
                      </a:moveTo>
                      <a:cubicBezTo>
                        <a:pt x="517" y="341"/>
                        <a:pt x="517" y="341"/>
                        <a:pt x="517" y="341"/>
                      </a:cubicBezTo>
                      <a:cubicBezTo>
                        <a:pt x="520" y="342"/>
                        <a:pt x="520" y="342"/>
                        <a:pt x="520" y="342"/>
                      </a:cubicBezTo>
                      <a:cubicBezTo>
                        <a:pt x="525" y="341"/>
                        <a:pt x="525" y="341"/>
                        <a:pt x="525" y="341"/>
                      </a:cubicBezTo>
                      <a:cubicBezTo>
                        <a:pt x="528" y="337"/>
                        <a:pt x="528" y="337"/>
                        <a:pt x="528" y="337"/>
                      </a:cubicBezTo>
                      <a:cubicBezTo>
                        <a:pt x="532" y="334"/>
                        <a:pt x="532" y="334"/>
                        <a:pt x="532" y="334"/>
                      </a:cubicBezTo>
                      <a:cubicBezTo>
                        <a:pt x="527" y="333"/>
                        <a:pt x="527" y="333"/>
                        <a:pt x="527" y="333"/>
                      </a:cubicBezTo>
                      <a:cubicBezTo>
                        <a:pt x="519" y="336"/>
                        <a:pt x="519" y="336"/>
                        <a:pt x="519" y="336"/>
                      </a:cubicBezTo>
                      <a:close/>
                      <a:moveTo>
                        <a:pt x="544" y="329"/>
                      </a:moveTo>
                      <a:cubicBezTo>
                        <a:pt x="544" y="327"/>
                        <a:pt x="544" y="327"/>
                        <a:pt x="544" y="327"/>
                      </a:cubicBezTo>
                      <a:cubicBezTo>
                        <a:pt x="539" y="326"/>
                        <a:pt x="539" y="326"/>
                        <a:pt x="539" y="326"/>
                      </a:cubicBezTo>
                      <a:cubicBezTo>
                        <a:pt x="534" y="328"/>
                        <a:pt x="534" y="328"/>
                        <a:pt x="534" y="328"/>
                      </a:cubicBezTo>
                      <a:cubicBezTo>
                        <a:pt x="531" y="331"/>
                        <a:pt x="531" y="331"/>
                        <a:pt x="531" y="331"/>
                      </a:cubicBezTo>
                      <a:cubicBezTo>
                        <a:pt x="539" y="332"/>
                        <a:pt x="539" y="332"/>
                        <a:pt x="539" y="332"/>
                      </a:cubicBezTo>
                      <a:lnTo>
                        <a:pt x="544" y="329"/>
                      </a:lnTo>
                      <a:close/>
                      <a:moveTo>
                        <a:pt x="554" y="320"/>
                      </a:moveTo>
                      <a:cubicBezTo>
                        <a:pt x="557" y="319"/>
                        <a:pt x="557" y="319"/>
                        <a:pt x="557" y="319"/>
                      </a:cubicBezTo>
                      <a:cubicBezTo>
                        <a:pt x="557" y="316"/>
                        <a:pt x="557" y="316"/>
                        <a:pt x="557" y="316"/>
                      </a:cubicBezTo>
                      <a:cubicBezTo>
                        <a:pt x="556" y="315"/>
                        <a:pt x="556" y="315"/>
                        <a:pt x="556" y="315"/>
                      </a:cubicBezTo>
                      <a:cubicBezTo>
                        <a:pt x="553" y="317"/>
                        <a:pt x="553" y="317"/>
                        <a:pt x="553" y="317"/>
                      </a:cubicBezTo>
                      <a:cubicBezTo>
                        <a:pt x="554" y="320"/>
                        <a:pt x="554" y="320"/>
                        <a:pt x="554" y="320"/>
                      </a:cubicBezTo>
                      <a:close/>
                      <a:moveTo>
                        <a:pt x="459" y="673"/>
                      </a:moveTo>
                      <a:cubicBezTo>
                        <a:pt x="453" y="676"/>
                        <a:pt x="453" y="676"/>
                        <a:pt x="453" y="676"/>
                      </a:cubicBezTo>
                      <a:cubicBezTo>
                        <a:pt x="447" y="677"/>
                        <a:pt x="447" y="677"/>
                        <a:pt x="447" y="677"/>
                      </a:cubicBezTo>
                      <a:cubicBezTo>
                        <a:pt x="445" y="680"/>
                        <a:pt x="445" y="680"/>
                        <a:pt x="445" y="680"/>
                      </a:cubicBezTo>
                      <a:cubicBezTo>
                        <a:pt x="450" y="686"/>
                        <a:pt x="450" y="686"/>
                        <a:pt x="450" y="686"/>
                      </a:cubicBezTo>
                      <a:cubicBezTo>
                        <a:pt x="453" y="689"/>
                        <a:pt x="453" y="689"/>
                        <a:pt x="453" y="689"/>
                      </a:cubicBezTo>
                      <a:cubicBezTo>
                        <a:pt x="457" y="689"/>
                        <a:pt x="457" y="689"/>
                        <a:pt x="457" y="689"/>
                      </a:cubicBezTo>
                      <a:cubicBezTo>
                        <a:pt x="459" y="692"/>
                        <a:pt x="459" y="692"/>
                        <a:pt x="459" y="692"/>
                      </a:cubicBezTo>
                      <a:cubicBezTo>
                        <a:pt x="463" y="689"/>
                        <a:pt x="463" y="689"/>
                        <a:pt x="463" y="689"/>
                      </a:cubicBezTo>
                      <a:cubicBezTo>
                        <a:pt x="465" y="685"/>
                        <a:pt x="465" y="685"/>
                        <a:pt x="465" y="685"/>
                      </a:cubicBezTo>
                      <a:cubicBezTo>
                        <a:pt x="463" y="680"/>
                        <a:pt x="463" y="680"/>
                        <a:pt x="463" y="680"/>
                      </a:cubicBezTo>
                      <a:cubicBezTo>
                        <a:pt x="464" y="674"/>
                        <a:pt x="464" y="674"/>
                        <a:pt x="464" y="674"/>
                      </a:cubicBezTo>
                      <a:lnTo>
                        <a:pt x="459" y="673"/>
                      </a:lnTo>
                      <a:close/>
                      <a:moveTo>
                        <a:pt x="432" y="683"/>
                      </a:moveTo>
                      <a:cubicBezTo>
                        <a:pt x="434" y="689"/>
                        <a:pt x="434" y="689"/>
                        <a:pt x="434" y="689"/>
                      </a:cubicBezTo>
                      <a:cubicBezTo>
                        <a:pt x="441" y="691"/>
                        <a:pt x="441" y="691"/>
                        <a:pt x="441" y="691"/>
                      </a:cubicBezTo>
                      <a:cubicBezTo>
                        <a:pt x="445" y="686"/>
                        <a:pt x="445" y="686"/>
                        <a:pt x="445" y="686"/>
                      </a:cubicBezTo>
                      <a:cubicBezTo>
                        <a:pt x="443" y="682"/>
                        <a:pt x="443" y="682"/>
                        <a:pt x="443" y="682"/>
                      </a:cubicBezTo>
                      <a:cubicBezTo>
                        <a:pt x="436" y="682"/>
                        <a:pt x="436" y="682"/>
                        <a:pt x="436" y="682"/>
                      </a:cubicBezTo>
                      <a:lnTo>
                        <a:pt x="432" y="683"/>
                      </a:lnTo>
                      <a:close/>
                      <a:moveTo>
                        <a:pt x="462" y="698"/>
                      </a:moveTo>
                      <a:cubicBezTo>
                        <a:pt x="468" y="692"/>
                        <a:pt x="468" y="692"/>
                        <a:pt x="468" y="692"/>
                      </a:cubicBezTo>
                      <a:cubicBezTo>
                        <a:pt x="465" y="692"/>
                        <a:pt x="465" y="692"/>
                        <a:pt x="465" y="692"/>
                      </a:cubicBezTo>
                      <a:cubicBezTo>
                        <a:pt x="460" y="696"/>
                        <a:pt x="460" y="696"/>
                        <a:pt x="460" y="696"/>
                      </a:cubicBezTo>
                      <a:lnTo>
                        <a:pt x="462" y="698"/>
                      </a:lnTo>
                      <a:close/>
                      <a:moveTo>
                        <a:pt x="427" y="647"/>
                      </a:moveTo>
                      <a:cubicBezTo>
                        <a:pt x="438" y="647"/>
                        <a:pt x="438" y="647"/>
                        <a:pt x="438" y="647"/>
                      </a:cubicBezTo>
                      <a:cubicBezTo>
                        <a:pt x="440" y="641"/>
                        <a:pt x="440" y="641"/>
                        <a:pt x="440" y="641"/>
                      </a:cubicBezTo>
                      <a:cubicBezTo>
                        <a:pt x="440" y="632"/>
                        <a:pt x="440" y="632"/>
                        <a:pt x="440" y="632"/>
                      </a:cubicBezTo>
                      <a:cubicBezTo>
                        <a:pt x="432" y="635"/>
                        <a:pt x="432" y="635"/>
                        <a:pt x="432" y="635"/>
                      </a:cubicBezTo>
                      <a:cubicBezTo>
                        <a:pt x="428" y="640"/>
                        <a:pt x="428" y="640"/>
                        <a:pt x="428" y="640"/>
                      </a:cubicBezTo>
                      <a:cubicBezTo>
                        <a:pt x="423" y="644"/>
                        <a:pt x="423" y="644"/>
                        <a:pt x="423" y="644"/>
                      </a:cubicBezTo>
                      <a:cubicBezTo>
                        <a:pt x="417" y="646"/>
                        <a:pt x="417" y="646"/>
                        <a:pt x="417" y="646"/>
                      </a:cubicBezTo>
                      <a:cubicBezTo>
                        <a:pt x="411" y="652"/>
                        <a:pt x="411" y="652"/>
                        <a:pt x="411" y="652"/>
                      </a:cubicBezTo>
                      <a:cubicBezTo>
                        <a:pt x="411" y="659"/>
                        <a:pt x="411" y="659"/>
                        <a:pt x="411" y="659"/>
                      </a:cubicBezTo>
                      <a:cubicBezTo>
                        <a:pt x="417" y="653"/>
                        <a:pt x="417" y="653"/>
                        <a:pt x="417" y="653"/>
                      </a:cubicBezTo>
                      <a:cubicBezTo>
                        <a:pt x="423" y="652"/>
                        <a:pt x="423" y="652"/>
                        <a:pt x="423" y="652"/>
                      </a:cubicBezTo>
                      <a:lnTo>
                        <a:pt x="427" y="647"/>
                      </a:lnTo>
                      <a:close/>
                      <a:moveTo>
                        <a:pt x="447" y="696"/>
                      </a:moveTo>
                      <a:cubicBezTo>
                        <a:pt x="449" y="699"/>
                        <a:pt x="449" y="699"/>
                        <a:pt x="449" y="699"/>
                      </a:cubicBezTo>
                      <a:cubicBezTo>
                        <a:pt x="455" y="699"/>
                        <a:pt x="455" y="699"/>
                        <a:pt x="455" y="699"/>
                      </a:cubicBezTo>
                      <a:cubicBezTo>
                        <a:pt x="454" y="696"/>
                        <a:pt x="454" y="696"/>
                        <a:pt x="454" y="696"/>
                      </a:cubicBezTo>
                      <a:cubicBezTo>
                        <a:pt x="449" y="693"/>
                        <a:pt x="449" y="693"/>
                        <a:pt x="449" y="693"/>
                      </a:cubicBezTo>
                      <a:lnTo>
                        <a:pt x="447" y="696"/>
                      </a:lnTo>
                      <a:close/>
                      <a:moveTo>
                        <a:pt x="414" y="988"/>
                      </a:moveTo>
                      <a:cubicBezTo>
                        <a:pt x="418" y="990"/>
                        <a:pt x="418" y="990"/>
                        <a:pt x="418" y="990"/>
                      </a:cubicBezTo>
                      <a:cubicBezTo>
                        <a:pt x="420" y="987"/>
                        <a:pt x="420" y="987"/>
                        <a:pt x="420" y="987"/>
                      </a:cubicBezTo>
                      <a:cubicBezTo>
                        <a:pt x="425" y="987"/>
                        <a:pt x="425" y="987"/>
                        <a:pt x="425" y="987"/>
                      </a:cubicBezTo>
                      <a:cubicBezTo>
                        <a:pt x="429" y="979"/>
                        <a:pt x="429" y="979"/>
                        <a:pt x="429" y="979"/>
                      </a:cubicBezTo>
                      <a:cubicBezTo>
                        <a:pt x="430" y="963"/>
                        <a:pt x="430" y="963"/>
                        <a:pt x="430" y="963"/>
                      </a:cubicBezTo>
                      <a:cubicBezTo>
                        <a:pt x="427" y="960"/>
                        <a:pt x="427" y="960"/>
                        <a:pt x="427" y="960"/>
                      </a:cubicBezTo>
                      <a:cubicBezTo>
                        <a:pt x="427" y="953"/>
                        <a:pt x="427" y="953"/>
                        <a:pt x="427" y="953"/>
                      </a:cubicBezTo>
                      <a:cubicBezTo>
                        <a:pt x="425" y="952"/>
                        <a:pt x="425" y="952"/>
                        <a:pt x="425" y="952"/>
                      </a:cubicBezTo>
                      <a:cubicBezTo>
                        <a:pt x="421" y="956"/>
                        <a:pt x="421" y="956"/>
                        <a:pt x="421" y="956"/>
                      </a:cubicBezTo>
                      <a:cubicBezTo>
                        <a:pt x="413" y="961"/>
                        <a:pt x="413" y="961"/>
                        <a:pt x="413" y="961"/>
                      </a:cubicBezTo>
                      <a:cubicBezTo>
                        <a:pt x="414" y="965"/>
                        <a:pt x="414" y="965"/>
                        <a:pt x="414" y="965"/>
                      </a:cubicBezTo>
                      <a:cubicBezTo>
                        <a:pt x="413" y="978"/>
                        <a:pt x="413" y="978"/>
                        <a:pt x="413" y="978"/>
                      </a:cubicBezTo>
                      <a:lnTo>
                        <a:pt x="414" y="988"/>
                      </a:lnTo>
                      <a:close/>
                      <a:moveTo>
                        <a:pt x="480" y="1019"/>
                      </a:moveTo>
                      <a:cubicBezTo>
                        <a:pt x="497" y="1026"/>
                        <a:pt x="497" y="1026"/>
                        <a:pt x="497" y="1026"/>
                      </a:cubicBezTo>
                      <a:cubicBezTo>
                        <a:pt x="497" y="1013"/>
                        <a:pt x="497" y="1013"/>
                        <a:pt x="497" y="1013"/>
                      </a:cubicBezTo>
                      <a:cubicBezTo>
                        <a:pt x="500" y="1004"/>
                        <a:pt x="500" y="1004"/>
                        <a:pt x="500" y="1004"/>
                      </a:cubicBezTo>
                      <a:cubicBezTo>
                        <a:pt x="493" y="1006"/>
                        <a:pt x="493" y="1006"/>
                        <a:pt x="493" y="1006"/>
                      </a:cubicBezTo>
                      <a:cubicBezTo>
                        <a:pt x="479" y="1007"/>
                        <a:pt x="479" y="1007"/>
                        <a:pt x="479" y="1007"/>
                      </a:cubicBezTo>
                      <a:cubicBezTo>
                        <a:pt x="473" y="1005"/>
                        <a:pt x="473" y="1005"/>
                        <a:pt x="473" y="1005"/>
                      </a:cubicBezTo>
                      <a:cubicBezTo>
                        <a:pt x="468" y="1005"/>
                        <a:pt x="468" y="1005"/>
                        <a:pt x="468" y="1005"/>
                      </a:cubicBezTo>
                      <a:cubicBezTo>
                        <a:pt x="463" y="1009"/>
                        <a:pt x="463" y="1009"/>
                        <a:pt x="463" y="1009"/>
                      </a:cubicBezTo>
                      <a:cubicBezTo>
                        <a:pt x="464" y="1012"/>
                        <a:pt x="464" y="1012"/>
                        <a:pt x="464" y="1012"/>
                      </a:cubicBezTo>
                      <a:cubicBezTo>
                        <a:pt x="473" y="1014"/>
                        <a:pt x="473" y="1014"/>
                        <a:pt x="473" y="1014"/>
                      </a:cubicBezTo>
                      <a:lnTo>
                        <a:pt x="480" y="1019"/>
                      </a:lnTo>
                      <a:close/>
                      <a:moveTo>
                        <a:pt x="652" y="1043"/>
                      </a:moveTo>
                      <a:cubicBezTo>
                        <a:pt x="650" y="1042"/>
                        <a:pt x="650" y="1042"/>
                        <a:pt x="650" y="1042"/>
                      </a:cubicBezTo>
                      <a:cubicBezTo>
                        <a:pt x="648" y="1043"/>
                        <a:pt x="648" y="1043"/>
                        <a:pt x="648" y="1043"/>
                      </a:cubicBezTo>
                      <a:cubicBezTo>
                        <a:pt x="650" y="1046"/>
                        <a:pt x="650" y="1046"/>
                        <a:pt x="650" y="1046"/>
                      </a:cubicBezTo>
                      <a:cubicBezTo>
                        <a:pt x="653" y="1045"/>
                        <a:pt x="653" y="1045"/>
                        <a:pt x="653" y="1045"/>
                      </a:cubicBezTo>
                      <a:lnTo>
                        <a:pt x="652" y="1043"/>
                      </a:lnTo>
                      <a:close/>
                      <a:moveTo>
                        <a:pt x="625" y="976"/>
                      </a:moveTo>
                      <a:cubicBezTo>
                        <a:pt x="627" y="978"/>
                        <a:pt x="627" y="978"/>
                        <a:pt x="627" y="978"/>
                      </a:cubicBezTo>
                      <a:cubicBezTo>
                        <a:pt x="630" y="977"/>
                        <a:pt x="630" y="977"/>
                        <a:pt x="630" y="977"/>
                      </a:cubicBezTo>
                      <a:cubicBezTo>
                        <a:pt x="630" y="974"/>
                        <a:pt x="630" y="974"/>
                        <a:pt x="630" y="974"/>
                      </a:cubicBezTo>
                      <a:cubicBezTo>
                        <a:pt x="627" y="974"/>
                        <a:pt x="627" y="974"/>
                        <a:pt x="627" y="974"/>
                      </a:cubicBezTo>
                      <a:lnTo>
                        <a:pt x="625" y="976"/>
                      </a:lnTo>
                      <a:close/>
                      <a:moveTo>
                        <a:pt x="623" y="963"/>
                      </a:moveTo>
                      <a:cubicBezTo>
                        <a:pt x="620" y="963"/>
                        <a:pt x="620" y="963"/>
                        <a:pt x="620" y="963"/>
                      </a:cubicBezTo>
                      <a:cubicBezTo>
                        <a:pt x="620" y="966"/>
                        <a:pt x="620" y="966"/>
                        <a:pt x="620" y="966"/>
                      </a:cubicBezTo>
                      <a:cubicBezTo>
                        <a:pt x="624" y="965"/>
                        <a:pt x="624" y="965"/>
                        <a:pt x="624" y="965"/>
                      </a:cubicBezTo>
                      <a:lnTo>
                        <a:pt x="623" y="963"/>
                      </a:lnTo>
                      <a:close/>
                      <a:moveTo>
                        <a:pt x="607" y="1051"/>
                      </a:moveTo>
                      <a:cubicBezTo>
                        <a:pt x="615" y="1052"/>
                        <a:pt x="615" y="1052"/>
                        <a:pt x="615" y="1052"/>
                      </a:cubicBezTo>
                      <a:cubicBezTo>
                        <a:pt x="621" y="1055"/>
                        <a:pt x="621" y="1055"/>
                        <a:pt x="621" y="1055"/>
                      </a:cubicBezTo>
                      <a:cubicBezTo>
                        <a:pt x="631" y="1055"/>
                        <a:pt x="631" y="1055"/>
                        <a:pt x="631" y="1055"/>
                      </a:cubicBezTo>
                      <a:cubicBezTo>
                        <a:pt x="637" y="1053"/>
                        <a:pt x="637" y="1053"/>
                        <a:pt x="637" y="1053"/>
                      </a:cubicBezTo>
                      <a:cubicBezTo>
                        <a:pt x="637" y="1050"/>
                        <a:pt x="637" y="1050"/>
                        <a:pt x="637" y="1050"/>
                      </a:cubicBezTo>
                      <a:cubicBezTo>
                        <a:pt x="632" y="1048"/>
                        <a:pt x="632" y="1048"/>
                        <a:pt x="632" y="1048"/>
                      </a:cubicBezTo>
                      <a:cubicBezTo>
                        <a:pt x="628" y="1048"/>
                        <a:pt x="628" y="1048"/>
                        <a:pt x="628" y="1048"/>
                      </a:cubicBezTo>
                      <a:cubicBezTo>
                        <a:pt x="626" y="1049"/>
                        <a:pt x="626" y="1049"/>
                        <a:pt x="626" y="1049"/>
                      </a:cubicBezTo>
                      <a:cubicBezTo>
                        <a:pt x="623" y="1048"/>
                        <a:pt x="623" y="1048"/>
                        <a:pt x="623" y="1048"/>
                      </a:cubicBezTo>
                      <a:cubicBezTo>
                        <a:pt x="618" y="1048"/>
                        <a:pt x="618" y="1048"/>
                        <a:pt x="618" y="1048"/>
                      </a:cubicBezTo>
                      <a:cubicBezTo>
                        <a:pt x="615" y="1046"/>
                        <a:pt x="615" y="1046"/>
                        <a:pt x="615" y="1046"/>
                      </a:cubicBezTo>
                      <a:cubicBezTo>
                        <a:pt x="607" y="1046"/>
                        <a:pt x="607" y="1046"/>
                        <a:pt x="607" y="1046"/>
                      </a:cubicBezTo>
                      <a:lnTo>
                        <a:pt x="607" y="1051"/>
                      </a:lnTo>
                      <a:close/>
                      <a:moveTo>
                        <a:pt x="626" y="1022"/>
                      </a:moveTo>
                      <a:cubicBezTo>
                        <a:pt x="628" y="1023"/>
                        <a:pt x="628" y="1023"/>
                        <a:pt x="628" y="1023"/>
                      </a:cubicBezTo>
                      <a:cubicBezTo>
                        <a:pt x="632" y="1023"/>
                        <a:pt x="632" y="1023"/>
                        <a:pt x="632" y="1023"/>
                      </a:cubicBezTo>
                      <a:cubicBezTo>
                        <a:pt x="632" y="1021"/>
                        <a:pt x="632" y="1021"/>
                        <a:pt x="632" y="1021"/>
                      </a:cubicBezTo>
                      <a:cubicBezTo>
                        <a:pt x="628" y="1020"/>
                        <a:pt x="628" y="1020"/>
                        <a:pt x="628" y="1020"/>
                      </a:cubicBezTo>
                      <a:lnTo>
                        <a:pt x="626" y="1022"/>
                      </a:lnTo>
                      <a:close/>
                      <a:moveTo>
                        <a:pt x="618" y="1007"/>
                      </a:moveTo>
                      <a:cubicBezTo>
                        <a:pt x="617" y="1000"/>
                        <a:pt x="617" y="1000"/>
                        <a:pt x="617" y="1000"/>
                      </a:cubicBezTo>
                      <a:cubicBezTo>
                        <a:pt x="610" y="991"/>
                        <a:pt x="610" y="991"/>
                        <a:pt x="610" y="991"/>
                      </a:cubicBezTo>
                      <a:cubicBezTo>
                        <a:pt x="605" y="991"/>
                        <a:pt x="605" y="991"/>
                        <a:pt x="605" y="991"/>
                      </a:cubicBezTo>
                      <a:cubicBezTo>
                        <a:pt x="604" y="993"/>
                        <a:pt x="604" y="993"/>
                        <a:pt x="604" y="993"/>
                      </a:cubicBezTo>
                      <a:cubicBezTo>
                        <a:pt x="609" y="998"/>
                        <a:pt x="609" y="998"/>
                        <a:pt x="609" y="998"/>
                      </a:cubicBezTo>
                      <a:cubicBezTo>
                        <a:pt x="614" y="1002"/>
                        <a:pt x="614" y="1002"/>
                        <a:pt x="614" y="1002"/>
                      </a:cubicBezTo>
                      <a:cubicBezTo>
                        <a:pt x="615" y="1007"/>
                        <a:pt x="615" y="1007"/>
                        <a:pt x="615" y="1007"/>
                      </a:cubicBezTo>
                      <a:lnTo>
                        <a:pt x="618" y="1007"/>
                      </a:lnTo>
                      <a:close/>
                      <a:moveTo>
                        <a:pt x="570" y="1001"/>
                      </a:moveTo>
                      <a:cubicBezTo>
                        <a:pt x="572" y="1003"/>
                        <a:pt x="572" y="1003"/>
                        <a:pt x="572" y="1003"/>
                      </a:cubicBezTo>
                      <a:cubicBezTo>
                        <a:pt x="572" y="999"/>
                        <a:pt x="572" y="999"/>
                        <a:pt x="572" y="999"/>
                      </a:cubicBezTo>
                      <a:lnTo>
                        <a:pt x="570" y="1001"/>
                      </a:lnTo>
                      <a:close/>
                      <a:moveTo>
                        <a:pt x="646" y="1009"/>
                      </a:moveTo>
                      <a:cubicBezTo>
                        <a:pt x="644" y="1008"/>
                        <a:pt x="644" y="1008"/>
                        <a:pt x="644" y="1008"/>
                      </a:cubicBezTo>
                      <a:cubicBezTo>
                        <a:pt x="642" y="1010"/>
                        <a:pt x="642" y="1010"/>
                        <a:pt x="642" y="1010"/>
                      </a:cubicBezTo>
                      <a:cubicBezTo>
                        <a:pt x="644" y="1013"/>
                        <a:pt x="644" y="1013"/>
                        <a:pt x="644" y="1013"/>
                      </a:cubicBezTo>
                      <a:cubicBezTo>
                        <a:pt x="646" y="1011"/>
                        <a:pt x="646" y="1011"/>
                        <a:pt x="646" y="1011"/>
                      </a:cubicBezTo>
                      <a:lnTo>
                        <a:pt x="646" y="1009"/>
                      </a:lnTo>
                      <a:close/>
                      <a:moveTo>
                        <a:pt x="633" y="990"/>
                      </a:moveTo>
                      <a:cubicBezTo>
                        <a:pt x="633" y="994"/>
                        <a:pt x="633" y="994"/>
                        <a:pt x="633" y="994"/>
                      </a:cubicBezTo>
                      <a:cubicBezTo>
                        <a:pt x="636" y="998"/>
                        <a:pt x="636" y="998"/>
                        <a:pt x="636" y="998"/>
                      </a:cubicBezTo>
                      <a:cubicBezTo>
                        <a:pt x="637" y="996"/>
                        <a:pt x="637" y="996"/>
                        <a:pt x="637" y="996"/>
                      </a:cubicBezTo>
                      <a:cubicBezTo>
                        <a:pt x="637" y="991"/>
                        <a:pt x="637" y="991"/>
                        <a:pt x="637" y="991"/>
                      </a:cubicBezTo>
                      <a:cubicBezTo>
                        <a:pt x="636" y="989"/>
                        <a:pt x="636" y="989"/>
                        <a:pt x="636" y="989"/>
                      </a:cubicBezTo>
                      <a:lnTo>
                        <a:pt x="633" y="990"/>
                      </a:lnTo>
                      <a:close/>
                      <a:moveTo>
                        <a:pt x="638" y="1016"/>
                      </a:moveTo>
                      <a:cubicBezTo>
                        <a:pt x="641" y="1015"/>
                        <a:pt x="641" y="1015"/>
                        <a:pt x="641" y="1015"/>
                      </a:cubicBezTo>
                      <a:cubicBezTo>
                        <a:pt x="641" y="1013"/>
                        <a:pt x="641" y="1013"/>
                        <a:pt x="641" y="1013"/>
                      </a:cubicBezTo>
                      <a:cubicBezTo>
                        <a:pt x="638" y="1011"/>
                        <a:pt x="638" y="1011"/>
                        <a:pt x="638" y="1011"/>
                      </a:cubicBezTo>
                      <a:cubicBezTo>
                        <a:pt x="636" y="1013"/>
                        <a:pt x="636" y="1013"/>
                        <a:pt x="636" y="1013"/>
                      </a:cubicBezTo>
                      <a:lnTo>
                        <a:pt x="638" y="1016"/>
                      </a:lnTo>
                      <a:close/>
                      <a:moveTo>
                        <a:pt x="641" y="986"/>
                      </a:moveTo>
                      <a:cubicBezTo>
                        <a:pt x="640" y="984"/>
                        <a:pt x="640" y="984"/>
                        <a:pt x="640" y="984"/>
                      </a:cubicBezTo>
                      <a:cubicBezTo>
                        <a:pt x="636" y="984"/>
                        <a:pt x="636" y="984"/>
                        <a:pt x="636" y="984"/>
                      </a:cubicBezTo>
                      <a:cubicBezTo>
                        <a:pt x="639" y="987"/>
                        <a:pt x="639" y="987"/>
                        <a:pt x="639" y="987"/>
                      </a:cubicBezTo>
                      <a:lnTo>
                        <a:pt x="641" y="986"/>
                      </a:lnTo>
                      <a:close/>
                      <a:moveTo>
                        <a:pt x="545" y="638"/>
                      </a:moveTo>
                      <a:cubicBezTo>
                        <a:pt x="546" y="628"/>
                        <a:pt x="546" y="628"/>
                        <a:pt x="546" y="628"/>
                      </a:cubicBezTo>
                      <a:cubicBezTo>
                        <a:pt x="541" y="627"/>
                        <a:pt x="541" y="627"/>
                        <a:pt x="541" y="627"/>
                      </a:cubicBezTo>
                      <a:cubicBezTo>
                        <a:pt x="538" y="631"/>
                        <a:pt x="538" y="631"/>
                        <a:pt x="538" y="631"/>
                      </a:cubicBezTo>
                      <a:cubicBezTo>
                        <a:pt x="539" y="636"/>
                        <a:pt x="539" y="636"/>
                        <a:pt x="539" y="636"/>
                      </a:cubicBezTo>
                      <a:cubicBezTo>
                        <a:pt x="541" y="641"/>
                        <a:pt x="541" y="641"/>
                        <a:pt x="541" y="641"/>
                      </a:cubicBezTo>
                      <a:cubicBezTo>
                        <a:pt x="545" y="638"/>
                        <a:pt x="545" y="638"/>
                        <a:pt x="545" y="638"/>
                      </a:cubicBezTo>
                      <a:close/>
                      <a:moveTo>
                        <a:pt x="560" y="566"/>
                      </a:moveTo>
                      <a:cubicBezTo>
                        <a:pt x="556" y="566"/>
                        <a:pt x="556" y="566"/>
                        <a:pt x="556" y="566"/>
                      </a:cubicBezTo>
                      <a:cubicBezTo>
                        <a:pt x="556" y="569"/>
                        <a:pt x="556" y="569"/>
                        <a:pt x="556" y="569"/>
                      </a:cubicBezTo>
                      <a:cubicBezTo>
                        <a:pt x="559" y="571"/>
                        <a:pt x="559" y="571"/>
                        <a:pt x="559" y="571"/>
                      </a:cubicBezTo>
                      <a:cubicBezTo>
                        <a:pt x="560" y="566"/>
                        <a:pt x="560" y="566"/>
                        <a:pt x="560" y="566"/>
                      </a:cubicBezTo>
                      <a:close/>
                      <a:moveTo>
                        <a:pt x="521" y="647"/>
                      </a:moveTo>
                      <a:cubicBezTo>
                        <a:pt x="518" y="648"/>
                        <a:pt x="518" y="648"/>
                        <a:pt x="518" y="648"/>
                      </a:cubicBezTo>
                      <a:cubicBezTo>
                        <a:pt x="518" y="649"/>
                        <a:pt x="517" y="650"/>
                        <a:pt x="517" y="653"/>
                      </a:cubicBezTo>
                      <a:cubicBezTo>
                        <a:pt x="514" y="662"/>
                        <a:pt x="513" y="663"/>
                        <a:pt x="513" y="663"/>
                      </a:cubicBezTo>
                      <a:cubicBezTo>
                        <a:pt x="516" y="662"/>
                        <a:pt x="516" y="662"/>
                        <a:pt x="516" y="662"/>
                      </a:cubicBezTo>
                      <a:cubicBezTo>
                        <a:pt x="521" y="647"/>
                        <a:pt x="521" y="647"/>
                        <a:pt x="521" y="647"/>
                      </a:cubicBezTo>
                      <a:close/>
                      <a:moveTo>
                        <a:pt x="586" y="623"/>
                      </a:moveTo>
                      <a:cubicBezTo>
                        <a:pt x="590" y="623"/>
                        <a:pt x="590" y="623"/>
                        <a:pt x="590" y="623"/>
                      </a:cubicBezTo>
                      <a:cubicBezTo>
                        <a:pt x="592" y="619"/>
                        <a:pt x="592" y="619"/>
                        <a:pt x="592" y="619"/>
                      </a:cubicBezTo>
                      <a:cubicBezTo>
                        <a:pt x="601" y="614"/>
                        <a:pt x="601" y="614"/>
                        <a:pt x="601" y="614"/>
                      </a:cubicBezTo>
                      <a:cubicBezTo>
                        <a:pt x="599" y="611"/>
                        <a:pt x="599" y="611"/>
                        <a:pt x="599" y="611"/>
                      </a:cubicBezTo>
                      <a:cubicBezTo>
                        <a:pt x="592" y="609"/>
                        <a:pt x="592" y="609"/>
                        <a:pt x="592" y="609"/>
                      </a:cubicBezTo>
                      <a:cubicBezTo>
                        <a:pt x="584" y="614"/>
                        <a:pt x="584" y="614"/>
                        <a:pt x="584" y="614"/>
                      </a:cubicBezTo>
                      <a:cubicBezTo>
                        <a:pt x="586" y="623"/>
                        <a:pt x="586" y="623"/>
                        <a:pt x="586" y="623"/>
                      </a:cubicBezTo>
                      <a:close/>
                      <a:moveTo>
                        <a:pt x="595" y="598"/>
                      </a:moveTo>
                      <a:cubicBezTo>
                        <a:pt x="592" y="598"/>
                        <a:pt x="592" y="598"/>
                        <a:pt x="592" y="598"/>
                      </a:cubicBezTo>
                      <a:cubicBezTo>
                        <a:pt x="587" y="600"/>
                        <a:pt x="587" y="600"/>
                        <a:pt x="587" y="600"/>
                      </a:cubicBezTo>
                      <a:cubicBezTo>
                        <a:pt x="590" y="604"/>
                        <a:pt x="590" y="604"/>
                        <a:pt x="590" y="604"/>
                      </a:cubicBezTo>
                      <a:cubicBezTo>
                        <a:pt x="596" y="601"/>
                        <a:pt x="596" y="601"/>
                        <a:pt x="596" y="601"/>
                      </a:cubicBezTo>
                      <a:cubicBezTo>
                        <a:pt x="595" y="598"/>
                        <a:pt x="595" y="598"/>
                        <a:pt x="595" y="598"/>
                      </a:cubicBezTo>
                      <a:close/>
                      <a:moveTo>
                        <a:pt x="1043" y="316"/>
                      </a:moveTo>
                      <a:cubicBezTo>
                        <a:pt x="1046" y="321"/>
                        <a:pt x="1046" y="321"/>
                        <a:pt x="1046" y="321"/>
                      </a:cubicBezTo>
                      <a:cubicBezTo>
                        <a:pt x="1058" y="326"/>
                        <a:pt x="1058" y="326"/>
                        <a:pt x="1058" y="326"/>
                      </a:cubicBezTo>
                      <a:cubicBezTo>
                        <a:pt x="1062" y="326"/>
                        <a:pt x="1062" y="326"/>
                        <a:pt x="1062" y="326"/>
                      </a:cubicBezTo>
                      <a:cubicBezTo>
                        <a:pt x="1063" y="321"/>
                        <a:pt x="1063" y="321"/>
                        <a:pt x="1063" y="321"/>
                      </a:cubicBezTo>
                      <a:cubicBezTo>
                        <a:pt x="1049" y="314"/>
                        <a:pt x="1049" y="314"/>
                        <a:pt x="1049" y="314"/>
                      </a:cubicBezTo>
                      <a:cubicBezTo>
                        <a:pt x="1043" y="316"/>
                        <a:pt x="1043" y="316"/>
                        <a:pt x="1043" y="316"/>
                      </a:cubicBezTo>
                      <a:close/>
                      <a:moveTo>
                        <a:pt x="1001" y="227"/>
                      </a:moveTo>
                      <a:cubicBezTo>
                        <a:pt x="1002" y="229"/>
                        <a:pt x="1002" y="229"/>
                        <a:pt x="1002" y="229"/>
                      </a:cubicBezTo>
                      <a:cubicBezTo>
                        <a:pt x="995" y="231"/>
                        <a:pt x="995" y="231"/>
                        <a:pt x="995" y="231"/>
                      </a:cubicBezTo>
                      <a:cubicBezTo>
                        <a:pt x="990" y="234"/>
                        <a:pt x="990" y="234"/>
                        <a:pt x="990" y="234"/>
                      </a:cubicBezTo>
                      <a:cubicBezTo>
                        <a:pt x="991" y="238"/>
                        <a:pt x="991" y="238"/>
                        <a:pt x="991" y="238"/>
                      </a:cubicBezTo>
                      <a:cubicBezTo>
                        <a:pt x="1006" y="237"/>
                        <a:pt x="1006" y="237"/>
                        <a:pt x="1006" y="237"/>
                      </a:cubicBezTo>
                      <a:cubicBezTo>
                        <a:pt x="1008" y="239"/>
                        <a:pt x="1008" y="239"/>
                        <a:pt x="1008" y="239"/>
                      </a:cubicBezTo>
                      <a:cubicBezTo>
                        <a:pt x="1018" y="241"/>
                        <a:pt x="1018" y="241"/>
                        <a:pt x="1018" y="241"/>
                      </a:cubicBezTo>
                      <a:cubicBezTo>
                        <a:pt x="1031" y="227"/>
                        <a:pt x="1031" y="227"/>
                        <a:pt x="1031" y="227"/>
                      </a:cubicBezTo>
                      <a:cubicBezTo>
                        <a:pt x="1032" y="218"/>
                        <a:pt x="1032" y="218"/>
                        <a:pt x="1032" y="218"/>
                      </a:cubicBezTo>
                      <a:cubicBezTo>
                        <a:pt x="1037" y="218"/>
                        <a:pt x="1037" y="218"/>
                        <a:pt x="1037" y="218"/>
                      </a:cubicBezTo>
                      <a:cubicBezTo>
                        <a:pt x="1042" y="214"/>
                        <a:pt x="1042" y="214"/>
                        <a:pt x="1042" y="214"/>
                      </a:cubicBezTo>
                      <a:cubicBezTo>
                        <a:pt x="1042" y="208"/>
                        <a:pt x="1042" y="208"/>
                        <a:pt x="1042" y="208"/>
                      </a:cubicBezTo>
                      <a:cubicBezTo>
                        <a:pt x="1047" y="208"/>
                        <a:pt x="1047" y="208"/>
                        <a:pt x="1047" y="208"/>
                      </a:cubicBezTo>
                      <a:cubicBezTo>
                        <a:pt x="1049" y="204"/>
                        <a:pt x="1049" y="204"/>
                        <a:pt x="1049" y="204"/>
                      </a:cubicBezTo>
                      <a:cubicBezTo>
                        <a:pt x="1061" y="204"/>
                        <a:pt x="1061" y="204"/>
                        <a:pt x="1061" y="204"/>
                      </a:cubicBezTo>
                      <a:cubicBezTo>
                        <a:pt x="1061" y="199"/>
                        <a:pt x="1061" y="199"/>
                        <a:pt x="1061" y="199"/>
                      </a:cubicBezTo>
                      <a:cubicBezTo>
                        <a:pt x="1067" y="198"/>
                        <a:pt x="1067" y="198"/>
                        <a:pt x="1067" y="198"/>
                      </a:cubicBezTo>
                      <a:cubicBezTo>
                        <a:pt x="1067" y="193"/>
                        <a:pt x="1067" y="193"/>
                        <a:pt x="1067" y="193"/>
                      </a:cubicBezTo>
                      <a:cubicBezTo>
                        <a:pt x="1082" y="188"/>
                        <a:pt x="1082" y="188"/>
                        <a:pt x="1082" y="188"/>
                      </a:cubicBezTo>
                      <a:cubicBezTo>
                        <a:pt x="1088" y="184"/>
                        <a:pt x="1088" y="184"/>
                        <a:pt x="1088" y="184"/>
                      </a:cubicBezTo>
                      <a:cubicBezTo>
                        <a:pt x="1094" y="182"/>
                        <a:pt x="1094" y="182"/>
                        <a:pt x="1094" y="182"/>
                      </a:cubicBezTo>
                      <a:cubicBezTo>
                        <a:pt x="1105" y="180"/>
                        <a:pt x="1105" y="180"/>
                        <a:pt x="1105" y="180"/>
                      </a:cubicBezTo>
                      <a:cubicBezTo>
                        <a:pt x="1106" y="177"/>
                        <a:pt x="1106" y="177"/>
                        <a:pt x="1106" y="177"/>
                      </a:cubicBezTo>
                      <a:cubicBezTo>
                        <a:pt x="1120" y="175"/>
                        <a:pt x="1120" y="175"/>
                        <a:pt x="1120" y="175"/>
                      </a:cubicBezTo>
                      <a:cubicBezTo>
                        <a:pt x="1125" y="173"/>
                        <a:pt x="1125" y="173"/>
                        <a:pt x="1125" y="173"/>
                      </a:cubicBezTo>
                      <a:cubicBezTo>
                        <a:pt x="1142" y="171"/>
                        <a:pt x="1142" y="171"/>
                        <a:pt x="1142" y="171"/>
                      </a:cubicBezTo>
                      <a:cubicBezTo>
                        <a:pt x="1159" y="166"/>
                        <a:pt x="1159" y="166"/>
                        <a:pt x="1159" y="166"/>
                      </a:cubicBezTo>
                      <a:cubicBezTo>
                        <a:pt x="1171" y="164"/>
                        <a:pt x="1171" y="164"/>
                        <a:pt x="1171" y="164"/>
                      </a:cubicBezTo>
                      <a:cubicBezTo>
                        <a:pt x="1170" y="160"/>
                        <a:pt x="1170" y="160"/>
                        <a:pt x="1170" y="160"/>
                      </a:cubicBezTo>
                      <a:cubicBezTo>
                        <a:pt x="1176" y="156"/>
                        <a:pt x="1176" y="156"/>
                        <a:pt x="1176" y="156"/>
                      </a:cubicBezTo>
                      <a:cubicBezTo>
                        <a:pt x="1174" y="150"/>
                        <a:pt x="1174" y="150"/>
                        <a:pt x="1174" y="150"/>
                      </a:cubicBezTo>
                      <a:cubicBezTo>
                        <a:pt x="1158" y="147"/>
                        <a:pt x="1158" y="147"/>
                        <a:pt x="1158" y="147"/>
                      </a:cubicBezTo>
                      <a:cubicBezTo>
                        <a:pt x="1147" y="150"/>
                        <a:pt x="1147" y="150"/>
                        <a:pt x="1147" y="150"/>
                      </a:cubicBezTo>
                      <a:cubicBezTo>
                        <a:pt x="1137" y="151"/>
                        <a:pt x="1137" y="151"/>
                        <a:pt x="1137" y="151"/>
                      </a:cubicBezTo>
                      <a:cubicBezTo>
                        <a:pt x="1135" y="157"/>
                        <a:pt x="1135" y="157"/>
                        <a:pt x="1135" y="157"/>
                      </a:cubicBezTo>
                      <a:cubicBezTo>
                        <a:pt x="1104" y="163"/>
                        <a:pt x="1104" y="163"/>
                        <a:pt x="1104" y="163"/>
                      </a:cubicBezTo>
                      <a:cubicBezTo>
                        <a:pt x="1090" y="166"/>
                        <a:pt x="1090" y="166"/>
                        <a:pt x="1090" y="166"/>
                      </a:cubicBezTo>
                      <a:cubicBezTo>
                        <a:pt x="1089" y="164"/>
                        <a:pt x="1089" y="164"/>
                        <a:pt x="1089" y="164"/>
                      </a:cubicBezTo>
                      <a:cubicBezTo>
                        <a:pt x="1075" y="164"/>
                        <a:pt x="1075" y="164"/>
                        <a:pt x="1075" y="164"/>
                      </a:cubicBezTo>
                      <a:cubicBezTo>
                        <a:pt x="1071" y="167"/>
                        <a:pt x="1071" y="167"/>
                        <a:pt x="1071" y="167"/>
                      </a:cubicBezTo>
                      <a:cubicBezTo>
                        <a:pt x="1077" y="170"/>
                        <a:pt x="1077" y="170"/>
                        <a:pt x="1077" y="170"/>
                      </a:cubicBezTo>
                      <a:cubicBezTo>
                        <a:pt x="1069" y="171"/>
                        <a:pt x="1069" y="171"/>
                        <a:pt x="1069" y="171"/>
                      </a:cubicBezTo>
                      <a:cubicBezTo>
                        <a:pt x="1069" y="168"/>
                        <a:pt x="1069" y="168"/>
                        <a:pt x="1069" y="168"/>
                      </a:cubicBezTo>
                      <a:cubicBezTo>
                        <a:pt x="1061" y="169"/>
                        <a:pt x="1061" y="169"/>
                        <a:pt x="1061" y="169"/>
                      </a:cubicBezTo>
                      <a:cubicBezTo>
                        <a:pt x="1054" y="173"/>
                        <a:pt x="1054" y="173"/>
                        <a:pt x="1054" y="173"/>
                      </a:cubicBezTo>
                      <a:cubicBezTo>
                        <a:pt x="1043" y="175"/>
                        <a:pt x="1043" y="175"/>
                        <a:pt x="1043" y="175"/>
                      </a:cubicBezTo>
                      <a:cubicBezTo>
                        <a:pt x="1043" y="178"/>
                        <a:pt x="1043" y="178"/>
                        <a:pt x="1043" y="178"/>
                      </a:cubicBezTo>
                      <a:cubicBezTo>
                        <a:pt x="1038" y="178"/>
                        <a:pt x="1038" y="178"/>
                        <a:pt x="1038" y="178"/>
                      </a:cubicBezTo>
                      <a:cubicBezTo>
                        <a:pt x="1034" y="185"/>
                        <a:pt x="1034" y="185"/>
                        <a:pt x="1034" y="185"/>
                      </a:cubicBezTo>
                      <a:cubicBezTo>
                        <a:pt x="1023" y="185"/>
                        <a:pt x="1023" y="185"/>
                        <a:pt x="1023" y="185"/>
                      </a:cubicBezTo>
                      <a:cubicBezTo>
                        <a:pt x="1023" y="187"/>
                        <a:pt x="1023" y="187"/>
                        <a:pt x="1023" y="187"/>
                      </a:cubicBezTo>
                      <a:cubicBezTo>
                        <a:pt x="1015" y="190"/>
                        <a:pt x="1015" y="190"/>
                        <a:pt x="1015" y="190"/>
                      </a:cubicBezTo>
                      <a:cubicBezTo>
                        <a:pt x="1008" y="189"/>
                        <a:pt x="1008" y="189"/>
                        <a:pt x="1008" y="189"/>
                      </a:cubicBezTo>
                      <a:cubicBezTo>
                        <a:pt x="1002" y="190"/>
                        <a:pt x="1002" y="190"/>
                        <a:pt x="1002" y="190"/>
                      </a:cubicBezTo>
                      <a:cubicBezTo>
                        <a:pt x="1006" y="192"/>
                        <a:pt x="1006" y="192"/>
                        <a:pt x="1006" y="192"/>
                      </a:cubicBezTo>
                      <a:cubicBezTo>
                        <a:pt x="1007" y="198"/>
                        <a:pt x="1007" y="198"/>
                        <a:pt x="1007" y="198"/>
                      </a:cubicBezTo>
                      <a:cubicBezTo>
                        <a:pt x="1014" y="200"/>
                        <a:pt x="1014" y="200"/>
                        <a:pt x="1014" y="200"/>
                      </a:cubicBezTo>
                      <a:cubicBezTo>
                        <a:pt x="1010" y="202"/>
                        <a:pt x="1010" y="202"/>
                        <a:pt x="1010" y="202"/>
                      </a:cubicBezTo>
                      <a:cubicBezTo>
                        <a:pt x="1007" y="204"/>
                        <a:pt x="1007" y="204"/>
                        <a:pt x="1007" y="204"/>
                      </a:cubicBezTo>
                      <a:cubicBezTo>
                        <a:pt x="1012" y="207"/>
                        <a:pt x="1012" y="207"/>
                        <a:pt x="1012" y="207"/>
                      </a:cubicBezTo>
                      <a:cubicBezTo>
                        <a:pt x="1004" y="208"/>
                        <a:pt x="1004" y="208"/>
                        <a:pt x="1004" y="208"/>
                      </a:cubicBezTo>
                      <a:cubicBezTo>
                        <a:pt x="1002" y="212"/>
                        <a:pt x="1002" y="212"/>
                        <a:pt x="1002" y="212"/>
                      </a:cubicBezTo>
                      <a:cubicBezTo>
                        <a:pt x="1008" y="217"/>
                        <a:pt x="1008" y="217"/>
                        <a:pt x="1008" y="217"/>
                      </a:cubicBezTo>
                      <a:cubicBezTo>
                        <a:pt x="1008" y="217"/>
                        <a:pt x="1006" y="219"/>
                        <a:pt x="1003" y="218"/>
                      </a:cubicBezTo>
                      <a:cubicBezTo>
                        <a:pt x="1000" y="217"/>
                        <a:pt x="996" y="216"/>
                        <a:pt x="996" y="216"/>
                      </a:cubicBezTo>
                      <a:cubicBezTo>
                        <a:pt x="992" y="218"/>
                        <a:pt x="992" y="218"/>
                        <a:pt x="992" y="218"/>
                      </a:cubicBezTo>
                      <a:cubicBezTo>
                        <a:pt x="990" y="223"/>
                        <a:pt x="990" y="223"/>
                        <a:pt x="990" y="223"/>
                      </a:cubicBezTo>
                      <a:cubicBezTo>
                        <a:pt x="982" y="223"/>
                        <a:pt x="982" y="223"/>
                        <a:pt x="982" y="223"/>
                      </a:cubicBezTo>
                      <a:cubicBezTo>
                        <a:pt x="979" y="226"/>
                        <a:pt x="979" y="226"/>
                        <a:pt x="979" y="226"/>
                      </a:cubicBezTo>
                      <a:cubicBezTo>
                        <a:pt x="987" y="230"/>
                        <a:pt x="987" y="230"/>
                        <a:pt x="987" y="230"/>
                      </a:cubicBezTo>
                      <a:cubicBezTo>
                        <a:pt x="1001" y="227"/>
                        <a:pt x="1001" y="227"/>
                        <a:pt x="1001" y="227"/>
                      </a:cubicBezTo>
                      <a:close/>
                      <a:moveTo>
                        <a:pt x="909" y="342"/>
                      </a:moveTo>
                      <a:cubicBezTo>
                        <a:pt x="908" y="347"/>
                        <a:pt x="908" y="347"/>
                        <a:pt x="908" y="347"/>
                      </a:cubicBezTo>
                      <a:cubicBezTo>
                        <a:pt x="924" y="349"/>
                        <a:pt x="924" y="349"/>
                        <a:pt x="924" y="349"/>
                      </a:cubicBezTo>
                      <a:cubicBezTo>
                        <a:pt x="935" y="345"/>
                        <a:pt x="935" y="345"/>
                        <a:pt x="935" y="345"/>
                      </a:cubicBezTo>
                      <a:cubicBezTo>
                        <a:pt x="936" y="339"/>
                        <a:pt x="936" y="339"/>
                        <a:pt x="936" y="339"/>
                      </a:cubicBezTo>
                      <a:cubicBezTo>
                        <a:pt x="928" y="337"/>
                        <a:pt x="928" y="337"/>
                        <a:pt x="928" y="337"/>
                      </a:cubicBezTo>
                      <a:cubicBezTo>
                        <a:pt x="923" y="332"/>
                        <a:pt x="923" y="332"/>
                        <a:pt x="923" y="332"/>
                      </a:cubicBezTo>
                      <a:cubicBezTo>
                        <a:pt x="912" y="333"/>
                        <a:pt x="912" y="333"/>
                        <a:pt x="912" y="333"/>
                      </a:cubicBezTo>
                      <a:cubicBezTo>
                        <a:pt x="909" y="342"/>
                        <a:pt x="909" y="342"/>
                        <a:pt x="909" y="342"/>
                      </a:cubicBezTo>
                      <a:close/>
                      <a:moveTo>
                        <a:pt x="961" y="290"/>
                      </a:moveTo>
                      <a:cubicBezTo>
                        <a:pt x="974" y="297"/>
                        <a:pt x="974" y="297"/>
                        <a:pt x="974" y="297"/>
                      </a:cubicBezTo>
                      <a:cubicBezTo>
                        <a:pt x="975" y="294"/>
                        <a:pt x="975" y="294"/>
                        <a:pt x="975" y="294"/>
                      </a:cubicBezTo>
                      <a:cubicBezTo>
                        <a:pt x="966" y="289"/>
                        <a:pt x="966" y="289"/>
                        <a:pt x="966" y="289"/>
                      </a:cubicBezTo>
                      <a:lnTo>
                        <a:pt x="961" y="290"/>
                      </a:lnTo>
                      <a:close/>
                      <a:moveTo>
                        <a:pt x="961" y="287"/>
                      </a:moveTo>
                      <a:cubicBezTo>
                        <a:pt x="966" y="283"/>
                        <a:pt x="966" y="283"/>
                        <a:pt x="966" y="283"/>
                      </a:cubicBezTo>
                      <a:cubicBezTo>
                        <a:pt x="967" y="287"/>
                        <a:pt x="967" y="287"/>
                        <a:pt x="967" y="287"/>
                      </a:cubicBezTo>
                      <a:cubicBezTo>
                        <a:pt x="976" y="289"/>
                        <a:pt x="976" y="289"/>
                        <a:pt x="976" y="289"/>
                      </a:cubicBezTo>
                      <a:cubicBezTo>
                        <a:pt x="984" y="291"/>
                        <a:pt x="984" y="291"/>
                        <a:pt x="984" y="291"/>
                      </a:cubicBezTo>
                      <a:cubicBezTo>
                        <a:pt x="979" y="298"/>
                        <a:pt x="979" y="298"/>
                        <a:pt x="979" y="298"/>
                      </a:cubicBezTo>
                      <a:cubicBezTo>
                        <a:pt x="980" y="304"/>
                        <a:pt x="980" y="304"/>
                        <a:pt x="980" y="304"/>
                      </a:cubicBezTo>
                      <a:cubicBezTo>
                        <a:pt x="990" y="305"/>
                        <a:pt x="990" y="305"/>
                        <a:pt x="990" y="305"/>
                      </a:cubicBezTo>
                      <a:cubicBezTo>
                        <a:pt x="1002" y="310"/>
                        <a:pt x="1002" y="310"/>
                        <a:pt x="1002" y="310"/>
                      </a:cubicBezTo>
                      <a:cubicBezTo>
                        <a:pt x="1016" y="307"/>
                        <a:pt x="1016" y="307"/>
                        <a:pt x="1016" y="307"/>
                      </a:cubicBezTo>
                      <a:cubicBezTo>
                        <a:pt x="1025" y="306"/>
                        <a:pt x="1025" y="306"/>
                        <a:pt x="1025" y="306"/>
                      </a:cubicBezTo>
                      <a:cubicBezTo>
                        <a:pt x="1027" y="301"/>
                        <a:pt x="1027" y="301"/>
                        <a:pt x="1027" y="301"/>
                      </a:cubicBezTo>
                      <a:cubicBezTo>
                        <a:pt x="1005" y="287"/>
                        <a:pt x="1005" y="287"/>
                        <a:pt x="1005" y="287"/>
                      </a:cubicBezTo>
                      <a:cubicBezTo>
                        <a:pt x="1001" y="279"/>
                        <a:pt x="1001" y="279"/>
                        <a:pt x="1001" y="279"/>
                      </a:cubicBezTo>
                      <a:cubicBezTo>
                        <a:pt x="1002" y="259"/>
                        <a:pt x="1002" y="259"/>
                        <a:pt x="1002" y="259"/>
                      </a:cubicBezTo>
                      <a:cubicBezTo>
                        <a:pt x="1009" y="258"/>
                        <a:pt x="1009" y="258"/>
                        <a:pt x="1009" y="258"/>
                      </a:cubicBezTo>
                      <a:cubicBezTo>
                        <a:pt x="1015" y="247"/>
                        <a:pt x="1015" y="247"/>
                        <a:pt x="1015" y="247"/>
                      </a:cubicBezTo>
                      <a:cubicBezTo>
                        <a:pt x="1004" y="241"/>
                        <a:pt x="1004" y="241"/>
                        <a:pt x="1004" y="241"/>
                      </a:cubicBezTo>
                      <a:cubicBezTo>
                        <a:pt x="978" y="242"/>
                        <a:pt x="978" y="242"/>
                        <a:pt x="978" y="242"/>
                      </a:cubicBezTo>
                      <a:cubicBezTo>
                        <a:pt x="973" y="250"/>
                        <a:pt x="973" y="250"/>
                        <a:pt x="973" y="250"/>
                      </a:cubicBezTo>
                      <a:cubicBezTo>
                        <a:pt x="969" y="251"/>
                        <a:pt x="969" y="251"/>
                        <a:pt x="969" y="251"/>
                      </a:cubicBezTo>
                      <a:cubicBezTo>
                        <a:pt x="965" y="255"/>
                        <a:pt x="965" y="255"/>
                        <a:pt x="965" y="255"/>
                      </a:cubicBezTo>
                      <a:cubicBezTo>
                        <a:pt x="970" y="259"/>
                        <a:pt x="970" y="259"/>
                        <a:pt x="970" y="259"/>
                      </a:cubicBezTo>
                      <a:cubicBezTo>
                        <a:pt x="969" y="266"/>
                        <a:pt x="969" y="266"/>
                        <a:pt x="969" y="266"/>
                      </a:cubicBezTo>
                      <a:cubicBezTo>
                        <a:pt x="964" y="270"/>
                        <a:pt x="964" y="270"/>
                        <a:pt x="964" y="270"/>
                      </a:cubicBezTo>
                      <a:cubicBezTo>
                        <a:pt x="956" y="271"/>
                        <a:pt x="956" y="271"/>
                        <a:pt x="956" y="271"/>
                      </a:cubicBezTo>
                      <a:cubicBezTo>
                        <a:pt x="953" y="281"/>
                        <a:pt x="953" y="281"/>
                        <a:pt x="953" y="281"/>
                      </a:cubicBezTo>
                      <a:cubicBezTo>
                        <a:pt x="955" y="285"/>
                        <a:pt x="955" y="285"/>
                        <a:pt x="955" y="285"/>
                      </a:cubicBezTo>
                      <a:lnTo>
                        <a:pt x="961" y="287"/>
                      </a:lnTo>
                      <a:close/>
                      <a:moveTo>
                        <a:pt x="731" y="1055"/>
                      </a:moveTo>
                      <a:cubicBezTo>
                        <a:pt x="734" y="1049"/>
                        <a:pt x="734" y="1049"/>
                        <a:pt x="734" y="1049"/>
                      </a:cubicBezTo>
                      <a:cubicBezTo>
                        <a:pt x="737" y="1045"/>
                        <a:pt x="737" y="1045"/>
                        <a:pt x="737" y="1045"/>
                      </a:cubicBezTo>
                      <a:cubicBezTo>
                        <a:pt x="734" y="1045"/>
                        <a:pt x="734" y="1045"/>
                        <a:pt x="734" y="1045"/>
                      </a:cubicBezTo>
                      <a:cubicBezTo>
                        <a:pt x="731" y="1047"/>
                        <a:pt x="731" y="1047"/>
                        <a:pt x="731" y="1047"/>
                      </a:cubicBezTo>
                      <a:cubicBezTo>
                        <a:pt x="719" y="1050"/>
                        <a:pt x="719" y="1050"/>
                        <a:pt x="719" y="1050"/>
                      </a:cubicBezTo>
                      <a:cubicBezTo>
                        <a:pt x="713" y="1054"/>
                        <a:pt x="713" y="1054"/>
                        <a:pt x="713" y="1054"/>
                      </a:cubicBezTo>
                      <a:cubicBezTo>
                        <a:pt x="713" y="1058"/>
                        <a:pt x="713" y="1058"/>
                        <a:pt x="713" y="1058"/>
                      </a:cubicBezTo>
                      <a:cubicBezTo>
                        <a:pt x="723" y="1058"/>
                        <a:pt x="723" y="1058"/>
                        <a:pt x="723" y="1058"/>
                      </a:cubicBezTo>
                      <a:lnTo>
                        <a:pt x="731" y="1055"/>
                      </a:lnTo>
                      <a:close/>
                      <a:moveTo>
                        <a:pt x="1471" y="82"/>
                      </a:moveTo>
                      <a:cubicBezTo>
                        <a:pt x="1478" y="81"/>
                        <a:pt x="1478" y="81"/>
                        <a:pt x="1478" y="81"/>
                      </a:cubicBezTo>
                      <a:cubicBezTo>
                        <a:pt x="1477" y="80"/>
                        <a:pt x="1477" y="80"/>
                        <a:pt x="1477" y="80"/>
                      </a:cubicBezTo>
                      <a:cubicBezTo>
                        <a:pt x="1469" y="81"/>
                        <a:pt x="1469" y="81"/>
                        <a:pt x="1469" y="81"/>
                      </a:cubicBezTo>
                      <a:lnTo>
                        <a:pt x="1471" y="82"/>
                      </a:lnTo>
                      <a:close/>
                      <a:moveTo>
                        <a:pt x="1482" y="80"/>
                      </a:moveTo>
                      <a:cubicBezTo>
                        <a:pt x="1484" y="80"/>
                        <a:pt x="1484" y="80"/>
                        <a:pt x="1484" y="80"/>
                      </a:cubicBezTo>
                      <a:cubicBezTo>
                        <a:pt x="1482" y="77"/>
                        <a:pt x="1482" y="77"/>
                        <a:pt x="1482" y="77"/>
                      </a:cubicBezTo>
                      <a:cubicBezTo>
                        <a:pt x="1480" y="78"/>
                        <a:pt x="1480" y="78"/>
                        <a:pt x="1480" y="78"/>
                      </a:cubicBezTo>
                      <a:lnTo>
                        <a:pt x="1482" y="80"/>
                      </a:lnTo>
                      <a:close/>
                      <a:moveTo>
                        <a:pt x="1466" y="74"/>
                      </a:moveTo>
                      <a:cubicBezTo>
                        <a:pt x="1459" y="74"/>
                        <a:pt x="1459" y="74"/>
                        <a:pt x="1459" y="74"/>
                      </a:cubicBezTo>
                      <a:cubicBezTo>
                        <a:pt x="1459" y="75"/>
                        <a:pt x="1459" y="75"/>
                        <a:pt x="1459" y="75"/>
                      </a:cubicBezTo>
                      <a:cubicBezTo>
                        <a:pt x="1466" y="75"/>
                        <a:pt x="1466" y="75"/>
                        <a:pt x="1466" y="75"/>
                      </a:cubicBezTo>
                      <a:lnTo>
                        <a:pt x="1466" y="74"/>
                      </a:lnTo>
                      <a:close/>
                      <a:moveTo>
                        <a:pt x="1459" y="81"/>
                      </a:moveTo>
                      <a:cubicBezTo>
                        <a:pt x="1463" y="81"/>
                        <a:pt x="1463" y="81"/>
                        <a:pt x="1463" y="81"/>
                      </a:cubicBezTo>
                      <a:cubicBezTo>
                        <a:pt x="1462" y="80"/>
                        <a:pt x="1462" y="80"/>
                        <a:pt x="1462" y="80"/>
                      </a:cubicBezTo>
                      <a:cubicBezTo>
                        <a:pt x="1459" y="80"/>
                        <a:pt x="1459" y="80"/>
                        <a:pt x="1459" y="80"/>
                      </a:cubicBezTo>
                      <a:lnTo>
                        <a:pt x="1459" y="81"/>
                      </a:lnTo>
                      <a:close/>
                      <a:moveTo>
                        <a:pt x="1440" y="141"/>
                      </a:moveTo>
                      <a:cubicBezTo>
                        <a:pt x="1438" y="138"/>
                        <a:pt x="1438" y="138"/>
                        <a:pt x="1438" y="138"/>
                      </a:cubicBezTo>
                      <a:cubicBezTo>
                        <a:pt x="1431" y="139"/>
                        <a:pt x="1431" y="139"/>
                        <a:pt x="1431" y="139"/>
                      </a:cubicBezTo>
                      <a:cubicBezTo>
                        <a:pt x="1430" y="141"/>
                        <a:pt x="1430" y="141"/>
                        <a:pt x="1430" y="141"/>
                      </a:cubicBezTo>
                      <a:cubicBezTo>
                        <a:pt x="1435" y="143"/>
                        <a:pt x="1435" y="143"/>
                        <a:pt x="1435" y="143"/>
                      </a:cubicBezTo>
                      <a:lnTo>
                        <a:pt x="1440" y="141"/>
                      </a:lnTo>
                      <a:close/>
                      <a:moveTo>
                        <a:pt x="1461" y="28"/>
                      </a:moveTo>
                      <a:cubicBezTo>
                        <a:pt x="1463" y="27"/>
                        <a:pt x="1463" y="27"/>
                        <a:pt x="1463" y="27"/>
                      </a:cubicBezTo>
                      <a:cubicBezTo>
                        <a:pt x="1460" y="24"/>
                        <a:pt x="1460" y="24"/>
                        <a:pt x="1460" y="24"/>
                      </a:cubicBezTo>
                      <a:cubicBezTo>
                        <a:pt x="1448" y="24"/>
                        <a:pt x="1448" y="24"/>
                        <a:pt x="1448" y="24"/>
                      </a:cubicBezTo>
                      <a:cubicBezTo>
                        <a:pt x="1443" y="25"/>
                        <a:pt x="1443" y="25"/>
                        <a:pt x="1443" y="25"/>
                      </a:cubicBezTo>
                      <a:cubicBezTo>
                        <a:pt x="1449" y="28"/>
                        <a:pt x="1449" y="28"/>
                        <a:pt x="1449" y="28"/>
                      </a:cubicBezTo>
                      <a:lnTo>
                        <a:pt x="1461" y="28"/>
                      </a:lnTo>
                      <a:close/>
                      <a:moveTo>
                        <a:pt x="1448" y="77"/>
                      </a:moveTo>
                      <a:cubicBezTo>
                        <a:pt x="1452" y="78"/>
                        <a:pt x="1452" y="78"/>
                        <a:pt x="1452" y="78"/>
                      </a:cubicBezTo>
                      <a:cubicBezTo>
                        <a:pt x="1458" y="79"/>
                        <a:pt x="1458" y="79"/>
                        <a:pt x="1458" y="79"/>
                      </a:cubicBezTo>
                      <a:cubicBezTo>
                        <a:pt x="1453" y="77"/>
                        <a:pt x="1453" y="77"/>
                        <a:pt x="1453" y="77"/>
                      </a:cubicBezTo>
                      <a:lnTo>
                        <a:pt x="1448" y="77"/>
                      </a:lnTo>
                      <a:close/>
                      <a:moveTo>
                        <a:pt x="1465" y="50"/>
                      </a:moveTo>
                      <a:cubicBezTo>
                        <a:pt x="1458" y="53"/>
                        <a:pt x="1458" y="53"/>
                        <a:pt x="1458" y="53"/>
                      </a:cubicBezTo>
                      <a:cubicBezTo>
                        <a:pt x="1463" y="55"/>
                        <a:pt x="1463" y="55"/>
                        <a:pt x="1463" y="55"/>
                      </a:cubicBezTo>
                      <a:cubicBezTo>
                        <a:pt x="1471" y="55"/>
                        <a:pt x="1471" y="55"/>
                        <a:pt x="1471" y="55"/>
                      </a:cubicBezTo>
                      <a:cubicBezTo>
                        <a:pt x="1471" y="59"/>
                        <a:pt x="1471" y="59"/>
                        <a:pt x="1471" y="59"/>
                      </a:cubicBezTo>
                      <a:cubicBezTo>
                        <a:pt x="1485" y="62"/>
                        <a:pt x="1485" y="62"/>
                        <a:pt x="1485" y="62"/>
                      </a:cubicBezTo>
                      <a:cubicBezTo>
                        <a:pt x="1499" y="61"/>
                        <a:pt x="1499" y="61"/>
                        <a:pt x="1499" y="61"/>
                      </a:cubicBezTo>
                      <a:cubicBezTo>
                        <a:pt x="1501" y="58"/>
                        <a:pt x="1501" y="58"/>
                        <a:pt x="1501" y="58"/>
                      </a:cubicBezTo>
                      <a:cubicBezTo>
                        <a:pt x="1510" y="57"/>
                        <a:pt x="1510" y="57"/>
                        <a:pt x="1510" y="57"/>
                      </a:cubicBezTo>
                      <a:cubicBezTo>
                        <a:pt x="1535" y="56"/>
                        <a:pt x="1535" y="56"/>
                        <a:pt x="1535" y="56"/>
                      </a:cubicBezTo>
                      <a:cubicBezTo>
                        <a:pt x="1533" y="52"/>
                        <a:pt x="1533" y="52"/>
                        <a:pt x="1533" y="52"/>
                      </a:cubicBezTo>
                      <a:cubicBezTo>
                        <a:pt x="1534" y="47"/>
                        <a:pt x="1534" y="47"/>
                        <a:pt x="1534" y="47"/>
                      </a:cubicBezTo>
                      <a:cubicBezTo>
                        <a:pt x="1543" y="42"/>
                        <a:pt x="1543" y="42"/>
                        <a:pt x="1543" y="42"/>
                      </a:cubicBezTo>
                      <a:cubicBezTo>
                        <a:pt x="1540" y="40"/>
                        <a:pt x="1540" y="40"/>
                        <a:pt x="1540" y="40"/>
                      </a:cubicBezTo>
                      <a:cubicBezTo>
                        <a:pt x="1527" y="35"/>
                        <a:pt x="1527" y="35"/>
                        <a:pt x="1527" y="35"/>
                      </a:cubicBezTo>
                      <a:cubicBezTo>
                        <a:pt x="1523" y="26"/>
                        <a:pt x="1523" y="26"/>
                        <a:pt x="1523" y="26"/>
                      </a:cubicBezTo>
                      <a:cubicBezTo>
                        <a:pt x="1515" y="22"/>
                        <a:pt x="1515" y="22"/>
                        <a:pt x="1515" y="22"/>
                      </a:cubicBezTo>
                      <a:cubicBezTo>
                        <a:pt x="1508" y="23"/>
                        <a:pt x="1508" y="23"/>
                        <a:pt x="1508" y="23"/>
                      </a:cubicBezTo>
                      <a:cubicBezTo>
                        <a:pt x="1505" y="28"/>
                        <a:pt x="1505" y="28"/>
                        <a:pt x="1505" y="28"/>
                      </a:cubicBezTo>
                      <a:cubicBezTo>
                        <a:pt x="1482" y="35"/>
                        <a:pt x="1482" y="35"/>
                        <a:pt x="1482" y="35"/>
                      </a:cubicBezTo>
                      <a:cubicBezTo>
                        <a:pt x="1473" y="40"/>
                        <a:pt x="1473" y="40"/>
                        <a:pt x="1473" y="40"/>
                      </a:cubicBezTo>
                      <a:cubicBezTo>
                        <a:pt x="1480" y="45"/>
                        <a:pt x="1480" y="45"/>
                        <a:pt x="1480" y="45"/>
                      </a:cubicBezTo>
                      <a:cubicBezTo>
                        <a:pt x="1474" y="49"/>
                        <a:pt x="1474" y="49"/>
                        <a:pt x="1474" y="49"/>
                      </a:cubicBezTo>
                      <a:lnTo>
                        <a:pt x="1465" y="50"/>
                      </a:lnTo>
                      <a:close/>
                      <a:moveTo>
                        <a:pt x="1572" y="113"/>
                      </a:moveTo>
                      <a:cubicBezTo>
                        <a:pt x="1562" y="117"/>
                        <a:pt x="1562" y="117"/>
                        <a:pt x="1562" y="117"/>
                      </a:cubicBezTo>
                      <a:cubicBezTo>
                        <a:pt x="1562" y="120"/>
                        <a:pt x="1562" y="120"/>
                        <a:pt x="1562" y="120"/>
                      </a:cubicBezTo>
                      <a:cubicBezTo>
                        <a:pt x="1569" y="124"/>
                        <a:pt x="1569" y="124"/>
                        <a:pt x="1569" y="124"/>
                      </a:cubicBezTo>
                      <a:cubicBezTo>
                        <a:pt x="1575" y="120"/>
                        <a:pt x="1575" y="120"/>
                        <a:pt x="1575" y="120"/>
                      </a:cubicBezTo>
                      <a:cubicBezTo>
                        <a:pt x="1588" y="118"/>
                        <a:pt x="1588" y="118"/>
                        <a:pt x="1588" y="118"/>
                      </a:cubicBezTo>
                      <a:cubicBezTo>
                        <a:pt x="1596" y="116"/>
                        <a:pt x="1596" y="116"/>
                        <a:pt x="1596" y="116"/>
                      </a:cubicBezTo>
                      <a:cubicBezTo>
                        <a:pt x="1603" y="116"/>
                        <a:pt x="1603" y="116"/>
                        <a:pt x="1603" y="116"/>
                      </a:cubicBezTo>
                      <a:cubicBezTo>
                        <a:pt x="1606" y="119"/>
                        <a:pt x="1606" y="119"/>
                        <a:pt x="1606" y="119"/>
                      </a:cubicBezTo>
                      <a:cubicBezTo>
                        <a:pt x="1613" y="117"/>
                        <a:pt x="1613" y="117"/>
                        <a:pt x="1613" y="117"/>
                      </a:cubicBezTo>
                      <a:cubicBezTo>
                        <a:pt x="1621" y="117"/>
                        <a:pt x="1621" y="117"/>
                        <a:pt x="1621" y="117"/>
                      </a:cubicBezTo>
                      <a:cubicBezTo>
                        <a:pt x="1636" y="110"/>
                        <a:pt x="1636" y="110"/>
                        <a:pt x="1636" y="110"/>
                      </a:cubicBezTo>
                      <a:cubicBezTo>
                        <a:pt x="1637" y="104"/>
                        <a:pt x="1637" y="104"/>
                        <a:pt x="1637" y="104"/>
                      </a:cubicBezTo>
                      <a:cubicBezTo>
                        <a:pt x="1631" y="100"/>
                        <a:pt x="1631" y="100"/>
                        <a:pt x="1631" y="100"/>
                      </a:cubicBezTo>
                      <a:cubicBezTo>
                        <a:pt x="1631" y="97"/>
                        <a:pt x="1631" y="97"/>
                        <a:pt x="1631" y="97"/>
                      </a:cubicBezTo>
                      <a:cubicBezTo>
                        <a:pt x="1623" y="92"/>
                        <a:pt x="1623" y="92"/>
                        <a:pt x="1623" y="92"/>
                      </a:cubicBezTo>
                      <a:cubicBezTo>
                        <a:pt x="1621" y="89"/>
                        <a:pt x="1621" y="89"/>
                        <a:pt x="1621" y="89"/>
                      </a:cubicBezTo>
                      <a:cubicBezTo>
                        <a:pt x="1615" y="88"/>
                        <a:pt x="1615" y="88"/>
                        <a:pt x="1615" y="88"/>
                      </a:cubicBezTo>
                      <a:cubicBezTo>
                        <a:pt x="1612" y="92"/>
                        <a:pt x="1612" y="92"/>
                        <a:pt x="1612" y="92"/>
                      </a:cubicBezTo>
                      <a:cubicBezTo>
                        <a:pt x="1607" y="94"/>
                        <a:pt x="1607" y="94"/>
                        <a:pt x="1607" y="94"/>
                      </a:cubicBezTo>
                      <a:cubicBezTo>
                        <a:pt x="1606" y="88"/>
                        <a:pt x="1606" y="88"/>
                        <a:pt x="1606" y="88"/>
                      </a:cubicBezTo>
                      <a:cubicBezTo>
                        <a:pt x="1610" y="87"/>
                        <a:pt x="1610" y="87"/>
                        <a:pt x="1610" y="87"/>
                      </a:cubicBezTo>
                      <a:cubicBezTo>
                        <a:pt x="1609" y="83"/>
                        <a:pt x="1609" y="83"/>
                        <a:pt x="1609" y="83"/>
                      </a:cubicBezTo>
                      <a:cubicBezTo>
                        <a:pt x="1602" y="83"/>
                        <a:pt x="1602" y="83"/>
                        <a:pt x="1602" y="83"/>
                      </a:cubicBezTo>
                      <a:cubicBezTo>
                        <a:pt x="1600" y="87"/>
                        <a:pt x="1600" y="87"/>
                        <a:pt x="1600" y="87"/>
                      </a:cubicBezTo>
                      <a:cubicBezTo>
                        <a:pt x="1598" y="87"/>
                        <a:pt x="1598" y="87"/>
                        <a:pt x="1598" y="87"/>
                      </a:cubicBezTo>
                      <a:cubicBezTo>
                        <a:pt x="1597" y="84"/>
                        <a:pt x="1597" y="84"/>
                        <a:pt x="1597" y="84"/>
                      </a:cubicBezTo>
                      <a:cubicBezTo>
                        <a:pt x="1591" y="83"/>
                        <a:pt x="1591" y="83"/>
                        <a:pt x="1591" y="83"/>
                      </a:cubicBezTo>
                      <a:cubicBezTo>
                        <a:pt x="1589" y="85"/>
                        <a:pt x="1589" y="85"/>
                        <a:pt x="1589" y="85"/>
                      </a:cubicBezTo>
                      <a:cubicBezTo>
                        <a:pt x="1593" y="87"/>
                        <a:pt x="1593" y="87"/>
                        <a:pt x="1593" y="87"/>
                      </a:cubicBezTo>
                      <a:cubicBezTo>
                        <a:pt x="1586" y="88"/>
                        <a:pt x="1586" y="88"/>
                        <a:pt x="1586" y="88"/>
                      </a:cubicBezTo>
                      <a:cubicBezTo>
                        <a:pt x="1583" y="90"/>
                        <a:pt x="1583" y="90"/>
                        <a:pt x="1583" y="90"/>
                      </a:cubicBezTo>
                      <a:cubicBezTo>
                        <a:pt x="1584" y="92"/>
                        <a:pt x="1584" y="92"/>
                        <a:pt x="1584" y="92"/>
                      </a:cubicBezTo>
                      <a:cubicBezTo>
                        <a:pt x="1581" y="96"/>
                        <a:pt x="1581" y="96"/>
                        <a:pt x="1581" y="96"/>
                      </a:cubicBezTo>
                      <a:cubicBezTo>
                        <a:pt x="1582" y="99"/>
                        <a:pt x="1582" y="99"/>
                        <a:pt x="1582" y="99"/>
                      </a:cubicBezTo>
                      <a:cubicBezTo>
                        <a:pt x="1573" y="100"/>
                        <a:pt x="1573" y="100"/>
                        <a:pt x="1573" y="100"/>
                      </a:cubicBezTo>
                      <a:cubicBezTo>
                        <a:pt x="1572" y="108"/>
                        <a:pt x="1572" y="108"/>
                        <a:pt x="1572" y="108"/>
                      </a:cubicBezTo>
                      <a:cubicBezTo>
                        <a:pt x="1570" y="109"/>
                        <a:pt x="1570" y="109"/>
                        <a:pt x="1570" y="109"/>
                      </a:cubicBezTo>
                      <a:lnTo>
                        <a:pt x="1572" y="113"/>
                      </a:lnTo>
                      <a:close/>
                      <a:moveTo>
                        <a:pt x="1505" y="153"/>
                      </a:moveTo>
                      <a:cubicBezTo>
                        <a:pt x="1505" y="155"/>
                        <a:pt x="1505" y="155"/>
                        <a:pt x="1505" y="155"/>
                      </a:cubicBezTo>
                      <a:cubicBezTo>
                        <a:pt x="1508" y="155"/>
                        <a:pt x="1508" y="155"/>
                        <a:pt x="1508" y="155"/>
                      </a:cubicBezTo>
                      <a:cubicBezTo>
                        <a:pt x="1508" y="153"/>
                        <a:pt x="1508" y="153"/>
                        <a:pt x="1508" y="153"/>
                      </a:cubicBezTo>
                      <a:lnTo>
                        <a:pt x="1505" y="153"/>
                      </a:lnTo>
                      <a:close/>
                      <a:moveTo>
                        <a:pt x="2103" y="762"/>
                      </a:moveTo>
                      <a:cubicBezTo>
                        <a:pt x="2106" y="766"/>
                        <a:pt x="2106" y="766"/>
                        <a:pt x="2106" y="766"/>
                      </a:cubicBezTo>
                      <a:cubicBezTo>
                        <a:pt x="2106" y="789"/>
                        <a:pt x="2106" y="789"/>
                        <a:pt x="2106" y="789"/>
                      </a:cubicBezTo>
                      <a:cubicBezTo>
                        <a:pt x="2108" y="797"/>
                        <a:pt x="2108" y="797"/>
                        <a:pt x="2108" y="797"/>
                      </a:cubicBezTo>
                      <a:cubicBezTo>
                        <a:pt x="2106" y="806"/>
                        <a:pt x="2106" y="806"/>
                        <a:pt x="2106" y="806"/>
                      </a:cubicBezTo>
                      <a:cubicBezTo>
                        <a:pt x="2103" y="819"/>
                        <a:pt x="2103" y="819"/>
                        <a:pt x="2103" y="819"/>
                      </a:cubicBezTo>
                      <a:cubicBezTo>
                        <a:pt x="2106" y="825"/>
                        <a:pt x="2106" y="825"/>
                        <a:pt x="2106" y="825"/>
                      </a:cubicBezTo>
                      <a:cubicBezTo>
                        <a:pt x="2105" y="837"/>
                        <a:pt x="2105" y="837"/>
                        <a:pt x="2105" y="837"/>
                      </a:cubicBezTo>
                      <a:cubicBezTo>
                        <a:pt x="2104" y="845"/>
                        <a:pt x="2104" y="845"/>
                        <a:pt x="2104" y="845"/>
                      </a:cubicBezTo>
                      <a:cubicBezTo>
                        <a:pt x="2103" y="864"/>
                        <a:pt x="2103" y="864"/>
                        <a:pt x="2103" y="864"/>
                      </a:cubicBezTo>
                      <a:cubicBezTo>
                        <a:pt x="2106" y="864"/>
                        <a:pt x="2106" y="864"/>
                        <a:pt x="2106" y="864"/>
                      </a:cubicBezTo>
                      <a:cubicBezTo>
                        <a:pt x="2109" y="858"/>
                        <a:pt x="2109" y="858"/>
                        <a:pt x="2109" y="858"/>
                      </a:cubicBezTo>
                      <a:cubicBezTo>
                        <a:pt x="2113" y="855"/>
                        <a:pt x="2113" y="855"/>
                        <a:pt x="2113" y="855"/>
                      </a:cubicBezTo>
                      <a:cubicBezTo>
                        <a:pt x="2116" y="857"/>
                        <a:pt x="2116" y="857"/>
                        <a:pt x="2116" y="857"/>
                      </a:cubicBezTo>
                      <a:cubicBezTo>
                        <a:pt x="2121" y="863"/>
                        <a:pt x="2121" y="863"/>
                        <a:pt x="2121" y="863"/>
                      </a:cubicBezTo>
                      <a:cubicBezTo>
                        <a:pt x="2124" y="860"/>
                        <a:pt x="2124" y="860"/>
                        <a:pt x="2124" y="860"/>
                      </a:cubicBezTo>
                      <a:cubicBezTo>
                        <a:pt x="2124" y="852"/>
                        <a:pt x="2124" y="852"/>
                        <a:pt x="2124" y="852"/>
                      </a:cubicBezTo>
                      <a:cubicBezTo>
                        <a:pt x="2118" y="846"/>
                        <a:pt x="2118" y="846"/>
                        <a:pt x="2118" y="846"/>
                      </a:cubicBezTo>
                      <a:cubicBezTo>
                        <a:pt x="2113" y="840"/>
                        <a:pt x="2113" y="840"/>
                        <a:pt x="2113" y="840"/>
                      </a:cubicBezTo>
                      <a:cubicBezTo>
                        <a:pt x="2113" y="829"/>
                        <a:pt x="2113" y="829"/>
                        <a:pt x="2113" y="829"/>
                      </a:cubicBezTo>
                      <a:cubicBezTo>
                        <a:pt x="2115" y="824"/>
                        <a:pt x="2115" y="824"/>
                        <a:pt x="2115" y="824"/>
                      </a:cubicBezTo>
                      <a:cubicBezTo>
                        <a:pt x="2115" y="820"/>
                        <a:pt x="2115" y="820"/>
                        <a:pt x="2115" y="820"/>
                      </a:cubicBezTo>
                      <a:cubicBezTo>
                        <a:pt x="2117" y="817"/>
                        <a:pt x="2117" y="817"/>
                        <a:pt x="2117" y="817"/>
                      </a:cubicBezTo>
                      <a:cubicBezTo>
                        <a:pt x="2118" y="804"/>
                        <a:pt x="2118" y="804"/>
                        <a:pt x="2118" y="804"/>
                      </a:cubicBezTo>
                      <a:cubicBezTo>
                        <a:pt x="2121" y="801"/>
                        <a:pt x="2121" y="801"/>
                        <a:pt x="2121" y="801"/>
                      </a:cubicBezTo>
                      <a:cubicBezTo>
                        <a:pt x="2127" y="803"/>
                        <a:pt x="2127" y="803"/>
                        <a:pt x="2127" y="803"/>
                      </a:cubicBezTo>
                      <a:cubicBezTo>
                        <a:pt x="2133" y="810"/>
                        <a:pt x="2133" y="810"/>
                        <a:pt x="2133" y="810"/>
                      </a:cubicBezTo>
                      <a:cubicBezTo>
                        <a:pt x="2134" y="812"/>
                        <a:pt x="2134" y="812"/>
                        <a:pt x="2134" y="812"/>
                      </a:cubicBezTo>
                      <a:cubicBezTo>
                        <a:pt x="2137" y="813"/>
                        <a:pt x="2137" y="813"/>
                        <a:pt x="2137" y="813"/>
                      </a:cubicBezTo>
                      <a:cubicBezTo>
                        <a:pt x="2138" y="810"/>
                        <a:pt x="2138" y="810"/>
                        <a:pt x="2138" y="810"/>
                      </a:cubicBezTo>
                      <a:cubicBezTo>
                        <a:pt x="2137" y="804"/>
                        <a:pt x="2137" y="804"/>
                        <a:pt x="2137" y="804"/>
                      </a:cubicBezTo>
                      <a:cubicBezTo>
                        <a:pt x="2131" y="797"/>
                        <a:pt x="2131" y="797"/>
                        <a:pt x="2131" y="797"/>
                      </a:cubicBezTo>
                      <a:cubicBezTo>
                        <a:pt x="2128" y="781"/>
                        <a:pt x="2128" y="781"/>
                        <a:pt x="2128" y="781"/>
                      </a:cubicBezTo>
                      <a:cubicBezTo>
                        <a:pt x="2125" y="768"/>
                        <a:pt x="2125" y="768"/>
                        <a:pt x="2125" y="768"/>
                      </a:cubicBezTo>
                      <a:cubicBezTo>
                        <a:pt x="2121" y="746"/>
                        <a:pt x="2121" y="746"/>
                        <a:pt x="2121" y="746"/>
                      </a:cubicBezTo>
                      <a:cubicBezTo>
                        <a:pt x="2121" y="735"/>
                        <a:pt x="2121" y="735"/>
                        <a:pt x="2121" y="735"/>
                      </a:cubicBezTo>
                      <a:cubicBezTo>
                        <a:pt x="2121" y="722"/>
                        <a:pt x="2121" y="722"/>
                        <a:pt x="2121" y="722"/>
                      </a:cubicBezTo>
                      <a:cubicBezTo>
                        <a:pt x="2118" y="710"/>
                        <a:pt x="2118" y="710"/>
                        <a:pt x="2118" y="710"/>
                      </a:cubicBezTo>
                      <a:cubicBezTo>
                        <a:pt x="2116" y="706"/>
                        <a:pt x="2116" y="706"/>
                        <a:pt x="2116" y="706"/>
                      </a:cubicBezTo>
                      <a:cubicBezTo>
                        <a:pt x="2114" y="702"/>
                        <a:pt x="2114" y="702"/>
                        <a:pt x="2114" y="702"/>
                      </a:cubicBezTo>
                      <a:cubicBezTo>
                        <a:pt x="2109" y="702"/>
                        <a:pt x="2109" y="702"/>
                        <a:pt x="2109" y="702"/>
                      </a:cubicBezTo>
                      <a:cubicBezTo>
                        <a:pt x="2109" y="705"/>
                        <a:pt x="2109" y="705"/>
                        <a:pt x="2109" y="705"/>
                      </a:cubicBezTo>
                      <a:cubicBezTo>
                        <a:pt x="2112" y="717"/>
                        <a:pt x="2112" y="717"/>
                        <a:pt x="2112" y="717"/>
                      </a:cubicBezTo>
                      <a:cubicBezTo>
                        <a:pt x="2110" y="720"/>
                        <a:pt x="2110" y="720"/>
                        <a:pt x="2110" y="720"/>
                      </a:cubicBezTo>
                      <a:cubicBezTo>
                        <a:pt x="2106" y="719"/>
                        <a:pt x="2106" y="719"/>
                        <a:pt x="2106" y="719"/>
                      </a:cubicBezTo>
                      <a:cubicBezTo>
                        <a:pt x="2100" y="722"/>
                        <a:pt x="2100" y="722"/>
                        <a:pt x="2100" y="722"/>
                      </a:cubicBezTo>
                      <a:cubicBezTo>
                        <a:pt x="2103" y="728"/>
                        <a:pt x="2103" y="728"/>
                        <a:pt x="2103" y="728"/>
                      </a:cubicBezTo>
                      <a:cubicBezTo>
                        <a:pt x="2100" y="741"/>
                        <a:pt x="2100" y="741"/>
                        <a:pt x="2100" y="741"/>
                      </a:cubicBezTo>
                      <a:cubicBezTo>
                        <a:pt x="2103" y="744"/>
                        <a:pt x="2103" y="744"/>
                        <a:pt x="2103" y="744"/>
                      </a:cubicBezTo>
                      <a:cubicBezTo>
                        <a:pt x="2100" y="748"/>
                        <a:pt x="2100" y="748"/>
                        <a:pt x="2100" y="748"/>
                      </a:cubicBezTo>
                      <a:cubicBezTo>
                        <a:pt x="2103" y="762"/>
                        <a:pt x="2103" y="762"/>
                        <a:pt x="2103" y="762"/>
                      </a:cubicBezTo>
                      <a:close/>
                      <a:moveTo>
                        <a:pt x="1511" y="152"/>
                      </a:moveTo>
                      <a:cubicBezTo>
                        <a:pt x="1514" y="154"/>
                        <a:pt x="1514" y="154"/>
                        <a:pt x="1514" y="154"/>
                      </a:cubicBezTo>
                      <a:cubicBezTo>
                        <a:pt x="1515" y="152"/>
                        <a:pt x="1515" y="152"/>
                        <a:pt x="1515" y="152"/>
                      </a:cubicBezTo>
                      <a:lnTo>
                        <a:pt x="1511" y="152"/>
                      </a:lnTo>
                      <a:close/>
                      <a:moveTo>
                        <a:pt x="1428" y="144"/>
                      </a:moveTo>
                      <a:cubicBezTo>
                        <a:pt x="1427" y="143"/>
                        <a:pt x="1427" y="143"/>
                        <a:pt x="1427" y="143"/>
                      </a:cubicBezTo>
                      <a:cubicBezTo>
                        <a:pt x="1424" y="144"/>
                        <a:pt x="1424" y="144"/>
                        <a:pt x="1424" y="144"/>
                      </a:cubicBezTo>
                      <a:cubicBezTo>
                        <a:pt x="1424" y="147"/>
                        <a:pt x="1424" y="147"/>
                        <a:pt x="1424" y="147"/>
                      </a:cubicBezTo>
                      <a:cubicBezTo>
                        <a:pt x="1426" y="147"/>
                        <a:pt x="1426" y="147"/>
                        <a:pt x="1426" y="147"/>
                      </a:cubicBezTo>
                      <a:lnTo>
                        <a:pt x="1428" y="144"/>
                      </a:lnTo>
                      <a:close/>
                      <a:moveTo>
                        <a:pt x="1482" y="65"/>
                      </a:moveTo>
                      <a:cubicBezTo>
                        <a:pt x="1477" y="65"/>
                        <a:pt x="1477" y="65"/>
                        <a:pt x="1477" y="65"/>
                      </a:cubicBezTo>
                      <a:cubicBezTo>
                        <a:pt x="1467" y="62"/>
                        <a:pt x="1467" y="62"/>
                        <a:pt x="1467" y="62"/>
                      </a:cubicBezTo>
                      <a:cubicBezTo>
                        <a:pt x="1455" y="62"/>
                        <a:pt x="1455" y="62"/>
                        <a:pt x="1455" y="62"/>
                      </a:cubicBezTo>
                      <a:cubicBezTo>
                        <a:pt x="1456" y="64"/>
                        <a:pt x="1456" y="64"/>
                        <a:pt x="1456" y="64"/>
                      </a:cubicBezTo>
                      <a:cubicBezTo>
                        <a:pt x="1461" y="66"/>
                        <a:pt x="1461" y="66"/>
                        <a:pt x="1461" y="66"/>
                      </a:cubicBezTo>
                      <a:cubicBezTo>
                        <a:pt x="1461" y="71"/>
                        <a:pt x="1461" y="71"/>
                        <a:pt x="1461" y="71"/>
                      </a:cubicBezTo>
                      <a:cubicBezTo>
                        <a:pt x="1467" y="71"/>
                        <a:pt x="1467" y="71"/>
                        <a:pt x="1467" y="71"/>
                      </a:cubicBezTo>
                      <a:cubicBezTo>
                        <a:pt x="1473" y="73"/>
                        <a:pt x="1473" y="73"/>
                        <a:pt x="1473" y="73"/>
                      </a:cubicBezTo>
                      <a:cubicBezTo>
                        <a:pt x="1468" y="74"/>
                        <a:pt x="1468" y="74"/>
                        <a:pt x="1468" y="74"/>
                      </a:cubicBezTo>
                      <a:cubicBezTo>
                        <a:pt x="1471" y="75"/>
                        <a:pt x="1471" y="75"/>
                        <a:pt x="1471" y="75"/>
                      </a:cubicBezTo>
                      <a:cubicBezTo>
                        <a:pt x="1479" y="72"/>
                        <a:pt x="1479" y="72"/>
                        <a:pt x="1479" y="72"/>
                      </a:cubicBezTo>
                      <a:cubicBezTo>
                        <a:pt x="1487" y="67"/>
                        <a:pt x="1487" y="67"/>
                        <a:pt x="1487" y="67"/>
                      </a:cubicBezTo>
                      <a:lnTo>
                        <a:pt x="1482" y="65"/>
                      </a:lnTo>
                      <a:close/>
                      <a:moveTo>
                        <a:pt x="1495" y="157"/>
                      </a:moveTo>
                      <a:cubicBezTo>
                        <a:pt x="1497" y="156"/>
                        <a:pt x="1497" y="156"/>
                        <a:pt x="1497" y="156"/>
                      </a:cubicBezTo>
                      <a:cubicBezTo>
                        <a:pt x="1501" y="155"/>
                        <a:pt x="1501" y="155"/>
                        <a:pt x="1501" y="155"/>
                      </a:cubicBezTo>
                      <a:cubicBezTo>
                        <a:pt x="1500" y="153"/>
                        <a:pt x="1500" y="153"/>
                        <a:pt x="1500" y="153"/>
                      </a:cubicBezTo>
                      <a:cubicBezTo>
                        <a:pt x="1493" y="156"/>
                        <a:pt x="1493" y="156"/>
                        <a:pt x="1493" y="156"/>
                      </a:cubicBezTo>
                      <a:lnTo>
                        <a:pt x="1495" y="157"/>
                      </a:lnTo>
                      <a:close/>
                      <a:moveTo>
                        <a:pt x="1538" y="59"/>
                      </a:moveTo>
                      <a:cubicBezTo>
                        <a:pt x="1520" y="60"/>
                        <a:pt x="1520" y="60"/>
                        <a:pt x="1520" y="60"/>
                      </a:cubicBezTo>
                      <a:cubicBezTo>
                        <a:pt x="1508" y="63"/>
                        <a:pt x="1508" y="63"/>
                        <a:pt x="1508" y="63"/>
                      </a:cubicBezTo>
                      <a:cubicBezTo>
                        <a:pt x="1504" y="62"/>
                        <a:pt x="1504" y="62"/>
                        <a:pt x="1504" y="62"/>
                      </a:cubicBezTo>
                      <a:cubicBezTo>
                        <a:pt x="1499" y="66"/>
                        <a:pt x="1499" y="66"/>
                        <a:pt x="1499" y="66"/>
                      </a:cubicBezTo>
                      <a:cubicBezTo>
                        <a:pt x="1498" y="71"/>
                        <a:pt x="1498" y="71"/>
                        <a:pt x="1498" y="71"/>
                      </a:cubicBezTo>
                      <a:cubicBezTo>
                        <a:pt x="1490" y="72"/>
                        <a:pt x="1490" y="72"/>
                        <a:pt x="1490" y="72"/>
                      </a:cubicBezTo>
                      <a:cubicBezTo>
                        <a:pt x="1488" y="76"/>
                        <a:pt x="1488" y="76"/>
                        <a:pt x="1488" y="76"/>
                      </a:cubicBezTo>
                      <a:cubicBezTo>
                        <a:pt x="1485" y="77"/>
                        <a:pt x="1485" y="77"/>
                        <a:pt x="1485" y="77"/>
                      </a:cubicBezTo>
                      <a:cubicBezTo>
                        <a:pt x="1492" y="81"/>
                        <a:pt x="1492" y="81"/>
                        <a:pt x="1492" y="81"/>
                      </a:cubicBezTo>
                      <a:cubicBezTo>
                        <a:pt x="1498" y="81"/>
                        <a:pt x="1498" y="81"/>
                        <a:pt x="1498" y="81"/>
                      </a:cubicBezTo>
                      <a:cubicBezTo>
                        <a:pt x="1497" y="86"/>
                        <a:pt x="1497" y="86"/>
                        <a:pt x="1497" y="86"/>
                      </a:cubicBezTo>
                      <a:cubicBezTo>
                        <a:pt x="1499" y="90"/>
                        <a:pt x="1499" y="90"/>
                        <a:pt x="1499" y="90"/>
                      </a:cubicBezTo>
                      <a:cubicBezTo>
                        <a:pt x="1507" y="93"/>
                        <a:pt x="1507" y="93"/>
                        <a:pt x="1507" y="93"/>
                      </a:cubicBezTo>
                      <a:cubicBezTo>
                        <a:pt x="1512" y="92"/>
                        <a:pt x="1512" y="92"/>
                        <a:pt x="1512" y="92"/>
                      </a:cubicBezTo>
                      <a:cubicBezTo>
                        <a:pt x="1535" y="97"/>
                        <a:pt x="1535" y="97"/>
                        <a:pt x="1535" y="97"/>
                      </a:cubicBezTo>
                      <a:cubicBezTo>
                        <a:pt x="1536" y="101"/>
                        <a:pt x="1536" y="101"/>
                        <a:pt x="1536" y="101"/>
                      </a:cubicBezTo>
                      <a:cubicBezTo>
                        <a:pt x="1541" y="101"/>
                        <a:pt x="1541" y="101"/>
                        <a:pt x="1541" y="101"/>
                      </a:cubicBezTo>
                      <a:cubicBezTo>
                        <a:pt x="1569" y="97"/>
                        <a:pt x="1569" y="97"/>
                        <a:pt x="1569" y="97"/>
                      </a:cubicBezTo>
                      <a:cubicBezTo>
                        <a:pt x="1569" y="94"/>
                        <a:pt x="1569" y="94"/>
                        <a:pt x="1569" y="94"/>
                      </a:cubicBezTo>
                      <a:cubicBezTo>
                        <a:pt x="1554" y="88"/>
                        <a:pt x="1554" y="88"/>
                        <a:pt x="1554" y="88"/>
                      </a:cubicBezTo>
                      <a:cubicBezTo>
                        <a:pt x="1554" y="85"/>
                        <a:pt x="1554" y="85"/>
                        <a:pt x="1554" y="85"/>
                      </a:cubicBezTo>
                      <a:cubicBezTo>
                        <a:pt x="1562" y="86"/>
                        <a:pt x="1562" y="86"/>
                        <a:pt x="1562" y="86"/>
                      </a:cubicBezTo>
                      <a:cubicBezTo>
                        <a:pt x="1567" y="84"/>
                        <a:pt x="1567" y="84"/>
                        <a:pt x="1567" y="84"/>
                      </a:cubicBezTo>
                      <a:cubicBezTo>
                        <a:pt x="1571" y="72"/>
                        <a:pt x="1571" y="72"/>
                        <a:pt x="1571" y="72"/>
                      </a:cubicBezTo>
                      <a:cubicBezTo>
                        <a:pt x="1561" y="64"/>
                        <a:pt x="1561" y="64"/>
                        <a:pt x="1561" y="64"/>
                      </a:cubicBezTo>
                      <a:cubicBezTo>
                        <a:pt x="1554" y="63"/>
                        <a:pt x="1554" y="63"/>
                        <a:pt x="1554" y="63"/>
                      </a:cubicBezTo>
                      <a:cubicBezTo>
                        <a:pt x="1548" y="67"/>
                        <a:pt x="1548" y="67"/>
                        <a:pt x="1548" y="67"/>
                      </a:cubicBezTo>
                      <a:cubicBezTo>
                        <a:pt x="1541" y="69"/>
                        <a:pt x="1541" y="69"/>
                        <a:pt x="1541" y="69"/>
                      </a:cubicBezTo>
                      <a:cubicBezTo>
                        <a:pt x="1539" y="67"/>
                        <a:pt x="1539" y="67"/>
                        <a:pt x="1539" y="67"/>
                      </a:cubicBezTo>
                      <a:cubicBezTo>
                        <a:pt x="1544" y="63"/>
                        <a:pt x="1544" y="63"/>
                        <a:pt x="1544" y="63"/>
                      </a:cubicBezTo>
                      <a:lnTo>
                        <a:pt x="1538" y="59"/>
                      </a:lnTo>
                      <a:close/>
                      <a:moveTo>
                        <a:pt x="1525" y="142"/>
                      </a:moveTo>
                      <a:cubicBezTo>
                        <a:pt x="1510" y="144"/>
                        <a:pt x="1510" y="144"/>
                        <a:pt x="1510" y="144"/>
                      </a:cubicBezTo>
                      <a:cubicBezTo>
                        <a:pt x="1509" y="147"/>
                        <a:pt x="1509" y="147"/>
                        <a:pt x="1509" y="147"/>
                      </a:cubicBezTo>
                      <a:cubicBezTo>
                        <a:pt x="1514" y="148"/>
                        <a:pt x="1514" y="148"/>
                        <a:pt x="1514" y="148"/>
                      </a:cubicBezTo>
                      <a:cubicBezTo>
                        <a:pt x="1525" y="145"/>
                        <a:pt x="1525" y="145"/>
                        <a:pt x="1525" y="145"/>
                      </a:cubicBezTo>
                      <a:lnTo>
                        <a:pt x="1525" y="142"/>
                      </a:lnTo>
                      <a:close/>
                      <a:moveTo>
                        <a:pt x="1522" y="155"/>
                      </a:moveTo>
                      <a:cubicBezTo>
                        <a:pt x="1519" y="154"/>
                        <a:pt x="1519" y="154"/>
                        <a:pt x="1519" y="154"/>
                      </a:cubicBezTo>
                      <a:cubicBezTo>
                        <a:pt x="1516" y="155"/>
                        <a:pt x="1516" y="155"/>
                        <a:pt x="1516" y="155"/>
                      </a:cubicBezTo>
                      <a:cubicBezTo>
                        <a:pt x="1522" y="157"/>
                        <a:pt x="1522" y="157"/>
                        <a:pt x="1522" y="157"/>
                      </a:cubicBezTo>
                      <a:lnTo>
                        <a:pt x="1522" y="155"/>
                      </a:lnTo>
                      <a:close/>
                      <a:moveTo>
                        <a:pt x="1532" y="169"/>
                      </a:moveTo>
                      <a:cubicBezTo>
                        <a:pt x="1533" y="168"/>
                        <a:pt x="1533" y="168"/>
                        <a:pt x="1533" y="168"/>
                      </a:cubicBezTo>
                      <a:cubicBezTo>
                        <a:pt x="1532" y="167"/>
                        <a:pt x="1532" y="167"/>
                        <a:pt x="1532" y="167"/>
                      </a:cubicBezTo>
                      <a:cubicBezTo>
                        <a:pt x="1528" y="168"/>
                        <a:pt x="1528" y="168"/>
                        <a:pt x="1528" y="168"/>
                      </a:cubicBezTo>
                      <a:lnTo>
                        <a:pt x="1532" y="169"/>
                      </a:lnTo>
                      <a:close/>
                      <a:moveTo>
                        <a:pt x="2085" y="210"/>
                      </a:moveTo>
                      <a:cubicBezTo>
                        <a:pt x="2079" y="214"/>
                        <a:pt x="2079" y="214"/>
                        <a:pt x="2079" y="214"/>
                      </a:cubicBezTo>
                      <a:cubicBezTo>
                        <a:pt x="2078" y="219"/>
                        <a:pt x="2078" y="219"/>
                        <a:pt x="2078" y="219"/>
                      </a:cubicBezTo>
                      <a:cubicBezTo>
                        <a:pt x="2085" y="224"/>
                        <a:pt x="2085" y="224"/>
                        <a:pt x="2085" y="224"/>
                      </a:cubicBezTo>
                      <a:cubicBezTo>
                        <a:pt x="2091" y="220"/>
                        <a:pt x="2091" y="220"/>
                        <a:pt x="2091" y="220"/>
                      </a:cubicBezTo>
                      <a:cubicBezTo>
                        <a:pt x="2092" y="217"/>
                        <a:pt x="2092" y="217"/>
                        <a:pt x="2092" y="217"/>
                      </a:cubicBezTo>
                      <a:cubicBezTo>
                        <a:pt x="2090" y="216"/>
                        <a:pt x="2090" y="216"/>
                        <a:pt x="2090" y="216"/>
                      </a:cubicBezTo>
                      <a:cubicBezTo>
                        <a:pt x="2091" y="213"/>
                        <a:pt x="2091" y="213"/>
                        <a:pt x="2091" y="213"/>
                      </a:cubicBezTo>
                      <a:lnTo>
                        <a:pt x="2085" y="210"/>
                      </a:lnTo>
                      <a:close/>
                      <a:moveTo>
                        <a:pt x="2040" y="282"/>
                      </a:moveTo>
                      <a:cubicBezTo>
                        <a:pt x="2043" y="284"/>
                        <a:pt x="2043" y="284"/>
                        <a:pt x="2043" y="284"/>
                      </a:cubicBezTo>
                      <a:cubicBezTo>
                        <a:pt x="2051" y="284"/>
                        <a:pt x="2051" y="284"/>
                        <a:pt x="2051" y="284"/>
                      </a:cubicBezTo>
                      <a:cubicBezTo>
                        <a:pt x="2049" y="281"/>
                        <a:pt x="2049" y="281"/>
                        <a:pt x="2049" y="281"/>
                      </a:cubicBezTo>
                      <a:cubicBezTo>
                        <a:pt x="2042" y="281"/>
                        <a:pt x="2042" y="281"/>
                        <a:pt x="2042" y="281"/>
                      </a:cubicBezTo>
                      <a:lnTo>
                        <a:pt x="2040" y="282"/>
                      </a:lnTo>
                      <a:close/>
                      <a:moveTo>
                        <a:pt x="2060" y="276"/>
                      </a:moveTo>
                      <a:cubicBezTo>
                        <a:pt x="2060" y="274"/>
                        <a:pt x="2060" y="274"/>
                        <a:pt x="2060" y="274"/>
                      </a:cubicBezTo>
                      <a:cubicBezTo>
                        <a:pt x="2055" y="274"/>
                        <a:pt x="2055" y="274"/>
                        <a:pt x="2055" y="274"/>
                      </a:cubicBezTo>
                      <a:cubicBezTo>
                        <a:pt x="2055" y="276"/>
                        <a:pt x="2055" y="276"/>
                        <a:pt x="2055" y="276"/>
                      </a:cubicBezTo>
                      <a:lnTo>
                        <a:pt x="2060" y="276"/>
                      </a:lnTo>
                      <a:close/>
                      <a:moveTo>
                        <a:pt x="2155" y="274"/>
                      </a:moveTo>
                      <a:cubicBezTo>
                        <a:pt x="2160" y="272"/>
                        <a:pt x="2160" y="272"/>
                        <a:pt x="2160" y="272"/>
                      </a:cubicBezTo>
                      <a:cubicBezTo>
                        <a:pt x="2163" y="266"/>
                        <a:pt x="2163" y="266"/>
                        <a:pt x="2163" y="266"/>
                      </a:cubicBezTo>
                      <a:cubicBezTo>
                        <a:pt x="2161" y="264"/>
                        <a:pt x="2161" y="264"/>
                        <a:pt x="2161" y="264"/>
                      </a:cubicBezTo>
                      <a:cubicBezTo>
                        <a:pt x="2153" y="266"/>
                        <a:pt x="2153" y="266"/>
                        <a:pt x="2153" y="266"/>
                      </a:cubicBezTo>
                      <a:cubicBezTo>
                        <a:pt x="2152" y="268"/>
                        <a:pt x="2152" y="268"/>
                        <a:pt x="2152" y="268"/>
                      </a:cubicBezTo>
                      <a:cubicBezTo>
                        <a:pt x="2159" y="268"/>
                        <a:pt x="2159" y="268"/>
                        <a:pt x="2159" y="268"/>
                      </a:cubicBezTo>
                      <a:cubicBezTo>
                        <a:pt x="2155" y="271"/>
                        <a:pt x="2155" y="271"/>
                        <a:pt x="2155" y="271"/>
                      </a:cubicBezTo>
                      <a:lnTo>
                        <a:pt x="2155" y="274"/>
                      </a:lnTo>
                      <a:close/>
                      <a:moveTo>
                        <a:pt x="2093" y="237"/>
                      </a:moveTo>
                      <a:cubicBezTo>
                        <a:pt x="2096" y="239"/>
                        <a:pt x="2096" y="239"/>
                        <a:pt x="2096" y="239"/>
                      </a:cubicBezTo>
                      <a:cubicBezTo>
                        <a:pt x="2105" y="240"/>
                        <a:pt x="2105" y="240"/>
                        <a:pt x="2105" y="240"/>
                      </a:cubicBezTo>
                      <a:cubicBezTo>
                        <a:pt x="2122" y="241"/>
                        <a:pt x="2122" y="241"/>
                        <a:pt x="2122" y="241"/>
                      </a:cubicBezTo>
                      <a:cubicBezTo>
                        <a:pt x="2125" y="235"/>
                        <a:pt x="2125" y="235"/>
                        <a:pt x="2125" y="235"/>
                      </a:cubicBezTo>
                      <a:cubicBezTo>
                        <a:pt x="2119" y="230"/>
                        <a:pt x="2119" y="230"/>
                        <a:pt x="2119" y="230"/>
                      </a:cubicBezTo>
                      <a:cubicBezTo>
                        <a:pt x="2110" y="225"/>
                        <a:pt x="2110" y="225"/>
                        <a:pt x="2110" y="225"/>
                      </a:cubicBezTo>
                      <a:cubicBezTo>
                        <a:pt x="2109" y="223"/>
                        <a:pt x="2109" y="223"/>
                        <a:pt x="2109" y="223"/>
                      </a:cubicBezTo>
                      <a:cubicBezTo>
                        <a:pt x="2093" y="223"/>
                        <a:pt x="2093" y="223"/>
                        <a:pt x="2093" y="223"/>
                      </a:cubicBezTo>
                      <a:cubicBezTo>
                        <a:pt x="2088" y="228"/>
                        <a:pt x="2088" y="228"/>
                        <a:pt x="2088" y="228"/>
                      </a:cubicBezTo>
                      <a:cubicBezTo>
                        <a:pt x="2088" y="232"/>
                        <a:pt x="2088" y="232"/>
                        <a:pt x="2088" y="232"/>
                      </a:cubicBezTo>
                      <a:cubicBezTo>
                        <a:pt x="2083" y="234"/>
                        <a:pt x="2083" y="234"/>
                        <a:pt x="2083" y="234"/>
                      </a:cubicBezTo>
                      <a:cubicBezTo>
                        <a:pt x="2084" y="236"/>
                        <a:pt x="2084" y="236"/>
                        <a:pt x="2084" y="236"/>
                      </a:cubicBezTo>
                      <a:lnTo>
                        <a:pt x="2093" y="237"/>
                      </a:lnTo>
                      <a:close/>
                      <a:moveTo>
                        <a:pt x="2043" y="193"/>
                      </a:moveTo>
                      <a:cubicBezTo>
                        <a:pt x="2048" y="193"/>
                        <a:pt x="2048" y="193"/>
                        <a:pt x="2048" y="193"/>
                      </a:cubicBezTo>
                      <a:cubicBezTo>
                        <a:pt x="2052" y="196"/>
                        <a:pt x="2052" y="196"/>
                        <a:pt x="2052" y="196"/>
                      </a:cubicBezTo>
                      <a:cubicBezTo>
                        <a:pt x="2051" y="199"/>
                        <a:pt x="2051" y="199"/>
                        <a:pt x="2051" y="199"/>
                      </a:cubicBezTo>
                      <a:cubicBezTo>
                        <a:pt x="2068" y="204"/>
                        <a:pt x="2068" y="204"/>
                        <a:pt x="2068" y="204"/>
                      </a:cubicBezTo>
                      <a:cubicBezTo>
                        <a:pt x="2072" y="201"/>
                        <a:pt x="2072" y="201"/>
                        <a:pt x="2072" y="201"/>
                      </a:cubicBezTo>
                      <a:cubicBezTo>
                        <a:pt x="2070" y="195"/>
                        <a:pt x="2070" y="195"/>
                        <a:pt x="2070" y="195"/>
                      </a:cubicBezTo>
                      <a:cubicBezTo>
                        <a:pt x="2074" y="193"/>
                        <a:pt x="2074" y="193"/>
                        <a:pt x="2074" y="193"/>
                      </a:cubicBezTo>
                      <a:cubicBezTo>
                        <a:pt x="2077" y="194"/>
                        <a:pt x="2077" y="194"/>
                        <a:pt x="2077" y="194"/>
                      </a:cubicBezTo>
                      <a:cubicBezTo>
                        <a:pt x="2078" y="197"/>
                        <a:pt x="2078" y="197"/>
                        <a:pt x="2078" y="197"/>
                      </a:cubicBezTo>
                      <a:cubicBezTo>
                        <a:pt x="2088" y="197"/>
                        <a:pt x="2088" y="197"/>
                        <a:pt x="2088" y="197"/>
                      </a:cubicBezTo>
                      <a:cubicBezTo>
                        <a:pt x="2098" y="192"/>
                        <a:pt x="2098" y="192"/>
                        <a:pt x="2098" y="192"/>
                      </a:cubicBezTo>
                      <a:cubicBezTo>
                        <a:pt x="2104" y="192"/>
                        <a:pt x="2104" y="192"/>
                        <a:pt x="2104" y="192"/>
                      </a:cubicBezTo>
                      <a:cubicBezTo>
                        <a:pt x="2105" y="197"/>
                        <a:pt x="2105" y="197"/>
                        <a:pt x="2105" y="197"/>
                      </a:cubicBezTo>
                      <a:cubicBezTo>
                        <a:pt x="2113" y="198"/>
                        <a:pt x="2113" y="198"/>
                        <a:pt x="2113" y="198"/>
                      </a:cubicBezTo>
                      <a:cubicBezTo>
                        <a:pt x="2123" y="193"/>
                        <a:pt x="2123" y="193"/>
                        <a:pt x="2123" y="193"/>
                      </a:cubicBezTo>
                      <a:cubicBezTo>
                        <a:pt x="2116" y="193"/>
                        <a:pt x="2116" y="193"/>
                        <a:pt x="2116" y="193"/>
                      </a:cubicBezTo>
                      <a:cubicBezTo>
                        <a:pt x="2106" y="189"/>
                        <a:pt x="2106" y="189"/>
                        <a:pt x="2106" y="189"/>
                      </a:cubicBezTo>
                      <a:cubicBezTo>
                        <a:pt x="2104" y="182"/>
                        <a:pt x="2104" y="182"/>
                        <a:pt x="2104" y="182"/>
                      </a:cubicBezTo>
                      <a:cubicBezTo>
                        <a:pt x="2109" y="177"/>
                        <a:pt x="2109" y="177"/>
                        <a:pt x="2109" y="177"/>
                      </a:cubicBezTo>
                      <a:cubicBezTo>
                        <a:pt x="2113" y="177"/>
                        <a:pt x="2113" y="177"/>
                        <a:pt x="2113" y="177"/>
                      </a:cubicBezTo>
                      <a:cubicBezTo>
                        <a:pt x="2114" y="180"/>
                        <a:pt x="2114" y="180"/>
                        <a:pt x="2114" y="180"/>
                      </a:cubicBezTo>
                      <a:cubicBezTo>
                        <a:pt x="2110" y="182"/>
                        <a:pt x="2110" y="182"/>
                        <a:pt x="2110" y="182"/>
                      </a:cubicBezTo>
                      <a:cubicBezTo>
                        <a:pt x="2110" y="186"/>
                        <a:pt x="2110" y="186"/>
                        <a:pt x="2110" y="186"/>
                      </a:cubicBezTo>
                      <a:cubicBezTo>
                        <a:pt x="2117" y="190"/>
                        <a:pt x="2117" y="190"/>
                        <a:pt x="2117" y="190"/>
                      </a:cubicBezTo>
                      <a:cubicBezTo>
                        <a:pt x="2125" y="189"/>
                        <a:pt x="2125" y="189"/>
                        <a:pt x="2125" y="189"/>
                      </a:cubicBezTo>
                      <a:cubicBezTo>
                        <a:pt x="2130" y="191"/>
                        <a:pt x="2130" y="191"/>
                        <a:pt x="2130" y="191"/>
                      </a:cubicBezTo>
                      <a:cubicBezTo>
                        <a:pt x="2139" y="184"/>
                        <a:pt x="2139" y="184"/>
                        <a:pt x="2139" y="184"/>
                      </a:cubicBezTo>
                      <a:cubicBezTo>
                        <a:pt x="2136" y="183"/>
                        <a:pt x="2136" y="183"/>
                        <a:pt x="2136" y="183"/>
                      </a:cubicBezTo>
                      <a:cubicBezTo>
                        <a:pt x="2144" y="181"/>
                        <a:pt x="2144" y="181"/>
                        <a:pt x="2144" y="181"/>
                      </a:cubicBezTo>
                      <a:cubicBezTo>
                        <a:pt x="2142" y="178"/>
                        <a:pt x="2142" y="178"/>
                        <a:pt x="2142" y="178"/>
                      </a:cubicBezTo>
                      <a:cubicBezTo>
                        <a:pt x="2132" y="177"/>
                        <a:pt x="2132" y="177"/>
                        <a:pt x="2132" y="177"/>
                      </a:cubicBezTo>
                      <a:cubicBezTo>
                        <a:pt x="2123" y="173"/>
                        <a:pt x="2123" y="173"/>
                        <a:pt x="2123" y="173"/>
                      </a:cubicBezTo>
                      <a:cubicBezTo>
                        <a:pt x="2120" y="173"/>
                        <a:pt x="2120" y="173"/>
                        <a:pt x="2120" y="173"/>
                      </a:cubicBezTo>
                      <a:cubicBezTo>
                        <a:pt x="2112" y="173"/>
                        <a:pt x="2112" y="173"/>
                        <a:pt x="2112" y="173"/>
                      </a:cubicBezTo>
                      <a:cubicBezTo>
                        <a:pt x="2105" y="170"/>
                        <a:pt x="2105" y="170"/>
                        <a:pt x="2105" y="170"/>
                      </a:cubicBezTo>
                      <a:cubicBezTo>
                        <a:pt x="2102" y="167"/>
                        <a:pt x="2102" y="167"/>
                        <a:pt x="2102" y="167"/>
                      </a:cubicBezTo>
                      <a:cubicBezTo>
                        <a:pt x="2098" y="165"/>
                        <a:pt x="2098" y="165"/>
                        <a:pt x="2098" y="165"/>
                      </a:cubicBezTo>
                      <a:cubicBezTo>
                        <a:pt x="2094" y="166"/>
                        <a:pt x="2094" y="166"/>
                        <a:pt x="2094" y="166"/>
                      </a:cubicBezTo>
                      <a:cubicBezTo>
                        <a:pt x="2090" y="170"/>
                        <a:pt x="2090" y="170"/>
                        <a:pt x="2090" y="170"/>
                      </a:cubicBezTo>
                      <a:cubicBezTo>
                        <a:pt x="2090" y="179"/>
                        <a:pt x="2090" y="179"/>
                        <a:pt x="2090" y="179"/>
                      </a:cubicBezTo>
                      <a:cubicBezTo>
                        <a:pt x="2082" y="179"/>
                        <a:pt x="2082" y="179"/>
                        <a:pt x="2082" y="179"/>
                      </a:cubicBezTo>
                      <a:cubicBezTo>
                        <a:pt x="2079" y="177"/>
                        <a:pt x="2079" y="177"/>
                        <a:pt x="2079" y="177"/>
                      </a:cubicBezTo>
                      <a:cubicBezTo>
                        <a:pt x="2079" y="175"/>
                        <a:pt x="2079" y="175"/>
                        <a:pt x="2079" y="175"/>
                      </a:cubicBezTo>
                      <a:cubicBezTo>
                        <a:pt x="2072" y="173"/>
                        <a:pt x="2072" y="173"/>
                        <a:pt x="2072" y="173"/>
                      </a:cubicBezTo>
                      <a:cubicBezTo>
                        <a:pt x="2072" y="172"/>
                        <a:pt x="2072" y="172"/>
                        <a:pt x="2072" y="172"/>
                      </a:cubicBezTo>
                      <a:cubicBezTo>
                        <a:pt x="2076" y="170"/>
                        <a:pt x="2076" y="170"/>
                        <a:pt x="2076" y="170"/>
                      </a:cubicBezTo>
                      <a:cubicBezTo>
                        <a:pt x="2061" y="166"/>
                        <a:pt x="2061" y="166"/>
                        <a:pt x="2061" y="166"/>
                      </a:cubicBezTo>
                      <a:cubicBezTo>
                        <a:pt x="2052" y="169"/>
                        <a:pt x="2052" y="169"/>
                        <a:pt x="2052" y="169"/>
                      </a:cubicBezTo>
                      <a:cubicBezTo>
                        <a:pt x="2052" y="170"/>
                        <a:pt x="2052" y="170"/>
                        <a:pt x="2052" y="170"/>
                      </a:cubicBezTo>
                      <a:cubicBezTo>
                        <a:pt x="2044" y="170"/>
                        <a:pt x="2044" y="170"/>
                        <a:pt x="2044" y="170"/>
                      </a:cubicBezTo>
                      <a:cubicBezTo>
                        <a:pt x="2044" y="172"/>
                        <a:pt x="2044" y="172"/>
                        <a:pt x="2044" y="172"/>
                      </a:cubicBezTo>
                      <a:cubicBezTo>
                        <a:pt x="2046" y="175"/>
                        <a:pt x="2046" y="175"/>
                        <a:pt x="2046" y="175"/>
                      </a:cubicBezTo>
                      <a:cubicBezTo>
                        <a:pt x="2041" y="176"/>
                        <a:pt x="2041" y="176"/>
                        <a:pt x="2041" y="176"/>
                      </a:cubicBezTo>
                      <a:cubicBezTo>
                        <a:pt x="2040" y="177"/>
                        <a:pt x="2040" y="177"/>
                        <a:pt x="2040" y="177"/>
                      </a:cubicBezTo>
                      <a:cubicBezTo>
                        <a:pt x="2042" y="183"/>
                        <a:pt x="2042" y="183"/>
                        <a:pt x="2042" y="183"/>
                      </a:cubicBezTo>
                      <a:cubicBezTo>
                        <a:pt x="2037" y="186"/>
                        <a:pt x="2037" y="186"/>
                        <a:pt x="2037" y="186"/>
                      </a:cubicBezTo>
                      <a:lnTo>
                        <a:pt x="2043" y="193"/>
                      </a:lnTo>
                      <a:close/>
                      <a:moveTo>
                        <a:pt x="2168" y="186"/>
                      </a:moveTo>
                      <a:cubicBezTo>
                        <a:pt x="2169" y="190"/>
                        <a:pt x="2169" y="190"/>
                        <a:pt x="2169" y="190"/>
                      </a:cubicBezTo>
                      <a:cubicBezTo>
                        <a:pt x="2177" y="193"/>
                        <a:pt x="2177" y="193"/>
                        <a:pt x="2177" y="193"/>
                      </a:cubicBezTo>
                      <a:cubicBezTo>
                        <a:pt x="2190" y="199"/>
                        <a:pt x="2190" y="199"/>
                        <a:pt x="2190" y="199"/>
                      </a:cubicBezTo>
                      <a:cubicBezTo>
                        <a:pt x="2202" y="199"/>
                        <a:pt x="2202" y="199"/>
                        <a:pt x="2202" y="199"/>
                      </a:cubicBezTo>
                      <a:cubicBezTo>
                        <a:pt x="2215" y="196"/>
                        <a:pt x="2215" y="196"/>
                        <a:pt x="2215" y="196"/>
                      </a:cubicBezTo>
                      <a:cubicBezTo>
                        <a:pt x="2217" y="192"/>
                        <a:pt x="2217" y="192"/>
                        <a:pt x="2217" y="192"/>
                      </a:cubicBezTo>
                      <a:cubicBezTo>
                        <a:pt x="2214" y="188"/>
                        <a:pt x="2214" y="188"/>
                        <a:pt x="2214" y="188"/>
                      </a:cubicBezTo>
                      <a:cubicBezTo>
                        <a:pt x="2201" y="186"/>
                        <a:pt x="2201" y="186"/>
                        <a:pt x="2201" y="186"/>
                      </a:cubicBezTo>
                      <a:cubicBezTo>
                        <a:pt x="2190" y="185"/>
                        <a:pt x="2190" y="185"/>
                        <a:pt x="2190" y="185"/>
                      </a:cubicBezTo>
                      <a:cubicBezTo>
                        <a:pt x="2187" y="183"/>
                        <a:pt x="2187" y="183"/>
                        <a:pt x="2187" y="183"/>
                      </a:cubicBezTo>
                      <a:cubicBezTo>
                        <a:pt x="2170" y="183"/>
                        <a:pt x="2170" y="183"/>
                        <a:pt x="2170" y="183"/>
                      </a:cubicBezTo>
                      <a:cubicBezTo>
                        <a:pt x="2163" y="180"/>
                        <a:pt x="2163" y="180"/>
                        <a:pt x="2163" y="180"/>
                      </a:cubicBezTo>
                      <a:cubicBezTo>
                        <a:pt x="2159" y="179"/>
                        <a:pt x="2159" y="179"/>
                        <a:pt x="2159" y="179"/>
                      </a:cubicBezTo>
                      <a:cubicBezTo>
                        <a:pt x="2160" y="182"/>
                        <a:pt x="2160" y="182"/>
                        <a:pt x="2160" y="182"/>
                      </a:cubicBezTo>
                      <a:lnTo>
                        <a:pt x="2168" y="186"/>
                      </a:lnTo>
                      <a:close/>
                      <a:moveTo>
                        <a:pt x="2444" y="326"/>
                      </a:moveTo>
                      <a:cubicBezTo>
                        <a:pt x="2447" y="324"/>
                        <a:pt x="2447" y="324"/>
                        <a:pt x="2447" y="324"/>
                      </a:cubicBezTo>
                      <a:cubicBezTo>
                        <a:pt x="2447" y="320"/>
                        <a:pt x="2447" y="320"/>
                        <a:pt x="2447" y="320"/>
                      </a:cubicBezTo>
                      <a:cubicBezTo>
                        <a:pt x="2436" y="316"/>
                        <a:pt x="2436" y="316"/>
                        <a:pt x="2436" y="316"/>
                      </a:cubicBezTo>
                      <a:cubicBezTo>
                        <a:pt x="2431" y="318"/>
                        <a:pt x="2431" y="318"/>
                        <a:pt x="2431" y="318"/>
                      </a:cubicBezTo>
                      <a:cubicBezTo>
                        <a:pt x="2428" y="321"/>
                        <a:pt x="2428" y="321"/>
                        <a:pt x="2428" y="321"/>
                      </a:cubicBezTo>
                      <a:cubicBezTo>
                        <a:pt x="2437" y="325"/>
                        <a:pt x="2437" y="325"/>
                        <a:pt x="2437" y="325"/>
                      </a:cubicBezTo>
                      <a:lnTo>
                        <a:pt x="2444" y="326"/>
                      </a:lnTo>
                      <a:close/>
                      <a:moveTo>
                        <a:pt x="2584" y="296"/>
                      </a:moveTo>
                      <a:cubicBezTo>
                        <a:pt x="2605" y="297"/>
                        <a:pt x="2605" y="297"/>
                        <a:pt x="2605" y="297"/>
                      </a:cubicBezTo>
                      <a:cubicBezTo>
                        <a:pt x="2612" y="292"/>
                        <a:pt x="2612" y="292"/>
                        <a:pt x="2612" y="292"/>
                      </a:cubicBezTo>
                      <a:cubicBezTo>
                        <a:pt x="2613" y="288"/>
                        <a:pt x="2613" y="288"/>
                        <a:pt x="2613" y="288"/>
                      </a:cubicBezTo>
                      <a:cubicBezTo>
                        <a:pt x="2612" y="287"/>
                        <a:pt x="2612" y="287"/>
                        <a:pt x="2612" y="287"/>
                      </a:cubicBezTo>
                      <a:cubicBezTo>
                        <a:pt x="2606" y="287"/>
                        <a:pt x="2606" y="287"/>
                        <a:pt x="2606" y="287"/>
                      </a:cubicBezTo>
                      <a:cubicBezTo>
                        <a:pt x="2600" y="282"/>
                        <a:pt x="2600" y="282"/>
                        <a:pt x="2600" y="282"/>
                      </a:cubicBezTo>
                      <a:cubicBezTo>
                        <a:pt x="2591" y="283"/>
                        <a:pt x="2591" y="283"/>
                        <a:pt x="2591" y="283"/>
                      </a:cubicBezTo>
                      <a:cubicBezTo>
                        <a:pt x="2579" y="284"/>
                        <a:pt x="2579" y="284"/>
                        <a:pt x="2579" y="284"/>
                      </a:cubicBezTo>
                      <a:cubicBezTo>
                        <a:pt x="2569" y="281"/>
                        <a:pt x="2569" y="281"/>
                        <a:pt x="2569" y="281"/>
                      </a:cubicBezTo>
                      <a:cubicBezTo>
                        <a:pt x="2566" y="282"/>
                        <a:pt x="2566" y="282"/>
                        <a:pt x="2566" y="282"/>
                      </a:cubicBezTo>
                      <a:cubicBezTo>
                        <a:pt x="2563" y="286"/>
                        <a:pt x="2563" y="286"/>
                        <a:pt x="2563" y="286"/>
                      </a:cubicBezTo>
                      <a:cubicBezTo>
                        <a:pt x="2573" y="292"/>
                        <a:pt x="2573" y="292"/>
                        <a:pt x="2573" y="292"/>
                      </a:cubicBezTo>
                      <a:lnTo>
                        <a:pt x="2584" y="296"/>
                      </a:lnTo>
                      <a:close/>
                      <a:moveTo>
                        <a:pt x="2197" y="152"/>
                      </a:moveTo>
                      <a:cubicBezTo>
                        <a:pt x="2188" y="153"/>
                        <a:pt x="2188" y="153"/>
                        <a:pt x="2188" y="153"/>
                      </a:cubicBezTo>
                      <a:cubicBezTo>
                        <a:pt x="2187" y="155"/>
                        <a:pt x="2187" y="155"/>
                        <a:pt x="2187" y="155"/>
                      </a:cubicBezTo>
                      <a:cubicBezTo>
                        <a:pt x="2197" y="154"/>
                        <a:pt x="2197" y="154"/>
                        <a:pt x="2197" y="154"/>
                      </a:cubicBezTo>
                      <a:lnTo>
                        <a:pt x="2197" y="152"/>
                      </a:lnTo>
                      <a:close/>
                      <a:moveTo>
                        <a:pt x="2244" y="166"/>
                      </a:moveTo>
                      <a:cubicBezTo>
                        <a:pt x="2239" y="166"/>
                        <a:pt x="2239" y="166"/>
                        <a:pt x="2239" y="166"/>
                      </a:cubicBezTo>
                      <a:cubicBezTo>
                        <a:pt x="2239" y="167"/>
                        <a:pt x="2239" y="167"/>
                        <a:pt x="2239" y="167"/>
                      </a:cubicBezTo>
                      <a:cubicBezTo>
                        <a:pt x="2242" y="168"/>
                        <a:pt x="2242" y="168"/>
                        <a:pt x="2242" y="168"/>
                      </a:cubicBezTo>
                      <a:lnTo>
                        <a:pt x="2244" y="166"/>
                      </a:lnTo>
                      <a:close/>
                      <a:moveTo>
                        <a:pt x="1652" y="136"/>
                      </a:moveTo>
                      <a:cubicBezTo>
                        <a:pt x="1658" y="136"/>
                        <a:pt x="1658" y="136"/>
                        <a:pt x="1658" y="136"/>
                      </a:cubicBezTo>
                      <a:cubicBezTo>
                        <a:pt x="1658" y="134"/>
                        <a:pt x="1658" y="134"/>
                        <a:pt x="1658" y="134"/>
                      </a:cubicBezTo>
                      <a:cubicBezTo>
                        <a:pt x="1652" y="135"/>
                        <a:pt x="1652" y="135"/>
                        <a:pt x="1652" y="135"/>
                      </a:cubicBezTo>
                      <a:lnTo>
                        <a:pt x="1652" y="136"/>
                      </a:lnTo>
                      <a:close/>
                      <a:moveTo>
                        <a:pt x="1666" y="142"/>
                      </a:moveTo>
                      <a:cubicBezTo>
                        <a:pt x="1667" y="139"/>
                        <a:pt x="1667" y="139"/>
                        <a:pt x="1667" y="139"/>
                      </a:cubicBezTo>
                      <a:cubicBezTo>
                        <a:pt x="1664" y="138"/>
                        <a:pt x="1664" y="138"/>
                        <a:pt x="1664" y="138"/>
                      </a:cubicBezTo>
                      <a:cubicBezTo>
                        <a:pt x="1661" y="140"/>
                        <a:pt x="1661" y="140"/>
                        <a:pt x="1661" y="140"/>
                      </a:cubicBezTo>
                      <a:cubicBezTo>
                        <a:pt x="1660" y="142"/>
                        <a:pt x="1660" y="142"/>
                        <a:pt x="1660" y="142"/>
                      </a:cubicBezTo>
                      <a:lnTo>
                        <a:pt x="1666" y="142"/>
                      </a:lnTo>
                      <a:close/>
                      <a:moveTo>
                        <a:pt x="2031" y="220"/>
                      </a:moveTo>
                      <a:cubicBezTo>
                        <a:pt x="2022" y="214"/>
                        <a:pt x="2022" y="214"/>
                        <a:pt x="2022" y="214"/>
                      </a:cubicBezTo>
                      <a:cubicBezTo>
                        <a:pt x="2016" y="213"/>
                        <a:pt x="2016" y="213"/>
                        <a:pt x="2016" y="213"/>
                      </a:cubicBezTo>
                      <a:cubicBezTo>
                        <a:pt x="2030" y="222"/>
                        <a:pt x="2030" y="222"/>
                        <a:pt x="2030" y="222"/>
                      </a:cubicBezTo>
                      <a:lnTo>
                        <a:pt x="2031" y="220"/>
                      </a:lnTo>
                      <a:close/>
                      <a:moveTo>
                        <a:pt x="1653" y="114"/>
                      </a:moveTo>
                      <a:cubicBezTo>
                        <a:pt x="1648" y="113"/>
                        <a:pt x="1648" y="113"/>
                        <a:pt x="1648" y="113"/>
                      </a:cubicBezTo>
                      <a:cubicBezTo>
                        <a:pt x="1646" y="114"/>
                        <a:pt x="1646" y="114"/>
                        <a:pt x="1646" y="114"/>
                      </a:cubicBezTo>
                      <a:cubicBezTo>
                        <a:pt x="1650" y="115"/>
                        <a:pt x="1650" y="115"/>
                        <a:pt x="1650" y="115"/>
                      </a:cubicBezTo>
                      <a:lnTo>
                        <a:pt x="1653" y="114"/>
                      </a:lnTo>
                      <a:close/>
                      <a:moveTo>
                        <a:pt x="1660" y="111"/>
                      </a:moveTo>
                      <a:cubicBezTo>
                        <a:pt x="1657" y="110"/>
                        <a:pt x="1657" y="110"/>
                        <a:pt x="1657" y="110"/>
                      </a:cubicBezTo>
                      <a:cubicBezTo>
                        <a:pt x="1654" y="111"/>
                        <a:pt x="1654" y="111"/>
                        <a:pt x="1654" y="111"/>
                      </a:cubicBezTo>
                      <a:cubicBezTo>
                        <a:pt x="1654" y="112"/>
                        <a:pt x="1654" y="112"/>
                        <a:pt x="1654" y="112"/>
                      </a:cubicBezTo>
                      <a:cubicBezTo>
                        <a:pt x="1660" y="113"/>
                        <a:pt x="1660" y="113"/>
                        <a:pt x="1660" y="113"/>
                      </a:cubicBezTo>
                      <a:cubicBezTo>
                        <a:pt x="1660" y="111"/>
                        <a:pt x="1660" y="111"/>
                        <a:pt x="1660" y="111"/>
                      </a:cubicBezTo>
                      <a:close/>
                      <a:moveTo>
                        <a:pt x="1736" y="159"/>
                      </a:moveTo>
                      <a:cubicBezTo>
                        <a:pt x="1735" y="161"/>
                        <a:pt x="1735" y="161"/>
                        <a:pt x="1735" y="161"/>
                      </a:cubicBezTo>
                      <a:cubicBezTo>
                        <a:pt x="1739" y="160"/>
                        <a:pt x="1739" y="160"/>
                        <a:pt x="1739" y="160"/>
                      </a:cubicBezTo>
                      <a:lnTo>
                        <a:pt x="1736" y="159"/>
                      </a:lnTo>
                      <a:close/>
                      <a:moveTo>
                        <a:pt x="1732" y="160"/>
                      </a:moveTo>
                      <a:cubicBezTo>
                        <a:pt x="1727" y="156"/>
                        <a:pt x="1727" y="156"/>
                        <a:pt x="1727" y="156"/>
                      </a:cubicBezTo>
                      <a:cubicBezTo>
                        <a:pt x="1723" y="155"/>
                        <a:pt x="1723" y="155"/>
                        <a:pt x="1723" y="155"/>
                      </a:cubicBezTo>
                      <a:cubicBezTo>
                        <a:pt x="1721" y="156"/>
                        <a:pt x="1721" y="156"/>
                        <a:pt x="1721" y="156"/>
                      </a:cubicBezTo>
                      <a:cubicBezTo>
                        <a:pt x="1728" y="160"/>
                        <a:pt x="1728" y="160"/>
                        <a:pt x="1728" y="160"/>
                      </a:cubicBezTo>
                      <a:lnTo>
                        <a:pt x="1732" y="160"/>
                      </a:lnTo>
                      <a:close/>
                      <a:moveTo>
                        <a:pt x="1897" y="231"/>
                      </a:moveTo>
                      <a:cubicBezTo>
                        <a:pt x="1901" y="228"/>
                        <a:pt x="1901" y="228"/>
                        <a:pt x="1901" y="228"/>
                      </a:cubicBezTo>
                      <a:cubicBezTo>
                        <a:pt x="1895" y="229"/>
                        <a:pt x="1895" y="229"/>
                        <a:pt x="1895" y="229"/>
                      </a:cubicBezTo>
                      <a:cubicBezTo>
                        <a:pt x="1893" y="232"/>
                        <a:pt x="1893" y="232"/>
                        <a:pt x="1893" y="232"/>
                      </a:cubicBezTo>
                      <a:cubicBezTo>
                        <a:pt x="1897" y="233"/>
                        <a:pt x="1897" y="233"/>
                        <a:pt x="1897" y="233"/>
                      </a:cubicBezTo>
                      <a:lnTo>
                        <a:pt x="1897" y="231"/>
                      </a:lnTo>
                      <a:close/>
                      <a:moveTo>
                        <a:pt x="1916" y="233"/>
                      </a:moveTo>
                      <a:cubicBezTo>
                        <a:pt x="1914" y="232"/>
                        <a:pt x="1914" y="232"/>
                        <a:pt x="1914" y="232"/>
                      </a:cubicBezTo>
                      <a:cubicBezTo>
                        <a:pt x="1910" y="232"/>
                        <a:pt x="1910" y="232"/>
                        <a:pt x="1910" y="232"/>
                      </a:cubicBezTo>
                      <a:cubicBezTo>
                        <a:pt x="1913" y="234"/>
                        <a:pt x="1913" y="234"/>
                        <a:pt x="1913" y="234"/>
                      </a:cubicBezTo>
                      <a:lnTo>
                        <a:pt x="1916" y="233"/>
                      </a:lnTo>
                      <a:close/>
                      <a:moveTo>
                        <a:pt x="1772" y="216"/>
                      </a:moveTo>
                      <a:cubicBezTo>
                        <a:pt x="1772" y="214"/>
                        <a:pt x="1772" y="214"/>
                        <a:pt x="1772" y="214"/>
                      </a:cubicBezTo>
                      <a:cubicBezTo>
                        <a:pt x="1778" y="210"/>
                        <a:pt x="1778" y="210"/>
                        <a:pt x="1778" y="210"/>
                      </a:cubicBezTo>
                      <a:cubicBezTo>
                        <a:pt x="1774" y="209"/>
                        <a:pt x="1774" y="209"/>
                        <a:pt x="1774" y="209"/>
                      </a:cubicBezTo>
                      <a:cubicBezTo>
                        <a:pt x="1770" y="211"/>
                        <a:pt x="1770" y="211"/>
                        <a:pt x="1770" y="211"/>
                      </a:cubicBezTo>
                      <a:cubicBezTo>
                        <a:pt x="1767" y="214"/>
                        <a:pt x="1767" y="214"/>
                        <a:pt x="1767" y="214"/>
                      </a:cubicBezTo>
                      <a:cubicBezTo>
                        <a:pt x="1768" y="216"/>
                        <a:pt x="1768" y="216"/>
                        <a:pt x="1768" y="216"/>
                      </a:cubicBezTo>
                      <a:lnTo>
                        <a:pt x="1772" y="216"/>
                      </a:lnTo>
                      <a:close/>
                      <a:moveTo>
                        <a:pt x="1883" y="225"/>
                      </a:moveTo>
                      <a:cubicBezTo>
                        <a:pt x="1880" y="223"/>
                        <a:pt x="1880" y="223"/>
                        <a:pt x="1880" y="223"/>
                      </a:cubicBezTo>
                      <a:cubicBezTo>
                        <a:pt x="1876" y="223"/>
                        <a:pt x="1876" y="223"/>
                        <a:pt x="1876" y="223"/>
                      </a:cubicBezTo>
                      <a:cubicBezTo>
                        <a:pt x="1874" y="225"/>
                        <a:pt x="1874" y="225"/>
                        <a:pt x="1874" y="225"/>
                      </a:cubicBezTo>
                      <a:cubicBezTo>
                        <a:pt x="1878" y="224"/>
                        <a:pt x="1878" y="224"/>
                        <a:pt x="1878" y="224"/>
                      </a:cubicBezTo>
                      <a:lnTo>
                        <a:pt x="1883" y="225"/>
                      </a:lnTo>
                      <a:close/>
                      <a:moveTo>
                        <a:pt x="1522" y="166"/>
                      </a:moveTo>
                      <a:cubicBezTo>
                        <a:pt x="1523" y="163"/>
                        <a:pt x="1523" y="163"/>
                        <a:pt x="1523" y="163"/>
                      </a:cubicBezTo>
                      <a:cubicBezTo>
                        <a:pt x="1517" y="164"/>
                        <a:pt x="1517" y="164"/>
                        <a:pt x="1517" y="164"/>
                      </a:cubicBezTo>
                      <a:cubicBezTo>
                        <a:pt x="1510" y="164"/>
                        <a:pt x="1510" y="164"/>
                        <a:pt x="1510" y="164"/>
                      </a:cubicBezTo>
                      <a:cubicBezTo>
                        <a:pt x="1508" y="165"/>
                        <a:pt x="1508" y="165"/>
                        <a:pt x="1508" y="165"/>
                      </a:cubicBezTo>
                      <a:cubicBezTo>
                        <a:pt x="1520" y="167"/>
                        <a:pt x="1520" y="167"/>
                        <a:pt x="1520" y="167"/>
                      </a:cubicBezTo>
                      <a:lnTo>
                        <a:pt x="1522" y="166"/>
                      </a:lnTo>
                      <a:close/>
                      <a:moveTo>
                        <a:pt x="2268" y="800"/>
                      </a:moveTo>
                      <a:cubicBezTo>
                        <a:pt x="2268" y="796"/>
                        <a:pt x="2268" y="796"/>
                        <a:pt x="2268" y="796"/>
                      </a:cubicBezTo>
                      <a:cubicBezTo>
                        <a:pt x="2264" y="797"/>
                        <a:pt x="2264" y="797"/>
                        <a:pt x="2264" y="797"/>
                      </a:cubicBezTo>
                      <a:cubicBezTo>
                        <a:pt x="2263" y="804"/>
                        <a:pt x="2263" y="804"/>
                        <a:pt x="2263" y="804"/>
                      </a:cubicBezTo>
                      <a:cubicBezTo>
                        <a:pt x="2266" y="804"/>
                        <a:pt x="2266" y="804"/>
                        <a:pt x="2266" y="804"/>
                      </a:cubicBezTo>
                      <a:cubicBezTo>
                        <a:pt x="2268" y="800"/>
                        <a:pt x="2268" y="800"/>
                        <a:pt x="2268" y="800"/>
                      </a:cubicBezTo>
                      <a:close/>
                      <a:moveTo>
                        <a:pt x="2388" y="588"/>
                      </a:moveTo>
                      <a:cubicBezTo>
                        <a:pt x="2378" y="593"/>
                        <a:pt x="2378" y="593"/>
                        <a:pt x="2378" y="593"/>
                      </a:cubicBezTo>
                      <a:cubicBezTo>
                        <a:pt x="2377" y="599"/>
                        <a:pt x="2377" y="599"/>
                        <a:pt x="2377" y="599"/>
                      </a:cubicBezTo>
                      <a:cubicBezTo>
                        <a:pt x="2373" y="602"/>
                        <a:pt x="2373" y="602"/>
                        <a:pt x="2373" y="602"/>
                      </a:cubicBezTo>
                      <a:cubicBezTo>
                        <a:pt x="2373" y="605"/>
                        <a:pt x="2373" y="605"/>
                        <a:pt x="2373" y="605"/>
                      </a:cubicBezTo>
                      <a:cubicBezTo>
                        <a:pt x="2378" y="606"/>
                        <a:pt x="2378" y="606"/>
                        <a:pt x="2378" y="606"/>
                      </a:cubicBezTo>
                      <a:cubicBezTo>
                        <a:pt x="2389" y="598"/>
                        <a:pt x="2389" y="598"/>
                        <a:pt x="2389" y="598"/>
                      </a:cubicBezTo>
                      <a:cubicBezTo>
                        <a:pt x="2388" y="588"/>
                        <a:pt x="2388" y="588"/>
                        <a:pt x="2388" y="588"/>
                      </a:cubicBezTo>
                      <a:close/>
                      <a:moveTo>
                        <a:pt x="2404" y="677"/>
                      </a:moveTo>
                      <a:cubicBezTo>
                        <a:pt x="2402" y="682"/>
                        <a:pt x="2402" y="682"/>
                        <a:pt x="2402" y="682"/>
                      </a:cubicBezTo>
                      <a:cubicBezTo>
                        <a:pt x="2409" y="692"/>
                        <a:pt x="2409" y="692"/>
                        <a:pt x="2409" y="692"/>
                      </a:cubicBezTo>
                      <a:cubicBezTo>
                        <a:pt x="2417" y="695"/>
                        <a:pt x="2417" y="695"/>
                        <a:pt x="2417" y="695"/>
                      </a:cubicBezTo>
                      <a:cubicBezTo>
                        <a:pt x="2417" y="692"/>
                        <a:pt x="2417" y="692"/>
                        <a:pt x="2417" y="692"/>
                      </a:cubicBezTo>
                      <a:cubicBezTo>
                        <a:pt x="2409" y="680"/>
                        <a:pt x="2409" y="680"/>
                        <a:pt x="2409" y="680"/>
                      </a:cubicBezTo>
                      <a:cubicBezTo>
                        <a:pt x="2404" y="677"/>
                        <a:pt x="2404" y="677"/>
                        <a:pt x="2404" y="677"/>
                      </a:cubicBezTo>
                      <a:close/>
                      <a:moveTo>
                        <a:pt x="2275" y="782"/>
                      </a:moveTo>
                      <a:cubicBezTo>
                        <a:pt x="2269" y="786"/>
                        <a:pt x="2269" y="786"/>
                        <a:pt x="2269" y="786"/>
                      </a:cubicBezTo>
                      <a:cubicBezTo>
                        <a:pt x="2272" y="789"/>
                        <a:pt x="2272" y="789"/>
                        <a:pt x="2272" y="789"/>
                      </a:cubicBezTo>
                      <a:cubicBezTo>
                        <a:pt x="2280" y="787"/>
                        <a:pt x="2280" y="787"/>
                        <a:pt x="2280" y="787"/>
                      </a:cubicBezTo>
                      <a:cubicBezTo>
                        <a:pt x="2282" y="778"/>
                        <a:pt x="2282" y="778"/>
                        <a:pt x="2282" y="778"/>
                      </a:cubicBezTo>
                      <a:cubicBezTo>
                        <a:pt x="2280" y="778"/>
                        <a:pt x="2280" y="778"/>
                        <a:pt x="2280" y="778"/>
                      </a:cubicBezTo>
                      <a:lnTo>
                        <a:pt x="2275" y="782"/>
                      </a:lnTo>
                      <a:close/>
                      <a:moveTo>
                        <a:pt x="2430" y="698"/>
                      </a:moveTo>
                      <a:cubicBezTo>
                        <a:pt x="2435" y="696"/>
                        <a:pt x="2435" y="696"/>
                        <a:pt x="2435" y="696"/>
                      </a:cubicBezTo>
                      <a:cubicBezTo>
                        <a:pt x="2428" y="687"/>
                        <a:pt x="2428" y="687"/>
                        <a:pt x="2428" y="687"/>
                      </a:cubicBezTo>
                      <a:cubicBezTo>
                        <a:pt x="2422" y="688"/>
                        <a:pt x="2422" y="688"/>
                        <a:pt x="2422" y="688"/>
                      </a:cubicBezTo>
                      <a:cubicBezTo>
                        <a:pt x="2424" y="693"/>
                        <a:pt x="2424" y="693"/>
                        <a:pt x="2424" y="693"/>
                      </a:cubicBezTo>
                      <a:cubicBezTo>
                        <a:pt x="2430" y="698"/>
                        <a:pt x="2430" y="698"/>
                        <a:pt x="2430" y="698"/>
                      </a:cubicBezTo>
                      <a:close/>
                      <a:moveTo>
                        <a:pt x="2694" y="389"/>
                      </a:moveTo>
                      <a:cubicBezTo>
                        <a:pt x="2679" y="378"/>
                        <a:pt x="2679" y="378"/>
                        <a:pt x="2679" y="378"/>
                      </a:cubicBezTo>
                      <a:cubicBezTo>
                        <a:pt x="2671" y="379"/>
                        <a:pt x="2671" y="379"/>
                        <a:pt x="2671" y="379"/>
                      </a:cubicBezTo>
                      <a:cubicBezTo>
                        <a:pt x="2664" y="377"/>
                        <a:pt x="2664" y="377"/>
                        <a:pt x="2664" y="377"/>
                      </a:cubicBezTo>
                      <a:cubicBezTo>
                        <a:pt x="2652" y="377"/>
                        <a:pt x="2652" y="377"/>
                        <a:pt x="2652" y="377"/>
                      </a:cubicBezTo>
                      <a:cubicBezTo>
                        <a:pt x="2654" y="383"/>
                        <a:pt x="2654" y="383"/>
                        <a:pt x="2654" y="383"/>
                      </a:cubicBezTo>
                      <a:cubicBezTo>
                        <a:pt x="2653" y="387"/>
                        <a:pt x="2653" y="387"/>
                        <a:pt x="2653" y="387"/>
                      </a:cubicBezTo>
                      <a:cubicBezTo>
                        <a:pt x="2657" y="389"/>
                        <a:pt x="2657" y="389"/>
                        <a:pt x="2657" y="389"/>
                      </a:cubicBezTo>
                      <a:cubicBezTo>
                        <a:pt x="2654" y="392"/>
                        <a:pt x="2654" y="392"/>
                        <a:pt x="2654" y="392"/>
                      </a:cubicBezTo>
                      <a:cubicBezTo>
                        <a:pt x="2643" y="385"/>
                        <a:pt x="2643" y="385"/>
                        <a:pt x="2643" y="385"/>
                      </a:cubicBezTo>
                      <a:cubicBezTo>
                        <a:pt x="2648" y="381"/>
                        <a:pt x="2648" y="381"/>
                        <a:pt x="2648" y="381"/>
                      </a:cubicBezTo>
                      <a:cubicBezTo>
                        <a:pt x="2646" y="373"/>
                        <a:pt x="2646" y="373"/>
                        <a:pt x="2646" y="373"/>
                      </a:cubicBezTo>
                      <a:cubicBezTo>
                        <a:pt x="2635" y="365"/>
                        <a:pt x="2635" y="365"/>
                        <a:pt x="2635" y="365"/>
                      </a:cubicBezTo>
                      <a:cubicBezTo>
                        <a:pt x="2628" y="366"/>
                        <a:pt x="2628" y="366"/>
                        <a:pt x="2628" y="366"/>
                      </a:cubicBezTo>
                      <a:cubicBezTo>
                        <a:pt x="2628" y="362"/>
                        <a:pt x="2628" y="362"/>
                        <a:pt x="2628" y="362"/>
                      </a:cubicBezTo>
                      <a:cubicBezTo>
                        <a:pt x="2622" y="361"/>
                        <a:pt x="2622" y="361"/>
                        <a:pt x="2622" y="361"/>
                      </a:cubicBezTo>
                      <a:cubicBezTo>
                        <a:pt x="2622" y="358"/>
                        <a:pt x="2622" y="358"/>
                        <a:pt x="2622" y="358"/>
                      </a:cubicBezTo>
                      <a:cubicBezTo>
                        <a:pt x="2614" y="356"/>
                        <a:pt x="2614" y="356"/>
                        <a:pt x="2614" y="356"/>
                      </a:cubicBezTo>
                      <a:cubicBezTo>
                        <a:pt x="2596" y="348"/>
                        <a:pt x="2596" y="348"/>
                        <a:pt x="2596" y="348"/>
                      </a:cubicBezTo>
                      <a:cubicBezTo>
                        <a:pt x="2596" y="345"/>
                        <a:pt x="2596" y="345"/>
                        <a:pt x="2596" y="345"/>
                      </a:cubicBezTo>
                      <a:cubicBezTo>
                        <a:pt x="2590" y="341"/>
                        <a:pt x="2590" y="341"/>
                        <a:pt x="2590" y="341"/>
                      </a:cubicBezTo>
                      <a:cubicBezTo>
                        <a:pt x="2581" y="341"/>
                        <a:pt x="2581" y="341"/>
                        <a:pt x="2581" y="341"/>
                      </a:cubicBezTo>
                      <a:cubicBezTo>
                        <a:pt x="2581" y="338"/>
                        <a:pt x="2581" y="338"/>
                        <a:pt x="2581" y="338"/>
                      </a:cubicBezTo>
                      <a:cubicBezTo>
                        <a:pt x="2569" y="331"/>
                        <a:pt x="2569" y="331"/>
                        <a:pt x="2569" y="331"/>
                      </a:cubicBezTo>
                      <a:cubicBezTo>
                        <a:pt x="2561" y="330"/>
                        <a:pt x="2561" y="330"/>
                        <a:pt x="2561" y="330"/>
                      </a:cubicBezTo>
                      <a:cubicBezTo>
                        <a:pt x="2552" y="326"/>
                        <a:pt x="2552" y="326"/>
                        <a:pt x="2552" y="326"/>
                      </a:cubicBezTo>
                      <a:cubicBezTo>
                        <a:pt x="2546" y="326"/>
                        <a:pt x="2546" y="326"/>
                        <a:pt x="2546" y="326"/>
                      </a:cubicBezTo>
                      <a:cubicBezTo>
                        <a:pt x="2530" y="321"/>
                        <a:pt x="2530" y="321"/>
                        <a:pt x="2530" y="321"/>
                      </a:cubicBezTo>
                      <a:cubicBezTo>
                        <a:pt x="2527" y="322"/>
                        <a:pt x="2527" y="322"/>
                        <a:pt x="2527" y="322"/>
                      </a:cubicBezTo>
                      <a:cubicBezTo>
                        <a:pt x="2521" y="320"/>
                        <a:pt x="2521" y="320"/>
                        <a:pt x="2521" y="320"/>
                      </a:cubicBezTo>
                      <a:cubicBezTo>
                        <a:pt x="2513" y="320"/>
                        <a:pt x="2513" y="320"/>
                        <a:pt x="2513" y="320"/>
                      </a:cubicBezTo>
                      <a:cubicBezTo>
                        <a:pt x="2503" y="319"/>
                        <a:pt x="2503" y="319"/>
                        <a:pt x="2503" y="319"/>
                      </a:cubicBezTo>
                      <a:cubicBezTo>
                        <a:pt x="2498" y="320"/>
                        <a:pt x="2498" y="320"/>
                        <a:pt x="2498" y="320"/>
                      </a:cubicBezTo>
                      <a:cubicBezTo>
                        <a:pt x="2491" y="319"/>
                        <a:pt x="2491" y="319"/>
                        <a:pt x="2491" y="319"/>
                      </a:cubicBezTo>
                      <a:cubicBezTo>
                        <a:pt x="2463" y="314"/>
                        <a:pt x="2463" y="314"/>
                        <a:pt x="2463" y="314"/>
                      </a:cubicBezTo>
                      <a:cubicBezTo>
                        <a:pt x="2459" y="318"/>
                        <a:pt x="2459" y="318"/>
                        <a:pt x="2459" y="318"/>
                      </a:cubicBezTo>
                      <a:cubicBezTo>
                        <a:pt x="2464" y="320"/>
                        <a:pt x="2464" y="320"/>
                        <a:pt x="2464" y="320"/>
                      </a:cubicBezTo>
                      <a:cubicBezTo>
                        <a:pt x="2461" y="322"/>
                        <a:pt x="2461" y="322"/>
                        <a:pt x="2461" y="322"/>
                      </a:cubicBezTo>
                      <a:cubicBezTo>
                        <a:pt x="2457" y="323"/>
                        <a:pt x="2457" y="323"/>
                        <a:pt x="2457" y="323"/>
                      </a:cubicBezTo>
                      <a:cubicBezTo>
                        <a:pt x="2456" y="326"/>
                        <a:pt x="2456" y="326"/>
                        <a:pt x="2456" y="326"/>
                      </a:cubicBezTo>
                      <a:cubicBezTo>
                        <a:pt x="2470" y="334"/>
                        <a:pt x="2470" y="334"/>
                        <a:pt x="2470" y="334"/>
                      </a:cubicBezTo>
                      <a:cubicBezTo>
                        <a:pt x="2467" y="341"/>
                        <a:pt x="2467" y="341"/>
                        <a:pt x="2467" y="341"/>
                      </a:cubicBezTo>
                      <a:cubicBezTo>
                        <a:pt x="2449" y="341"/>
                        <a:pt x="2449" y="341"/>
                        <a:pt x="2449" y="341"/>
                      </a:cubicBezTo>
                      <a:cubicBezTo>
                        <a:pt x="2447" y="335"/>
                        <a:pt x="2447" y="335"/>
                        <a:pt x="2447" y="335"/>
                      </a:cubicBezTo>
                      <a:cubicBezTo>
                        <a:pt x="2436" y="334"/>
                        <a:pt x="2436" y="334"/>
                        <a:pt x="2436" y="334"/>
                      </a:cubicBezTo>
                      <a:cubicBezTo>
                        <a:pt x="2430" y="326"/>
                        <a:pt x="2430" y="326"/>
                        <a:pt x="2430" y="326"/>
                      </a:cubicBezTo>
                      <a:cubicBezTo>
                        <a:pt x="2426" y="323"/>
                        <a:pt x="2426" y="323"/>
                        <a:pt x="2426" y="323"/>
                      </a:cubicBezTo>
                      <a:cubicBezTo>
                        <a:pt x="2418" y="329"/>
                        <a:pt x="2418" y="329"/>
                        <a:pt x="2418" y="329"/>
                      </a:cubicBezTo>
                      <a:cubicBezTo>
                        <a:pt x="2392" y="327"/>
                        <a:pt x="2392" y="327"/>
                        <a:pt x="2392" y="327"/>
                      </a:cubicBezTo>
                      <a:cubicBezTo>
                        <a:pt x="2380" y="322"/>
                        <a:pt x="2380" y="322"/>
                        <a:pt x="2380" y="322"/>
                      </a:cubicBezTo>
                      <a:cubicBezTo>
                        <a:pt x="2374" y="325"/>
                        <a:pt x="2374" y="325"/>
                        <a:pt x="2374" y="325"/>
                      </a:cubicBezTo>
                      <a:cubicBezTo>
                        <a:pt x="2366" y="323"/>
                        <a:pt x="2366" y="323"/>
                        <a:pt x="2366" y="323"/>
                      </a:cubicBezTo>
                      <a:cubicBezTo>
                        <a:pt x="2358" y="326"/>
                        <a:pt x="2358" y="326"/>
                        <a:pt x="2358" y="326"/>
                      </a:cubicBezTo>
                      <a:cubicBezTo>
                        <a:pt x="2353" y="326"/>
                        <a:pt x="2353" y="326"/>
                        <a:pt x="2353" y="326"/>
                      </a:cubicBezTo>
                      <a:cubicBezTo>
                        <a:pt x="2350" y="327"/>
                        <a:pt x="2350" y="327"/>
                        <a:pt x="2350" y="327"/>
                      </a:cubicBezTo>
                      <a:cubicBezTo>
                        <a:pt x="2346" y="326"/>
                        <a:pt x="2346" y="326"/>
                        <a:pt x="2346" y="326"/>
                      </a:cubicBezTo>
                      <a:cubicBezTo>
                        <a:pt x="2343" y="327"/>
                        <a:pt x="2343" y="327"/>
                        <a:pt x="2343" y="327"/>
                      </a:cubicBezTo>
                      <a:cubicBezTo>
                        <a:pt x="2341" y="325"/>
                        <a:pt x="2341" y="325"/>
                        <a:pt x="2341" y="325"/>
                      </a:cubicBezTo>
                      <a:cubicBezTo>
                        <a:pt x="2340" y="325"/>
                        <a:pt x="2340" y="325"/>
                        <a:pt x="2340" y="325"/>
                      </a:cubicBezTo>
                      <a:cubicBezTo>
                        <a:pt x="2336" y="326"/>
                        <a:pt x="2336" y="326"/>
                        <a:pt x="2336" y="326"/>
                      </a:cubicBezTo>
                      <a:cubicBezTo>
                        <a:pt x="2328" y="322"/>
                        <a:pt x="2328" y="322"/>
                        <a:pt x="2328" y="322"/>
                      </a:cubicBezTo>
                      <a:cubicBezTo>
                        <a:pt x="2326" y="316"/>
                        <a:pt x="2326" y="316"/>
                        <a:pt x="2326" y="316"/>
                      </a:cubicBezTo>
                      <a:cubicBezTo>
                        <a:pt x="2331" y="311"/>
                        <a:pt x="2331" y="311"/>
                        <a:pt x="2331" y="311"/>
                      </a:cubicBezTo>
                      <a:cubicBezTo>
                        <a:pt x="2329" y="303"/>
                        <a:pt x="2329" y="303"/>
                        <a:pt x="2329" y="303"/>
                      </a:cubicBezTo>
                      <a:cubicBezTo>
                        <a:pt x="2313" y="295"/>
                        <a:pt x="2313" y="295"/>
                        <a:pt x="2313" y="295"/>
                      </a:cubicBezTo>
                      <a:cubicBezTo>
                        <a:pt x="2303" y="294"/>
                        <a:pt x="2303" y="294"/>
                        <a:pt x="2303" y="294"/>
                      </a:cubicBezTo>
                      <a:cubicBezTo>
                        <a:pt x="2291" y="291"/>
                        <a:pt x="2291" y="291"/>
                        <a:pt x="2291" y="291"/>
                      </a:cubicBezTo>
                      <a:cubicBezTo>
                        <a:pt x="2277" y="292"/>
                        <a:pt x="2277" y="292"/>
                        <a:pt x="2277" y="292"/>
                      </a:cubicBezTo>
                      <a:cubicBezTo>
                        <a:pt x="2255" y="298"/>
                        <a:pt x="2255" y="298"/>
                        <a:pt x="2255" y="298"/>
                      </a:cubicBezTo>
                      <a:cubicBezTo>
                        <a:pt x="2239" y="300"/>
                        <a:pt x="2239" y="300"/>
                        <a:pt x="2239" y="300"/>
                      </a:cubicBezTo>
                      <a:cubicBezTo>
                        <a:pt x="2230" y="296"/>
                        <a:pt x="2230" y="296"/>
                        <a:pt x="2230" y="296"/>
                      </a:cubicBezTo>
                      <a:cubicBezTo>
                        <a:pt x="2229" y="292"/>
                        <a:pt x="2229" y="292"/>
                        <a:pt x="2229" y="292"/>
                      </a:cubicBezTo>
                      <a:cubicBezTo>
                        <a:pt x="2219" y="286"/>
                        <a:pt x="2219" y="286"/>
                        <a:pt x="2219" y="286"/>
                      </a:cubicBezTo>
                      <a:cubicBezTo>
                        <a:pt x="2206" y="281"/>
                        <a:pt x="2206" y="281"/>
                        <a:pt x="2206" y="281"/>
                      </a:cubicBezTo>
                      <a:cubicBezTo>
                        <a:pt x="2194" y="279"/>
                        <a:pt x="2194" y="279"/>
                        <a:pt x="2194" y="279"/>
                      </a:cubicBezTo>
                      <a:cubicBezTo>
                        <a:pt x="2193" y="275"/>
                        <a:pt x="2193" y="275"/>
                        <a:pt x="2193" y="275"/>
                      </a:cubicBezTo>
                      <a:cubicBezTo>
                        <a:pt x="2198" y="275"/>
                        <a:pt x="2198" y="275"/>
                        <a:pt x="2198" y="275"/>
                      </a:cubicBezTo>
                      <a:cubicBezTo>
                        <a:pt x="2204" y="277"/>
                        <a:pt x="2204" y="277"/>
                        <a:pt x="2204" y="277"/>
                      </a:cubicBezTo>
                      <a:cubicBezTo>
                        <a:pt x="2205" y="270"/>
                        <a:pt x="2205" y="270"/>
                        <a:pt x="2205" y="270"/>
                      </a:cubicBezTo>
                      <a:cubicBezTo>
                        <a:pt x="2199" y="269"/>
                        <a:pt x="2199" y="269"/>
                        <a:pt x="2199" y="269"/>
                      </a:cubicBezTo>
                      <a:cubicBezTo>
                        <a:pt x="2189" y="265"/>
                        <a:pt x="2189" y="265"/>
                        <a:pt x="2189" y="265"/>
                      </a:cubicBezTo>
                      <a:cubicBezTo>
                        <a:pt x="2170" y="265"/>
                        <a:pt x="2170" y="265"/>
                        <a:pt x="2170" y="265"/>
                      </a:cubicBezTo>
                      <a:cubicBezTo>
                        <a:pt x="2163" y="273"/>
                        <a:pt x="2163" y="273"/>
                        <a:pt x="2163" y="273"/>
                      </a:cubicBezTo>
                      <a:cubicBezTo>
                        <a:pt x="2152" y="278"/>
                        <a:pt x="2152" y="278"/>
                        <a:pt x="2152" y="278"/>
                      </a:cubicBezTo>
                      <a:cubicBezTo>
                        <a:pt x="2139" y="280"/>
                        <a:pt x="2139" y="280"/>
                        <a:pt x="2139" y="280"/>
                      </a:cubicBezTo>
                      <a:cubicBezTo>
                        <a:pt x="2137" y="273"/>
                        <a:pt x="2137" y="273"/>
                        <a:pt x="2137" y="273"/>
                      </a:cubicBezTo>
                      <a:cubicBezTo>
                        <a:pt x="2146" y="273"/>
                        <a:pt x="2146" y="273"/>
                        <a:pt x="2146" y="273"/>
                      </a:cubicBezTo>
                      <a:cubicBezTo>
                        <a:pt x="2148" y="267"/>
                        <a:pt x="2148" y="267"/>
                        <a:pt x="2148" y="267"/>
                      </a:cubicBezTo>
                      <a:cubicBezTo>
                        <a:pt x="2133" y="268"/>
                        <a:pt x="2133" y="268"/>
                        <a:pt x="2133" y="268"/>
                      </a:cubicBezTo>
                      <a:cubicBezTo>
                        <a:pt x="2129" y="266"/>
                        <a:pt x="2129" y="266"/>
                        <a:pt x="2129" y="266"/>
                      </a:cubicBezTo>
                      <a:cubicBezTo>
                        <a:pt x="2134" y="261"/>
                        <a:pt x="2134" y="261"/>
                        <a:pt x="2134" y="261"/>
                      </a:cubicBezTo>
                      <a:cubicBezTo>
                        <a:pt x="2146" y="261"/>
                        <a:pt x="2146" y="261"/>
                        <a:pt x="2146" y="261"/>
                      </a:cubicBezTo>
                      <a:cubicBezTo>
                        <a:pt x="2158" y="263"/>
                        <a:pt x="2158" y="263"/>
                        <a:pt x="2158" y="263"/>
                      </a:cubicBezTo>
                      <a:cubicBezTo>
                        <a:pt x="2134" y="256"/>
                        <a:pt x="2134" y="256"/>
                        <a:pt x="2134" y="256"/>
                      </a:cubicBezTo>
                      <a:cubicBezTo>
                        <a:pt x="2122" y="255"/>
                        <a:pt x="2122" y="255"/>
                        <a:pt x="2122" y="255"/>
                      </a:cubicBezTo>
                      <a:cubicBezTo>
                        <a:pt x="2106" y="253"/>
                        <a:pt x="2106" y="253"/>
                        <a:pt x="2106" y="253"/>
                      </a:cubicBezTo>
                      <a:cubicBezTo>
                        <a:pt x="2096" y="253"/>
                        <a:pt x="2096" y="253"/>
                        <a:pt x="2096" y="253"/>
                      </a:cubicBezTo>
                      <a:cubicBezTo>
                        <a:pt x="2094" y="251"/>
                        <a:pt x="2094" y="251"/>
                        <a:pt x="2094" y="251"/>
                      </a:cubicBezTo>
                      <a:cubicBezTo>
                        <a:pt x="2090" y="250"/>
                        <a:pt x="2090" y="250"/>
                        <a:pt x="2090" y="250"/>
                      </a:cubicBezTo>
                      <a:cubicBezTo>
                        <a:pt x="2089" y="252"/>
                        <a:pt x="2089" y="252"/>
                        <a:pt x="2089" y="252"/>
                      </a:cubicBezTo>
                      <a:cubicBezTo>
                        <a:pt x="2091" y="255"/>
                        <a:pt x="2091" y="255"/>
                        <a:pt x="2091" y="255"/>
                      </a:cubicBezTo>
                      <a:cubicBezTo>
                        <a:pt x="2081" y="260"/>
                        <a:pt x="2081" y="260"/>
                        <a:pt x="2081" y="260"/>
                      </a:cubicBezTo>
                      <a:cubicBezTo>
                        <a:pt x="2074" y="260"/>
                        <a:pt x="2074" y="260"/>
                        <a:pt x="2074" y="260"/>
                      </a:cubicBezTo>
                      <a:cubicBezTo>
                        <a:pt x="2069" y="259"/>
                        <a:pt x="2069" y="259"/>
                        <a:pt x="2069" y="259"/>
                      </a:cubicBezTo>
                      <a:cubicBezTo>
                        <a:pt x="2067" y="265"/>
                        <a:pt x="2067" y="265"/>
                        <a:pt x="2067" y="265"/>
                      </a:cubicBezTo>
                      <a:cubicBezTo>
                        <a:pt x="2079" y="265"/>
                        <a:pt x="2079" y="265"/>
                        <a:pt x="2079" y="265"/>
                      </a:cubicBezTo>
                      <a:cubicBezTo>
                        <a:pt x="2075" y="268"/>
                        <a:pt x="2075" y="268"/>
                        <a:pt x="2075" y="268"/>
                      </a:cubicBezTo>
                      <a:cubicBezTo>
                        <a:pt x="2074" y="276"/>
                        <a:pt x="2074" y="276"/>
                        <a:pt x="2074" y="276"/>
                      </a:cubicBezTo>
                      <a:cubicBezTo>
                        <a:pt x="2079" y="282"/>
                        <a:pt x="2079" y="282"/>
                        <a:pt x="2079" y="282"/>
                      </a:cubicBezTo>
                      <a:cubicBezTo>
                        <a:pt x="2067" y="285"/>
                        <a:pt x="2067" y="285"/>
                        <a:pt x="2067" y="285"/>
                      </a:cubicBezTo>
                      <a:cubicBezTo>
                        <a:pt x="2066" y="281"/>
                        <a:pt x="2066" y="281"/>
                        <a:pt x="2066" y="281"/>
                      </a:cubicBezTo>
                      <a:cubicBezTo>
                        <a:pt x="2060" y="279"/>
                        <a:pt x="2060" y="279"/>
                        <a:pt x="2060" y="279"/>
                      </a:cubicBezTo>
                      <a:cubicBezTo>
                        <a:pt x="2055" y="283"/>
                        <a:pt x="2055" y="283"/>
                        <a:pt x="2055" y="283"/>
                      </a:cubicBezTo>
                      <a:cubicBezTo>
                        <a:pt x="2054" y="289"/>
                        <a:pt x="2054" y="289"/>
                        <a:pt x="2054" y="289"/>
                      </a:cubicBezTo>
                      <a:cubicBezTo>
                        <a:pt x="2047" y="289"/>
                        <a:pt x="2047" y="289"/>
                        <a:pt x="2047" y="289"/>
                      </a:cubicBezTo>
                      <a:cubicBezTo>
                        <a:pt x="2036" y="282"/>
                        <a:pt x="2036" y="282"/>
                        <a:pt x="2036" y="282"/>
                      </a:cubicBezTo>
                      <a:cubicBezTo>
                        <a:pt x="2021" y="281"/>
                        <a:pt x="2021" y="281"/>
                        <a:pt x="2021" y="281"/>
                      </a:cubicBezTo>
                      <a:cubicBezTo>
                        <a:pt x="2009" y="286"/>
                        <a:pt x="2009" y="286"/>
                        <a:pt x="2009" y="286"/>
                      </a:cubicBezTo>
                      <a:cubicBezTo>
                        <a:pt x="1999" y="285"/>
                        <a:pt x="1999" y="285"/>
                        <a:pt x="1999" y="285"/>
                      </a:cubicBezTo>
                      <a:cubicBezTo>
                        <a:pt x="1988" y="278"/>
                        <a:pt x="1988" y="278"/>
                        <a:pt x="1988" y="278"/>
                      </a:cubicBezTo>
                      <a:cubicBezTo>
                        <a:pt x="1984" y="274"/>
                        <a:pt x="1984" y="274"/>
                        <a:pt x="1984" y="274"/>
                      </a:cubicBezTo>
                      <a:cubicBezTo>
                        <a:pt x="1977" y="282"/>
                        <a:pt x="1977" y="282"/>
                        <a:pt x="1977" y="282"/>
                      </a:cubicBezTo>
                      <a:cubicBezTo>
                        <a:pt x="1973" y="295"/>
                        <a:pt x="1973" y="295"/>
                        <a:pt x="1973" y="295"/>
                      </a:cubicBezTo>
                      <a:cubicBezTo>
                        <a:pt x="1967" y="300"/>
                        <a:pt x="1967" y="300"/>
                        <a:pt x="1967" y="300"/>
                      </a:cubicBezTo>
                      <a:cubicBezTo>
                        <a:pt x="1940" y="285"/>
                        <a:pt x="1940" y="285"/>
                        <a:pt x="1940" y="285"/>
                      </a:cubicBezTo>
                      <a:cubicBezTo>
                        <a:pt x="1938" y="280"/>
                        <a:pt x="1938" y="280"/>
                        <a:pt x="1938" y="280"/>
                      </a:cubicBezTo>
                      <a:cubicBezTo>
                        <a:pt x="1942" y="278"/>
                        <a:pt x="1942" y="278"/>
                        <a:pt x="1942" y="278"/>
                      </a:cubicBezTo>
                      <a:cubicBezTo>
                        <a:pt x="1938" y="274"/>
                        <a:pt x="1938" y="274"/>
                        <a:pt x="1938" y="274"/>
                      </a:cubicBezTo>
                      <a:cubicBezTo>
                        <a:pt x="1934" y="276"/>
                        <a:pt x="1934" y="276"/>
                        <a:pt x="1934" y="276"/>
                      </a:cubicBezTo>
                      <a:cubicBezTo>
                        <a:pt x="1929" y="272"/>
                        <a:pt x="1929" y="272"/>
                        <a:pt x="1929" y="272"/>
                      </a:cubicBezTo>
                      <a:cubicBezTo>
                        <a:pt x="1928" y="267"/>
                        <a:pt x="1928" y="267"/>
                        <a:pt x="1928" y="267"/>
                      </a:cubicBezTo>
                      <a:cubicBezTo>
                        <a:pt x="1937" y="270"/>
                        <a:pt x="1937" y="270"/>
                        <a:pt x="1937" y="270"/>
                      </a:cubicBezTo>
                      <a:cubicBezTo>
                        <a:pt x="1942" y="270"/>
                        <a:pt x="1942" y="270"/>
                        <a:pt x="1942" y="270"/>
                      </a:cubicBezTo>
                      <a:cubicBezTo>
                        <a:pt x="1943" y="263"/>
                        <a:pt x="1943" y="263"/>
                        <a:pt x="1943" y="263"/>
                      </a:cubicBezTo>
                      <a:cubicBezTo>
                        <a:pt x="1933" y="261"/>
                        <a:pt x="1933" y="261"/>
                        <a:pt x="1933" y="261"/>
                      </a:cubicBezTo>
                      <a:cubicBezTo>
                        <a:pt x="1929" y="260"/>
                        <a:pt x="1929" y="260"/>
                        <a:pt x="1929" y="260"/>
                      </a:cubicBezTo>
                      <a:cubicBezTo>
                        <a:pt x="1929" y="257"/>
                        <a:pt x="1929" y="257"/>
                        <a:pt x="1929" y="257"/>
                      </a:cubicBezTo>
                      <a:cubicBezTo>
                        <a:pt x="1938" y="259"/>
                        <a:pt x="1938" y="259"/>
                        <a:pt x="1938" y="259"/>
                      </a:cubicBezTo>
                      <a:cubicBezTo>
                        <a:pt x="1944" y="254"/>
                        <a:pt x="1944" y="254"/>
                        <a:pt x="1944" y="254"/>
                      </a:cubicBezTo>
                      <a:cubicBezTo>
                        <a:pt x="1937" y="252"/>
                        <a:pt x="1937" y="252"/>
                        <a:pt x="1937" y="252"/>
                      </a:cubicBezTo>
                      <a:cubicBezTo>
                        <a:pt x="1937" y="247"/>
                        <a:pt x="1937" y="247"/>
                        <a:pt x="1937" y="247"/>
                      </a:cubicBezTo>
                      <a:cubicBezTo>
                        <a:pt x="1924" y="236"/>
                        <a:pt x="1924" y="236"/>
                        <a:pt x="1924" y="236"/>
                      </a:cubicBezTo>
                      <a:cubicBezTo>
                        <a:pt x="1918" y="234"/>
                        <a:pt x="1918" y="234"/>
                        <a:pt x="1918" y="234"/>
                      </a:cubicBezTo>
                      <a:cubicBezTo>
                        <a:pt x="1910" y="239"/>
                        <a:pt x="1910" y="239"/>
                        <a:pt x="1910" y="239"/>
                      </a:cubicBezTo>
                      <a:cubicBezTo>
                        <a:pt x="1902" y="233"/>
                        <a:pt x="1902" y="233"/>
                        <a:pt x="1902" y="233"/>
                      </a:cubicBezTo>
                      <a:cubicBezTo>
                        <a:pt x="1894" y="236"/>
                        <a:pt x="1894" y="236"/>
                        <a:pt x="1894" y="236"/>
                      </a:cubicBezTo>
                      <a:cubicBezTo>
                        <a:pt x="1888" y="233"/>
                        <a:pt x="1888" y="233"/>
                        <a:pt x="1888" y="233"/>
                      </a:cubicBezTo>
                      <a:cubicBezTo>
                        <a:pt x="1889" y="230"/>
                        <a:pt x="1889" y="230"/>
                        <a:pt x="1889" y="230"/>
                      </a:cubicBezTo>
                      <a:cubicBezTo>
                        <a:pt x="1876" y="227"/>
                        <a:pt x="1876" y="227"/>
                        <a:pt x="1876" y="227"/>
                      </a:cubicBezTo>
                      <a:cubicBezTo>
                        <a:pt x="1873" y="229"/>
                        <a:pt x="1873" y="229"/>
                        <a:pt x="1873" y="229"/>
                      </a:cubicBezTo>
                      <a:cubicBezTo>
                        <a:pt x="1868" y="228"/>
                        <a:pt x="1868" y="228"/>
                        <a:pt x="1868" y="228"/>
                      </a:cubicBezTo>
                      <a:cubicBezTo>
                        <a:pt x="1866" y="230"/>
                        <a:pt x="1866" y="230"/>
                        <a:pt x="1866" y="230"/>
                      </a:cubicBezTo>
                      <a:cubicBezTo>
                        <a:pt x="1866" y="234"/>
                        <a:pt x="1866" y="234"/>
                        <a:pt x="1866" y="234"/>
                      </a:cubicBezTo>
                      <a:cubicBezTo>
                        <a:pt x="1869" y="237"/>
                        <a:pt x="1869" y="237"/>
                        <a:pt x="1869" y="237"/>
                      </a:cubicBezTo>
                      <a:cubicBezTo>
                        <a:pt x="1869" y="244"/>
                        <a:pt x="1869" y="244"/>
                        <a:pt x="1869" y="244"/>
                      </a:cubicBezTo>
                      <a:cubicBezTo>
                        <a:pt x="1863" y="245"/>
                        <a:pt x="1863" y="245"/>
                        <a:pt x="1863" y="245"/>
                      </a:cubicBezTo>
                      <a:cubicBezTo>
                        <a:pt x="1858" y="245"/>
                        <a:pt x="1858" y="245"/>
                        <a:pt x="1858" y="245"/>
                      </a:cubicBezTo>
                      <a:cubicBezTo>
                        <a:pt x="1854" y="249"/>
                        <a:pt x="1854" y="249"/>
                        <a:pt x="1854" y="249"/>
                      </a:cubicBezTo>
                      <a:cubicBezTo>
                        <a:pt x="1846" y="249"/>
                        <a:pt x="1846" y="249"/>
                        <a:pt x="1846" y="249"/>
                      </a:cubicBezTo>
                      <a:cubicBezTo>
                        <a:pt x="1835" y="246"/>
                        <a:pt x="1835" y="246"/>
                        <a:pt x="1835" y="246"/>
                      </a:cubicBezTo>
                      <a:cubicBezTo>
                        <a:pt x="1828" y="246"/>
                        <a:pt x="1828" y="246"/>
                        <a:pt x="1828" y="246"/>
                      </a:cubicBezTo>
                      <a:cubicBezTo>
                        <a:pt x="1824" y="247"/>
                        <a:pt x="1824" y="247"/>
                        <a:pt x="1824" y="247"/>
                      </a:cubicBezTo>
                      <a:cubicBezTo>
                        <a:pt x="1799" y="241"/>
                        <a:pt x="1799" y="241"/>
                        <a:pt x="1799" y="241"/>
                      </a:cubicBezTo>
                      <a:cubicBezTo>
                        <a:pt x="1800" y="236"/>
                        <a:pt x="1800" y="236"/>
                        <a:pt x="1800" y="236"/>
                      </a:cubicBezTo>
                      <a:cubicBezTo>
                        <a:pt x="1803" y="235"/>
                        <a:pt x="1803" y="235"/>
                        <a:pt x="1803" y="235"/>
                      </a:cubicBezTo>
                      <a:cubicBezTo>
                        <a:pt x="1811" y="234"/>
                        <a:pt x="1811" y="234"/>
                        <a:pt x="1811" y="234"/>
                      </a:cubicBezTo>
                      <a:cubicBezTo>
                        <a:pt x="1809" y="232"/>
                        <a:pt x="1809" y="232"/>
                        <a:pt x="1809" y="232"/>
                      </a:cubicBezTo>
                      <a:cubicBezTo>
                        <a:pt x="1797" y="231"/>
                        <a:pt x="1797" y="231"/>
                        <a:pt x="1797" y="231"/>
                      </a:cubicBezTo>
                      <a:cubicBezTo>
                        <a:pt x="1777" y="230"/>
                        <a:pt x="1777" y="230"/>
                        <a:pt x="1777" y="230"/>
                      </a:cubicBezTo>
                      <a:cubicBezTo>
                        <a:pt x="1767" y="228"/>
                        <a:pt x="1767" y="228"/>
                        <a:pt x="1767" y="228"/>
                      </a:cubicBezTo>
                      <a:cubicBezTo>
                        <a:pt x="1745" y="232"/>
                        <a:pt x="1745" y="232"/>
                        <a:pt x="1745" y="232"/>
                      </a:cubicBezTo>
                      <a:cubicBezTo>
                        <a:pt x="1744" y="237"/>
                        <a:pt x="1744" y="237"/>
                        <a:pt x="1744" y="237"/>
                      </a:cubicBezTo>
                      <a:cubicBezTo>
                        <a:pt x="1737" y="238"/>
                        <a:pt x="1737" y="238"/>
                        <a:pt x="1737" y="238"/>
                      </a:cubicBezTo>
                      <a:cubicBezTo>
                        <a:pt x="1735" y="234"/>
                        <a:pt x="1735" y="234"/>
                        <a:pt x="1735" y="234"/>
                      </a:cubicBezTo>
                      <a:cubicBezTo>
                        <a:pt x="1740" y="231"/>
                        <a:pt x="1740" y="231"/>
                        <a:pt x="1740" y="231"/>
                      </a:cubicBezTo>
                      <a:cubicBezTo>
                        <a:pt x="1742" y="227"/>
                        <a:pt x="1742" y="227"/>
                        <a:pt x="1742" y="227"/>
                      </a:cubicBezTo>
                      <a:cubicBezTo>
                        <a:pt x="1739" y="224"/>
                        <a:pt x="1739" y="224"/>
                        <a:pt x="1739" y="224"/>
                      </a:cubicBezTo>
                      <a:cubicBezTo>
                        <a:pt x="1732" y="222"/>
                        <a:pt x="1732" y="222"/>
                        <a:pt x="1732" y="222"/>
                      </a:cubicBezTo>
                      <a:cubicBezTo>
                        <a:pt x="1732" y="228"/>
                        <a:pt x="1732" y="228"/>
                        <a:pt x="1732" y="228"/>
                      </a:cubicBezTo>
                      <a:cubicBezTo>
                        <a:pt x="1724" y="229"/>
                        <a:pt x="1724" y="229"/>
                        <a:pt x="1724" y="229"/>
                      </a:cubicBezTo>
                      <a:cubicBezTo>
                        <a:pt x="1713" y="226"/>
                        <a:pt x="1713" y="226"/>
                        <a:pt x="1713" y="226"/>
                      </a:cubicBezTo>
                      <a:cubicBezTo>
                        <a:pt x="1714" y="220"/>
                        <a:pt x="1714" y="220"/>
                        <a:pt x="1714" y="220"/>
                      </a:cubicBezTo>
                      <a:cubicBezTo>
                        <a:pt x="1704" y="222"/>
                        <a:pt x="1704" y="222"/>
                        <a:pt x="1704" y="222"/>
                      </a:cubicBezTo>
                      <a:cubicBezTo>
                        <a:pt x="1697" y="220"/>
                        <a:pt x="1697" y="220"/>
                        <a:pt x="1697" y="220"/>
                      </a:cubicBezTo>
                      <a:cubicBezTo>
                        <a:pt x="1690" y="225"/>
                        <a:pt x="1690" y="225"/>
                        <a:pt x="1690" y="225"/>
                      </a:cubicBezTo>
                      <a:cubicBezTo>
                        <a:pt x="1692" y="229"/>
                        <a:pt x="1692" y="229"/>
                        <a:pt x="1692" y="229"/>
                      </a:cubicBezTo>
                      <a:cubicBezTo>
                        <a:pt x="1698" y="229"/>
                        <a:pt x="1698" y="229"/>
                        <a:pt x="1698" y="229"/>
                      </a:cubicBezTo>
                      <a:cubicBezTo>
                        <a:pt x="1705" y="227"/>
                        <a:pt x="1705" y="227"/>
                        <a:pt x="1705" y="227"/>
                      </a:cubicBezTo>
                      <a:cubicBezTo>
                        <a:pt x="1695" y="236"/>
                        <a:pt x="1695" y="236"/>
                        <a:pt x="1695" y="236"/>
                      </a:cubicBezTo>
                      <a:cubicBezTo>
                        <a:pt x="1687" y="236"/>
                        <a:pt x="1687" y="236"/>
                        <a:pt x="1687" y="236"/>
                      </a:cubicBezTo>
                      <a:cubicBezTo>
                        <a:pt x="1683" y="238"/>
                        <a:pt x="1683" y="238"/>
                        <a:pt x="1683" y="238"/>
                      </a:cubicBezTo>
                      <a:cubicBezTo>
                        <a:pt x="1677" y="238"/>
                        <a:pt x="1677" y="238"/>
                        <a:pt x="1677" y="238"/>
                      </a:cubicBezTo>
                      <a:cubicBezTo>
                        <a:pt x="1670" y="241"/>
                        <a:pt x="1670" y="241"/>
                        <a:pt x="1670" y="241"/>
                      </a:cubicBezTo>
                      <a:cubicBezTo>
                        <a:pt x="1669" y="244"/>
                        <a:pt x="1669" y="244"/>
                        <a:pt x="1669" y="244"/>
                      </a:cubicBezTo>
                      <a:cubicBezTo>
                        <a:pt x="1654" y="244"/>
                        <a:pt x="1654" y="244"/>
                        <a:pt x="1654" y="244"/>
                      </a:cubicBezTo>
                      <a:cubicBezTo>
                        <a:pt x="1652" y="249"/>
                        <a:pt x="1652" y="249"/>
                        <a:pt x="1652" y="249"/>
                      </a:cubicBezTo>
                      <a:cubicBezTo>
                        <a:pt x="1641" y="254"/>
                        <a:pt x="1641" y="254"/>
                        <a:pt x="1641" y="254"/>
                      </a:cubicBezTo>
                      <a:cubicBezTo>
                        <a:pt x="1633" y="254"/>
                        <a:pt x="1633" y="254"/>
                        <a:pt x="1633" y="254"/>
                      </a:cubicBezTo>
                      <a:cubicBezTo>
                        <a:pt x="1643" y="248"/>
                        <a:pt x="1643" y="248"/>
                        <a:pt x="1643" y="248"/>
                      </a:cubicBezTo>
                      <a:cubicBezTo>
                        <a:pt x="1643" y="241"/>
                        <a:pt x="1643" y="241"/>
                        <a:pt x="1643" y="241"/>
                      </a:cubicBezTo>
                      <a:cubicBezTo>
                        <a:pt x="1649" y="238"/>
                        <a:pt x="1649" y="238"/>
                        <a:pt x="1649" y="238"/>
                      </a:cubicBezTo>
                      <a:cubicBezTo>
                        <a:pt x="1654" y="238"/>
                        <a:pt x="1654" y="238"/>
                        <a:pt x="1654" y="238"/>
                      </a:cubicBezTo>
                      <a:cubicBezTo>
                        <a:pt x="1655" y="232"/>
                        <a:pt x="1655" y="232"/>
                        <a:pt x="1655" y="232"/>
                      </a:cubicBezTo>
                      <a:cubicBezTo>
                        <a:pt x="1661" y="230"/>
                        <a:pt x="1661" y="230"/>
                        <a:pt x="1661" y="230"/>
                      </a:cubicBezTo>
                      <a:cubicBezTo>
                        <a:pt x="1669" y="230"/>
                        <a:pt x="1669" y="230"/>
                        <a:pt x="1669" y="230"/>
                      </a:cubicBezTo>
                      <a:cubicBezTo>
                        <a:pt x="1677" y="222"/>
                        <a:pt x="1677" y="222"/>
                        <a:pt x="1677" y="222"/>
                      </a:cubicBezTo>
                      <a:cubicBezTo>
                        <a:pt x="1688" y="217"/>
                        <a:pt x="1688" y="217"/>
                        <a:pt x="1688" y="217"/>
                      </a:cubicBezTo>
                      <a:cubicBezTo>
                        <a:pt x="1694" y="216"/>
                        <a:pt x="1694" y="216"/>
                        <a:pt x="1694" y="216"/>
                      </a:cubicBezTo>
                      <a:cubicBezTo>
                        <a:pt x="1695" y="212"/>
                        <a:pt x="1695" y="212"/>
                        <a:pt x="1695" y="212"/>
                      </a:cubicBezTo>
                      <a:cubicBezTo>
                        <a:pt x="1712" y="202"/>
                        <a:pt x="1712" y="202"/>
                        <a:pt x="1712" y="202"/>
                      </a:cubicBezTo>
                      <a:cubicBezTo>
                        <a:pt x="1722" y="202"/>
                        <a:pt x="1722" y="202"/>
                        <a:pt x="1722" y="202"/>
                      </a:cubicBezTo>
                      <a:cubicBezTo>
                        <a:pt x="1723" y="197"/>
                        <a:pt x="1723" y="197"/>
                        <a:pt x="1723" y="197"/>
                      </a:cubicBezTo>
                      <a:cubicBezTo>
                        <a:pt x="1735" y="190"/>
                        <a:pt x="1735" y="190"/>
                        <a:pt x="1735" y="190"/>
                      </a:cubicBezTo>
                      <a:cubicBezTo>
                        <a:pt x="1741" y="183"/>
                        <a:pt x="1741" y="183"/>
                        <a:pt x="1741" y="183"/>
                      </a:cubicBezTo>
                      <a:cubicBezTo>
                        <a:pt x="1728" y="178"/>
                        <a:pt x="1728" y="178"/>
                        <a:pt x="1728" y="178"/>
                      </a:cubicBezTo>
                      <a:cubicBezTo>
                        <a:pt x="1725" y="175"/>
                        <a:pt x="1725" y="175"/>
                        <a:pt x="1725" y="175"/>
                      </a:cubicBezTo>
                      <a:cubicBezTo>
                        <a:pt x="1726" y="173"/>
                        <a:pt x="1726" y="173"/>
                        <a:pt x="1726" y="173"/>
                      </a:cubicBezTo>
                      <a:cubicBezTo>
                        <a:pt x="1729" y="173"/>
                        <a:pt x="1729" y="173"/>
                        <a:pt x="1729" y="173"/>
                      </a:cubicBezTo>
                      <a:cubicBezTo>
                        <a:pt x="1734" y="177"/>
                        <a:pt x="1734" y="177"/>
                        <a:pt x="1734" y="177"/>
                      </a:cubicBezTo>
                      <a:cubicBezTo>
                        <a:pt x="1744" y="179"/>
                        <a:pt x="1744" y="179"/>
                        <a:pt x="1744" y="179"/>
                      </a:cubicBezTo>
                      <a:cubicBezTo>
                        <a:pt x="1744" y="172"/>
                        <a:pt x="1744" y="172"/>
                        <a:pt x="1744" y="172"/>
                      </a:cubicBezTo>
                      <a:cubicBezTo>
                        <a:pt x="1740" y="171"/>
                        <a:pt x="1740" y="171"/>
                        <a:pt x="1740" y="171"/>
                      </a:cubicBezTo>
                      <a:cubicBezTo>
                        <a:pt x="1741" y="164"/>
                        <a:pt x="1741" y="164"/>
                        <a:pt x="1741" y="164"/>
                      </a:cubicBezTo>
                      <a:cubicBezTo>
                        <a:pt x="1736" y="163"/>
                        <a:pt x="1736" y="163"/>
                        <a:pt x="1736" y="163"/>
                      </a:cubicBezTo>
                      <a:cubicBezTo>
                        <a:pt x="1729" y="168"/>
                        <a:pt x="1729" y="168"/>
                        <a:pt x="1729" y="168"/>
                      </a:cubicBezTo>
                      <a:cubicBezTo>
                        <a:pt x="1726" y="167"/>
                        <a:pt x="1726" y="167"/>
                        <a:pt x="1726" y="167"/>
                      </a:cubicBezTo>
                      <a:cubicBezTo>
                        <a:pt x="1729" y="163"/>
                        <a:pt x="1729" y="163"/>
                        <a:pt x="1729" y="163"/>
                      </a:cubicBezTo>
                      <a:cubicBezTo>
                        <a:pt x="1715" y="156"/>
                        <a:pt x="1715" y="156"/>
                        <a:pt x="1715" y="156"/>
                      </a:cubicBezTo>
                      <a:cubicBezTo>
                        <a:pt x="1709" y="155"/>
                        <a:pt x="1709" y="155"/>
                        <a:pt x="1709" y="155"/>
                      </a:cubicBezTo>
                      <a:cubicBezTo>
                        <a:pt x="1705" y="153"/>
                        <a:pt x="1705" y="153"/>
                        <a:pt x="1705" y="153"/>
                      </a:cubicBezTo>
                      <a:cubicBezTo>
                        <a:pt x="1669" y="155"/>
                        <a:pt x="1669" y="155"/>
                        <a:pt x="1669" y="155"/>
                      </a:cubicBezTo>
                      <a:cubicBezTo>
                        <a:pt x="1666" y="158"/>
                        <a:pt x="1666" y="158"/>
                        <a:pt x="1666" y="158"/>
                      </a:cubicBezTo>
                      <a:cubicBezTo>
                        <a:pt x="1654" y="159"/>
                        <a:pt x="1654" y="159"/>
                        <a:pt x="1654" y="159"/>
                      </a:cubicBezTo>
                      <a:cubicBezTo>
                        <a:pt x="1647" y="157"/>
                        <a:pt x="1647" y="157"/>
                        <a:pt x="1647" y="157"/>
                      </a:cubicBezTo>
                      <a:cubicBezTo>
                        <a:pt x="1657" y="153"/>
                        <a:pt x="1657" y="153"/>
                        <a:pt x="1657" y="153"/>
                      </a:cubicBezTo>
                      <a:cubicBezTo>
                        <a:pt x="1659" y="147"/>
                        <a:pt x="1659" y="147"/>
                        <a:pt x="1659" y="147"/>
                      </a:cubicBezTo>
                      <a:cubicBezTo>
                        <a:pt x="1650" y="146"/>
                        <a:pt x="1650" y="146"/>
                        <a:pt x="1650" y="146"/>
                      </a:cubicBezTo>
                      <a:cubicBezTo>
                        <a:pt x="1643" y="149"/>
                        <a:pt x="1643" y="149"/>
                        <a:pt x="1643" y="149"/>
                      </a:cubicBezTo>
                      <a:cubicBezTo>
                        <a:pt x="1638" y="148"/>
                        <a:pt x="1638" y="148"/>
                        <a:pt x="1638" y="148"/>
                      </a:cubicBezTo>
                      <a:cubicBezTo>
                        <a:pt x="1638" y="145"/>
                        <a:pt x="1638" y="145"/>
                        <a:pt x="1638" y="145"/>
                      </a:cubicBezTo>
                      <a:cubicBezTo>
                        <a:pt x="1625" y="144"/>
                        <a:pt x="1625" y="144"/>
                        <a:pt x="1625" y="144"/>
                      </a:cubicBezTo>
                      <a:cubicBezTo>
                        <a:pt x="1625" y="142"/>
                        <a:pt x="1625" y="142"/>
                        <a:pt x="1625" y="142"/>
                      </a:cubicBezTo>
                      <a:cubicBezTo>
                        <a:pt x="1640" y="141"/>
                        <a:pt x="1640" y="141"/>
                        <a:pt x="1640" y="141"/>
                      </a:cubicBezTo>
                      <a:cubicBezTo>
                        <a:pt x="1646" y="136"/>
                        <a:pt x="1646" y="136"/>
                        <a:pt x="1646" y="136"/>
                      </a:cubicBezTo>
                      <a:cubicBezTo>
                        <a:pt x="1642" y="132"/>
                        <a:pt x="1642" y="132"/>
                        <a:pt x="1642" y="132"/>
                      </a:cubicBezTo>
                      <a:cubicBezTo>
                        <a:pt x="1634" y="133"/>
                        <a:pt x="1634" y="133"/>
                        <a:pt x="1634" y="133"/>
                      </a:cubicBezTo>
                      <a:cubicBezTo>
                        <a:pt x="1620" y="129"/>
                        <a:pt x="1620" y="129"/>
                        <a:pt x="1620" y="129"/>
                      </a:cubicBezTo>
                      <a:cubicBezTo>
                        <a:pt x="1603" y="133"/>
                        <a:pt x="1603" y="133"/>
                        <a:pt x="1603" y="133"/>
                      </a:cubicBezTo>
                      <a:cubicBezTo>
                        <a:pt x="1599" y="136"/>
                        <a:pt x="1599" y="136"/>
                        <a:pt x="1599" y="136"/>
                      </a:cubicBezTo>
                      <a:cubicBezTo>
                        <a:pt x="1588" y="141"/>
                        <a:pt x="1588" y="141"/>
                        <a:pt x="1588" y="141"/>
                      </a:cubicBezTo>
                      <a:cubicBezTo>
                        <a:pt x="1587" y="145"/>
                        <a:pt x="1587" y="145"/>
                        <a:pt x="1587" y="145"/>
                      </a:cubicBezTo>
                      <a:cubicBezTo>
                        <a:pt x="1580" y="149"/>
                        <a:pt x="1580" y="149"/>
                        <a:pt x="1580" y="149"/>
                      </a:cubicBezTo>
                      <a:cubicBezTo>
                        <a:pt x="1582" y="152"/>
                        <a:pt x="1582" y="152"/>
                        <a:pt x="1582" y="152"/>
                      </a:cubicBezTo>
                      <a:cubicBezTo>
                        <a:pt x="1587" y="154"/>
                        <a:pt x="1587" y="154"/>
                        <a:pt x="1587" y="154"/>
                      </a:cubicBezTo>
                      <a:cubicBezTo>
                        <a:pt x="1583" y="155"/>
                        <a:pt x="1583" y="155"/>
                        <a:pt x="1583" y="155"/>
                      </a:cubicBezTo>
                      <a:cubicBezTo>
                        <a:pt x="1587" y="158"/>
                        <a:pt x="1587" y="158"/>
                        <a:pt x="1587" y="158"/>
                      </a:cubicBezTo>
                      <a:cubicBezTo>
                        <a:pt x="1594" y="159"/>
                        <a:pt x="1594" y="159"/>
                        <a:pt x="1594" y="159"/>
                      </a:cubicBezTo>
                      <a:cubicBezTo>
                        <a:pt x="1600" y="161"/>
                        <a:pt x="1600" y="161"/>
                        <a:pt x="1600" y="161"/>
                      </a:cubicBezTo>
                      <a:cubicBezTo>
                        <a:pt x="1615" y="159"/>
                        <a:pt x="1615" y="159"/>
                        <a:pt x="1615" y="159"/>
                      </a:cubicBezTo>
                      <a:cubicBezTo>
                        <a:pt x="1616" y="161"/>
                        <a:pt x="1616" y="161"/>
                        <a:pt x="1616" y="161"/>
                      </a:cubicBezTo>
                      <a:cubicBezTo>
                        <a:pt x="1604" y="163"/>
                        <a:pt x="1604" y="163"/>
                        <a:pt x="1604" y="163"/>
                      </a:cubicBezTo>
                      <a:cubicBezTo>
                        <a:pt x="1592" y="161"/>
                        <a:pt x="1592" y="161"/>
                        <a:pt x="1592" y="161"/>
                      </a:cubicBezTo>
                      <a:cubicBezTo>
                        <a:pt x="1586" y="161"/>
                        <a:pt x="1586" y="161"/>
                        <a:pt x="1586" y="161"/>
                      </a:cubicBezTo>
                      <a:cubicBezTo>
                        <a:pt x="1578" y="159"/>
                        <a:pt x="1578" y="159"/>
                        <a:pt x="1578" y="159"/>
                      </a:cubicBezTo>
                      <a:cubicBezTo>
                        <a:pt x="1566" y="160"/>
                        <a:pt x="1566" y="160"/>
                        <a:pt x="1566" y="160"/>
                      </a:cubicBezTo>
                      <a:cubicBezTo>
                        <a:pt x="1557" y="158"/>
                        <a:pt x="1557" y="158"/>
                        <a:pt x="1557" y="158"/>
                      </a:cubicBezTo>
                      <a:cubicBezTo>
                        <a:pt x="1554" y="159"/>
                        <a:pt x="1554" y="159"/>
                        <a:pt x="1554" y="159"/>
                      </a:cubicBezTo>
                      <a:cubicBezTo>
                        <a:pt x="1558" y="161"/>
                        <a:pt x="1558" y="161"/>
                        <a:pt x="1558" y="161"/>
                      </a:cubicBezTo>
                      <a:cubicBezTo>
                        <a:pt x="1571" y="166"/>
                        <a:pt x="1571" y="166"/>
                        <a:pt x="1571" y="166"/>
                      </a:cubicBezTo>
                      <a:cubicBezTo>
                        <a:pt x="1573" y="169"/>
                        <a:pt x="1573" y="169"/>
                        <a:pt x="1573" y="169"/>
                      </a:cubicBezTo>
                      <a:cubicBezTo>
                        <a:pt x="1571" y="175"/>
                        <a:pt x="1571" y="175"/>
                        <a:pt x="1571" y="175"/>
                      </a:cubicBezTo>
                      <a:cubicBezTo>
                        <a:pt x="1562" y="177"/>
                        <a:pt x="1562" y="177"/>
                        <a:pt x="1562" y="177"/>
                      </a:cubicBezTo>
                      <a:cubicBezTo>
                        <a:pt x="1559" y="172"/>
                        <a:pt x="1559" y="172"/>
                        <a:pt x="1559" y="172"/>
                      </a:cubicBezTo>
                      <a:cubicBezTo>
                        <a:pt x="1564" y="169"/>
                        <a:pt x="1564" y="169"/>
                        <a:pt x="1564" y="169"/>
                      </a:cubicBezTo>
                      <a:cubicBezTo>
                        <a:pt x="1552" y="164"/>
                        <a:pt x="1552" y="164"/>
                        <a:pt x="1552" y="164"/>
                      </a:cubicBezTo>
                      <a:cubicBezTo>
                        <a:pt x="1545" y="167"/>
                        <a:pt x="1545" y="167"/>
                        <a:pt x="1545" y="167"/>
                      </a:cubicBezTo>
                      <a:cubicBezTo>
                        <a:pt x="1540" y="170"/>
                        <a:pt x="1540" y="170"/>
                        <a:pt x="1540" y="170"/>
                      </a:cubicBezTo>
                      <a:cubicBezTo>
                        <a:pt x="1526" y="175"/>
                        <a:pt x="1526" y="175"/>
                        <a:pt x="1526" y="175"/>
                      </a:cubicBezTo>
                      <a:cubicBezTo>
                        <a:pt x="1526" y="172"/>
                        <a:pt x="1526" y="172"/>
                        <a:pt x="1526" y="172"/>
                      </a:cubicBezTo>
                      <a:cubicBezTo>
                        <a:pt x="1520" y="172"/>
                        <a:pt x="1520" y="172"/>
                        <a:pt x="1520" y="172"/>
                      </a:cubicBezTo>
                      <a:cubicBezTo>
                        <a:pt x="1515" y="175"/>
                        <a:pt x="1515" y="175"/>
                        <a:pt x="1515" y="175"/>
                      </a:cubicBezTo>
                      <a:cubicBezTo>
                        <a:pt x="1511" y="174"/>
                        <a:pt x="1511" y="174"/>
                        <a:pt x="1511" y="174"/>
                      </a:cubicBezTo>
                      <a:cubicBezTo>
                        <a:pt x="1519" y="169"/>
                        <a:pt x="1519" y="169"/>
                        <a:pt x="1519" y="169"/>
                      </a:cubicBezTo>
                      <a:cubicBezTo>
                        <a:pt x="1506" y="167"/>
                        <a:pt x="1506" y="167"/>
                        <a:pt x="1506" y="167"/>
                      </a:cubicBezTo>
                      <a:cubicBezTo>
                        <a:pt x="1498" y="168"/>
                        <a:pt x="1498" y="168"/>
                        <a:pt x="1498" y="168"/>
                      </a:cubicBezTo>
                      <a:cubicBezTo>
                        <a:pt x="1483" y="168"/>
                        <a:pt x="1483" y="168"/>
                        <a:pt x="1483" y="168"/>
                      </a:cubicBezTo>
                      <a:cubicBezTo>
                        <a:pt x="1477" y="170"/>
                        <a:pt x="1477" y="170"/>
                        <a:pt x="1477" y="170"/>
                      </a:cubicBezTo>
                      <a:cubicBezTo>
                        <a:pt x="1480" y="172"/>
                        <a:pt x="1480" y="172"/>
                        <a:pt x="1480" y="172"/>
                      </a:cubicBezTo>
                      <a:cubicBezTo>
                        <a:pt x="1485" y="173"/>
                        <a:pt x="1485" y="173"/>
                        <a:pt x="1485" y="173"/>
                      </a:cubicBezTo>
                      <a:cubicBezTo>
                        <a:pt x="1492" y="173"/>
                        <a:pt x="1492" y="173"/>
                        <a:pt x="1492" y="173"/>
                      </a:cubicBezTo>
                      <a:cubicBezTo>
                        <a:pt x="1490" y="175"/>
                        <a:pt x="1490" y="175"/>
                        <a:pt x="1490" y="175"/>
                      </a:cubicBezTo>
                      <a:cubicBezTo>
                        <a:pt x="1479" y="176"/>
                        <a:pt x="1479" y="176"/>
                        <a:pt x="1479" y="176"/>
                      </a:cubicBezTo>
                      <a:cubicBezTo>
                        <a:pt x="1461" y="177"/>
                        <a:pt x="1461" y="177"/>
                        <a:pt x="1461" y="177"/>
                      </a:cubicBezTo>
                      <a:cubicBezTo>
                        <a:pt x="1456" y="179"/>
                        <a:pt x="1456" y="179"/>
                        <a:pt x="1456" y="179"/>
                      </a:cubicBezTo>
                      <a:cubicBezTo>
                        <a:pt x="1449" y="179"/>
                        <a:pt x="1449" y="179"/>
                        <a:pt x="1449" y="179"/>
                      </a:cubicBezTo>
                      <a:cubicBezTo>
                        <a:pt x="1439" y="181"/>
                        <a:pt x="1439" y="181"/>
                        <a:pt x="1439" y="181"/>
                      </a:cubicBezTo>
                      <a:cubicBezTo>
                        <a:pt x="1427" y="182"/>
                        <a:pt x="1427" y="182"/>
                        <a:pt x="1427" y="182"/>
                      </a:cubicBezTo>
                      <a:cubicBezTo>
                        <a:pt x="1417" y="188"/>
                        <a:pt x="1417" y="188"/>
                        <a:pt x="1417" y="188"/>
                      </a:cubicBezTo>
                      <a:cubicBezTo>
                        <a:pt x="1410" y="188"/>
                        <a:pt x="1410" y="188"/>
                        <a:pt x="1410" y="188"/>
                      </a:cubicBezTo>
                      <a:cubicBezTo>
                        <a:pt x="1403" y="188"/>
                        <a:pt x="1403" y="188"/>
                        <a:pt x="1403" y="188"/>
                      </a:cubicBezTo>
                      <a:cubicBezTo>
                        <a:pt x="1401" y="190"/>
                        <a:pt x="1401" y="190"/>
                        <a:pt x="1401" y="190"/>
                      </a:cubicBezTo>
                      <a:cubicBezTo>
                        <a:pt x="1405" y="191"/>
                        <a:pt x="1405" y="191"/>
                        <a:pt x="1405" y="191"/>
                      </a:cubicBezTo>
                      <a:cubicBezTo>
                        <a:pt x="1411" y="191"/>
                        <a:pt x="1411" y="191"/>
                        <a:pt x="1411" y="191"/>
                      </a:cubicBezTo>
                      <a:cubicBezTo>
                        <a:pt x="1410" y="194"/>
                        <a:pt x="1410" y="194"/>
                        <a:pt x="1410" y="194"/>
                      </a:cubicBezTo>
                      <a:cubicBezTo>
                        <a:pt x="1404" y="197"/>
                        <a:pt x="1404" y="197"/>
                        <a:pt x="1404" y="197"/>
                      </a:cubicBezTo>
                      <a:cubicBezTo>
                        <a:pt x="1400" y="202"/>
                        <a:pt x="1400" y="202"/>
                        <a:pt x="1400" y="202"/>
                      </a:cubicBezTo>
                      <a:cubicBezTo>
                        <a:pt x="1392" y="198"/>
                        <a:pt x="1392" y="198"/>
                        <a:pt x="1392" y="198"/>
                      </a:cubicBezTo>
                      <a:cubicBezTo>
                        <a:pt x="1387" y="202"/>
                        <a:pt x="1387" y="202"/>
                        <a:pt x="1387" y="202"/>
                      </a:cubicBezTo>
                      <a:cubicBezTo>
                        <a:pt x="1390" y="206"/>
                        <a:pt x="1390" y="206"/>
                        <a:pt x="1390" y="206"/>
                      </a:cubicBezTo>
                      <a:cubicBezTo>
                        <a:pt x="1396" y="205"/>
                        <a:pt x="1396" y="205"/>
                        <a:pt x="1396" y="205"/>
                      </a:cubicBezTo>
                      <a:cubicBezTo>
                        <a:pt x="1402" y="207"/>
                        <a:pt x="1402" y="207"/>
                        <a:pt x="1402" y="207"/>
                      </a:cubicBezTo>
                      <a:cubicBezTo>
                        <a:pt x="1401" y="210"/>
                        <a:pt x="1401" y="210"/>
                        <a:pt x="1401" y="210"/>
                      </a:cubicBezTo>
                      <a:cubicBezTo>
                        <a:pt x="1392" y="209"/>
                        <a:pt x="1392" y="209"/>
                        <a:pt x="1392" y="209"/>
                      </a:cubicBezTo>
                      <a:cubicBezTo>
                        <a:pt x="1390" y="213"/>
                        <a:pt x="1390" y="213"/>
                        <a:pt x="1390" y="213"/>
                      </a:cubicBezTo>
                      <a:cubicBezTo>
                        <a:pt x="1396" y="213"/>
                        <a:pt x="1396" y="213"/>
                        <a:pt x="1396" y="213"/>
                      </a:cubicBezTo>
                      <a:cubicBezTo>
                        <a:pt x="1401" y="217"/>
                        <a:pt x="1401" y="217"/>
                        <a:pt x="1401" y="217"/>
                      </a:cubicBezTo>
                      <a:cubicBezTo>
                        <a:pt x="1401" y="220"/>
                        <a:pt x="1401" y="220"/>
                        <a:pt x="1401" y="220"/>
                      </a:cubicBezTo>
                      <a:cubicBezTo>
                        <a:pt x="1405" y="224"/>
                        <a:pt x="1405" y="224"/>
                        <a:pt x="1405" y="224"/>
                      </a:cubicBezTo>
                      <a:cubicBezTo>
                        <a:pt x="1404" y="229"/>
                        <a:pt x="1404" y="229"/>
                        <a:pt x="1404" y="229"/>
                      </a:cubicBezTo>
                      <a:cubicBezTo>
                        <a:pt x="1399" y="225"/>
                        <a:pt x="1399" y="225"/>
                        <a:pt x="1399" y="225"/>
                      </a:cubicBezTo>
                      <a:cubicBezTo>
                        <a:pt x="1387" y="225"/>
                        <a:pt x="1387" y="225"/>
                        <a:pt x="1387" y="225"/>
                      </a:cubicBezTo>
                      <a:cubicBezTo>
                        <a:pt x="1382" y="229"/>
                        <a:pt x="1382" y="229"/>
                        <a:pt x="1382" y="229"/>
                      </a:cubicBezTo>
                      <a:cubicBezTo>
                        <a:pt x="1373" y="229"/>
                        <a:pt x="1373" y="229"/>
                        <a:pt x="1373" y="229"/>
                      </a:cubicBezTo>
                      <a:cubicBezTo>
                        <a:pt x="1367" y="227"/>
                        <a:pt x="1367" y="227"/>
                        <a:pt x="1367" y="227"/>
                      </a:cubicBezTo>
                      <a:cubicBezTo>
                        <a:pt x="1354" y="230"/>
                        <a:pt x="1354" y="230"/>
                        <a:pt x="1354" y="230"/>
                      </a:cubicBezTo>
                      <a:cubicBezTo>
                        <a:pt x="1333" y="232"/>
                        <a:pt x="1333" y="232"/>
                        <a:pt x="1333" y="232"/>
                      </a:cubicBezTo>
                      <a:cubicBezTo>
                        <a:pt x="1327" y="232"/>
                        <a:pt x="1327" y="232"/>
                        <a:pt x="1327" y="232"/>
                      </a:cubicBezTo>
                      <a:cubicBezTo>
                        <a:pt x="1320" y="240"/>
                        <a:pt x="1320" y="240"/>
                        <a:pt x="1320" y="240"/>
                      </a:cubicBezTo>
                      <a:cubicBezTo>
                        <a:pt x="1324" y="244"/>
                        <a:pt x="1324" y="244"/>
                        <a:pt x="1324" y="244"/>
                      </a:cubicBezTo>
                      <a:cubicBezTo>
                        <a:pt x="1323" y="254"/>
                        <a:pt x="1323" y="254"/>
                        <a:pt x="1323" y="254"/>
                      </a:cubicBezTo>
                      <a:cubicBezTo>
                        <a:pt x="1328" y="257"/>
                        <a:pt x="1328" y="257"/>
                        <a:pt x="1328" y="257"/>
                      </a:cubicBezTo>
                      <a:cubicBezTo>
                        <a:pt x="1327" y="262"/>
                        <a:pt x="1327" y="262"/>
                        <a:pt x="1327" y="262"/>
                      </a:cubicBezTo>
                      <a:cubicBezTo>
                        <a:pt x="1345" y="267"/>
                        <a:pt x="1345" y="267"/>
                        <a:pt x="1345" y="267"/>
                      </a:cubicBezTo>
                      <a:cubicBezTo>
                        <a:pt x="1345" y="273"/>
                        <a:pt x="1345" y="273"/>
                        <a:pt x="1345" y="273"/>
                      </a:cubicBezTo>
                      <a:cubicBezTo>
                        <a:pt x="1358" y="276"/>
                        <a:pt x="1358" y="276"/>
                        <a:pt x="1358" y="276"/>
                      </a:cubicBezTo>
                      <a:cubicBezTo>
                        <a:pt x="1361" y="283"/>
                        <a:pt x="1361" y="283"/>
                        <a:pt x="1361" y="283"/>
                      </a:cubicBezTo>
                      <a:cubicBezTo>
                        <a:pt x="1356" y="290"/>
                        <a:pt x="1356" y="290"/>
                        <a:pt x="1356" y="290"/>
                      </a:cubicBezTo>
                      <a:cubicBezTo>
                        <a:pt x="1356" y="296"/>
                        <a:pt x="1356" y="296"/>
                        <a:pt x="1356" y="296"/>
                      </a:cubicBezTo>
                      <a:cubicBezTo>
                        <a:pt x="1365" y="306"/>
                        <a:pt x="1365" y="306"/>
                        <a:pt x="1365" y="306"/>
                      </a:cubicBezTo>
                      <a:cubicBezTo>
                        <a:pt x="1364" y="311"/>
                        <a:pt x="1364" y="311"/>
                        <a:pt x="1364" y="311"/>
                      </a:cubicBezTo>
                      <a:cubicBezTo>
                        <a:pt x="1356" y="314"/>
                        <a:pt x="1356" y="314"/>
                        <a:pt x="1356" y="314"/>
                      </a:cubicBezTo>
                      <a:cubicBezTo>
                        <a:pt x="1372" y="325"/>
                        <a:pt x="1372" y="325"/>
                        <a:pt x="1372" y="325"/>
                      </a:cubicBezTo>
                      <a:cubicBezTo>
                        <a:pt x="1374" y="327"/>
                        <a:pt x="1374" y="327"/>
                        <a:pt x="1374" y="327"/>
                      </a:cubicBezTo>
                      <a:cubicBezTo>
                        <a:pt x="1370" y="329"/>
                        <a:pt x="1370" y="329"/>
                        <a:pt x="1370" y="329"/>
                      </a:cubicBezTo>
                      <a:cubicBezTo>
                        <a:pt x="1365" y="328"/>
                        <a:pt x="1365" y="328"/>
                        <a:pt x="1365" y="328"/>
                      </a:cubicBezTo>
                      <a:cubicBezTo>
                        <a:pt x="1360" y="323"/>
                        <a:pt x="1360" y="323"/>
                        <a:pt x="1360" y="323"/>
                      </a:cubicBezTo>
                      <a:cubicBezTo>
                        <a:pt x="1347" y="314"/>
                        <a:pt x="1347" y="314"/>
                        <a:pt x="1347" y="314"/>
                      </a:cubicBezTo>
                      <a:cubicBezTo>
                        <a:pt x="1356" y="307"/>
                        <a:pt x="1356" y="307"/>
                        <a:pt x="1356" y="307"/>
                      </a:cubicBezTo>
                      <a:cubicBezTo>
                        <a:pt x="1356" y="299"/>
                        <a:pt x="1356" y="299"/>
                        <a:pt x="1356" y="299"/>
                      </a:cubicBezTo>
                      <a:cubicBezTo>
                        <a:pt x="1345" y="301"/>
                        <a:pt x="1345" y="301"/>
                        <a:pt x="1345" y="301"/>
                      </a:cubicBezTo>
                      <a:cubicBezTo>
                        <a:pt x="1344" y="294"/>
                        <a:pt x="1344" y="294"/>
                        <a:pt x="1344" y="294"/>
                      </a:cubicBezTo>
                      <a:cubicBezTo>
                        <a:pt x="1339" y="292"/>
                        <a:pt x="1339" y="292"/>
                        <a:pt x="1339" y="292"/>
                      </a:cubicBezTo>
                      <a:cubicBezTo>
                        <a:pt x="1345" y="288"/>
                        <a:pt x="1345" y="288"/>
                        <a:pt x="1345" y="288"/>
                      </a:cubicBezTo>
                      <a:cubicBezTo>
                        <a:pt x="1350" y="288"/>
                        <a:pt x="1350" y="288"/>
                        <a:pt x="1350" y="288"/>
                      </a:cubicBezTo>
                      <a:cubicBezTo>
                        <a:pt x="1355" y="282"/>
                        <a:pt x="1355" y="282"/>
                        <a:pt x="1355" y="282"/>
                      </a:cubicBezTo>
                      <a:cubicBezTo>
                        <a:pt x="1353" y="280"/>
                        <a:pt x="1353" y="280"/>
                        <a:pt x="1353" y="280"/>
                      </a:cubicBezTo>
                      <a:cubicBezTo>
                        <a:pt x="1338" y="281"/>
                        <a:pt x="1338" y="281"/>
                        <a:pt x="1338" y="281"/>
                      </a:cubicBezTo>
                      <a:cubicBezTo>
                        <a:pt x="1322" y="272"/>
                        <a:pt x="1322" y="272"/>
                        <a:pt x="1322" y="272"/>
                      </a:cubicBezTo>
                      <a:cubicBezTo>
                        <a:pt x="1303" y="264"/>
                        <a:pt x="1303" y="264"/>
                        <a:pt x="1303" y="264"/>
                      </a:cubicBezTo>
                      <a:cubicBezTo>
                        <a:pt x="1292" y="264"/>
                        <a:pt x="1292" y="264"/>
                        <a:pt x="1292" y="264"/>
                      </a:cubicBezTo>
                      <a:cubicBezTo>
                        <a:pt x="1281" y="268"/>
                        <a:pt x="1281" y="268"/>
                        <a:pt x="1281" y="268"/>
                      </a:cubicBezTo>
                      <a:cubicBezTo>
                        <a:pt x="1281" y="271"/>
                        <a:pt x="1281" y="271"/>
                        <a:pt x="1281" y="271"/>
                      </a:cubicBezTo>
                      <a:cubicBezTo>
                        <a:pt x="1285" y="271"/>
                        <a:pt x="1285" y="271"/>
                        <a:pt x="1285" y="271"/>
                      </a:cubicBezTo>
                      <a:cubicBezTo>
                        <a:pt x="1291" y="270"/>
                        <a:pt x="1291" y="270"/>
                        <a:pt x="1291" y="270"/>
                      </a:cubicBezTo>
                      <a:cubicBezTo>
                        <a:pt x="1291" y="277"/>
                        <a:pt x="1291" y="277"/>
                        <a:pt x="1291" y="277"/>
                      </a:cubicBezTo>
                      <a:cubicBezTo>
                        <a:pt x="1284" y="277"/>
                        <a:pt x="1284" y="277"/>
                        <a:pt x="1284" y="277"/>
                      </a:cubicBezTo>
                      <a:cubicBezTo>
                        <a:pt x="1276" y="272"/>
                        <a:pt x="1276" y="272"/>
                        <a:pt x="1276" y="272"/>
                      </a:cubicBezTo>
                      <a:cubicBezTo>
                        <a:pt x="1269" y="273"/>
                        <a:pt x="1269" y="273"/>
                        <a:pt x="1269" y="273"/>
                      </a:cubicBezTo>
                      <a:cubicBezTo>
                        <a:pt x="1265" y="278"/>
                        <a:pt x="1265" y="278"/>
                        <a:pt x="1265" y="278"/>
                      </a:cubicBezTo>
                      <a:cubicBezTo>
                        <a:pt x="1271" y="284"/>
                        <a:pt x="1271" y="284"/>
                        <a:pt x="1271" y="284"/>
                      </a:cubicBezTo>
                      <a:cubicBezTo>
                        <a:pt x="1285" y="289"/>
                        <a:pt x="1285" y="289"/>
                        <a:pt x="1285" y="289"/>
                      </a:cubicBezTo>
                      <a:cubicBezTo>
                        <a:pt x="1292" y="288"/>
                        <a:pt x="1292" y="288"/>
                        <a:pt x="1292" y="288"/>
                      </a:cubicBezTo>
                      <a:cubicBezTo>
                        <a:pt x="1292" y="292"/>
                        <a:pt x="1292" y="292"/>
                        <a:pt x="1292" y="292"/>
                      </a:cubicBezTo>
                      <a:cubicBezTo>
                        <a:pt x="1297" y="295"/>
                        <a:pt x="1297" y="295"/>
                        <a:pt x="1297" y="295"/>
                      </a:cubicBezTo>
                      <a:cubicBezTo>
                        <a:pt x="1303" y="296"/>
                        <a:pt x="1303" y="296"/>
                        <a:pt x="1303" y="296"/>
                      </a:cubicBezTo>
                      <a:cubicBezTo>
                        <a:pt x="1303" y="300"/>
                        <a:pt x="1303" y="300"/>
                        <a:pt x="1303" y="300"/>
                      </a:cubicBezTo>
                      <a:cubicBezTo>
                        <a:pt x="1294" y="299"/>
                        <a:pt x="1294" y="299"/>
                        <a:pt x="1294" y="299"/>
                      </a:cubicBezTo>
                      <a:cubicBezTo>
                        <a:pt x="1286" y="294"/>
                        <a:pt x="1286" y="294"/>
                        <a:pt x="1286" y="294"/>
                      </a:cubicBezTo>
                      <a:cubicBezTo>
                        <a:pt x="1276" y="294"/>
                        <a:pt x="1276" y="294"/>
                        <a:pt x="1276" y="294"/>
                      </a:cubicBezTo>
                      <a:cubicBezTo>
                        <a:pt x="1257" y="289"/>
                        <a:pt x="1257" y="289"/>
                        <a:pt x="1257" y="289"/>
                      </a:cubicBezTo>
                      <a:cubicBezTo>
                        <a:pt x="1261" y="282"/>
                        <a:pt x="1261" y="282"/>
                        <a:pt x="1261" y="282"/>
                      </a:cubicBezTo>
                      <a:cubicBezTo>
                        <a:pt x="1256" y="279"/>
                        <a:pt x="1256" y="279"/>
                        <a:pt x="1256" y="279"/>
                      </a:cubicBezTo>
                      <a:cubicBezTo>
                        <a:pt x="1256" y="274"/>
                        <a:pt x="1256" y="274"/>
                        <a:pt x="1256" y="274"/>
                      </a:cubicBezTo>
                      <a:cubicBezTo>
                        <a:pt x="1262" y="268"/>
                        <a:pt x="1262" y="268"/>
                        <a:pt x="1262" y="268"/>
                      </a:cubicBezTo>
                      <a:cubicBezTo>
                        <a:pt x="1261" y="257"/>
                        <a:pt x="1261" y="257"/>
                        <a:pt x="1261" y="257"/>
                      </a:cubicBezTo>
                      <a:cubicBezTo>
                        <a:pt x="1253" y="251"/>
                        <a:pt x="1253" y="251"/>
                        <a:pt x="1253" y="251"/>
                      </a:cubicBezTo>
                      <a:cubicBezTo>
                        <a:pt x="1248" y="250"/>
                        <a:pt x="1248" y="250"/>
                        <a:pt x="1248" y="250"/>
                      </a:cubicBezTo>
                      <a:cubicBezTo>
                        <a:pt x="1245" y="251"/>
                        <a:pt x="1245" y="251"/>
                        <a:pt x="1245" y="251"/>
                      </a:cubicBezTo>
                      <a:cubicBezTo>
                        <a:pt x="1251" y="255"/>
                        <a:pt x="1251" y="255"/>
                        <a:pt x="1251" y="255"/>
                      </a:cubicBezTo>
                      <a:cubicBezTo>
                        <a:pt x="1253" y="260"/>
                        <a:pt x="1253" y="260"/>
                        <a:pt x="1253" y="260"/>
                      </a:cubicBezTo>
                      <a:cubicBezTo>
                        <a:pt x="1255" y="263"/>
                        <a:pt x="1255" y="263"/>
                        <a:pt x="1255" y="263"/>
                      </a:cubicBezTo>
                      <a:cubicBezTo>
                        <a:pt x="1254" y="270"/>
                        <a:pt x="1254" y="270"/>
                        <a:pt x="1254" y="270"/>
                      </a:cubicBezTo>
                      <a:cubicBezTo>
                        <a:pt x="1234" y="278"/>
                        <a:pt x="1234" y="278"/>
                        <a:pt x="1234" y="278"/>
                      </a:cubicBezTo>
                      <a:cubicBezTo>
                        <a:pt x="1229" y="288"/>
                        <a:pt x="1229" y="288"/>
                        <a:pt x="1229" y="288"/>
                      </a:cubicBezTo>
                      <a:cubicBezTo>
                        <a:pt x="1240" y="297"/>
                        <a:pt x="1240" y="297"/>
                        <a:pt x="1240" y="297"/>
                      </a:cubicBezTo>
                      <a:cubicBezTo>
                        <a:pt x="1244" y="307"/>
                        <a:pt x="1244" y="307"/>
                        <a:pt x="1244" y="307"/>
                      </a:cubicBezTo>
                      <a:cubicBezTo>
                        <a:pt x="1239" y="312"/>
                        <a:pt x="1239" y="312"/>
                        <a:pt x="1239" y="312"/>
                      </a:cubicBezTo>
                      <a:cubicBezTo>
                        <a:pt x="1232" y="318"/>
                        <a:pt x="1232" y="318"/>
                        <a:pt x="1232" y="318"/>
                      </a:cubicBezTo>
                      <a:cubicBezTo>
                        <a:pt x="1231" y="324"/>
                        <a:pt x="1231" y="324"/>
                        <a:pt x="1231" y="324"/>
                      </a:cubicBezTo>
                      <a:cubicBezTo>
                        <a:pt x="1235" y="331"/>
                        <a:pt x="1235" y="331"/>
                        <a:pt x="1235" y="331"/>
                      </a:cubicBezTo>
                      <a:cubicBezTo>
                        <a:pt x="1237" y="337"/>
                        <a:pt x="1237" y="337"/>
                        <a:pt x="1237" y="337"/>
                      </a:cubicBezTo>
                      <a:cubicBezTo>
                        <a:pt x="1250" y="340"/>
                        <a:pt x="1250" y="340"/>
                        <a:pt x="1250" y="340"/>
                      </a:cubicBezTo>
                      <a:cubicBezTo>
                        <a:pt x="1258" y="336"/>
                        <a:pt x="1258" y="336"/>
                        <a:pt x="1258" y="336"/>
                      </a:cubicBezTo>
                      <a:cubicBezTo>
                        <a:pt x="1274" y="339"/>
                        <a:pt x="1274" y="339"/>
                        <a:pt x="1274" y="339"/>
                      </a:cubicBezTo>
                      <a:cubicBezTo>
                        <a:pt x="1278" y="344"/>
                        <a:pt x="1278" y="344"/>
                        <a:pt x="1278" y="344"/>
                      </a:cubicBezTo>
                      <a:cubicBezTo>
                        <a:pt x="1285" y="346"/>
                        <a:pt x="1285" y="346"/>
                        <a:pt x="1285" y="346"/>
                      </a:cubicBezTo>
                      <a:cubicBezTo>
                        <a:pt x="1293" y="356"/>
                        <a:pt x="1293" y="356"/>
                        <a:pt x="1293" y="356"/>
                      </a:cubicBezTo>
                      <a:cubicBezTo>
                        <a:pt x="1284" y="361"/>
                        <a:pt x="1284" y="361"/>
                        <a:pt x="1284" y="361"/>
                      </a:cubicBezTo>
                      <a:cubicBezTo>
                        <a:pt x="1285" y="366"/>
                        <a:pt x="1285" y="366"/>
                        <a:pt x="1285" y="366"/>
                      </a:cubicBezTo>
                      <a:cubicBezTo>
                        <a:pt x="1291" y="370"/>
                        <a:pt x="1291" y="370"/>
                        <a:pt x="1291" y="370"/>
                      </a:cubicBezTo>
                      <a:cubicBezTo>
                        <a:pt x="1296" y="369"/>
                        <a:pt x="1296" y="369"/>
                        <a:pt x="1296" y="369"/>
                      </a:cubicBezTo>
                      <a:cubicBezTo>
                        <a:pt x="1302" y="371"/>
                        <a:pt x="1302" y="371"/>
                        <a:pt x="1302" y="371"/>
                      </a:cubicBezTo>
                      <a:cubicBezTo>
                        <a:pt x="1294" y="373"/>
                        <a:pt x="1294" y="373"/>
                        <a:pt x="1294" y="373"/>
                      </a:cubicBezTo>
                      <a:cubicBezTo>
                        <a:pt x="1283" y="371"/>
                        <a:pt x="1283" y="371"/>
                        <a:pt x="1283" y="371"/>
                      </a:cubicBezTo>
                      <a:cubicBezTo>
                        <a:pt x="1277" y="368"/>
                        <a:pt x="1277" y="368"/>
                        <a:pt x="1277" y="368"/>
                      </a:cubicBezTo>
                      <a:cubicBezTo>
                        <a:pt x="1281" y="354"/>
                        <a:pt x="1281" y="354"/>
                        <a:pt x="1281" y="354"/>
                      </a:cubicBezTo>
                      <a:cubicBezTo>
                        <a:pt x="1274" y="347"/>
                        <a:pt x="1274" y="347"/>
                        <a:pt x="1274" y="347"/>
                      </a:cubicBezTo>
                      <a:cubicBezTo>
                        <a:pt x="1271" y="343"/>
                        <a:pt x="1271" y="343"/>
                        <a:pt x="1271" y="343"/>
                      </a:cubicBezTo>
                      <a:cubicBezTo>
                        <a:pt x="1262" y="342"/>
                        <a:pt x="1262" y="342"/>
                        <a:pt x="1262" y="342"/>
                      </a:cubicBezTo>
                      <a:cubicBezTo>
                        <a:pt x="1240" y="350"/>
                        <a:pt x="1240" y="350"/>
                        <a:pt x="1240" y="350"/>
                      </a:cubicBezTo>
                      <a:cubicBezTo>
                        <a:pt x="1243" y="354"/>
                        <a:pt x="1243" y="354"/>
                        <a:pt x="1243" y="354"/>
                      </a:cubicBezTo>
                      <a:cubicBezTo>
                        <a:pt x="1250" y="365"/>
                        <a:pt x="1250" y="365"/>
                        <a:pt x="1250" y="365"/>
                      </a:cubicBezTo>
                      <a:cubicBezTo>
                        <a:pt x="1248" y="371"/>
                        <a:pt x="1248" y="371"/>
                        <a:pt x="1248" y="371"/>
                      </a:cubicBezTo>
                      <a:cubicBezTo>
                        <a:pt x="1240" y="375"/>
                        <a:pt x="1240" y="375"/>
                        <a:pt x="1240" y="375"/>
                      </a:cubicBezTo>
                      <a:cubicBezTo>
                        <a:pt x="1232" y="386"/>
                        <a:pt x="1232" y="386"/>
                        <a:pt x="1232" y="386"/>
                      </a:cubicBezTo>
                      <a:cubicBezTo>
                        <a:pt x="1221" y="392"/>
                        <a:pt x="1221" y="392"/>
                        <a:pt x="1221" y="392"/>
                      </a:cubicBezTo>
                      <a:cubicBezTo>
                        <a:pt x="1215" y="401"/>
                        <a:pt x="1215" y="401"/>
                        <a:pt x="1215" y="401"/>
                      </a:cubicBezTo>
                      <a:cubicBezTo>
                        <a:pt x="1211" y="398"/>
                        <a:pt x="1211" y="398"/>
                        <a:pt x="1211" y="398"/>
                      </a:cubicBezTo>
                      <a:cubicBezTo>
                        <a:pt x="1187" y="397"/>
                        <a:pt x="1187" y="397"/>
                        <a:pt x="1187" y="397"/>
                      </a:cubicBezTo>
                      <a:cubicBezTo>
                        <a:pt x="1178" y="390"/>
                        <a:pt x="1178" y="390"/>
                        <a:pt x="1178" y="390"/>
                      </a:cubicBezTo>
                      <a:cubicBezTo>
                        <a:pt x="1169" y="389"/>
                        <a:pt x="1169" y="389"/>
                        <a:pt x="1169" y="389"/>
                      </a:cubicBezTo>
                      <a:cubicBezTo>
                        <a:pt x="1167" y="387"/>
                        <a:pt x="1167" y="387"/>
                        <a:pt x="1167" y="387"/>
                      </a:cubicBezTo>
                      <a:cubicBezTo>
                        <a:pt x="1170" y="385"/>
                        <a:pt x="1170" y="385"/>
                        <a:pt x="1170" y="385"/>
                      </a:cubicBezTo>
                      <a:cubicBezTo>
                        <a:pt x="1179" y="385"/>
                        <a:pt x="1179" y="385"/>
                        <a:pt x="1179" y="385"/>
                      </a:cubicBezTo>
                      <a:cubicBezTo>
                        <a:pt x="1186" y="383"/>
                        <a:pt x="1186" y="383"/>
                        <a:pt x="1186" y="383"/>
                      </a:cubicBezTo>
                      <a:cubicBezTo>
                        <a:pt x="1191" y="385"/>
                        <a:pt x="1191" y="385"/>
                        <a:pt x="1191" y="385"/>
                      </a:cubicBezTo>
                      <a:cubicBezTo>
                        <a:pt x="1198" y="391"/>
                        <a:pt x="1198" y="391"/>
                        <a:pt x="1198" y="391"/>
                      </a:cubicBezTo>
                      <a:cubicBezTo>
                        <a:pt x="1208" y="387"/>
                        <a:pt x="1208" y="387"/>
                        <a:pt x="1208" y="387"/>
                      </a:cubicBezTo>
                      <a:cubicBezTo>
                        <a:pt x="1208" y="383"/>
                        <a:pt x="1208" y="383"/>
                        <a:pt x="1208" y="383"/>
                      </a:cubicBezTo>
                      <a:cubicBezTo>
                        <a:pt x="1213" y="380"/>
                        <a:pt x="1213" y="380"/>
                        <a:pt x="1213" y="380"/>
                      </a:cubicBezTo>
                      <a:cubicBezTo>
                        <a:pt x="1213" y="377"/>
                        <a:pt x="1213" y="377"/>
                        <a:pt x="1213" y="377"/>
                      </a:cubicBezTo>
                      <a:cubicBezTo>
                        <a:pt x="1223" y="370"/>
                        <a:pt x="1223" y="370"/>
                        <a:pt x="1223" y="370"/>
                      </a:cubicBezTo>
                      <a:cubicBezTo>
                        <a:pt x="1229" y="361"/>
                        <a:pt x="1229" y="361"/>
                        <a:pt x="1229" y="361"/>
                      </a:cubicBezTo>
                      <a:cubicBezTo>
                        <a:pt x="1226" y="357"/>
                        <a:pt x="1226" y="357"/>
                        <a:pt x="1226" y="357"/>
                      </a:cubicBezTo>
                      <a:cubicBezTo>
                        <a:pt x="1236" y="350"/>
                        <a:pt x="1236" y="350"/>
                        <a:pt x="1236" y="350"/>
                      </a:cubicBezTo>
                      <a:cubicBezTo>
                        <a:pt x="1227" y="349"/>
                        <a:pt x="1227" y="349"/>
                        <a:pt x="1227" y="349"/>
                      </a:cubicBezTo>
                      <a:cubicBezTo>
                        <a:pt x="1219" y="341"/>
                        <a:pt x="1219" y="341"/>
                        <a:pt x="1219" y="341"/>
                      </a:cubicBezTo>
                      <a:cubicBezTo>
                        <a:pt x="1223" y="334"/>
                        <a:pt x="1223" y="334"/>
                        <a:pt x="1223" y="334"/>
                      </a:cubicBezTo>
                      <a:cubicBezTo>
                        <a:pt x="1219" y="331"/>
                        <a:pt x="1219" y="331"/>
                        <a:pt x="1219" y="331"/>
                      </a:cubicBezTo>
                      <a:cubicBezTo>
                        <a:pt x="1219" y="315"/>
                        <a:pt x="1219" y="315"/>
                        <a:pt x="1219" y="315"/>
                      </a:cubicBezTo>
                      <a:cubicBezTo>
                        <a:pt x="1227" y="309"/>
                        <a:pt x="1227" y="309"/>
                        <a:pt x="1227" y="309"/>
                      </a:cubicBezTo>
                      <a:cubicBezTo>
                        <a:pt x="1221" y="307"/>
                        <a:pt x="1221" y="307"/>
                        <a:pt x="1221" y="307"/>
                      </a:cubicBezTo>
                      <a:cubicBezTo>
                        <a:pt x="1220" y="292"/>
                        <a:pt x="1220" y="292"/>
                        <a:pt x="1220" y="292"/>
                      </a:cubicBezTo>
                      <a:cubicBezTo>
                        <a:pt x="1209" y="290"/>
                        <a:pt x="1209" y="290"/>
                        <a:pt x="1209" y="290"/>
                      </a:cubicBezTo>
                      <a:cubicBezTo>
                        <a:pt x="1210" y="284"/>
                        <a:pt x="1210" y="284"/>
                        <a:pt x="1210" y="284"/>
                      </a:cubicBezTo>
                      <a:cubicBezTo>
                        <a:pt x="1224" y="273"/>
                        <a:pt x="1224" y="273"/>
                        <a:pt x="1224" y="273"/>
                      </a:cubicBezTo>
                      <a:cubicBezTo>
                        <a:pt x="1225" y="267"/>
                        <a:pt x="1225" y="267"/>
                        <a:pt x="1225" y="267"/>
                      </a:cubicBezTo>
                      <a:cubicBezTo>
                        <a:pt x="1222" y="266"/>
                        <a:pt x="1222" y="266"/>
                        <a:pt x="1222" y="266"/>
                      </a:cubicBezTo>
                      <a:cubicBezTo>
                        <a:pt x="1224" y="257"/>
                        <a:pt x="1224" y="257"/>
                        <a:pt x="1224" y="257"/>
                      </a:cubicBezTo>
                      <a:cubicBezTo>
                        <a:pt x="1212" y="250"/>
                        <a:pt x="1212" y="250"/>
                        <a:pt x="1212" y="250"/>
                      </a:cubicBezTo>
                      <a:cubicBezTo>
                        <a:pt x="1198" y="251"/>
                        <a:pt x="1198" y="251"/>
                        <a:pt x="1198" y="251"/>
                      </a:cubicBezTo>
                      <a:cubicBezTo>
                        <a:pt x="1190" y="248"/>
                        <a:pt x="1190" y="248"/>
                        <a:pt x="1190" y="248"/>
                      </a:cubicBezTo>
                      <a:cubicBezTo>
                        <a:pt x="1180" y="251"/>
                        <a:pt x="1180" y="251"/>
                        <a:pt x="1180" y="251"/>
                      </a:cubicBezTo>
                      <a:cubicBezTo>
                        <a:pt x="1174" y="272"/>
                        <a:pt x="1174" y="272"/>
                        <a:pt x="1174" y="272"/>
                      </a:cubicBezTo>
                      <a:cubicBezTo>
                        <a:pt x="1164" y="285"/>
                        <a:pt x="1164" y="285"/>
                        <a:pt x="1164" y="285"/>
                      </a:cubicBezTo>
                      <a:cubicBezTo>
                        <a:pt x="1152" y="295"/>
                        <a:pt x="1152" y="295"/>
                        <a:pt x="1152" y="295"/>
                      </a:cubicBezTo>
                      <a:cubicBezTo>
                        <a:pt x="1149" y="303"/>
                        <a:pt x="1149" y="303"/>
                        <a:pt x="1149" y="303"/>
                      </a:cubicBezTo>
                      <a:cubicBezTo>
                        <a:pt x="1151" y="305"/>
                        <a:pt x="1151" y="305"/>
                        <a:pt x="1151" y="305"/>
                      </a:cubicBezTo>
                      <a:cubicBezTo>
                        <a:pt x="1151" y="320"/>
                        <a:pt x="1151" y="320"/>
                        <a:pt x="1151" y="320"/>
                      </a:cubicBezTo>
                      <a:cubicBezTo>
                        <a:pt x="1148" y="321"/>
                        <a:pt x="1148" y="321"/>
                        <a:pt x="1148" y="321"/>
                      </a:cubicBezTo>
                      <a:cubicBezTo>
                        <a:pt x="1151" y="330"/>
                        <a:pt x="1151" y="330"/>
                        <a:pt x="1151" y="330"/>
                      </a:cubicBezTo>
                      <a:cubicBezTo>
                        <a:pt x="1155" y="328"/>
                        <a:pt x="1155" y="328"/>
                        <a:pt x="1155" y="328"/>
                      </a:cubicBezTo>
                      <a:cubicBezTo>
                        <a:pt x="1163" y="333"/>
                        <a:pt x="1163" y="333"/>
                        <a:pt x="1163" y="333"/>
                      </a:cubicBezTo>
                      <a:cubicBezTo>
                        <a:pt x="1161" y="337"/>
                        <a:pt x="1161" y="337"/>
                        <a:pt x="1161" y="337"/>
                      </a:cubicBezTo>
                      <a:cubicBezTo>
                        <a:pt x="1170" y="343"/>
                        <a:pt x="1170" y="343"/>
                        <a:pt x="1170" y="343"/>
                      </a:cubicBezTo>
                      <a:cubicBezTo>
                        <a:pt x="1177" y="344"/>
                        <a:pt x="1177" y="344"/>
                        <a:pt x="1177" y="344"/>
                      </a:cubicBezTo>
                      <a:cubicBezTo>
                        <a:pt x="1177" y="351"/>
                        <a:pt x="1177" y="351"/>
                        <a:pt x="1177" y="351"/>
                      </a:cubicBezTo>
                      <a:cubicBezTo>
                        <a:pt x="1165" y="358"/>
                        <a:pt x="1165" y="358"/>
                        <a:pt x="1165" y="358"/>
                      </a:cubicBezTo>
                      <a:cubicBezTo>
                        <a:pt x="1161" y="356"/>
                        <a:pt x="1161" y="356"/>
                        <a:pt x="1161" y="356"/>
                      </a:cubicBezTo>
                      <a:cubicBezTo>
                        <a:pt x="1160" y="351"/>
                        <a:pt x="1160" y="351"/>
                        <a:pt x="1160" y="351"/>
                      </a:cubicBezTo>
                      <a:cubicBezTo>
                        <a:pt x="1152" y="346"/>
                        <a:pt x="1152" y="346"/>
                        <a:pt x="1152" y="346"/>
                      </a:cubicBezTo>
                      <a:cubicBezTo>
                        <a:pt x="1146" y="346"/>
                        <a:pt x="1146" y="346"/>
                        <a:pt x="1146" y="346"/>
                      </a:cubicBezTo>
                      <a:cubicBezTo>
                        <a:pt x="1139" y="342"/>
                        <a:pt x="1139" y="342"/>
                        <a:pt x="1139" y="342"/>
                      </a:cubicBezTo>
                      <a:cubicBezTo>
                        <a:pt x="1131" y="340"/>
                        <a:pt x="1131" y="340"/>
                        <a:pt x="1131" y="340"/>
                      </a:cubicBezTo>
                      <a:cubicBezTo>
                        <a:pt x="1124" y="336"/>
                        <a:pt x="1124" y="336"/>
                        <a:pt x="1124" y="336"/>
                      </a:cubicBezTo>
                      <a:cubicBezTo>
                        <a:pt x="1109" y="329"/>
                        <a:pt x="1109" y="329"/>
                        <a:pt x="1109" y="329"/>
                      </a:cubicBezTo>
                      <a:cubicBezTo>
                        <a:pt x="1074" y="325"/>
                        <a:pt x="1074" y="325"/>
                        <a:pt x="1074" y="325"/>
                      </a:cubicBezTo>
                      <a:cubicBezTo>
                        <a:pt x="1065" y="331"/>
                        <a:pt x="1065" y="331"/>
                        <a:pt x="1065" y="331"/>
                      </a:cubicBezTo>
                      <a:cubicBezTo>
                        <a:pt x="1070" y="336"/>
                        <a:pt x="1070" y="336"/>
                        <a:pt x="1070" y="336"/>
                      </a:cubicBezTo>
                      <a:cubicBezTo>
                        <a:pt x="1070" y="346"/>
                        <a:pt x="1070" y="346"/>
                        <a:pt x="1070" y="346"/>
                      </a:cubicBezTo>
                      <a:cubicBezTo>
                        <a:pt x="1059" y="348"/>
                        <a:pt x="1059" y="348"/>
                        <a:pt x="1059" y="348"/>
                      </a:cubicBezTo>
                      <a:cubicBezTo>
                        <a:pt x="1060" y="352"/>
                        <a:pt x="1060" y="352"/>
                        <a:pt x="1060" y="352"/>
                      </a:cubicBezTo>
                      <a:cubicBezTo>
                        <a:pt x="1054" y="354"/>
                        <a:pt x="1054" y="354"/>
                        <a:pt x="1054" y="354"/>
                      </a:cubicBezTo>
                      <a:cubicBezTo>
                        <a:pt x="1049" y="351"/>
                        <a:pt x="1049" y="351"/>
                        <a:pt x="1049" y="351"/>
                      </a:cubicBezTo>
                      <a:cubicBezTo>
                        <a:pt x="1050" y="345"/>
                        <a:pt x="1050" y="345"/>
                        <a:pt x="1050" y="345"/>
                      </a:cubicBezTo>
                      <a:cubicBezTo>
                        <a:pt x="1043" y="342"/>
                        <a:pt x="1043" y="342"/>
                        <a:pt x="1043" y="342"/>
                      </a:cubicBezTo>
                      <a:cubicBezTo>
                        <a:pt x="1035" y="347"/>
                        <a:pt x="1035" y="347"/>
                        <a:pt x="1035" y="347"/>
                      </a:cubicBezTo>
                      <a:cubicBezTo>
                        <a:pt x="1028" y="347"/>
                        <a:pt x="1028" y="347"/>
                        <a:pt x="1028" y="347"/>
                      </a:cubicBezTo>
                      <a:cubicBezTo>
                        <a:pt x="1021" y="351"/>
                        <a:pt x="1021" y="351"/>
                        <a:pt x="1021" y="351"/>
                      </a:cubicBezTo>
                      <a:cubicBezTo>
                        <a:pt x="1011" y="351"/>
                        <a:pt x="1011" y="351"/>
                        <a:pt x="1011" y="351"/>
                      </a:cubicBezTo>
                      <a:cubicBezTo>
                        <a:pt x="1010" y="350"/>
                        <a:pt x="1010" y="350"/>
                        <a:pt x="1010" y="350"/>
                      </a:cubicBezTo>
                      <a:cubicBezTo>
                        <a:pt x="1003" y="350"/>
                        <a:pt x="1003" y="350"/>
                        <a:pt x="1003" y="350"/>
                      </a:cubicBezTo>
                      <a:cubicBezTo>
                        <a:pt x="997" y="354"/>
                        <a:pt x="997" y="354"/>
                        <a:pt x="997" y="354"/>
                      </a:cubicBezTo>
                      <a:cubicBezTo>
                        <a:pt x="998" y="358"/>
                        <a:pt x="998" y="358"/>
                        <a:pt x="998" y="358"/>
                      </a:cubicBezTo>
                      <a:cubicBezTo>
                        <a:pt x="990" y="358"/>
                        <a:pt x="990" y="358"/>
                        <a:pt x="990" y="358"/>
                      </a:cubicBezTo>
                      <a:cubicBezTo>
                        <a:pt x="988" y="356"/>
                        <a:pt x="988" y="356"/>
                        <a:pt x="988" y="356"/>
                      </a:cubicBezTo>
                      <a:cubicBezTo>
                        <a:pt x="981" y="359"/>
                        <a:pt x="981" y="359"/>
                        <a:pt x="981" y="359"/>
                      </a:cubicBezTo>
                      <a:cubicBezTo>
                        <a:pt x="977" y="356"/>
                        <a:pt x="977" y="356"/>
                        <a:pt x="977" y="356"/>
                      </a:cubicBezTo>
                      <a:cubicBezTo>
                        <a:pt x="984" y="351"/>
                        <a:pt x="984" y="351"/>
                        <a:pt x="984" y="351"/>
                      </a:cubicBezTo>
                      <a:cubicBezTo>
                        <a:pt x="981" y="347"/>
                        <a:pt x="981" y="347"/>
                        <a:pt x="981" y="347"/>
                      </a:cubicBezTo>
                      <a:cubicBezTo>
                        <a:pt x="986" y="343"/>
                        <a:pt x="986" y="343"/>
                        <a:pt x="986" y="343"/>
                      </a:cubicBezTo>
                      <a:cubicBezTo>
                        <a:pt x="977" y="344"/>
                        <a:pt x="977" y="344"/>
                        <a:pt x="977" y="344"/>
                      </a:cubicBezTo>
                      <a:cubicBezTo>
                        <a:pt x="970" y="348"/>
                        <a:pt x="970" y="348"/>
                        <a:pt x="970" y="348"/>
                      </a:cubicBezTo>
                      <a:cubicBezTo>
                        <a:pt x="964" y="349"/>
                        <a:pt x="964" y="349"/>
                        <a:pt x="964" y="349"/>
                      </a:cubicBezTo>
                      <a:cubicBezTo>
                        <a:pt x="965" y="353"/>
                        <a:pt x="965" y="353"/>
                        <a:pt x="965" y="353"/>
                      </a:cubicBezTo>
                      <a:cubicBezTo>
                        <a:pt x="960" y="355"/>
                        <a:pt x="960" y="355"/>
                        <a:pt x="960" y="355"/>
                      </a:cubicBezTo>
                      <a:cubicBezTo>
                        <a:pt x="959" y="352"/>
                        <a:pt x="959" y="352"/>
                        <a:pt x="959" y="352"/>
                      </a:cubicBezTo>
                      <a:cubicBezTo>
                        <a:pt x="954" y="351"/>
                        <a:pt x="954" y="351"/>
                        <a:pt x="954" y="351"/>
                      </a:cubicBezTo>
                      <a:cubicBezTo>
                        <a:pt x="942" y="354"/>
                        <a:pt x="942" y="354"/>
                        <a:pt x="942" y="354"/>
                      </a:cubicBezTo>
                      <a:cubicBezTo>
                        <a:pt x="935" y="360"/>
                        <a:pt x="935" y="360"/>
                        <a:pt x="935" y="360"/>
                      </a:cubicBezTo>
                      <a:cubicBezTo>
                        <a:pt x="927" y="365"/>
                        <a:pt x="927" y="365"/>
                        <a:pt x="927" y="365"/>
                      </a:cubicBezTo>
                      <a:cubicBezTo>
                        <a:pt x="917" y="365"/>
                        <a:pt x="917" y="365"/>
                        <a:pt x="917" y="365"/>
                      </a:cubicBezTo>
                      <a:cubicBezTo>
                        <a:pt x="917" y="370"/>
                        <a:pt x="917" y="370"/>
                        <a:pt x="917" y="370"/>
                      </a:cubicBezTo>
                      <a:cubicBezTo>
                        <a:pt x="913" y="370"/>
                        <a:pt x="913" y="370"/>
                        <a:pt x="913" y="370"/>
                      </a:cubicBezTo>
                      <a:cubicBezTo>
                        <a:pt x="908" y="367"/>
                        <a:pt x="908" y="367"/>
                        <a:pt x="908" y="367"/>
                      </a:cubicBezTo>
                      <a:cubicBezTo>
                        <a:pt x="904" y="368"/>
                        <a:pt x="904" y="368"/>
                        <a:pt x="904" y="368"/>
                      </a:cubicBezTo>
                      <a:cubicBezTo>
                        <a:pt x="905" y="374"/>
                        <a:pt x="905" y="374"/>
                        <a:pt x="905" y="374"/>
                      </a:cubicBezTo>
                      <a:cubicBezTo>
                        <a:pt x="904" y="381"/>
                        <a:pt x="904" y="381"/>
                        <a:pt x="904" y="381"/>
                      </a:cubicBezTo>
                      <a:cubicBezTo>
                        <a:pt x="892" y="385"/>
                        <a:pt x="892" y="385"/>
                        <a:pt x="892" y="385"/>
                      </a:cubicBezTo>
                      <a:cubicBezTo>
                        <a:pt x="877" y="381"/>
                        <a:pt x="877" y="381"/>
                        <a:pt x="877" y="381"/>
                      </a:cubicBezTo>
                      <a:cubicBezTo>
                        <a:pt x="876" y="377"/>
                        <a:pt x="876" y="377"/>
                        <a:pt x="876" y="377"/>
                      </a:cubicBezTo>
                      <a:cubicBezTo>
                        <a:pt x="869" y="373"/>
                        <a:pt x="869" y="373"/>
                        <a:pt x="869" y="373"/>
                      </a:cubicBezTo>
                      <a:cubicBezTo>
                        <a:pt x="874" y="370"/>
                        <a:pt x="874" y="370"/>
                        <a:pt x="874" y="370"/>
                      </a:cubicBezTo>
                      <a:cubicBezTo>
                        <a:pt x="875" y="367"/>
                        <a:pt x="875" y="367"/>
                        <a:pt x="875" y="367"/>
                      </a:cubicBezTo>
                      <a:cubicBezTo>
                        <a:pt x="892" y="364"/>
                        <a:pt x="892" y="364"/>
                        <a:pt x="892" y="364"/>
                      </a:cubicBezTo>
                      <a:cubicBezTo>
                        <a:pt x="884" y="355"/>
                        <a:pt x="884" y="355"/>
                        <a:pt x="884" y="355"/>
                      </a:cubicBezTo>
                      <a:cubicBezTo>
                        <a:pt x="869" y="350"/>
                        <a:pt x="869" y="350"/>
                        <a:pt x="869" y="350"/>
                      </a:cubicBezTo>
                      <a:cubicBezTo>
                        <a:pt x="853" y="348"/>
                        <a:pt x="853" y="348"/>
                        <a:pt x="853" y="348"/>
                      </a:cubicBezTo>
                      <a:cubicBezTo>
                        <a:pt x="847" y="349"/>
                        <a:pt x="847" y="349"/>
                        <a:pt x="847" y="349"/>
                      </a:cubicBezTo>
                      <a:cubicBezTo>
                        <a:pt x="847" y="352"/>
                        <a:pt x="847" y="352"/>
                        <a:pt x="847" y="352"/>
                      </a:cubicBezTo>
                      <a:cubicBezTo>
                        <a:pt x="855" y="356"/>
                        <a:pt x="855" y="356"/>
                        <a:pt x="855" y="356"/>
                      </a:cubicBezTo>
                      <a:cubicBezTo>
                        <a:pt x="859" y="360"/>
                        <a:pt x="859" y="360"/>
                        <a:pt x="859" y="360"/>
                      </a:cubicBezTo>
                      <a:cubicBezTo>
                        <a:pt x="859" y="370"/>
                        <a:pt x="859" y="370"/>
                        <a:pt x="859" y="370"/>
                      </a:cubicBezTo>
                      <a:cubicBezTo>
                        <a:pt x="855" y="373"/>
                        <a:pt x="855" y="373"/>
                        <a:pt x="855" y="373"/>
                      </a:cubicBezTo>
                      <a:cubicBezTo>
                        <a:pt x="855" y="377"/>
                        <a:pt x="855" y="377"/>
                        <a:pt x="855" y="377"/>
                      </a:cubicBezTo>
                      <a:cubicBezTo>
                        <a:pt x="864" y="382"/>
                        <a:pt x="864" y="382"/>
                        <a:pt x="864" y="382"/>
                      </a:cubicBezTo>
                      <a:cubicBezTo>
                        <a:pt x="857" y="402"/>
                        <a:pt x="857" y="402"/>
                        <a:pt x="857" y="402"/>
                      </a:cubicBezTo>
                      <a:cubicBezTo>
                        <a:pt x="842" y="392"/>
                        <a:pt x="842" y="392"/>
                        <a:pt x="842" y="392"/>
                      </a:cubicBezTo>
                      <a:cubicBezTo>
                        <a:pt x="829" y="391"/>
                        <a:pt x="829" y="391"/>
                        <a:pt x="829" y="391"/>
                      </a:cubicBezTo>
                      <a:cubicBezTo>
                        <a:pt x="829" y="400"/>
                        <a:pt x="829" y="400"/>
                        <a:pt x="829" y="400"/>
                      </a:cubicBezTo>
                      <a:cubicBezTo>
                        <a:pt x="818" y="407"/>
                        <a:pt x="818" y="407"/>
                        <a:pt x="818" y="407"/>
                      </a:cubicBezTo>
                      <a:cubicBezTo>
                        <a:pt x="802" y="420"/>
                        <a:pt x="802" y="420"/>
                        <a:pt x="802" y="420"/>
                      </a:cubicBezTo>
                      <a:cubicBezTo>
                        <a:pt x="811" y="440"/>
                        <a:pt x="811" y="440"/>
                        <a:pt x="811" y="440"/>
                      </a:cubicBezTo>
                      <a:cubicBezTo>
                        <a:pt x="808" y="447"/>
                        <a:pt x="808" y="447"/>
                        <a:pt x="808" y="447"/>
                      </a:cubicBezTo>
                      <a:cubicBezTo>
                        <a:pt x="794" y="448"/>
                        <a:pt x="794" y="448"/>
                        <a:pt x="794" y="448"/>
                      </a:cubicBezTo>
                      <a:cubicBezTo>
                        <a:pt x="776" y="440"/>
                        <a:pt x="776" y="440"/>
                        <a:pt x="776" y="440"/>
                      </a:cubicBezTo>
                      <a:cubicBezTo>
                        <a:pt x="772" y="433"/>
                        <a:pt x="772" y="433"/>
                        <a:pt x="772" y="433"/>
                      </a:cubicBezTo>
                      <a:cubicBezTo>
                        <a:pt x="766" y="432"/>
                        <a:pt x="766" y="432"/>
                        <a:pt x="766" y="432"/>
                      </a:cubicBezTo>
                      <a:cubicBezTo>
                        <a:pt x="762" y="443"/>
                        <a:pt x="762" y="443"/>
                        <a:pt x="762" y="443"/>
                      </a:cubicBezTo>
                      <a:cubicBezTo>
                        <a:pt x="771" y="455"/>
                        <a:pt x="771" y="455"/>
                        <a:pt x="771" y="455"/>
                      </a:cubicBezTo>
                      <a:cubicBezTo>
                        <a:pt x="776" y="457"/>
                        <a:pt x="776" y="457"/>
                        <a:pt x="776" y="457"/>
                      </a:cubicBezTo>
                      <a:cubicBezTo>
                        <a:pt x="782" y="462"/>
                        <a:pt x="782" y="462"/>
                        <a:pt x="782" y="462"/>
                      </a:cubicBezTo>
                      <a:cubicBezTo>
                        <a:pt x="779" y="467"/>
                        <a:pt x="779" y="467"/>
                        <a:pt x="779" y="467"/>
                      </a:cubicBezTo>
                      <a:cubicBezTo>
                        <a:pt x="763" y="469"/>
                        <a:pt x="763" y="469"/>
                        <a:pt x="763" y="469"/>
                      </a:cubicBezTo>
                      <a:cubicBezTo>
                        <a:pt x="751" y="456"/>
                        <a:pt x="751" y="456"/>
                        <a:pt x="751" y="456"/>
                      </a:cubicBezTo>
                      <a:cubicBezTo>
                        <a:pt x="741" y="459"/>
                        <a:pt x="741" y="459"/>
                        <a:pt x="741" y="459"/>
                      </a:cubicBezTo>
                      <a:cubicBezTo>
                        <a:pt x="740" y="452"/>
                        <a:pt x="740" y="452"/>
                        <a:pt x="740" y="452"/>
                      </a:cubicBezTo>
                      <a:cubicBezTo>
                        <a:pt x="742" y="436"/>
                        <a:pt x="742" y="436"/>
                        <a:pt x="742" y="436"/>
                      </a:cubicBezTo>
                      <a:cubicBezTo>
                        <a:pt x="735" y="428"/>
                        <a:pt x="735" y="428"/>
                        <a:pt x="735" y="428"/>
                      </a:cubicBezTo>
                      <a:cubicBezTo>
                        <a:pt x="742" y="418"/>
                        <a:pt x="742" y="418"/>
                        <a:pt x="742" y="418"/>
                      </a:cubicBezTo>
                      <a:cubicBezTo>
                        <a:pt x="740" y="409"/>
                        <a:pt x="740" y="409"/>
                        <a:pt x="740" y="409"/>
                      </a:cubicBezTo>
                      <a:cubicBezTo>
                        <a:pt x="726" y="394"/>
                        <a:pt x="726" y="394"/>
                        <a:pt x="726" y="394"/>
                      </a:cubicBezTo>
                      <a:cubicBezTo>
                        <a:pt x="710" y="384"/>
                        <a:pt x="710" y="384"/>
                        <a:pt x="710" y="384"/>
                      </a:cubicBezTo>
                      <a:cubicBezTo>
                        <a:pt x="711" y="378"/>
                        <a:pt x="711" y="378"/>
                        <a:pt x="711" y="378"/>
                      </a:cubicBezTo>
                      <a:cubicBezTo>
                        <a:pt x="726" y="387"/>
                        <a:pt x="726" y="387"/>
                        <a:pt x="726" y="387"/>
                      </a:cubicBezTo>
                      <a:cubicBezTo>
                        <a:pt x="734" y="387"/>
                        <a:pt x="734" y="387"/>
                        <a:pt x="734" y="387"/>
                      </a:cubicBezTo>
                      <a:cubicBezTo>
                        <a:pt x="746" y="392"/>
                        <a:pt x="746" y="392"/>
                        <a:pt x="746" y="392"/>
                      </a:cubicBezTo>
                      <a:cubicBezTo>
                        <a:pt x="762" y="398"/>
                        <a:pt x="762" y="398"/>
                        <a:pt x="762" y="398"/>
                      </a:cubicBezTo>
                      <a:cubicBezTo>
                        <a:pt x="780" y="404"/>
                        <a:pt x="780" y="404"/>
                        <a:pt x="780" y="404"/>
                      </a:cubicBezTo>
                      <a:cubicBezTo>
                        <a:pt x="795" y="405"/>
                        <a:pt x="795" y="405"/>
                        <a:pt x="795" y="405"/>
                      </a:cubicBezTo>
                      <a:cubicBezTo>
                        <a:pt x="821" y="387"/>
                        <a:pt x="821" y="387"/>
                        <a:pt x="821" y="387"/>
                      </a:cubicBezTo>
                      <a:cubicBezTo>
                        <a:pt x="821" y="370"/>
                        <a:pt x="821" y="370"/>
                        <a:pt x="821" y="370"/>
                      </a:cubicBezTo>
                      <a:cubicBezTo>
                        <a:pt x="816" y="366"/>
                        <a:pt x="816" y="366"/>
                        <a:pt x="816" y="366"/>
                      </a:cubicBezTo>
                      <a:cubicBezTo>
                        <a:pt x="809" y="362"/>
                        <a:pt x="809" y="362"/>
                        <a:pt x="809" y="362"/>
                      </a:cubicBezTo>
                      <a:cubicBezTo>
                        <a:pt x="803" y="362"/>
                        <a:pt x="803" y="362"/>
                        <a:pt x="803" y="362"/>
                      </a:cubicBezTo>
                      <a:cubicBezTo>
                        <a:pt x="799" y="358"/>
                        <a:pt x="799" y="358"/>
                        <a:pt x="799" y="358"/>
                      </a:cubicBezTo>
                      <a:cubicBezTo>
                        <a:pt x="792" y="355"/>
                        <a:pt x="792" y="355"/>
                        <a:pt x="792" y="355"/>
                      </a:cubicBezTo>
                      <a:cubicBezTo>
                        <a:pt x="776" y="350"/>
                        <a:pt x="776" y="350"/>
                        <a:pt x="776" y="350"/>
                      </a:cubicBezTo>
                      <a:cubicBezTo>
                        <a:pt x="758" y="340"/>
                        <a:pt x="758" y="340"/>
                        <a:pt x="758" y="340"/>
                      </a:cubicBezTo>
                      <a:cubicBezTo>
                        <a:pt x="739" y="335"/>
                        <a:pt x="739" y="335"/>
                        <a:pt x="739" y="335"/>
                      </a:cubicBezTo>
                      <a:cubicBezTo>
                        <a:pt x="727" y="337"/>
                        <a:pt x="727" y="337"/>
                        <a:pt x="727" y="337"/>
                      </a:cubicBezTo>
                      <a:cubicBezTo>
                        <a:pt x="721" y="334"/>
                        <a:pt x="721" y="334"/>
                        <a:pt x="721" y="334"/>
                      </a:cubicBezTo>
                      <a:cubicBezTo>
                        <a:pt x="713" y="333"/>
                        <a:pt x="713" y="333"/>
                        <a:pt x="713" y="333"/>
                      </a:cubicBezTo>
                      <a:cubicBezTo>
                        <a:pt x="710" y="329"/>
                        <a:pt x="710" y="329"/>
                        <a:pt x="710" y="329"/>
                      </a:cubicBezTo>
                      <a:cubicBezTo>
                        <a:pt x="719" y="328"/>
                        <a:pt x="719" y="328"/>
                        <a:pt x="719" y="328"/>
                      </a:cubicBezTo>
                      <a:cubicBezTo>
                        <a:pt x="719" y="325"/>
                        <a:pt x="719" y="325"/>
                        <a:pt x="719" y="325"/>
                      </a:cubicBezTo>
                      <a:cubicBezTo>
                        <a:pt x="709" y="322"/>
                        <a:pt x="709" y="322"/>
                        <a:pt x="709" y="322"/>
                      </a:cubicBezTo>
                      <a:cubicBezTo>
                        <a:pt x="702" y="322"/>
                        <a:pt x="702" y="322"/>
                        <a:pt x="702" y="322"/>
                      </a:cubicBezTo>
                      <a:cubicBezTo>
                        <a:pt x="702" y="326"/>
                        <a:pt x="702" y="326"/>
                        <a:pt x="702" y="326"/>
                      </a:cubicBezTo>
                      <a:cubicBezTo>
                        <a:pt x="695" y="326"/>
                        <a:pt x="695" y="326"/>
                        <a:pt x="695" y="326"/>
                      </a:cubicBezTo>
                      <a:cubicBezTo>
                        <a:pt x="690" y="323"/>
                        <a:pt x="690" y="323"/>
                        <a:pt x="690" y="323"/>
                      </a:cubicBezTo>
                      <a:cubicBezTo>
                        <a:pt x="683" y="326"/>
                        <a:pt x="683" y="326"/>
                        <a:pt x="683" y="326"/>
                      </a:cubicBezTo>
                      <a:cubicBezTo>
                        <a:pt x="679" y="325"/>
                        <a:pt x="679" y="325"/>
                        <a:pt x="679" y="325"/>
                      </a:cubicBezTo>
                      <a:cubicBezTo>
                        <a:pt x="679" y="322"/>
                        <a:pt x="679" y="322"/>
                        <a:pt x="679" y="322"/>
                      </a:cubicBezTo>
                      <a:cubicBezTo>
                        <a:pt x="668" y="318"/>
                        <a:pt x="668" y="318"/>
                        <a:pt x="668" y="318"/>
                      </a:cubicBezTo>
                      <a:cubicBezTo>
                        <a:pt x="669" y="316"/>
                        <a:pt x="669" y="316"/>
                        <a:pt x="669" y="316"/>
                      </a:cubicBezTo>
                      <a:cubicBezTo>
                        <a:pt x="683" y="318"/>
                        <a:pt x="683" y="318"/>
                        <a:pt x="683" y="318"/>
                      </a:cubicBezTo>
                      <a:cubicBezTo>
                        <a:pt x="692" y="312"/>
                        <a:pt x="692" y="312"/>
                        <a:pt x="692" y="312"/>
                      </a:cubicBezTo>
                      <a:cubicBezTo>
                        <a:pt x="674" y="301"/>
                        <a:pt x="674" y="301"/>
                        <a:pt x="674" y="301"/>
                      </a:cubicBezTo>
                      <a:cubicBezTo>
                        <a:pt x="668" y="302"/>
                        <a:pt x="668" y="302"/>
                        <a:pt x="668" y="302"/>
                      </a:cubicBezTo>
                      <a:cubicBezTo>
                        <a:pt x="664" y="307"/>
                        <a:pt x="664" y="307"/>
                        <a:pt x="664" y="307"/>
                      </a:cubicBezTo>
                      <a:cubicBezTo>
                        <a:pt x="659" y="304"/>
                        <a:pt x="659" y="304"/>
                        <a:pt x="659" y="304"/>
                      </a:cubicBezTo>
                      <a:cubicBezTo>
                        <a:pt x="665" y="301"/>
                        <a:pt x="665" y="301"/>
                        <a:pt x="665" y="301"/>
                      </a:cubicBezTo>
                      <a:cubicBezTo>
                        <a:pt x="659" y="297"/>
                        <a:pt x="659" y="297"/>
                        <a:pt x="659" y="297"/>
                      </a:cubicBezTo>
                      <a:cubicBezTo>
                        <a:pt x="648" y="296"/>
                        <a:pt x="648" y="296"/>
                        <a:pt x="648" y="296"/>
                      </a:cubicBezTo>
                      <a:cubicBezTo>
                        <a:pt x="650" y="301"/>
                        <a:pt x="650" y="301"/>
                        <a:pt x="650" y="301"/>
                      </a:cubicBezTo>
                      <a:cubicBezTo>
                        <a:pt x="645" y="307"/>
                        <a:pt x="645" y="307"/>
                        <a:pt x="645" y="307"/>
                      </a:cubicBezTo>
                      <a:cubicBezTo>
                        <a:pt x="642" y="305"/>
                        <a:pt x="642" y="305"/>
                        <a:pt x="642" y="305"/>
                      </a:cubicBezTo>
                      <a:cubicBezTo>
                        <a:pt x="645" y="301"/>
                        <a:pt x="645" y="301"/>
                        <a:pt x="645" y="301"/>
                      </a:cubicBezTo>
                      <a:cubicBezTo>
                        <a:pt x="639" y="301"/>
                        <a:pt x="639" y="301"/>
                        <a:pt x="639" y="301"/>
                      </a:cubicBezTo>
                      <a:cubicBezTo>
                        <a:pt x="634" y="308"/>
                        <a:pt x="634" y="308"/>
                        <a:pt x="634" y="308"/>
                      </a:cubicBezTo>
                      <a:cubicBezTo>
                        <a:pt x="632" y="313"/>
                        <a:pt x="632" y="313"/>
                        <a:pt x="632" y="313"/>
                      </a:cubicBezTo>
                      <a:cubicBezTo>
                        <a:pt x="622" y="318"/>
                        <a:pt x="622" y="318"/>
                        <a:pt x="622" y="318"/>
                      </a:cubicBezTo>
                      <a:cubicBezTo>
                        <a:pt x="623" y="310"/>
                        <a:pt x="623" y="310"/>
                        <a:pt x="623" y="310"/>
                      </a:cubicBezTo>
                      <a:cubicBezTo>
                        <a:pt x="628" y="306"/>
                        <a:pt x="628" y="306"/>
                        <a:pt x="628" y="306"/>
                      </a:cubicBezTo>
                      <a:cubicBezTo>
                        <a:pt x="633" y="302"/>
                        <a:pt x="633" y="302"/>
                        <a:pt x="633" y="302"/>
                      </a:cubicBezTo>
                      <a:cubicBezTo>
                        <a:pt x="632" y="300"/>
                        <a:pt x="632" y="300"/>
                        <a:pt x="632" y="300"/>
                      </a:cubicBezTo>
                      <a:cubicBezTo>
                        <a:pt x="622" y="299"/>
                        <a:pt x="622" y="299"/>
                        <a:pt x="622" y="299"/>
                      </a:cubicBezTo>
                      <a:cubicBezTo>
                        <a:pt x="618" y="300"/>
                        <a:pt x="618" y="300"/>
                        <a:pt x="618" y="300"/>
                      </a:cubicBezTo>
                      <a:cubicBezTo>
                        <a:pt x="616" y="302"/>
                        <a:pt x="616" y="302"/>
                        <a:pt x="616" y="302"/>
                      </a:cubicBezTo>
                      <a:cubicBezTo>
                        <a:pt x="620" y="306"/>
                        <a:pt x="620" y="306"/>
                        <a:pt x="620" y="306"/>
                      </a:cubicBezTo>
                      <a:cubicBezTo>
                        <a:pt x="616" y="307"/>
                        <a:pt x="616" y="307"/>
                        <a:pt x="616" y="307"/>
                      </a:cubicBezTo>
                      <a:cubicBezTo>
                        <a:pt x="614" y="311"/>
                        <a:pt x="614" y="311"/>
                        <a:pt x="614" y="311"/>
                      </a:cubicBezTo>
                      <a:cubicBezTo>
                        <a:pt x="608" y="312"/>
                        <a:pt x="608" y="312"/>
                        <a:pt x="608" y="312"/>
                      </a:cubicBezTo>
                      <a:cubicBezTo>
                        <a:pt x="603" y="316"/>
                        <a:pt x="603" y="316"/>
                        <a:pt x="603" y="316"/>
                      </a:cubicBezTo>
                      <a:cubicBezTo>
                        <a:pt x="605" y="321"/>
                        <a:pt x="605" y="321"/>
                        <a:pt x="605" y="321"/>
                      </a:cubicBezTo>
                      <a:cubicBezTo>
                        <a:pt x="596" y="321"/>
                        <a:pt x="596" y="321"/>
                        <a:pt x="596" y="321"/>
                      </a:cubicBezTo>
                      <a:cubicBezTo>
                        <a:pt x="595" y="319"/>
                        <a:pt x="595" y="319"/>
                        <a:pt x="595" y="319"/>
                      </a:cubicBezTo>
                      <a:cubicBezTo>
                        <a:pt x="588" y="314"/>
                        <a:pt x="588" y="314"/>
                        <a:pt x="588" y="314"/>
                      </a:cubicBezTo>
                      <a:cubicBezTo>
                        <a:pt x="581" y="313"/>
                        <a:pt x="581" y="313"/>
                        <a:pt x="581" y="313"/>
                      </a:cubicBezTo>
                      <a:cubicBezTo>
                        <a:pt x="577" y="314"/>
                        <a:pt x="577" y="314"/>
                        <a:pt x="577" y="314"/>
                      </a:cubicBezTo>
                      <a:cubicBezTo>
                        <a:pt x="575" y="317"/>
                        <a:pt x="575" y="317"/>
                        <a:pt x="575" y="317"/>
                      </a:cubicBezTo>
                      <a:cubicBezTo>
                        <a:pt x="586" y="321"/>
                        <a:pt x="586" y="321"/>
                        <a:pt x="586" y="321"/>
                      </a:cubicBezTo>
                      <a:cubicBezTo>
                        <a:pt x="585" y="324"/>
                        <a:pt x="585" y="324"/>
                        <a:pt x="585" y="324"/>
                      </a:cubicBezTo>
                      <a:cubicBezTo>
                        <a:pt x="581" y="324"/>
                        <a:pt x="581" y="324"/>
                        <a:pt x="581" y="324"/>
                      </a:cubicBezTo>
                      <a:cubicBezTo>
                        <a:pt x="579" y="322"/>
                        <a:pt x="579" y="322"/>
                        <a:pt x="579" y="322"/>
                      </a:cubicBezTo>
                      <a:cubicBezTo>
                        <a:pt x="572" y="323"/>
                        <a:pt x="572" y="323"/>
                        <a:pt x="572" y="323"/>
                      </a:cubicBezTo>
                      <a:cubicBezTo>
                        <a:pt x="568" y="325"/>
                        <a:pt x="568" y="325"/>
                        <a:pt x="568" y="325"/>
                      </a:cubicBezTo>
                      <a:cubicBezTo>
                        <a:pt x="568" y="331"/>
                        <a:pt x="568" y="331"/>
                        <a:pt x="568" y="331"/>
                      </a:cubicBezTo>
                      <a:cubicBezTo>
                        <a:pt x="565" y="334"/>
                        <a:pt x="565" y="334"/>
                        <a:pt x="565" y="334"/>
                      </a:cubicBezTo>
                      <a:cubicBezTo>
                        <a:pt x="561" y="334"/>
                        <a:pt x="561" y="334"/>
                        <a:pt x="561" y="334"/>
                      </a:cubicBezTo>
                      <a:cubicBezTo>
                        <a:pt x="560" y="331"/>
                        <a:pt x="560" y="331"/>
                        <a:pt x="560" y="331"/>
                      </a:cubicBezTo>
                      <a:cubicBezTo>
                        <a:pt x="562" y="326"/>
                        <a:pt x="562" y="326"/>
                        <a:pt x="562" y="326"/>
                      </a:cubicBezTo>
                      <a:cubicBezTo>
                        <a:pt x="564" y="323"/>
                        <a:pt x="564" y="323"/>
                        <a:pt x="564" y="323"/>
                      </a:cubicBezTo>
                      <a:cubicBezTo>
                        <a:pt x="560" y="322"/>
                        <a:pt x="560" y="322"/>
                        <a:pt x="560" y="322"/>
                      </a:cubicBezTo>
                      <a:cubicBezTo>
                        <a:pt x="557" y="324"/>
                        <a:pt x="557" y="324"/>
                        <a:pt x="557" y="324"/>
                      </a:cubicBezTo>
                      <a:cubicBezTo>
                        <a:pt x="554" y="330"/>
                        <a:pt x="554" y="330"/>
                        <a:pt x="554" y="330"/>
                      </a:cubicBezTo>
                      <a:cubicBezTo>
                        <a:pt x="553" y="327"/>
                        <a:pt x="553" y="327"/>
                        <a:pt x="553" y="327"/>
                      </a:cubicBezTo>
                      <a:cubicBezTo>
                        <a:pt x="549" y="327"/>
                        <a:pt x="549" y="327"/>
                        <a:pt x="549" y="327"/>
                      </a:cubicBezTo>
                      <a:cubicBezTo>
                        <a:pt x="547" y="330"/>
                        <a:pt x="547" y="330"/>
                        <a:pt x="547" y="330"/>
                      </a:cubicBezTo>
                      <a:cubicBezTo>
                        <a:pt x="551" y="334"/>
                        <a:pt x="551" y="334"/>
                        <a:pt x="551" y="334"/>
                      </a:cubicBezTo>
                      <a:cubicBezTo>
                        <a:pt x="549" y="335"/>
                        <a:pt x="549" y="335"/>
                        <a:pt x="549" y="335"/>
                      </a:cubicBezTo>
                      <a:cubicBezTo>
                        <a:pt x="544" y="333"/>
                        <a:pt x="544" y="333"/>
                        <a:pt x="544" y="333"/>
                      </a:cubicBezTo>
                      <a:cubicBezTo>
                        <a:pt x="543" y="337"/>
                        <a:pt x="543" y="337"/>
                        <a:pt x="543" y="337"/>
                      </a:cubicBezTo>
                      <a:cubicBezTo>
                        <a:pt x="540" y="339"/>
                        <a:pt x="540" y="339"/>
                        <a:pt x="540" y="339"/>
                      </a:cubicBezTo>
                      <a:cubicBezTo>
                        <a:pt x="538" y="336"/>
                        <a:pt x="538" y="336"/>
                        <a:pt x="538" y="336"/>
                      </a:cubicBezTo>
                      <a:cubicBezTo>
                        <a:pt x="532" y="338"/>
                        <a:pt x="532" y="338"/>
                        <a:pt x="532" y="338"/>
                      </a:cubicBezTo>
                      <a:cubicBezTo>
                        <a:pt x="528" y="343"/>
                        <a:pt x="528" y="343"/>
                        <a:pt x="528" y="343"/>
                      </a:cubicBezTo>
                      <a:cubicBezTo>
                        <a:pt x="529" y="346"/>
                        <a:pt x="529" y="346"/>
                        <a:pt x="529" y="346"/>
                      </a:cubicBezTo>
                      <a:cubicBezTo>
                        <a:pt x="525" y="349"/>
                        <a:pt x="525" y="349"/>
                        <a:pt x="525" y="349"/>
                      </a:cubicBezTo>
                      <a:cubicBezTo>
                        <a:pt x="517" y="349"/>
                        <a:pt x="517" y="349"/>
                        <a:pt x="517" y="349"/>
                      </a:cubicBezTo>
                      <a:cubicBezTo>
                        <a:pt x="512" y="354"/>
                        <a:pt x="512" y="354"/>
                        <a:pt x="512" y="354"/>
                      </a:cubicBezTo>
                      <a:cubicBezTo>
                        <a:pt x="519" y="353"/>
                        <a:pt x="519" y="353"/>
                        <a:pt x="519" y="353"/>
                      </a:cubicBezTo>
                      <a:cubicBezTo>
                        <a:pt x="524" y="353"/>
                        <a:pt x="524" y="353"/>
                        <a:pt x="524" y="353"/>
                      </a:cubicBezTo>
                      <a:cubicBezTo>
                        <a:pt x="523" y="356"/>
                        <a:pt x="523" y="356"/>
                        <a:pt x="523" y="356"/>
                      </a:cubicBezTo>
                      <a:cubicBezTo>
                        <a:pt x="514" y="356"/>
                        <a:pt x="514" y="356"/>
                        <a:pt x="514" y="356"/>
                      </a:cubicBezTo>
                      <a:cubicBezTo>
                        <a:pt x="514" y="362"/>
                        <a:pt x="514" y="362"/>
                        <a:pt x="514" y="362"/>
                      </a:cubicBezTo>
                      <a:cubicBezTo>
                        <a:pt x="510" y="364"/>
                        <a:pt x="510" y="364"/>
                        <a:pt x="510" y="364"/>
                      </a:cubicBezTo>
                      <a:cubicBezTo>
                        <a:pt x="507" y="360"/>
                        <a:pt x="507" y="360"/>
                        <a:pt x="507" y="360"/>
                      </a:cubicBezTo>
                      <a:cubicBezTo>
                        <a:pt x="496" y="370"/>
                        <a:pt x="496" y="370"/>
                        <a:pt x="496" y="370"/>
                      </a:cubicBezTo>
                      <a:cubicBezTo>
                        <a:pt x="505" y="370"/>
                        <a:pt x="505" y="370"/>
                        <a:pt x="505" y="370"/>
                      </a:cubicBezTo>
                      <a:cubicBezTo>
                        <a:pt x="504" y="373"/>
                        <a:pt x="504" y="373"/>
                        <a:pt x="504" y="373"/>
                      </a:cubicBezTo>
                      <a:cubicBezTo>
                        <a:pt x="498" y="373"/>
                        <a:pt x="498" y="373"/>
                        <a:pt x="498" y="373"/>
                      </a:cubicBezTo>
                      <a:cubicBezTo>
                        <a:pt x="493" y="374"/>
                        <a:pt x="493" y="374"/>
                        <a:pt x="493" y="374"/>
                      </a:cubicBezTo>
                      <a:cubicBezTo>
                        <a:pt x="493" y="376"/>
                        <a:pt x="493" y="376"/>
                        <a:pt x="493" y="376"/>
                      </a:cubicBezTo>
                      <a:cubicBezTo>
                        <a:pt x="499" y="376"/>
                        <a:pt x="499" y="376"/>
                        <a:pt x="499" y="376"/>
                      </a:cubicBezTo>
                      <a:cubicBezTo>
                        <a:pt x="494" y="380"/>
                        <a:pt x="494" y="380"/>
                        <a:pt x="494" y="380"/>
                      </a:cubicBezTo>
                      <a:cubicBezTo>
                        <a:pt x="489" y="379"/>
                        <a:pt x="489" y="379"/>
                        <a:pt x="489" y="379"/>
                      </a:cubicBezTo>
                      <a:cubicBezTo>
                        <a:pt x="483" y="383"/>
                        <a:pt x="483" y="383"/>
                        <a:pt x="483" y="383"/>
                      </a:cubicBezTo>
                      <a:cubicBezTo>
                        <a:pt x="475" y="391"/>
                        <a:pt x="475" y="391"/>
                        <a:pt x="475" y="391"/>
                      </a:cubicBezTo>
                      <a:cubicBezTo>
                        <a:pt x="471" y="393"/>
                        <a:pt x="471" y="393"/>
                        <a:pt x="471" y="393"/>
                      </a:cubicBezTo>
                      <a:cubicBezTo>
                        <a:pt x="471" y="399"/>
                        <a:pt x="471" y="399"/>
                        <a:pt x="471" y="399"/>
                      </a:cubicBezTo>
                      <a:cubicBezTo>
                        <a:pt x="478" y="397"/>
                        <a:pt x="478" y="397"/>
                        <a:pt x="478" y="397"/>
                      </a:cubicBezTo>
                      <a:cubicBezTo>
                        <a:pt x="481" y="400"/>
                        <a:pt x="481" y="400"/>
                        <a:pt x="481" y="400"/>
                      </a:cubicBezTo>
                      <a:cubicBezTo>
                        <a:pt x="477" y="404"/>
                        <a:pt x="477" y="404"/>
                        <a:pt x="477" y="404"/>
                      </a:cubicBezTo>
                      <a:cubicBezTo>
                        <a:pt x="469" y="405"/>
                        <a:pt x="469" y="405"/>
                        <a:pt x="469" y="405"/>
                      </a:cubicBezTo>
                      <a:cubicBezTo>
                        <a:pt x="468" y="413"/>
                        <a:pt x="468" y="413"/>
                        <a:pt x="468" y="413"/>
                      </a:cubicBezTo>
                      <a:cubicBezTo>
                        <a:pt x="465" y="423"/>
                        <a:pt x="465" y="423"/>
                        <a:pt x="465" y="423"/>
                      </a:cubicBezTo>
                      <a:cubicBezTo>
                        <a:pt x="462" y="428"/>
                        <a:pt x="462" y="428"/>
                        <a:pt x="462" y="428"/>
                      </a:cubicBezTo>
                      <a:cubicBezTo>
                        <a:pt x="462" y="431"/>
                        <a:pt x="462" y="431"/>
                        <a:pt x="462" y="431"/>
                      </a:cubicBezTo>
                      <a:cubicBezTo>
                        <a:pt x="466" y="430"/>
                        <a:pt x="466" y="430"/>
                        <a:pt x="466" y="430"/>
                      </a:cubicBezTo>
                      <a:cubicBezTo>
                        <a:pt x="463" y="435"/>
                        <a:pt x="463" y="435"/>
                        <a:pt x="463" y="435"/>
                      </a:cubicBezTo>
                      <a:cubicBezTo>
                        <a:pt x="457" y="436"/>
                        <a:pt x="457" y="436"/>
                        <a:pt x="457" y="436"/>
                      </a:cubicBezTo>
                      <a:cubicBezTo>
                        <a:pt x="446" y="450"/>
                        <a:pt x="446" y="450"/>
                        <a:pt x="446" y="450"/>
                      </a:cubicBezTo>
                      <a:cubicBezTo>
                        <a:pt x="446" y="455"/>
                        <a:pt x="446" y="455"/>
                        <a:pt x="446" y="455"/>
                      </a:cubicBezTo>
                      <a:cubicBezTo>
                        <a:pt x="429" y="471"/>
                        <a:pt x="429" y="471"/>
                        <a:pt x="429" y="471"/>
                      </a:cubicBezTo>
                      <a:cubicBezTo>
                        <a:pt x="426" y="481"/>
                        <a:pt x="426" y="481"/>
                        <a:pt x="426" y="481"/>
                      </a:cubicBezTo>
                      <a:cubicBezTo>
                        <a:pt x="423" y="484"/>
                        <a:pt x="423" y="484"/>
                        <a:pt x="423" y="484"/>
                      </a:cubicBezTo>
                      <a:cubicBezTo>
                        <a:pt x="421" y="487"/>
                        <a:pt x="421" y="487"/>
                        <a:pt x="421" y="487"/>
                      </a:cubicBezTo>
                      <a:cubicBezTo>
                        <a:pt x="417" y="486"/>
                        <a:pt x="417" y="486"/>
                        <a:pt x="417" y="486"/>
                      </a:cubicBezTo>
                      <a:cubicBezTo>
                        <a:pt x="409" y="491"/>
                        <a:pt x="409" y="491"/>
                        <a:pt x="409" y="491"/>
                      </a:cubicBezTo>
                      <a:cubicBezTo>
                        <a:pt x="408" y="495"/>
                        <a:pt x="408" y="495"/>
                        <a:pt x="408" y="495"/>
                      </a:cubicBezTo>
                      <a:cubicBezTo>
                        <a:pt x="402" y="495"/>
                        <a:pt x="402" y="495"/>
                        <a:pt x="402" y="495"/>
                      </a:cubicBezTo>
                      <a:cubicBezTo>
                        <a:pt x="396" y="499"/>
                        <a:pt x="396" y="499"/>
                        <a:pt x="396" y="499"/>
                      </a:cubicBezTo>
                      <a:cubicBezTo>
                        <a:pt x="396" y="504"/>
                        <a:pt x="396" y="504"/>
                        <a:pt x="396" y="504"/>
                      </a:cubicBezTo>
                      <a:cubicBezTo>
                        <a:pt x="391" y="505"/>
                        <a:pt x="391" y="505"/>
                        <a:pt x="391" y="505"/>
                      </a:cubicBezTo>
                      <a:cubicBezTo>
                        <a:pt x="390" y="508"/>
                        <a:pt x="390" y="508"/>
                        <a:pt x="390" y="508"/>
                      </a:cubicBezTo>
                      <a:cubicBezTo>
                        <a:pt x="394" y="510"/>
                        <a:pt x="394" y="510"/>
                        <a:pt x="394" y="510"/>
                      </a:cubicBezTo>
                      <a:cubicBezTo>
                        <a:pt x="394" y="513"/>
                        <a:pt x="394" y="513"/>
                        <a:pt x="394" y="513"/>
                      </a:cubicBezTo>
                      <a:cubicBezTo>
                        <a:pt x="384" y="513"/>
                        <a:pt x="384" y="513"/>
                        <a:pt x="384" y="513"/>
                      </a:cubicBezTo>
                      <a:cubicBezTo>
                        <a:pt x="379" y="520"/>
                        <a:pt x="379" y="520"/>
                        <a:pt x="379" y="520"/>
                      </a:cubicBezTo>
                      <a:cubicBezTo>
                        <a:pt x="375" y="521"/>
                        <a:pt x="375" y="521"/>
                        <a:pt x="375" y="521"/>
                      </a:cubicBezTo>
                      <a:cubicBezTo>
                        <a:pt x="372" y="525"/>
                        <a:pt x="372" y="525"/>
                        <a:pt x="372" y="525"/>
                      </a:cubicBezTo>
                      <a:cubicBezTo>
                        <a:pt x="372" y="529"/>
                        <a:pt x="372" y="529"/>
                        <a:pt x="372" y="529"/>
                      </a:cubicBezTo>
                      <a:cubicBezTo>
                        <a:pt x="370" y="531"/>
                        <a:pt x="370" y="531"/>
                        <a:pt x="370" y="531"/>
                      </a:cubicBezTo>
                      <a:cubicBezTo>
                        <a:pt x="371" y="539"/>
                        <a:pt x="371" y="539"/>
                        <a:pt x="371" y="539"/>
                      </a:cubicBezTo>
                      <a:cubicBezTo>
                        <a:pt x="370" y="548"/>
                        <a:pt x="370" y="548"/>
                        <a:pt x="370" y="548"/>
                      </a:cubicBezTo>
                      <a:cubicBezTo>
                        <a:pt x="376" y="549"/>
                        <a:pt x="376" y="549"/>
                        <a:pt x="376" y="549"/>
                      </a:cubicBezTo>
                      <a:cubicBezTo>
                        <a:pt x="379" y="547"/>
                        <a:pt x="379" y="547"/>
                        <a:pt x="379" y="547"/>
                      </a:cubicBezTo>
                      <a:cubicBezTo>
                        <a:pt x="390" y="547"/>
                        <a:pt x="390" y="547"/>
                        <a:pt x="390" y="547"/>
                      </a:cubicBezTo>
                      <a:cubicBezTo>
                        <a:pt x="394" y="545"/>
                        <a:pt x="394" y="545"/>
                        <a:pt x="394" y="545"/>
                      </a:cubicBezTo>
                      <a:cubicBezTo>
                        <a:pt x="399" y="544"/>
                        <a:pt x="399" y="544"/>
                        <a:pt x="399" y="544"/>
                      </a:cubicBezTo>
                      <a:cubicBezTo>
                        <a:pt x="399" y="547"/>
                        <a:pt x="399" y="547"/>
                        <a:pt x="399" y="547"/>
                      </a:cubicBezTo>
                      <a:cubicBezTo>
                        <a:pt x="393" y="549"/>
                        <a:pt x="393" y="549"/>
                        <a:pt x="393" y="549"/>
                      </a:cubicBezTo>
                      <a:cubicBezTo>
                        <a:pt x="389" y="550"/>
                        <a:pt x="389" y="550"/>
                        <a:pt x="389" y="550"/>
                      </a:cubicBezTo>
                      <a:cubicBezTo>
                        <a:pt x="384" y="552"/>
                        <a:pt x="384" y="552"/>
                        <a:pt x="384" y="552"/>
                      </a:cubicBezTo>
                      <a:cubicBezTo>
                        <a:pt x="380" y="551"/>
                        <a:pt x="380" y="551"/>
                        <a:pt x="380" y="551"/>
                      </a:cubicBezTo>
                      <a:cubicBezTo>
                        <a:pt x="372" y="553"/>
                        <a:pt x="372" y="553"/>
                        <a:pt x="372" y="553"/>
                      </a:cubicBezTo>
                      <a:cubicBezTo>
                        <a:pt x="373" y="558"/>
                        <a:pt x="373" y="558"/>
                        <a:pt x="373" y="558"/>
                      </a:cubicBezTo>
                      <a:cubicBezTo>
                        <a:pt x="376" y="560"/>
                        <a:pt x="376" y="560"/>
                        <a:pt x="376" y="560"/>
                      </a:cubicBezTo>
                      <a:cubicBezTo>
                        <a:pt x="378" y="563"/>
                        <a:pt x="378" y="563"/>
                        <a:pt x="378" y="563"/>
                      </a:cubicBezTo>
                      <a:cubicBezTo>
                        <a:pt x="374" y="568"/>
                        <a:pt x="374" y="568"/>
                        <a:pt x="374" y="568"/>
                      </a:cubicBezTo>
                      <a:cubicBezTo>
                        <a:pt x="377" y="570"/>
                        <a:pt x="377" y="570"/>
                        <a:pt x="377" y="570"/>
                      </a:cubicBezTo>
                      <a:cubicBezTo>
                        <a:pt x="382" y="570"/>
                        <a:pt x="382" y="570"/>
                        <a:pt x="382" y="570"/>
                      </a:cubicBezTo>
                      <a:cubicBezTo>
                        <a:pt x="387" y="564"/>
                        <a:pt x="387" y="564"/>
                        <a:pt x="387" y="564"/>
                      </a:cubicBezTo>
                      <a:cubicBezTo>
                        <a:pt x="390" y="563"/>
                        <a:pt x="390" y="563"/>
                        <a:pt x="390" y="563"/>
                      </a:cubicBezTo>
                      <a:cubicBezTo>
                        <a:pt x="389" y="568"/>
                        <a:pt x="389" y="568"/>
                        <a:pt x="389" y="568"/>
                      </a:cubicBezTo>
                      <a:cubicBezTo>
                        <a:pt x="382" y="575"/>
                        <a:pt x="382" y="575"/>
                        <a:pt x="382" y="575"/>
                      </a:cubicBezTo>
                      <a:cubicBezTo>
                        <a:pt x="381" y="581"/>
                        <a:pt x="381" y="581"/>
                        <a:pt x="381" y="581"/>
                      </a:cubicBezTo>
                      <a:cubicBezTo>
                        <a:pt x="375" y="583"/>
                        <a:pt x="375" y="583"/>
                        <a:pt x="375" y="583"/>
                      </a:cubicBezTo>
                      <a:cubicBezTo>
                        <a:pt x="373" y="587"/>
                        <a:pt x="373" y="587"/>
                        <a:pt x="373" y="587"/>
                      </a:cubicBezTo>
                      <a:cubicBezTo>
                        <a:pt x="374" y="593"/>
                        <a:pt x="374" y="593"/>
                        <a:pt x="374" y="593"/>
                      </a:cubicBezTo>
                      <a:cubicBezTo>
                        <a:pt x="379" y="592"/>
                        <a:pt x="379" y="592"/>
                        <a:pt x="379" y="592"/>
                      </a:cubicBezTo>
                      <a:cubicBezTo>
                        <a:pt x="381" y="589"/>
                        <a:pt x="381" y="589"/>
                        <a:pt x="381" y="589"/>
                      </a:cubicBezTo>
                      <a:cubicBezTo>
                        <a:pt x="385" y="589"/>
                        <a:pt x="385" y="589"/>
                        <a:pt x="385" y="589"/>
                      </a:cubicBezTo>
                      <a:cubicBezTo>
                        <a:pt x="382" y="594"/>
                        <a:pt x="382" y="594"/>
                        <a:pt x="382" y="594"/>
                      </a:cubicBezTo>
                      <a:cubicBezTo>
                        <a:pt x="382" y="599"/>
                        <a:pt x="382" y="599"/>
                        <a:pt x="382" y="599"/>
                      </a:cubicBezTo>
                      <a:cubicBezTo>
                        <a:pt x="376" y="601"/>
                        <a:pt x="376" y="601"/>
                        <a:pt x="376" y="601"/>
                      </a:cubicBezTo>
                      <a:cubicBezTo>
                        <a:pt x="375" y="605"/>
                        <a:pt x="375" y="605"/>
                        <a:pt x="375" y="605"/>
                      </a:cubicBezTo>
                      <a:cubicBezTo>
                        <a:pt x="379" y="610"/>
                        <a:pt x="379" y="610"/>
                        <a:pt x="379" y="610"/>
                      </a:cubicBezTo>
                      <a:cubicBezTo>
                        <a:pt x="382" y="611"/>
                        <a:pt x="382" y="611"/>
                        <a:pt x="382" y="611"/>
                      </a:cubicBezTo>
                      <a:cubicBezTo>
                        <a:pt x="382" y="617"/>
                        <a:pt x="382" y="617"/>
                        <a:pt x="382" y="617"/>
                      </a:cubicBezTo>
                      <a:cubicBezTo>
                        <a:pt x="388" y="617"/>
                        <a:pt x="388" y="617"/>
                        <a:pt x="388" y="617"/>
                      </a:cubicBezTo>
                      <a:cubicBezTo>
                        <a:pt x="390" y="615"/>
                        <a:pt x="390" y="615"/>
                        <a:pt x="390" y="615"/>
                      </a:cubicBezTo>
                      <a:cubicBezTo>
                        <a:pt x="394" y="616"/>
                        <a:pt x="394" y="616"/>
                        <a:pt x="394" y="616"/>
                      </a:cubicBezTo>
                      <a:cubicBezTo>
                        <a:pt x="390" y="622"/>
                        <a:pt x="390" y="622"/>
                        <a:pt x="390" y="622"/>
                      </a:cubicBezTo>
                      <a:cubicBezTo>
                        <a:pt x="394" y="628"/>
                        <a:pt x="394" y="628"/>
                        <a:pt x="394" y="628"/>
                      </a:cubicBezTo>
                      <a:cubicBezTo>
                        <a:pt x="402" y="625"/>
                        <a:pt x="402" y="625"/>
                        <a:pt x="402" y="625"/>
                      </a:cubicBezTo>
                      <a:cubicBezTo>
                        <a:pt x="409" y="620"/>
                        <a:pt x="409" y="620"/>
                        <a:pt x="409" y="620"/>
                      </a:cubicBezTo>
                      <a:cubicBezTo>
                        <a:pt x="415" y="617"/>
                        <a:pt x="415" y="617"/>
                        <a:pt x="415" y="617"/>
                      </a:cubicBezTo>
                      <a:cubicBezTo>
                        <a:pt x="423" y="605"/>
                        <a:pt x="423" y="605"/>
                        <a:pt x="423" y="605"/>
                      </a:cubicBezTo>
                      <a:cubicBezTo>
                        <a:pt x="423" y="602"/>
                        <a:pt x="423" y="602"/>
                        <a:pt x="423" y="602"/>
                      </a:cubicBezTo>
                      <a:cubicBezTo>
                        <a:pt x="428" y="598"/>
                        <a:pt x="428" y="598"/>
                        <a:pt x="428" y="598"/>
                      </a:cubicBezTo>
                      <a:cubicBezTo>
                        <a:pt x="427" y="601"/>
                        <a:pt x="427" y="601"/>
                        <a:pt x="427" y="601"/>
                      </a:cubicBezTo>
                      <a:cubicBezTo>
                        <a:pt x="433" y="600"/>
                        <a:pt x="433" y="600"/>
                        <a:pt x="433" y="600"/>
                      </a:cubicBezTo>
                      <a:cubicBezTo>
                        <a:pt x="439" y="595"/>
                        <a:pt x="439" y="595"/>
                        <a:pt x="439" y="595"/>
                      </a:cubicBezTo>
                      <a:cubicBezTo>
                        <a:pt x="439" y="588"/>
                        <a:pt x="439" y="588"/>
                        <a:pt x="439" y="588"/>
                      </a:cubicBezTo>
                      <a:cubicBezTo>
                        <a:pt x="442" y="585"/>
                        <a:pt x="442" y="585"/>
                        <a:pt x="442" y="585"/>
                      </a:cubicBezTo>
                      <a:cubicBezTo>
                        <a:pt x="445" y="587"/>
                        <a:pt x="445" y="587"/>
                        <a:pt x="445" y="587"/>
                      </a:cubicBezTo>
                      <a:cubicBezTo>
                        <a:pt x="444" y="594"/>
                        <a:pt x="444" y="594"/>
                        <a:pt x="444" y="594"/>
                      </a:cubicBezTo>
                      <a:cubicBezTo>
                        <a:pt x="450" y="600"/>
                        <a:pt x="450" y="600"/>
                        <a:pt x="450" y="600"/>
                      </a:cubicBezTo>
                      <a:cubicBezTo>
                        <a:pt x="450" y="608"/>
                        <a:pt x="450" y="608"/>
                        <a:pt x="450" y="608"/>
                      </a:cubicBezTo>
                      <a:cubicBezTo>
                        <a:pt x="453" y="616"/>
                        <a:pt x="453" y="616"/>
                        <a:pt x="453" y="616"/>
                      </a:cubicBezTo>
                      <a:cubicBezTo>
                        <a:pt x="459" y="621"/>
                        <a:pt x="459" y="621"/>
                        <a:pt x="459" y="621"/>
                      </a:cubicBezTo>
                      <a:cubicBezTo>
                        <a:pt x="458" y="638"/>
                        <a:pt x="458" y="638"/>
                        <a:pt x="458" y="638"/>
                      </a:cubicBezTo>
                      <a:cubicBezTo>
                        <a:pt x="462" y="644"/>
                        <a:pt x="462" y="644"/>
                        <a:pt x="462" y="644"/>
                      </a:cubicBezTo>
                      <a:cubicBezTo>
                        <a:pt x="464" y="652"/>
                        <a:pt x="464" y="652"/>
                        <a:pt x="464" y="652"/>
                      </a:cubicBezTo>
                      <a:cubicBezTo>
                        <a:pt x="469" y="658"/>
                        <a:pt x="469" y="658"/>
                        <a:pt x="469" y="658"/>
                      </a:cubicBezTo>
                      <a:cubicBezTo>
                        <a:pt x="469" y="669"/>
                        <a:pt x="469" y="669"/>
                        <a:pt x="469" y="669"/>
                      </a:cubicBezTo>
                      <a:cubicBezTo>
                        <a:pt x="474" y="677"/>
                        <a:pt x="474" y="677"/>
                        <a:pt x="474" y="677"/>
                      </a:cubicBezTo>
                      <a:cubicBezTo>
                        <a:pt x="479" y="682"/>
                        <a:pt x="479" y="682"/>
                        <a:pt x="479" y="682"/>
                      </a:cubicBezTo>
                      <a:cubicBezTo>
                        <a:pt x="483" y="680"/>
                        <a:pt x="483" y="680"/>
                        <a:pt x="483" y="680"/>
                      </a:cubicBezTo>
                      <a:cubicBezTo>
                        <a:pt x="487" y="680"/>
                        <a:pt x="487" y="680"/>
                        <a:pt x="487" y="680"/>
                      </a:cubicBezTo>
                      <a:cubicBezTo>
                        <a:pt x="495" y="668"/>
                        <a:pt x="495" y="668"/>
                        <a:pt x="495" y="668"/>
                      </a:cubicBezTo>
                      <a:cubicBezTo>
                        <a:pt x="504" y="667"/>
                        <a:pt x="504" y="667"/>
                        <a:pt x="504" y="667"/>
                      </a:cubicBezTo>
                      <a:cubicBezTo>
                        <a:pt x="510" y="663"/>
                        <a:pt x="510" y="663"/>
                        <a:pt x="510" y="663"/>
                      </a:cubicBezTo>
                      <a:cubicBezTo>
                        <a:pt x="515" y="647"/>
                        <a:pt x="515" y="647"/>
                        <a:pt x="515" y="647"/>
                      </a:cubicBezTo>
                      <a:cubicBezTo>
                        <a:pt x="519" y="633"/>
                        <a:pt x="519" y="633"/>
                        <a:pt x="519" y="633"/>
                      </a:cubicBezTo>
                      <a:cubicBezTo>
                        <a:pt x="518" y="613"/>
                        <a:pt x="518" y="613"/>
                        <a:pt x="518" y="613"/>
                      </a:cubicBezTo>
                      <a:cubicBezTo>
                        <a:pt x="523" y="607"/>
                        <a:pt x="523" y="607"/>
                        <a:pt x="523" y="607"/>
                      </a:cubicBezTo>
                      <a:cubicBezTo>
                        <a:pt x="528" y="608"/>
                        <a:pt x="528" y="608"/>
                        <a:pt x="528" y="608"/>
                      </a:cubicBezTo>
                      <a:cubicBezTo>
                        <a:pt x="527" y="602"/>
                        <a:pt x="527" y="602"/>
                        <a:pt x="527" y="602"/>
                      </a:cubicBezTo>
                      <a:cubicBezTo>
                        <a:pt x="532" y="599"/>
                        <a:pt x="532" y="599"/>
                        <a:pt x="532" y="599"/>
                      </a:cubicBezTo>
                      <a:cubicBezTo>
                        <a:pt x="537" y="600"/>
                        <a:pt x="537" y="600"/>
                        <a:pt x="537" y="600"/>
                      </a:cubicBezTo>
                      <a:cubicBezTo>
                        <a:pt x="545" y="588"/>
                        <a:pt x="545" y="588"/>
                        <a:pt x="545" y="588"/>
                      </a:cubicBezTo>
                      <a:cubicBezTo>
                        <a:pt x="544" y="570"/>
                        <a:pt x="544" y="570"/>
                        <a:pt x="544" y="570"/>
                      </a:cubicBezTo>
                      <a:cubicBezTo>
                        <a:pt x="535" y="559"/>
                        <a:pt x="535" y="559"/>
                        <a:pt x="535" y="559"/>
                      </a:cubicBezTo>
                      <a:cubicBezTo>
                        <a:pt x="525" y="552"/>
                        <a:pt x="525" y="552"/>
                        <a:pt x="525" y="552"/>
                      </a:cubicBezTo>
                      <a:cubicBezTo>
                        <a:pt x="526" y="534"/>
                        <a:pt x="526" y="534"/>
                        <a:pt x="526" y="534"/>
                      </a:cubicBezTo>
                      <a:cubicBezTo>
                        <a:pt x="529" y="529"/>
                        <a:pt x="529" y="529"/>
                        <a:pt x="529" y="529"/>
                      </a:cubicBezTo>
                      <a:cubicBezTo>
                        <a:pt x="527" y="526"/>
                        <a:pt x="527" y="526"/>
                        <a:pt x="527" y="526"/>
                      </a:cubicBezTo>
                      <a:cubicBezTo>
                        <a:pt x="527" y="515"/>
                        <a:pt x="527" y="515"/>
                        <a:pt x="527" y="515"/>
                      </a:cubicBezTo>
                      <a:cubicBezTo>
                        <a:pt x="534" y="510"/>
                        <a:pt x="534" y="510"/>
                        <a:pt x="534" y="510"/>
                      </a:cubicBezTo>
                      <a:cubicBezTo>
                        <a:pt x="537" y="495"/>
                        <a:pt x="537" y="495"/>
                        <a:pt x="537" y="495"/>
                      </a:cubicBezTo>
                      <a:cubicBezTo>
                        <a:pt x="545" y="490"/>
                        <a:pt x="545" y="490"/>
                        <a:pt x="545" y="490"/>
                      </a:cubicBezTo>
                      <a:cubicBezTo>
                        <a:pt x="551" y="482"/>
                        <a:pt x="551" y="482"/>
                        <a:pt x="551" y="482"/>
                      </a:cubicBezTo>
                      <a:cubicBezTo>
                        <a:pt x="560" y="475"/>
                        <a:pt x="560" y="475"/>
                        <a:pt x="560" y="475"/>
                      </a:cubicBezTo>
                      <a:cubicBezTo>
                        <a:pt x="570" y="465"/>
                        <a:pt x="570" y="465"/>
                        <a:pt x="570" y="465"/>
                      </a:cubicBezTo>
                      <a:cubicBezTo>
                        <a:pt x="578" y="452"/>
                        <a:pt x="578" y="452"/>
                        <a:pt x="578" y="452"/>
                      </a:cubicBezTo>
                      <a:cubicBezTo>
                        <a:pt x="577" y="446"/>
                        <a:pt x="577" y="446"/>
                        <a:pt x="577" y="446"/>
                      </a:cubicBezTo>
                      <a:cubicBezTo>
                        <a:pt x="575" y="442"/>
                        <a:pt x="575" y="442"/>
                        <a:pt x="575" y="442"/>
                      </a:cubicBezTo>
                      <a:cubicBezTo>
                        <a:pt x="581" y="431"/>
                        <a:pt x="581" y="431"/>
                        <a:pt x="581" y="431"/>
                      </a:cubicBezTo>
                      <a:cubicBezTo>
                        <a:pt x="581" y="425"/>
                        <a:pt x="581" y="425"/>
                        <a:pt x="581" y="425"/>
                      </a:cubicBezTo>
                      <a:cubicBezTo>
                        <a:pt x="589" y="419"/>
                        <a:pt x="589" y="419"/>
                        <a:pt x="589" y="419"/>
                      </a:cubicBezTo>
                      <a:cubicBezTo>
                        <a:pt x="590" y="413"/>
                        <a:pt x="590" y="413"/>
                        <a:pt x="590" y="413"/>
                      </a:cubicBezTo>
                      <a:cubicBezTo>
                        <a:pt x="599" y="415"/>
                        <a:pt x="599" y="415"/>
                        <a:pt x="599" y="415"/>
                      </a:cubicBezTo>
                      <a:cubicBezTo>
                        <a:pt x="610" y="411"/>
                        <a:pt x="610" y="411"/>
                        <a:pt x="610" y="411"/>
                      </a:cubicBezTo>
                      <a:cubicBezTo>
                        <a:pt x="618" y="413"/>
                        <a:pt x="618" y="413"/>
                        <a:pt x="618" y="413"/>
                      </a:cubicBezTo>
                      <a:cubicBezTo>
                        <a:pt x="629" y="424"/>
                        <a:pt x="629" y="424"/>
                        <a:pt x="629" y="424"/>
                      </a:cubicBezTo>
                      <a:cubicBezTo>
                        <a:pt x="628" y="429"/>
                        <a:pt x="628" y="429"/>
                        <a:pt x="628" y="429"/>
                      </a:cubicBezTo>
                      <a:cubicBezTo>
                        <a:pt x="629" y="434"/>
                        <a:pt x="629" y="434"/>
                        <a:pt x="629" y="434"/>
                      </a:cubicBezTo>
                      <a:cubicBezTo>
                        <a:pt x="625" y="440"/>
                        <a:pt x="625" y="440"/>
                        <a:pt x="625" y="440"/>
                      </a:cubicBezTo>
                      <a:cubicBezTo>
                        <a:pt x="620" y="440"/>
                        <a:pt x="620" y="440"/>
                        <a:pt x="620" y="440"/>
                      </a:cubicBezTo>
                      <a:cubicBezTo>
                        <a:pt x="615" y="456"/>
                        <a:pt x="615" y="456"/>
                        <a:pt x="615" y="456"/>
                      </a:cubicBezTo>
                      <a:cubicBezTo>
                        <a:pt x="608" y="465"/>
                        <a:pt x="608" y="465"/>
                        <a:pt x="608" y="465"/>
                      </a:cubicBezTo>
                      <a:cubicBezTo>
                        <a:pt x="602" y="467"/>
                        <a:pt x="602" y="467"/>
                        <a:pt x="602" y="467"/>
                      </a:cubicBezTo>
                      <a:cubicBezTo>
                        <a:pt x="599" y="475"/>
                        <a:pt x="599" y="475"/>
                        <a:pt x="599" y="475"/>
                      </a:cubicBezTo>
                      <a:cubicBezTo>
                        <a:pt x="595" y="476"/>
                        <a:pt x="595" y="476"/>
                        <a:pt x="595" y="476"/>
                      </a:cubicBezTo>
                      <a:cubicBezTo>
                        <a:pt x="590" y="481"/>
                        <a:pt x="590" y="481"/>
                        <a:pt x="590" y="481"/>
                      </a:cubicBezTo>
                      <a:cubicBezTo>
                        <a:pt x="587" y="488"/>
                        <a:pt x="587" y="488"/>
                        <a:pt x="587" y="488"/>
                      </a:cubicBezTo>
                      <a:cubicBezTo>
                        <a:pt x="582" y="489"/>
                        <a:pt x="582" y="489"/>
                        <a:pt x="582" y="489"/>
                      </a:cubicBezTo>
                      <a:cubicBezTo>
                        <a:pt x="581" y="495"/>
                        <a:pt x="581" y="495"/>
                        <a:pt x="581" y="495"/>
                      </a:cubicBezTo>
                      <a:cubicBezTo>
                        <a:pt x="574" y="502"/>
                        <a:pt x="574" y="502"/>
                        <a:pt x="574" y="502"/>
                      </a:cubicBezTo>
                      <a:cubicBezTo>
                        <a:pt x="574" y="502"/>
                        <a:pt x="574" y="511"/>
                        <a:pt x="575" y="514"/>
                      </a:cubicBezTo>
                      <a:cubicBezTo>
                        <a:pt x="575" y="517"/>
                        <a:pt x="578" y="529"/>
                        <a:pt x="578" y="529"/>
                      </a:cubicBezTo>
                      <a:cubicBezTo>
                        <a:pt x="581" y="539"/>
                        <a:pt x="581" y="539"/>
                        <a:pt x="581" y="539"/>
                      </a:cubicBezTo>
                      <a:cubicBezTo>
                        <a:pt x="578" y="542"/>
                        <a:pt x="578" y="542"/>
                        <a:pt x="578" y="542"/>
                      </a:cubicBezTo>
                      <a:cubicBezTo>
                        <a:pt x="580" y="562"/>
                        <a:pt x="580" y="562"/>
                        <a:pt x="580" y="562"/>
                      </a:cubicBezTo>
                      <a:cubicBezTo>
                        <a:pt x="586" y="563"/>
                        <a:pt x="586" y="563"/>
                        <a:pt x="586" y="563"/>
                      </a:cubicBezTo>
                      <a:cubicBezTo>
                        <a:pt x="589" y="568"/>
                        <a:pt x="589" y="568"/>
                        <a:pt x="589" y="568"/>
                      </a:cubicBezTo>
                      <a:cubicBezTo>
                        <a:pt x="596" y="568"/>
                        <a:pt x="596" y="568"/>
                        <a:pt x="596" y="568"/>
                      </a:cubicBezTo>
                      <a:cubicBezTo>
                        <a:pt x="597" y="575"/>
                        <a:pt x="597" y="575"/>
                        <a:pt x="597" y="575"/>
                      </a:cubicBezTo>
                      <a:cubicBezTo>
                        <a:pt x="601" y="576"/>
                        <a:pt x="601" y="576"/>
                        <a:pt x="601" y="576"/>
                      </a:cubicBezTo>
                      <a:cubicBezTo>
                        <a:pt x="608" y="574"/>
                        <a:pt x="608" y="574"/>
                        <a:pt x="608" y="574"/>
                      </a:cubicBezTo>
                      <a:cubicBezTo>
                        <a:pt x="611" y="571"/>
                        <a:pt x="611" y="571"/>
                        <a:pt x="611" y="571"/>
                      </a:cubicBezTo>
                      <a:cubicBezTo>
                        <a:pt x="616" y="572"/>
                        <a:pt x="616" y="572"/>
                        <a:pt x="616" y="572"/>
                      </a:cubicBezTo>
                      <a:cubicBezTo>
                        <a:pt x="623" y="568"/>
                        <a:pt x="623" y="568"/>
                        <a:pt x="623" y="568"/>
                      </a:cubicBezTo>
                      <a:cubicBezTo>
                        <a:pt x="632" y="568"/>
                        <a:pt x="632" y="568"/>
                        <a:pt x="632" y="568"/>
                      </a:cubicBezTo>
                      <a:cubicBezTo>
                        <a:pt x="634" y="564"/>
                        <a:pt x="634" y="564"/>
                        <a:pt x="634" y="564"/>
                      </a:cubicBezTo>
                      <a:cubicBezTo>
                        <a:pt x="646" y="562"/>
                        <a:pt x="646" y="562"/>
                        <a:pt x="646" y="562"/>
                      </a:cubicBezTo>
                      <a:cubicBezTo>
                        <a:pt x="649" y="559"/>
                        <a:pt x="649" y="559"/>
                        <a:pt x="649" y="559"/>
                      </a:cubicBezTo>
                      <a:cubicBezTo>
                        <a:pt x="655" y="562"/>
                        <a:pt x="655" y="562"/>
                        <a:pt x="655" y="562"/>
                      </a:cubicBezTo>
                      <a:cubicBezTo>
                        <a:pt x="665" y="556"/>
                        <a:pt x="665" y="556"/>
                        <a:pt x="665" y="556"/>
                      </a:cubicBezTo>
                      <a:cubicBezTo>
                        <a:pt x="664" y="565"/>
                        <a:pt x="664" y="565"/>
                        <a:pt x="664" y="565"/>
                      </a:cubicBezTo>
                      <a:cubicBezTo>
                        <a:pt x="670" y="568"/>
                        <a:pt x="670" y="568"/>
                        <a:pt x="670" y="568"/>
                      </a:cubicBezTo>
                      <a:cubicBezTo>
                        <a:pt x="679" y="568"/>
                        <a:pt x="679" y="568"/>
                        <a:pt x="679" y="568"/>
                      </a:cubicBezTo>
                      <a:cubicBezTo>
                        <a:pt x="685" y="569"/>
                        <a:pt x="685" y="569"/>
                        <a:pt x="685" y="569"/>
                      </a:cubicBezTo>
                      <a:cubicBezTo>
                        <a:pt x="683" y="577"/>
                        <a:pt x="683" y="577"/>
                        <a:pt x="683" y="577"/>
                      </a:cubicBezTo>
                      <a:cubicBezTo>
                        <a:pt x="670" y="576"/>
                        <a:pt x="670" y="576"/>
                        <a:pt x="670" y="576"/>
                      </a:cubicBezTo>
                      <a:cubicBezTo>
                        <a:pt x="668" y="579"/>
                        <a:pt x="668" y="579"/>
                        <a:pt x="668" y="579"/>
                      </a:cubicBezTo>
                      <a:cubicBezTo>
                        <a:pt x="660" y="579"/>
                        <a:pt x="660" y="579"/>
                        <a:pt x="660" y="579"/>
                      </a:cubicBezTo>
                      <a:cubicBezTo>
                        <a:pt x="661" y="583"/>
                        <a:pt x="661" y="583"/>
                        <a:pt x="661" y="583"/>
                      </a:cubicBezTo>
                      <a:cubicBezTo>
                        <a:pt x="654" y="589"/>
                        <a:pt x="654" y="589"/>
                        <a:pt x="654" y="589"/>
                      </a:cubicBezTo>
                      <a:cubicBezTo>
                        <a:pt x="638" y="586"/>
                        <a:pt x="638" y="586"/>
                        <a:pt x="638" y="586"/>
                      </a:cubicBezTo>
                      <a:cubicBezTo>
                        <a:pt x="633" y="585"/>
                        <a:pt x="633" y="585"/>
                        <a:pt x="633" y="585"/>
                      </a:cubicBezTo>
                      <a:cubicBezTo>
                        <a:pt x="626" y="589"/>
                        <a:pt x="626" y="589"/>
                        <a:pt x="626" y="589"/>
                      </a:cubicBezTo>
                      <a:cubicBezTo>
                        <a:pt x="616" y="587"/>
                        <a:pt x="616" y="587"/>
                        <a:pt x="616" y="587"/>
                      </a:cubicBezTo>
                      <a:cubicBezTo>
                        <a:pt x="602" y="599"/>
                        <a:pt x="602" y="599"/>
                        <a:pt x="602" y="599"/>
                      </a:cubicBezTo>
                      <a:cubicBezTo>
                        <a:pt x="601" y="601"/>
                        <a:pt x="601" y="601"/>
                        <a:pt x="601" y="601"/>
                      </a:cubicBezTo>
                      <a:cubicBezTo>
                        <a:pt x="607" y="605"/>
                        <a:pt x="607" y="605"/>
                        <a:pt x="607" y="605"/>
                      </a:cubicBezTo>
                      <a:cubicBezTo>
                        <a:pt x="606" y="616"/>
                        <a:pt x="606" y="616"/>
                        <a:pt x="606" y="616"/>
                      </a:cubicBezTo>
                      <a:cubicBezTo>
                        <a:pt x="612" y="618"/>
                        <a:pt x="612" y="618"/>
                        <a:pt x="612" y="618"/>
                      </a:cubicBezTo>
                      <a:cubicBezTo>
                        <a:pt x="615" y="623"/>
                        <a:pt x="615" y="623"/>
                        <a:pt x="615" y="623"/>
                      </a:cubicBezTo>
                      <a:cubicBezTo>
                        <a:pt x="615" y="625"/>
                        <a:pt x="615" y="625"/>
                        <a:pt x="615" y="625"/>
                      </a:cubicBezTo>
                      <a:cubicBezTo>
                        <a:pt x="616" y="631"/>
                        <a:pt x="616" y="631"/>
                        <a:pt x="616" y="631"/>
                      </a:cubicBezTo>
                      <a:cubicBezTo>
                        <a:pt x="613" y="646"/>
                        <a:pt x="613" y="646"/>
                        <a:pt x="613" y="646"/>
                      </a:cubicBezTo>
                      <a:cubicBezTo>
                        <a:pt x="605" y="647"/>
                        <a:pt x="605" y="647"/>
                        <a:pt x="605" y="647"/>
                      </a:cubicBezTo>
                      <a:cubicBezTo>
                        <a:pt x="597" y="637"/>
                        <a:pt x="597" y="637"/>
                        <a:pt x="597" y="637"/>
                      </a:cubicBezTo>
                      <a:cubicBezTo>
                        <a:pt x="593" y="629"/>
                        <a:pt x="593" y="629"/>
                        <a:pt x="593" y="629"/>
                      </a:cubicBezTo>
                      <a:cubicBezTo>
                        <a:pt x="585" y="633"/>
                        <a:pt x="585" y="633"/>
                        <a:pt x="585" y="633"/>
                      </a:cubicBezTo>
                      <a:cubicBezTo>
                        <a:pt x="577" y="635"/>
                        <a:pt x="577" y="635"/>
                        <a:pt x="577" y="635"/>
                      </a:cubicBezTo>
                      <a:cubicBezTo>
                        <a:pt x="577" y="648"/>
                        <a:pt x="577" y="648"/>
                        <a:pt x="577" y="648"/>
                      </a:cubicBezTo>
                      <a:cubicBezTo>
                        <a:pt x="571" y="655"/>
                        <a:pt x="571" y="655"/>
                        <a:pt x="571" y="655"/>
                      </a:cubicBezTo>
                      <a:cubicBezTo>
                        <a:pt x="569" y="661"/>
                        <a:pt x="569" y="661"/>
                        <a:pt x="569" y="661"/>
                      </a:cubicBezTo>
                      <a:cubicBezTo>
                        <a:pt x="573" y="667"/>
                        <a:pt x="573" y="667"/>
                        <a:pt x="573" y="667"/>
                      </a:cubicBezTo>
                      <a:cubicBezTo>
                        <a:pt x="577" y="689"/>
                        <a:pt x="577" y="689"/>
                        <a:pt x="577" y="689"/>
                      </a:cubicBezTo>
                      <a:cubicBezTo>
                        <a:pt x="574" y="692"/>
                        <a:pt x="574" y="692"/>
                        <a:pt x="574" y="692"/>
                      </a:cubicBezTo>
                      <a:cubicBezTo>
                        <a:pt x="560" y="692"/>
                        <a:pt x="560" y="692"/>
                        <a:pt x="560" y="692"/>
                      </a:cubicBezTo>
                      <a:cubicBezTo>
                        <a:pt x="559" y="696"/>
                        <a:pt x="559" y="696"/>
                        <a:pt x="559" y="696"/>
                      </a:cubicBezTo>
                      <a:cubicBezTo>
                        <a:pt x="562" y="699"/>
                        <a:pt x="562" y="699"/>
                        <a:pt x="562" y="699"/>
                      </a:cubicBezTo>
                      <a:cubicBezTo>
                        <a:pt x="560" y="704"/>
                        <a:pt x="560" y="704"/>
                        <a:pt x="560" y="704"/>
                      </a:cubicBezTo>
                      <a:cubicBezTo>
                        <a:pt x="557" y="703"/>
                        <a:pt x="557" y="703"/>
                        <a:pt x="557" y="703"/>
                      </a:cubicBezTo>
                      <a:cubicBezTo>
                        <a:pt x="550" y="708"/>
                        <a:pt x="550" y="708"/>
                        <a:pt x="550" y="708"/>
                      </a:cubicBezTo>
                      <a:cubicBezTo>
                        <a:pt x="542" y="706"/>
                        <a:pt x="542" y="706"/>
                        <a:pt x="542" y="706"/>
                      </a:cubicBezTo>
                      <a:cubicBezTo>
                        <a:pt x="541" y="698"/>
                        <a:pt x="541" y="698"/>
                        <a:pt x="541" y="698"/>
                      </a:cubicBezTo>
                      <a:cubicBezTo>
                        <a:pt x="528" y="695"/>
                        <a:pt x="528" y="695"/>
                        <a:pt x="528" y="695"/>
                      </a:cubicBezTo>
                      <a:cubicBezTo>
                        <a:pt x="523" y="700"/>
                        <a:pt x="523" y="700"/>
                        <a:pt x="523" y="700"/>
                      </a:cubicBezTo>
                      <a:cubicBezTo>
                        <a:pt x="514" y="703"/>
                        <a:pt x="514" y="703"/>
                        <a:pt x="514" y="703"/>
                      </a:cubicBezTo>
                      <a:cubicBezTo>
                        <a:pt x="504" y="711"/>
                        <a:pt x="504" y="711"/>
                        <a:pt x="504" y="711"/>
                      </a:cubicBezTo>
                      <a:cubicBezTo>
                        <a:pt x="495" y="712"/>
                        <a:pt x="495" y="712"/>
                        <a:pt x="495" y="712"/>
                      </a:cubicBezTo>
                      <a:cubicBezTo>
                        <a:pt x="487" y="716"/>
                        <a:pt x="487" y="716"/>
                        <a:pt x="487" y="716"/>
                      </a:cubicBezTo>
                      <a:cubicBezTo>
                        <a:pt x="482" y="710"/>
                        <a:pt x="482" y="710"/>
                        <a:pt x="482" y="710"/>
                      </a:cubicBezTo>
                      <a:cubicBezTo>
                        <a:pt x="479" y="709"/>
                        <a:pt x="479" y="709"/>
                        <a:pt x="479" y="709"/>
                      </a:cubicBezTo>
                      <a:cubicBezTo>
                        <a:pt x="478" y="701"/>
                        <a:pt x="478" y="701"/>
                        <a:pt x="478" y="701"/>
                      </a:cubicBezTo>
                      <a:cubicBezTo>
                        <a:pt x="463" y="705"/>
                        <a:pt x="463" y="705"/>
                        <a:pt x="463" y="705"/>
                      </a:cubicBezTo>
                      <a:cubicBezTo>
                        <a:pt x="457" y="711"/>
                        <a:pt x="457" y="711"/>
                        <a:pt x="457" y="711"/>
                      </a:cubicBezTo>
                      <a:cubicBezTo>
                        <a:pt x="447" y="710"/>
                        <a:pt x="447" y="710"/>
                        <a:pt x="447" y="710"/>
                      </a:cubicBezTo>
                      <a:cubicBezTo>
                        <a:pt x="444" y="707"/>
                        <a:pt x="444" y="707"/>
                        <a:pt x="444" y="707"/>
                      </a:cubicBezTo>
                      <a:cubicBezTo>
                        <a:pt x="436" y="706"/>
                        <a:pt x="436" y="706"/>
                        <a:pt x="436" y="706"/>
                      </a:cubicBezTo>
                      <a:cubicBezTo>
                        <a:pt x="431" y="698"/>
                        <a:pt x="431" y="698"/>
                        <a:pt x="431" y="698"/>
                      </a:cubicBezTo>
                      <a:cubicBezTo>
                        <a:pt x="430" y="697"/>
                        <a:pt x="430" y="697"/>
                        <a:pt x="430" y="697"/>
                      </a:cubicBezTo>
                      <a:cubicBezTo>
                        <a:pt x="427" y="689"/>
                        <a:pt x="427" y="689"/>
                        <a:pt x="427" y="689"/>
                      </a:cubicBezTo>
                      <a:cubicBezTo>
                        <a:pt x="427" y="680"/>
                        <a:pt x="427" y="680"/>
                        <a:pt x="427" y="680"/>
                      </a:cubicBezTo>
                      <a:cubicBezTo>
                        <a:pt x="436" y="674"/>
                        <a:pt x="436" y="674"/>
                        <a:pt x="436" y="674"/>
                      </a:cubicBezTo>
                      <a:cubicBezTo>
                        <a:pt x="437" y="668"/>
                        <a:pt x="437" y="668"/>
                        <a:pt x="437" y="668"/>
                      </a:cubicBezTo>
                      <a:cubicBezTo>
                        <a:pt x="445" y="667"/>
                        <a:pt x="445" y="667"/>
                        <a:pt x="445" y="667"/>
                      </a:cubicBezTo>
                      <a:cubicBezTo>
                        <a:pt x="448" y="662"/>
                        <a:pt x="448" y="662"/>
                        <a:pt x="448" y="662"/>
                      </a:cubicBezTo>
                      <a:cubicBezTo>
                        <a:pt x="444" y="660"/>
                        <a:pt x="444" y="660"/>
                        <a:pt x="444" y="660"/>
                      </a:cubicBezTo>
                      <a:cubicBezTo>
                        <a:pt x="439" y="659"/>
                        <a:pt x="439" y="659"/>
                        <a:pt x="439" y="659"/>
                      </a:cubicBezTo>
                      <a:cubicBezTo>
                        <a:pt x="434" y="650"/>
                        <a:pt x="434" y="650"/>
                        <a:pt x="434" y="650"/>
                      </a:cubicBezTo>
                      <a:cubicBezTo>
                        <a:pt x="429" y="650"/>
                        <a:pt x="429" y="650"/>
                        <a:pt x="429" y="650"/>
                      </a:cubicBezTo>
                      <a:cubicBezTo>
                        <a:pt x="423" y="658"/>
                        <a:pt x="423" y="658"/>
                        <a:pt x="423" y="658"/>
                      </a:cubicBezTo>
                      <a:cubicBezTo>
                        <a:pt x="418" y="656"/>
                        <a:pt x="418" y="656"/>
                        <a:pt x="418" y="656"/>
                      </a:cubicBezTo>
                      <a:cubicBezTo>
                        <a:pt x="409" y="662"/>
                        <a:pt x="409" y="662"/>
                        <a:pt x="409" y="662"/>
                      </a:cubicBezTo>
                      <a:cubicBezTo>
                        <a:pt x="408" y="672"/>
                        <a:pt x="408" y="672"/>
                        <a:pt x="408" y="672"/>
                      </a:cubicBezTo>
                      <a:cubicBezTo>
                        <a:pt x="410" y="683"/>
                        <a:pt x="410" y="683"/>
                        <a:pt x="410" y="683"/>
                      </a:cubicBezTo>
                      <a:cubicBezTo>
                        <a:pt x="415" y="689"/>
                        <a:pt x="415" y="689"/>
                        <a:pt x="415" y="689"/>
                      </a:cubicBezTo>
                      <a:cubicBezTo>
                        <a:pt x="416" y="698"/>
                        <a:pt x="416" y="698"/>
                        <a:pt x="416" y="698"/>
                      </a:cubicBezTo>
                      <a:cubicBezTo>
                        <a:pt x="417" y="700"/>
                        <a:pt x="417" y="700"/>
                        <a:pt x="417" y="700"/>
                      </a:cubicBezTo>
                      <a:cubicBezTo>
                        <a:pt x="420" y="709"/>
                        <a:pt x="420" y="709"/>
                        <a:pt x="420" y="709"/>
                      </a:cubicBezTo>
                      <a:cubicBezTo>
                        <a:pt x="419" y="717"/>
                        <a:pt x="419" y="717"/>
                        <a:pt x="419" y="717"/>
                      </a:cubicBezTo>
                      <a:cubicBezTo>
                        <a:pt x="414" y="721"/>
                        <a:pt x="414" y="721"/>
                        <a:pt x="414" y="721"/>
                      </a:cubicBezTo>
                      <a:cubicBezTo>
                        <a:pt x="411" y="723"/>
                        <a:pt x="411" y="723"/>
                        <a:pt x="411" y="723"/>
                      </a:cubicBezTo>
                      <a:cubicBezTo>
                        <a:pt x="406" y="722"/>
                        <a:pt x="406" y="722"/>
                        <a:pt x="406" y="722"/>
                      </a:cubicBezTo>
                      <a:cubicBezTo>
                        <a:pt x="400" y="722"/>
                        <a:pt x="400" y="722"/>
                        <a:pt x="400" y="722"/>
                      </a:cubicBezTo>
                      <a:cubicBezTo>
                        <a:pt x="395" y="728"/>
                        <a:pt x="395" y="728"/>
                        <a:pt x="395" y="728"/>
                      </a:cubicBezTo>
                      <a:cubicBezTo>
                        <a:pt x="382" y="728"/>
                        <a:pt x="382" y="728"/>
                        <a:pt x="382" y="728"/>
                      </a:cubicBezTo>
                      <a:cubicBezTo>
                        <a:pt x="376" y="732"/>
                        <a:pt x="376" y="732"/>
                        <a:pt x="376" y="732"/>
                      </a:cubicBezTo>
                      <a:cubicBezTo>
                        <a:pt x="375" y="737"/>
                        <a:pt x="375" y="737"/>
                        <a:pt x="375" y="737"/>
                      </a:cubicBezTo>
                      <a:cubicBezTo>
                        <a:pt x="380" y="741"/>
                        <a:pt x="380" y="741"/>
                        <a:pt x="380" y="741"/>
                      </a:cubicBezTo>
                      <a:cubicBezTo>
                        <a:pt x="379" y="746"/>
                        <a:pt x="379" y="746"/>
                        <a:pt x="379" y="746"/>
                      </a:cubicBezTo>
                      <a:cubicBezTo>
                        <a:pt x="373" y="750"/>
                        <a:pt x="373" y="750"/>
                        <a:pt x="373" y="750"/>
                      </a:cubicBezTo>
                      <a:cubicBezTo>
                        <a:pt x="372" y="746"/>
                        <a:pt x="372" y="746"/>
                        <a:pt x="372" y="746"/>
                      </a:cubicBezTo>
                      <a:cubicBezTo>
                        <a:pt x="375" y="741"/>
                        <a:pt x="375" y="741"/>
                        <a:pt x="375" y="741"/>
                      </a:cubicBezTo>
                      <a:cubicBezTo>
                        <a:pt x="373" y="739"/>
                        <a:pt x="373" y="739"/>
                        <a:pt x="373" y="739"/>
                      </a:cubicBezTo>
                      <a:cubicBezTo>
                        <a:pt x="367" y="740"/>
                        <a:pt x="367" y="740"/>
                        <a:pt x="367" y="740"/>
                      </a:cubicBezTo>
                      <a:cubicBezTo>
                        <a:pt x="363" y="751"/>
                        <a:pt x="363" y="751"/>
                        <a:pt x="363" y="751"/>
                      </a:cubicBezTo>
                      <a:cubicBezTo>
                        <a:pt x="361" y="755"/>
                        <a:pt x="361" y="755"/>
                        <a:pt x="361" y="755"/>
                      </a:cubicBezTo>
                      <a:cubicBezTo>
                        <a:pt x="358" y="758"/>
                        <a:pt x="358" y="758"/>
                        <a:pt x="358" y="758"/>
                      </a:cubicBezTo>
                      <a:cubicBezTo>
                        <a:pt x="357" y="764"/>
                        <a:pt x="357" y="764"/>
                        <a:pt x="357" y="764"/>
                      </a:cubicBezTo>
                      <a:cubicBezTo>
                        <a:pt x="358" y="766"/>
                        <a:pt x="358" y="766"/>
                        <a:pt x="358" y="766"/>
                      </a:cubicBezTo>
                      <a:cubicBezTo>
                        <a:pt x="356" y="769"/>
                        <a:pt x="356" y="769"/>
                        <a:pt x="356" y="769"/>
                      </a:cubicBezTo>
                      <a:cubicBezTo>
                        <a:pt x="352" y="769"/>
                        <a:pt x="352" y="769"/>
                        <a:pt x="352" y="769"/>
                      </a:cubicBezTo>
                      <a:cubicBezTo>
                        <a:pt x="347" y="770"/>
                        <a:pt x="347" y="770"/>
                        <a:pt x="347" y="770"/>
                      </a:cubicBezTo>
                      <a:cubicBezTo>
                        <a:pt x="345" y="773"/>
                        <a:pt x="345" y="773"/>
                        <a:pt x="345" y="773"/>
                      </a:cubicBezTo>
                      <a:cubicBezTo>
                        <a:pt x="339" y="777"/>
                        <a:pt x="339" y="777"/>
                        <a:pt x="339" y="777"/>
                      </a:cubicBezTo>
                      <a:cubicBezTo>
                        <a:pt x="329" y="779"/>
                        <a:pt x="329" y="779"/>
                        <a:pt x="329" y="779"/>
                      </a:cubicBezTo>
                      <a:cubicBezTo>
                        <a:pt x="325" y="794"/>
                        <a:pt x="325" y="794"/>
                        <a:pt x="325" y="794"/>
                      </a:cubicBezTo>
                      <a:cubicBezTo>
                        <a:pt x="314" y="802"/>
                        <a:pt x="314" y="802"/>
                        <a:pt x="314" y="802"/>
                      </a:cubicBezTo>
                      <a:cubicBezTo>
                        <a:pt x="307" y="806"/>
                        <a:pt x="307" y="806"/>
                        <a:pt x="307" y="806"/>
                      </a:cubicBezTo>
                      <a:cubicBezTo>
                        <a:pt x="307" y="809"/>
                        <a:pt x="307" y="809"/>
                        <a:pt x="307" y="809"/>
                      </a:cubicBezTo>
                      <a:cubicBezTo>
                        <a:pt x="297" y="809"/>
                        <a:pt x="297" y="809"/>
                        <a:pt x="297" y="809"/>
                      </a:cubicBezTo>
                      <a:cubicBezTo>
                        <a:pt x="293" y="804"/>
                        <a:pt x="293" y="804"/>
                        <a:pt x="293" y="804"/>
                      </a:cubicBezTo>
                      <a:cubicBezTo>
                        <a:pt x="285" y="804"/>
                        <a:pt x="285" y="804"/>
                        <a:pt x="285" y="804"/>
                      </a:cubicBezTo>
                      <a:cubicBezTo>
                        <a:pt x="285" y="808"/>
                        <a:pt x="285" y="808"/>
                        <a:pt x="285" y="808"/>
                      </a:cubicBezTo>
                      <a:cubicBezTo>
                        <a:pt x="289" y="816"/>
                        <a:pt x="289" y="816"/>
                        <a:pt x="289" y="816"/>
                      </a:cubicBezTo>
                      <a:cubicBezTo>
                        <a:pt x="292" y="821"/>
                        <a:pt x="292" y="821"/>
                        <a:pt x="292" y="821"/>
                      </a:cubicBezTo>
                      <a:cubicBezTo>
                        <a:pt x="288" y="825"/>
                        <a:pt x="288" y="825"/>
                        <a:pt x="288" y="825"/>
                      </a:cubicBezTo>
                      <a:cubicBezTo>
                        <a:pt x="283" y="824"/>
                        <a:pt x="283" y="824"/>
                        <a:pt x="283" y="824"/>
                      </a:cubicBezTo>
                      <a:cubicBezTo>
                        <a:pt x="279" y="825"/>
                        <a:pt x="279" y="825"/>
                        <a:pt x="279" y="825"/>
                      </a:cubicBezTo>
                      <a:cubicBezTo>
                        <a:pt x="270" y="821"/>
                        <a:pt x="270" y="821"/>
                        <a:pt x="270" y="821"/>
                      </a:cubicBezTo>
                      <a:cubicBezTo>
                        <a:pt x="266" y="821"/>
                        <a:pt x="266" y="821"/>
                        <a:pt x="266" y="821"/>
                      </a:cubicBezTo>
                      <a:cubicBezTo>
                        <a:pt x="261" y="825"/>
                        <a:pt x="261" y="825"/>
                        <a:pt x="261" y="825"/>
                      </a:cubicBezTo>
                      <a:cubicBezTo>
                        <a:pt x="253" y="825"/>
                        <a:pt x="253" y="825"/>
                        <a:pt x="253" y="825"/>
                      </a:cubicBezTo>
                      <a:cubicBezTo>
                        <a:pt x="251" y="830"/>
                        <a:pt x="251" y="830"/>
                        <a:pt x="251" y="830"/>
                      </a:cubicBezTo>
                      <a:cubicBezTo>
                        <a:pt x="255" y="833"/>
                        <a:pt x="255" y="833"/>
                        <a:pt x="255" y="833"/>
                      </a:cubicBezTo>
                      <a:cubicBezTo>
                        <a:pt x="253" y="836"/>
                        <a:pt x="253" y="836"/>
                        <a:pt x="253" y="836"/>
                      </a:cubicBezTo>
                      <a:cubicBezTo>
                        <a:pt x="259" y="840"/>
                        <a:pt x="259" y="840"/>
                        <a:pt x="259" y="840"/>
                      </a:cubicBezTo>
                      <a:cubicBezTo>
                        <a:pt x="267" y="842"/>
                        <a:pt x="267" y="842"/>
                        <a:pt x="267" y="842"/>
                      </a:cubicBezTo>
                      <a:cubicBezTo>
                        <a:pt x="273" y="843"/>
                        <a:pt x="273" y="843"/>
                        <a:pt x="273" y="843"/>
                      </a:cubicBezTo>
                      <a:cubicBezTo>
                        <a:pt x="275" y="846"/>
                        <a:pt x="275" y="846"/>
                        <a:pt x="275" y="846"/>
                      </a:cubicBezTo>
                      <a:cubicBezTo>
                        <a:pt x="280" y="846"/>
                        <a:pt x="280" y="846"/>
                        <a:pt x="280" y="846"/>
                      </a:cubicBezTo>
                      <a:cubicBezTo>
                        <a:pt x="285" y="852"/>
                        <a:pt x="285" y="852"/>
                        <a:pt x="285" y="852"/>
                      </a:cubicBezTo>
                      <a:cubicBezTo>
                        <a:pt x="283" y="858"/>
                        <a:pt x="283" y="858"/>
                        <a:pt x="283" y="858"/>
                      </a:cubicBezTo>
                      <a:cubicBezTo>
                        <a:pt x="295" y="867"/>
                        <a:pt x="295" y="867"/>
                        <a:pt x="295" y="867"/>
                      </a:cubicBezTo>
                      <a:cubicBezTo>
                        <a:pt x="295" y="872"/>
                        <a:pt x="295" y="872"/>
                        <a:pt x="295" y="872"/>
                      </a:cubicBezTo>
                      <a:cubicBezTo>
                        <a:pt x="293" y="873"/>
                        <a:pt x="293" y="873"/>
                        <a:pt x="293" y="873"/>
                      </a:cubicBezTo>
                      <a:cubicBezTo>
                        <a:pt x="294" y="882"/>
                        <a:pt x="294" y="882"/>
                        <a:pt x="294" y="882"/>
                      </a:cubicBezTo>
                      <a:cubicBezTo>
                        <a:pt x="295" y="888"/>
                        <a:pt x="295" y="888"/>
                        <a:pt x="295" y="888"/>
                      </a:cubicBezTo>
                      <a:cubicBezTo>
                        <a:pt x="299" y="890"/>
                        <a:pt x="299" y="890"/>
                        <a:pt x="299" y="890"/>
                      </a:cubicBezTo>
                      <a:cubicBezTo>
                        <a:pt x="301" y="895"/>
                        <a:pt x="301" y="895"/>
                        <a:pt x="301" y="895"/>
                      </a:cubicBezTo>
                      <a:cubicBezTo>
                        <a:pt x="296" y="891"/>
                        <a:pt x="296" y="891"/>
                        <a:pt x="296" y="891"/>
                      </a:cubicBezTo>
                      <a:cubicBezTo>
                        <a:pt x="296" y="900"/>
                        <a:pt x="296" y="900"/>
                        <a:pt x="296" y="900"/>
                      </a:cubicBezTo>
                      <a:cubicBezTo>
                        <a:pt x="294" y="910"/>
                        <a:pt x="294" y="910"/>
                        <a:pt x="294" y="910"/>
                      </a:cubicBezTo>
                      <a:cubicBezTo>
                        <a:pt x="290" y="919"/>
                        <a:pt x="290" y="919"/>
                        <a:pt x="290" y="919"/>
                      </a:cubicBezTo>
                      <a:cubicBezTo>
                        <a:pt x="276" y="919"/>
                        <a:pt x="276" y="919"/>
                        <a:pt x="276" y="919"/>
                      </a:cubicBezTo>
                      <a:cubicBezTo>
                        <a:pt x="263" y="916"/>
                        <a:pt x="263" y="916"/>
                        <a:pt x="263" y="916"/>
                      </a:cubicBezTo>
                      <a:cubicBezTo>
                        <a:pt x="254" y="918"/>
                        <a:pt x="254" y="918"/>
                        <a:pt x="254" y="918"/>
                      </a:cubicBezTo>
                      <a:cubicBezTo>
                        <a:pt x="241" y="913"/>
                        <a:pt x="241" y="913"/>
                        <a:pt x="241" y="913"/>
                      </a:cubicBezTo>
                      <a:cubicBezTo>
                        <a:pt x="235" y="915"/>
                        <a:pt x="235" y="915"/>
                        <a:pt x="235" y="915"/>
                      </a:cubicBezTo>
                      <a:cubicBezTo>
                        <a:pt x="231" y="916"/>
                        <a:pt x="231" y="916"/>
                        <a:pt x="231" y="916"/>
                      </a:cubicBezTo>
                      <a:cubicBezTo>
                        <a:pt x="216" y="915"/>
                        <a:pt x="216" y="915"/>
                        <a:pt x="216" y="915"/>
                      </a:cubicBezTo>
                      <a:cubicBezTo>
                        <a:pt x="213" y="912"/>
                        <a:pt x="213" y="912"/>
                        <a:pt x="213" y="912"/>
                      </a:cubicBezTo>
                      <a:cubicBezTo>
                        <a:pt x="207" y="912"/>
                        <a:pt x="207" y="912"/>
                        <a:pt x="207" y="912"/>
                      </a:cubicBezTo>
                      <a:cubicBezTo>
                        <a:pt x="204" y="918"/>
                        <a:pt x="204" y="918"/>
                        <a:pt x="204" y="918"/>
                      </a:cubicBezTo>
                      <a:cubicBezTo>
                        <a:pt x="197" y="921"/>
                        <a:pt x="197" y="921"/>
                        <a:pt x="197" y="921"/>
                      </a:cubicBezTo>
                      <a:cubicBezTo>
                        <a:pt x="193" y="927"/>
                        <a:pt x="193" y="927"/>
                        <a:pt x="193" y="927"/>
                      </a:cubicBezTo>
                      <a:cubicBezTo>
                        <a:pt x="200" y="937"/>
                        <a:pt x="200" y="937"/>
                        <a:pt x="200" y="937"/>
                      </a:cubicBezTo>
                      <a:cubicBezTo>
                        <a:pt x="200" y="943"/>
                        <a:pt x="200" y="943"/>
                        <a:pt x="200" y="943"/>
                      </a:cubicBezTo>
                      <a:cubicBezTo>
                        <a:pt x="198" y="948"/>
                        <a:pt x="198" y="948"/>
                        <a:pt x="198" y="948"/>
                      </a:cubicBezTo>
                      <a:cubicBezTo>
                        <a:pt x="200" y="955"/>
                        <a:pt x="200" y="955"/>
                        <a:pt x="200" y="955"/>
                      </a:cubicBezTo>
                      <a:cubicBezTo>
                        <a:pt x="202" y="963"/>
                        <a:pt x="202" y="963"/>
                        <a:pt x="202" y="963"/>
                      </a:cubicBezTo>
                      <a:cubicBezTo>
                        <a:pt x="200" y="975"/>
                        <a:pt x="200" y="975"/>
                        <a:pt x="200" y="975"/>
                      </a:cubicBezTo>
                      <a:cubicBezTo>
                        <a:pt x="197" y="978"/>
                        <a:pt x="197" y="978"/>
                        <a:pt x="197" y="978"/>
                      </a:cubicBezTo>
                      <a:cubicBezTo>
                        <a:pt x="196" y="984"/>
                        <a:pt x="196" y="984"/>
                        <a:pt x="196" y="984"/>
                      </a:cubicBezTo>
                      <a:cubicBezTo>
                        <a:pt x="192" y="988"/>
                        <a:pt x="192" y="988"/>
                        <a:pt x="192" y="988"/>
                      </a:cubicBezTo>
                      <a:cubicBezTo>
                        <a:pt x="193" y="1001"/>
                        <a:pt x="193" y="1001"/>
                        <a:pt x="193" y="1001"/>
                      </a:cubicBezTo>
                      <a:cubicBezTo>
                        <a:pt x="197" y="1001"/>
                        <a:pt x="197" y="1001"/>
                        <a:pt x="197" y="1001"/>
                      </a:cubicBezTo>
                      <a:cubicBezTo>
                        <a:pt x="198" y="1006"/>
                        <a:pt x="198" y="1006"/>
                        <a:pt x="198" y="1006"/>
                      </a:cubicBezTo>
                      <a:cubicBezTo>
                        <a:pt x="198" y="1018"/>
                        <a:pt x="198" y="1018"/>
                        <a:pt x="198" y="1018"/>
                      </a:cubicBezTo>
                      <a:cubicBezTo>
                        <a:pt x="197" y="1025"/>
                        <a:pt x="197" y="1025"/>
                        <a:pt x="197" y="1025"/>
                      </a:cubicBezTo>
                      <a:cubicBezTo>
                        <a:pt x="204" y="1025"/>
                        <a:pt x="204" y="1025"/>
                        <a:pt x="204" y="1025"/>
                      </a:cubicBezTo>
                      <a:cubicBezTo>
                        <a:pt x="210" y="1027"/>
                        <a:pt x="210" y="1027"/>
                        <a:pt x="210" y="1027"/>
                      </a:cubicBezTo>
                      <a:cubicBezTo>
                        <a:pt x="216" y="1023"/>
                        <a:pt x="216" y="1023"/>
                        <a:pt x="216" y="1023"/>
                      </a:cubicBezTo>
                      <a:cubicBezTo>
                        <a:pt x="219" y="1023"/>
                        <a:pt x="219" y="1023"/>
                        <a:pt x="219" y="1023"/>
                      </a:cubicBezTo>
                      <a:cubicBezTo>
                        <a:pt x="224" y="1024"/>
                        <a:pt x="224" y="1024"/>
                        <a:pt x="224" y="1024"/>
                      </a:cubicBezTo>
                      <a:cubicBezTo>
                        <a:pt x="228" y="1034"/>
                        <a:pt x="228" y="1034"/>
                        <a:pt x="228" y="1034"/>
                      </a:cubicBezTo>
                      <a:cubicBezTo>
                        <a:pt x="234" y="1037"/>
                        <a:pt x="234" y="1037"/>
                        <a:pt x="234" y="1037"/>
                      </a:cubicBezTo>
                      <a:cubicBezTo>
                        <a:pt x="236" y="1039"/>
                        <a:pt x="236" y="1039"/>
                        <a:pt x="236" y="1039"/>
                      </a:cubicBezTo>
                      <a:cubicBezTo>
                        <a:pt x="241" y="1040"/>
                        <a:pt x="241" y="1040"/>
                        <a:pt x="241" y="1040"/>
                      </a:cubicBezTo>
                      <a:cubicBezTo>
                        <a:pt x="249" y="1033"/>
                        <a:pt x="249" y="1033"/>
                        <a:pt x="249" y="1033"/>
                      </a:cubicBezTo>
                      <a:cubicBezTo>
                        <a:pt x="261" y="1030"/>
                        <a:pt x="261" y="1030"/>
                        <a:pt x="261" y="1030"/>
                      </a:cubicBezTo>
                      <a:cubicBezTo>
                        <a:pt x="268" y="1031"/>
                        <a:pt x="268" y="1031"/>
                        <a:pt x="268" y="1031"/>
                      </a:cubicBezTo>
                      <a:cubicBezTo>
                        <a:pt x="275" y="1034"/>
                        <a:pt x="275" y="1034"/>
                        <a:pt x="275" y="1034"/>
                      </a:cubicBezTo>
                      <a:cubicBezTo>
                        <a:pt x="283" y="1028"/>
                        <a:pt x="283" y="1028"/>
                        <a:pt x="283" y="1028"/>
                      </a:cubicBezTo>
                      <a:cubicBezTo>
                        <a:pt x="285" y="1024"/>
                        <a:pt x="285" y="1024"/>
                        <a:pt x="285" y="1024"/>
                      </a:cubicBezTo>
                      <a:cubicBezTo>
                        <a:pt x="290" y="1022"/>
                        <a:pt x="290" y="1022"/>
                        <a:pt x="290" y="1022"/>
                      </a:cubicBezTo>
                      <a:cubicBezTo>
                        <a:pt x="294" y="1017"/>
                        <a:pt x="294" y="1017"/>
                        <a:pt x="294" y="1017"/>
                      </a:cubicBezTo>
                      <a:cubicBezTo>
                        <a:pt x="302" y="1014"/>
                        <a:pt x="302" y="1014"/>
                        <a:pt x="302" y="1014"/>
                      </a:cubicBezTo>
                      <a:cubicBezTo>
                        <a:pt x="304" y="1006"/>
                        <a:pt x="304" y="1006"/>
                        <a:pt x="304" y="1006"/>
                      </a:cubicBezTo>
                      <a:cubicBezTo>
                        <a:pt x="310" y="998"/>
                        <a:pt x="310" y="998"/>
                        <a:pt x="310" y="998"/>
                      </a:cubicBezTo>
                      <a:cubicBezTo>
                        <a:pt x="309" y="985"/>
                        <a:pt x="309" y="985"/>
                        <a:pt x="309" y="985"/>
                      </a:cubicBezTo>
                      <a:cubicBezTo>
                        <a:pt x="310" y="973"/>
                        <a:pt x="310" y="973"/>
                        <a:pt x="310" y="973"/>
                      </a:cubicBezTo>
                      <a:cubicBezTo>
                        <a:pt x="316" y="966"/>
                        <a:pt x="316" y="966"/>
                        <a:pt x="316" y="966"/>
                      </a:cubicBezTo>
                      <a:cubicBezTo>
                        <a:pt x="317" y="962"/>
                        <a:pt x="317" y="962"/>
                        <a:pt x="317" y="962"/>
                      </a:cubicBezTo>
                      <a:cubicBezTo>
                        <a:pt x="324" y="955"/>
                        <a:pt x="324" y="955"/>
                        <a:pt x="324" y="955"/>
                      </a:cubicBezTo>
                      <a:cubicBezTo>
                        <a:pt x="331" y="955"/>
                        <a:pt x="331" y="955"/>
                        <a:pt x="331" y="955"/>
                      </a:cubicBezTo>
                      <a:cubicBezTo>
                        <a:pt x="343" y="950"/>
                        <a:pt x="343" y="950"/>
                        <a:pt x="343" y="950"/>
                      </a:cubicBezTo>
                      <a:cubicBezTo>
                        <a:pt x="347" y="940"/>
                        <a:pt x="347" y="940"/>
                        <a:pt x="347" y="940"/>
                      </a:cubicBezTo>
                      <a:cubicBezTo>
                        <a:pt x="346" y="933"/>
                        <a:pt x="346" y="933"/>
                        <a:pt x="346" y="933"/>
                      </a:cubicBezTo>
                      <a:cubicBezTo>
                        <a:pt x="349" y="922"/>
                        <a:pt x="349" y="922"/>
                        <a:pt x="349" y="922"/>
                      </a:cubicBezTo>
                      <a:cubicBezTo>
                        <a:pt x="358" y="916"/>
                        <a:pt x="358" y="916"/>
                        <a:pt x="358" y="916"/>
                      </a:cubicBezTo>
                      <a:cubicBezTo>
                        <a:pt x="368" y="921"/>
                        <a:pt x="368" y="921"/>
                        <a:pt x="368" y="921"/>
                      </a:cubicBezTo>
                      <a:cubicBezTo>
                        <a:pt x="375" y="920"/>
                        <a:pt x="375" y="920"/>
                        <a:pt x="375" y="920"/>
                      </a:cubicBezTo>
                      <a:cubicBezTo>
                        <a:pt x="381" y="922"/>
                        <a:pt x="381" y="922"/>
                        <a:pt x="381" y="922"/>
                      </a:cubicBezTo>
                      <a:cubicBezTo>
                        <a:pt x="388" y="920"/>
                        <a:pt x="388" y="920"/>
                        <a:pt x="388" y="920"/>
                      </a:cubicBezTo>
                      <a:cubicBezTo>
                        <a:pt x="394" y="916"/>
                        <a:pt x="394" y="916"/>
                        <a:pt x="394" y="916"/>
                      </a:cubicBezTo>
                      <a:cubicBezTo>
                        <a:pt x="400" y="915"/>
                        <a:pt x="400" y="915"/>
                        <a:pt x="400" y="915"/>
                      </a:cubicBezTo>
                      <a:cubicBezTo>
                        <a:pt x="408" y="910"/>
                        <a:pt x="408" y="910"/>
                        <a:pt x="408" y="910"/>
                      </a:cubicBezTo>
                      <a:cubicBezTo>
                        <a:pt x="416" y="902"/>
                        <a:pt x="416" y="902"/>
                        <a:pt x="416" y="902"/>
                      </a:cubicBezTo>
                      <a:cubicBezTo>
                        <a:pt x="428" y="900"/>
                        <a:pt x="428" y="900"/>
                        <a:pt x="428" y="900"/>
                      </a:cubicBezTo>
                      <a:cubicBezTo>
                        <a:pt x="433" y="902"/>
                        <a:pt x="433" y="902"/>
                        <a:pt x="433" y="902"/>
                      </a:cubicBezTo>
                      <a:cubicBezTo>
                        <a:pt x="441" y="914"/>
                        <a:pt x="441" y="914"/>
                        <a:pt x="441" y="914"/>
                      </a:cubicBezTo>
                      <a:cubicBezTo>
                        <a:pt x="442" y="926"/>
                        <a:pt x="442" y="926"/>
                        <a:pt x="442" y="926"/>
                      </a:cubicBezTo>
                      <a:cubicBezTo>
                        <a:pt x="450" y="931"/>
                        <a:pt x="450" y="931"/>
                        <a:pt x="450" y="931"/>
                      </a:cubicBezTo>
                      <a:cubicBezTo>
                        <a:pt x="452" y="938"/>
                        <a:pt x="452" y="938"/>
                        <a:pt x="452" y="938"/>
                      </a:cubicBezTo>
                      <a:cubicBezTo>
                        <a:pt x="459" y="943"/>
                        <a:pt x="459" y="943"/>
                        <a:pt x="459" y="943"/>
                      </a:cubicBezTo>
                      <a:cubicBezTo>
                        <a:pt x="463" y="944"/>
                        <a:pt x="463" y="944"/>
                        <a:pt x="463" y="944"/>
                      </a:cubicBezTo>
                      <a:cubicBezTo>
                        <a:pt x="466" y="949"/>
                        <a:pt x="466" y="949"/>
                        <a:pt x="466" y="949"/>
                      </a:cubicBezTo>
                      <a:cubicBezTo>
                        <a:pt x="477" y="956"/>
                        <a:pt x="477" y="956"/>
                        <a:pt x="477" y="956"/>
                      </a:cubicBezTo>
                      <a:cubicBezTo>
                        <a:pt x="481" y="957"/>
                        <a:pt x="481" y="957"/>
                        <a:pt x="481" y="957"/>
                      </a:cubicBezTo>
                      <a:cubicBezTo>
                        <a:pt x="486" y="962"/>
                        <a:pt x="486" y="962"/>
                        <a:pt x="486" y="962"/>
                      </a:cubicBezTo>
                      <a:cubicBezTo>
                        <a:pt x="489" y="962"/>
                        <a:pt x="489" y="962"/>
                        <a:pt x="489" y="962"/>
                      </a:cubicBezTo>
                      <a:cubicBezTo>
                        <a:pt x="492" y="965"/>
                        <a:pt x="492" y="965"/>
                        <a:pt x="492" y="965"/>
                      </a:cubicBezTo>
                      <a:cubicBezTo>
                        <a:pt x="497" y="967"/>
                        <a:pt x="497" y="967"/>
                        <a:pt x="497" y="967"/>
                      </a:cubicBezTo>
                      <a:cubicBezTo>
                        <a:pt x="498" y="972"/>
                        <a:pt x="498" y="972"/>
                        <a:pt x="498" y="972"/>
                      </a:cubicBezTo>
                      <a:cubicBezTo>
                        <a:pt x="503" y="975"/>
                        <a:pt x="503" y="975"/>
                        <a:pt x="503" y="975"/>
                      </a:cubicBezTo>
                      <a:cubicBezTo>
                        <a:pt x="507" y="975"/>
                        <a:pt x="507" y="975"/>
                        <a:pt x="507" y="975"/>
                      </a:cubicBezTo>
                      <a:cubicBezTo>
                        <a:pt x="511" y="980"/>
                        <a:pt x="511" y="980"/>
                        <a:pt x="511" y="980"/>
                      </a:cubicBezTo>
                      <a:cubicBezTo>
                        <a:pt x="511" y="986"/>
                        <a:pt x="511" y="986"/>
                        <a:pt x="511" y="986"/>
                      </a:cubicBezTo>
                      <a:cubicBezTo>
                        <a:pt x="513" y="994"/>
                        <a:pt x="513" y="994"/>
                        <a:pt x="513" y="994"/>
                      </a:cubicBezTo>
                      <a:cubicBezTo>
                        <a:pt x="508" y="1001"/>
                        <a:pt x="508" y="1001"/>
                        <a:pt x="508" y="1001"/>
                      </a:cubicBezTo>
                      <a:cubicBezTo>
                        <a:pt x="506" y="1006"/>
                        <a:pt x="506" y="1006"/>
                        <a:pt x="506" y="1006"/>
                      </a:cubicBezTo>
                      <a:cubicBezTo>
                        <a:pt x="509" y="1010"/>
                        <a:pt x="509" y="1010"/>
                        <a:pt x="509" y="1010"/>
                      </a:cubicBezTo>
                      <a:cubicBezTo>
                        <a:pt x="518" y="1003"/>
                        <a:pt x="518" y="1003"/>
                        <a:pt x="518" y="1003"/>
                      </a:cubicBezTo>
                      <a:cubicBezTo>
                        <a:pt x="520" y="996"/>
                        <a:pt x="520" y="996"/>
                        <a:pt x="520" y="996"/>
                      </a:cubicBezTo>
                      <a:cubicBezTo>
                        <a:pt x="526" y="993"/>
                        <a:pt x="526" y="993"/>
                        <a:pt x="526" y="993"/>
                      </a:cubicBezTo>
                      <a:cubicBezTo>
                        <a:pt x="525" y="987"/>
                        <a:pt x="525" y="987"/>
                        <a:pt x="525" y="987"/>
                      </a:cubicBezTo>
                      <a:cubicBezTo>
                        <a:pt x="519" y="980"/>
                        <a:pt x="519" y="980"/>
                        <a:pt x="519" y="980"/>
                      </a:cubicBezTo>
                      <a:cubicBezTo>
                        <a:pt x="521" y="970"/>
                        <a:pt x="521" y="970"/>
                        <a:pt x="521" y="970"/>
                      </a:cubicBezTo>
                      <a:cubicBezTo>
                        <a:pt x="528" y="969"/>
                        <a:pt x="528" y="969"/>
                        <a:pt x="528" y="969"/>
                      </a:cubicBezTo>
                      <a:cubicBezTo>
                        <a:pt x="533" y="972"/>
                        <a:pt x="533" y="972"/>
                        <a:pt x="533" y="972"/>
                      </a:cubicBezTo>
                      <a:cubicBezTo>
                        <a:pt x="541" y="977"/>
                        <a:pt x="541" y="977"/>
                        <a:pt x="541" y="977"/>
                      </a:cubicBezTo>
                      <a:cubicBezTo>
                        <a:pt x="543" y="975"/>
                        <a:pt x="543" y="975"/>
                        <a:pt x="543" y="975"/>
                      </a:cubicBezTo>
                      <a:cubicBezTo>
                        <a:pt x="542" y="970"/>
                        <a:pt x="542" y="970"/>
                        <a:pt x="542" y="970"/>
                      </a:cubicBezTo>
                      <a:cubicBezTo>
                        <a:pt x="534" y="963"/>
                        <a:pt x="534" y="963"/>
                        <a:pt x="534" y="963"/>
                      </a:cubicBezTo>
                      <a:cubicBezTo>
                        <a:pt x="526" y="960"/>
                        <a:pt x="526" y="960"/>
                        <a:pt x="526" y="960"/>
                      </a:cubicBezTo>
                      <a:cubicBezTo>
                        <a:pt x="526" y="955"/>
                        <a:pt x="526" y="955"/>
                        <a:pt x="526" y="955"/>
                      </a:cubicBezTo>
                      <a:cubicBezTo>
                        <a:pt x="516" y="954"/>
                        <a:pt x="516" y="954"/>
                        <a:pt x="516" y="954"/>
                      </a:cubicBezTo>
                      <a:cubicBezTo>
                        <a:pt x="513" y="951"/>
                        <a:pt x="513" y="951"/>
                        <a:pt x="513" y="951"/>
                      </a:cubicBezTo>
                      <a:cubicBezTo>
                        <a:pt x="510" y="943"/>
                        <a:pt x="510" y="943"/>
                        <a:pt x="510" y="943"/>
                      </a:cubicBezTo>
                      <a:cubicBezTo>
                        <a:pt x="498" y="942"/>
                        <a:pt x="498" y="942"/>
                        <a:pt x="498" y="942"/>
                      </a:cubicBezTo>
                      <a:cubicBezTo>
                        <a:pt x="486" y="934"/>
                        <a:pt x="486" y="934"/>
                        <a:pt x="486" y="934"/>
                      </a:cubicBezTo>
                      <a:cubicBezTo>
                        <a:pt x="480" y="920"/>
                        <a:pt x="480" y="920"/>
                        <a:pt x="480" y="920"/>
                      </a:cubicBezTo>
                      <a:cubicBezTo>
                        <a:pt x="475" y="912"/>
                        <a:pt x="475" y="912"/>
                        <a:pt x="475" y="912"/>
                      </a:cubicBezTo>
                      <a:cubicBezTo>
                        <a:pt x="462" y="903"/>
                        <a:pt x="462" y="903"/>
                        <a:pt x="462" y="903"/>
                      </a:cubicBezTo>
                      <a:cubicBezTo>
                        <a:pt x="463" y="889"/>
                        <a:pt x="463" y="889"/>
                        <a:pt x="463" y="889"/>
                      </a:cubicBezTo>
                      <a:cubicBezTo>
                        <a:pt x="462" y="887"/>
                        <a:pt x="462" y="887"/>
                        <a:pt x="462" y="887"/>
                      </a:cubicBezTo>
                      <a:cubicBezTo>
                        <a:pt x="467" y="882"/>
                        <a:pt x="467" y="882"/>
                        <a:pt x="467" y="882"/>
                      </a:cubicBezTo>
                      <a:cubicBezTo>
                        <a:pt x="480" y="879"/>
                        <a:pt x="480" y="879"/>
                        <a:pt x="480" y="879"/>
                      </a:cubicBezTo>
                      <a:cubicBezTo>
                        <a:pt x="480" y="885"/>
                        <a:pt x="480" y="885"/>
                        <a:pt x="480" y="885"/>
                      </a:cubicBezTo>
                      <a:cubicBezTo>
                        <a:pt x="485" y="894"/>
                        <a:pt x="485" y="894"/>
                        <a:pt x="485" y="894"/>
                      </a:cubicBezTo>
                      <a:cubicBezTo>
                        <a:pt x="487" y="889"/>
                        <a:pt x="487" y="889"/>
                        <a:pt x="487" y="889"/>
                      </a:cubicBezTo>
                      <a:cubicBezTo>
                        <a:pt x="492" y="886"/>
                        <a:pt x="492" y="886"/>
                        <a:pt x="492" y="886"/>
                      </a:cubicBezTo>
                      <a:cubicBezTo>
                        <a:pt x="495" y="894"/>
                        <a:pt x="495" y="894"/>
                        <a:pt x="495" y="894"/>
                      </a:cubicBezTo>
                      <a:cubicBezTo>
                        <a:pt x="499" y="898"/>
                        <a:pt x="499" y="898"/>
                        <a:pt x="499" y="898"/>
                      </a:cubicBezTo>
                      <a:cubicBezTo>
                        <a:pt x="501" y="905"/>
                        <a:pt x="501" y="905"/>
                        <a:pt x="501" y="905"/>
                      </a:cubicBezTo>
                      <a:cubicBezTo>
                        <a:pt x="507" y="912"/>
                        <a:pt x="507" y="912"/>
                        <a:pt x="507" y="912"/>
                      </a:cubicBezTo>
                      <a:cubicBezTo>
                        <a:pt x="517" y="918"/>
                        <a:pt x="517" y="918"/>
                        <a:pt x="517" y="918"/>
                      </a:cubicBezTo>
                      <a:cubicBezTo>
                        <a:pt x="528" y="924"/>
                        <a:pt x="528" y="924"/>
                        <a:pt x="528" y="924"/>
                      </a:cubicBezTo>
                      <a:cubicBezTo>
                        <a:pt x="531" y="931"/>
                        <a:pt x="531" y="931"/>
                        <a:pt x="531" y="931"/>
                      </a:cubicBezTo>
                      <a:cubicBezTo>
                        <a:pt x="539" y="934"/>
                        <a:pt x="539" y="934"/>
                        <a:pt x="539" y="934"/>
                      </a:cubicBezTo>
                      <a:cubicBezTo>
                        <a:pt x="550" y="940"/>
                        <a:pt x="550" y="940"/>
                        <a:pt x="550" y="940"/>
                      </a:cubicBezTo>
                      <a:cubicBezTo>
                        <a:pt x="554" y="946"/>
                        <a:pt x="554" y="946"/>
                        <a:pt x="554" y="946"/>
                      </a:cubicBezTo>
                      <a:cubicBezTo>
                        <a:pt x="555" y="952"/>
                        <a:pt x="555" y="952"/>
                        <a:pt x="555" y="952"/>
                      </a:cubicBezTo>
                      <a:cubicBezTo>
                        <a:pt x="553" y="960"/>
                        <a:pt x="553" y="960"/>
                        <a:pt x="553" y="960"/>
                      </a:cubicBezTo>
                      <a:cubicBezTo>
                        <a:pt x="555" y="970"/>
                        <a:pt x="555" y="970"/>
                        <a:pt x="555" y="970"/>
                      </a:cubicBezTo>
                      <a:cubicBezTo>
                        <a:pt x="563" y="980"/>
                        <a:pt x="563" y="980"/>
                        <a:pt x="563" y="980"/>
                      </a:cubicBezTo>
                      <a:cubicBezTo>
                        <a:pt x="565" y="985"/>
                        <a:pt x="565" y="985"/>
                        <a:pt x="565" y="985"/>
                      </a:cubicBezTo>
                      <a:cubicBezTo>
                        <a:pt x="569" y="990"/>
                        <a:pt x="569" y="990"/>
                        <a:pt x="569" y="990"/>
                      </a:cubicBezTo>
                      <a:cubicBezTo>
                        <a:pt x="572" y="997"/>
                        <a:pt x="572" y="997"/>
                        <a:pt x="572" y="997"/>
                      </a:cubicBezTo>
                      <a:cubicBezTo>
                        <a:pt x="578" y="1003"/>
                        <a:pt x="578" y="1003"/>
                        <a:pt x="578" y="1003"/>
                      </a:cubicBezTo>
                      <a:cubicBezTo>
                        <a:pt x="585" y="1001"/>
                        <a:pt x="585" y="1001"/>
                        <a:pt x="585" y="1001"/>
                      </a:cubicBezTo>
                      <a:cubicBezTo>
                        <a:pt x="595" y="1002"/>
                        <a:pt x="595" y="1002"/>
                        <a:pt x="595" y="1002"/>
                      </a:cubicBezTo>
                      <a:cubicBezTo>
                        <a:pt x="598" y="1006"/>
                        <a:pt x="598" y="1006"/>
                        <a:pt x="598" y="1006"/>
                      </a:cubicBezTo>
                      <a:cubicBezTo>
                        <a:pt x="586" y="1005"/>
                        <a:pt x="586" y="1005"/>
                        <a:pt x="586" y="1005"/>
                      </a:cubicBezTo>
                      <a:cubicBezTo>
                        <a:pt x="578" y="1007"/>
                        <a:pt x="578" y="1007"/>
                        <a:pt x="578" y="1007"/>
                      </a:cubicBezTo>
                      <a:cubicBezTo>
                        <a:pt x="578" y="1012"/>
                        <a:pt x="578" y="1012"/>
                        <a:pt x="578" y="1012"/>
                      </a:cubicBezTo>
                      <a:cubicBezTo>
                        <a:pt x="583" y="1017"/>
                        <a:pt x="583" y="1017"/>
                        <a:pt x="583" y="1017"/>
                      </a:cubicBezTo>
                      <a:cubicBezTo>
                        <a:pt x="581" y="1023"/>
                        <a:pt x="581" y="1023"/>
                        <a:pt x="581" y="1023"/>
                      </a:cubicBezTo>
                      <a:cubicBezTo>
                        <a:pt x="583" y="1026"/>
                        <a:pt x="583" y="1026"/>
                        <a:pt x="583" y="1026"/>
                      </a:cubicBezTo>
                      <a:cubicBezTo>
                        <a:pt x="588" y="1026"/>
                        <a:pt x="588" y="1026"/>
                        <a:pt x="588" y="1026"/>
                      </a:cubicBezTo>
                      <a:cubicBezTo>
                        <a:pt x="591" y="1030"/>
                        <a:pt x="591" y="1030"/>
                        <a:pt x="591" y="1030"/>
                      </a:cubicBezTo>
                      <a:cubicBezTo>
                        <a:pt x="596" y="1030"/>
                        <a:pt x="596" y="1030"/>
                        <a:pt x="596" y="1030"/>
                      </a:cubicBezTo>
                      <a:cubicBezTo>
                        <a:pt x="601" y="1031"/>
                        <a:pt x="601" y="1031"/>
                        <a:pt x="601" y="1031"/>
                      </a:cubicBezTo>
                      <a:cubicBezTo>
                        <a:pt x="600" y="1022"/>
                        <a:pt x="600" y="1022"/>
                        <a:pt x="600" y="1022"/>
                      </a:cubicBezTo>
                      <a:cubicBezTo>
                        <a:pt x="596" y="1018"/>
                        <a:pt x="596" y="1018"/>
                        <a:pt x="596" y="1018"/>
                      </a:cubicBezTo>
                      <a:cubicBezTo>
                        <a:pt x="598" y="1017"/>
                        <a:pt x="598" y="1017"/>
                        <a:pt x="598" y="1017"/>
                      </a:cubicBezTo>
                      <a:cubicBezTo>
                        <a:pt x="603" y="1018"/>
                        <a:pt x="603" y="1018"/>
                        <a:pt x="603" y="1018"/>
                      </a:cubicBezTo>
                      <a:cubicBezTo>
                        <a:pt x="604" y="1011"/>
                        <a:pt x="604" y="1011"/>
                        <a:pt x="604" y="1011"/>
                      </a:cubicBezTo>
                      <a:cubicBezTo>
                        <a:pt x="611" y="1010"/>
                        <a:pt x="611" y="1010"/>
                        <a:pt x="611" y="1010"/>
                      </a:cubicBezTo>
                      <a:cubicBezTo>
                        <a:pt x="611" y="1005"/>
                        <a:pt x="611" y="1005"/>
                        <a:pt x="611" y="1005"/>
                      </a:cubicBezTo>
                      <a:cubicBezTo>
                        <a:pt x="605" y="999"/>
                        <a:pt x="605" y="999"/>
                        <a:pt x="605" y="999"/>
                      </a:cubicBezTo>
                      <a:cubicBezTo>
                        <a:pt x="597" y="996"/>
                        <a:pt x="597" y="996"/>
                        <a:pt x="597" y="996"/>
                      </a:cubicBezTo>
                      <a:cubicBezTo>
                        <a:pt x="599" y="984"/>
                        <a:pt x="599" y="984"/>
                        <a:pt x="599" y="984"/>
                      </a:cubicBezTo>
                      <a:cubicBezTo>
                        <a:pt x="591" y="974"/>
                        <a:pt x="591" y="974"/>
                        <a:pt x="591" y="974"/>
                      </a:cubicBezTo>
                      <a:cubicBezTo>
                        <a:pt x="592" y="968"/>
                        <a:pt x="592" y="968"/>
                        <a:pt x="592" y="968"/>
                      </a:cubicBezTo>
                      <a:cubicBezTo>
                        <a:pt x="596" y="966"/>
                        <a:pt x="596" y="966"/>
                        <a:pt x="596" y="966"/>
                      </a:cubicBezTo>
                      <a:cubicBezTo>
                        <a:pt x="599" y="968"/>
                        <a:pt x="599" y="968"/>
                        <a:pt x="599" y="968"/>
                      </a:cubicBezTo>
                      <a:cubicBezTo>
                        <a:pt x="599" y="972"/>
                        <a:pt x="599" y="972"/>
                        <a:pt x="599" y="972"/>
                      </a:cubicBezTo>
                      <a:cubicBezTo>
                        <a:pt x="604" y="976"/>
                        <a:pt x="604" y="976"/>
                        <a:pt x="604" y="976"/>
                      </a:cubicBezTo>
                      <a:cubicBezTo>
                        <a:pt x="605" y="976"/>
                        <a:pt x="605" y="976"/>
                        <a:pt x="605" y="976"/>
                      </a:cubicBezTo>
                      <a:cubicBezTo>
                        <a:pt x="604" y="972"/>
                        <a:pt x="604" y="972"/>
                        <a:pt x="604" y="972"/>
                      </a:cubicBezTo>
                      <a:cubicBezTo>
                        <a:pt x="607" y="971"/>
                        <a:pt x="607" y="971"/>
                        <a:pt x="607" y="971"/>
                      </a:cubicBezTo>
                      <a:cubicBezTo>
                        <a:pt x="608" y="976"/>
                        <a:pt x="608" y="976"/>
                        <a:pt x="608" y="976"/>
                      </a:cubicBezTo>
                      <a:cubicBezTo>
                        <a:pt x="610" y="976"/>
                        <a:pt x="610" y="976"/>
                        <a:pt x="610" y="976"/>
                      </a:cubicBezTo>
                      <a:cubicBezTo>
                        <a:pt x="609" y="972"/>
                        <a:pt x="609" y="972"/>
                        <a:pt x="609" y="972"/>
                      </a:cubicBezTo>
                      <a:cubicBezTo>
                        <a:pt x="613" y="973"/>
                        <a:pt x="613" y="973"/>
                        <a:pt x="613" y="973"/>
                      </a:cubicBezTo>
                      <a:cubicBezTo>
                        <a:pt x="614" y="971"/>
                        <a:pt x="614" y="971"/>
                        <a:pt x="614" y="971"/>
                      </a:cubicBezTo>
                      <a:cubicBezTo>
                        <a:pt x="608" y="968"/>
                        <a:pt x="608" y="968"/>
                        <a:pt x="608" y="968"/>
                      </a:cubicBezTo>
                      <a:cubicBezTo>
                        <a:pt x="608" y="963"/>
                        <a:pt x="608" y="963"/>
                        <a:pt x="608" y="963"/>
                      </a:cubicBezTo>
                      <a:cubicBezTo>
                        <a:pt x="615" y="961"/>
                        <a:pt x="615" y="961"/>
                        <a:pt x="615" y="961"/>
                      </a:cubicBezTo>
                      <a:cubicBezTo>
                        <a:pt x="620" y="960"/>
                        <a:pt x="620" y="960"/>
                        <a:pt x="620" y="960"/>
                      </a:cubicBezTo>
                      <a:cubicBezTo>
                        <a:pt x="623" y="961"/>
                        <a:pt x="623" y="961"/>
                        <a:pt x="623" y="961"/>
                      </a:cubicBezTo>
                      <a:cubicBezTo>
                        <a:pt x="629" y="960"/>
                        <a:pt x="629" y="960"/>
                        <a:pt x="629" y="960"/>
                      </a:cubicBezTo>
                      <a:cubicBezTo>
                        <a:pt x="636" y="962"/>
                        <a:pt x="636" y="962"/>
                        <a:pt x="636" y="962"/>
                      </a:cubicBezTo>
                      <a:cubicBezTo>
                        <a:pt x="640" y="964"/>
                        <a:pt x="640" y="964"/>
                        <a:pt x="640" y="964"/>
                      </a:cubicBezTo>
                      <a:cubicBezTo>
                        <a:pt x="637" y="967"/>
                        <a:pt x="637" y="967"/>
                        <a:pt x="637" y="967"/>
                      </a:cubicBezTo>
                      <a:cubicBezTo>
                        <a:pt x="637" y="970"/>
                        <a:pt x="637" y="970"/>
                        <a:pt x="637" y="970"/>
                      </a:cubicBezTo>
                      <a:cubicBezTo>
                        <a:pt x="643" y="964"/>
                        <a:pt x="643" y="964"/>
                        <a:pt x="643" y="964"/>
                      </a:cubicBezTo>
                      <a:cubicBezTo>
                        <a:pt x="653" y="962"/>
                        <a:pt x="653" y="962"/>
                        <a:pt x="653" y="962"/>
                      </a:cubicBezTo>
                      <a:cubicBezTo>
                        <a:pt x="655" y="958"/>
                        <a:pt x="655" y="958"/>
                        <a:pt x="655" y="958"/>
                      </a:cubicBezTo>
                      <a:cubicBezTo>
                        <a:pt x="662" y="959"/>
                        <a:pt x="662" y="959"/>
                        <a:pt x="662" y="959"/>
                      </a:cubicBezTo>
                      <a:cubicBezTo>
                        <a:pt x="670" y="959"/>
                        <a:pt x="670" y="959"/>
                        <a:pt x="670" y="959"/>
                      </a:cubicBezTo>
                      <a:cubicBezTo>
                        <a:pt x="670" y="954"/>
                        <a:pt x="670" y="954"/>
                        <a:pt x="670" y="954"/>
                      </a:cubicBezTo>
                      <a:cubicBezTo>
                        <a:pt x="656" y="940"/>
                        <a:pt x="656" y="940"/>
                        <a:pt x="656" y="940"/>
                      </a:cubicBezTo>
                      <a:cubicBezTo>
                        <a:pt x="659" y="934"/>
                        <a:pt x="659" y="934"/>
                        <a:pt x="659" y="934"/>
                      </a:cubicBezTo>
                      <a:cubicBezTo>
                        <a:pt x="659" y="921"/>
                        <a:pt x="659" y="921"/>
                        <a:pt x="659" y="921"/>
                      </a:cubicBezTo>
                      <a:cubicBezTo>
                        <a:pt x="665" y="917"/>
                        <a:pt x="665" y="917"/>
                        <a:pt x="665" y="917"/>
                      </a:cubicBezTo>
                      <a:cubicBezTo>
                        <a:pt x="665" y="910"/>
                        <a:pt x="665" y="910"/>
                        <a:pt x="665" y="910"/>
                      </a:cubicBezTo>
                      <a:cubicBezTo>
                        <a:pt x="668" y="898"/>
                        <a:pt x="668" y="898"/>
                        <a:pt x="668" y="898"/>
                      </a:cubicBezTo>
                      <a:cubicBezTo>
                        <a:pt x="680" y="885"/>
                        <a:pt x="680" y="885"/>
                        <a:pt x="680" y="885"/>
                      </a:cubicBezTo>
                      <a:cubicBezTo>
                        <a:pt x="679" y="880"/>
                        <a:pt x="679" y="880"/>
                        <a:pt x="679" y="880"/>
                      </a:cubicBezTo>
                      <a:cubicBezTo>
                        <a:pt x="688" y="870"/>
                        <a:pt x="688" y="870"/>
                        <a:pt x="688" y="870"/>
                      </a:cubicBezTo>
                      <a:cubicBezTo>
                        <a:pt x="688" y="864"/>
                        <a:pt x="688" y="864"/>
                        <a:pt x="688" y="864"/>
                      </a:cubicBezTo>
                      <a:cubicBezTo>
                        <a:pt x="696" y="864"/>
                        <a:pt x="696" y="864"/>
                        <a:pt x="696" y="864"/>
                      </a:cubicBezTo>
                      <a:cubicBezTo>
                        <a:pt x="700" y="860"/>
                        <a:pt x="700" y="860"/>
                        <a:pt x="700" y="860"/>
                      </a:cubicBezTo>
                      <a:cubicBezTo>
                        <a:pt x="704" y="860"/>
                        <a:pt x="704" y="860"/>
                        <a:pt x="704" y="860"/>
                      </a:cubicBezTo>
                      <a:cubicBezTo>
                        <a:pt x="705" y="862"/>
                        <a:pt x="705" y="862"/>
                        <a:pt x="705" y="862"/>
                      </a:cubicBezTo>
                      <a:cubicBezTo>
                        <a:pt x="707" y="865"/>
                        <a:pt x="707" y="865"/>
                        <a:pt x="707" y="865"/>
                      </a:cubicBezTo>
                      <a:cubicBezTo>
                        <a:pt x="713" y="867"/>
                        <a:pt x="713" y="867"/>
                        <a:pt x="713" y="867"/>
                      </a:cubicBezTo>
                      <a:cubicBezTo>
                        <a:pt x="722" y="867"/>
                        <a:pt x="722" y="867"/>
                        <a:pt x="722" y="867"/>
                      </a:cubicBezTo>
                      <a:cubicBezTo>
                        <a:pt x="728" y="870"/>
                        <a:pt x="728" y="870"/>
                        <a:pt x="728" y="870"/>
                      </a:cubicBezTo>
                      <a:cubicBezTo>
                        <a:pt x="728" y="873"/>
                        <a:pt x="728" y="873"/>
                        <a:pt x="728" y="873"/>
                      </a:cubicBezTo>
                      <a:cubicBezTo>
                        <a:pt x="720" y="877"/>
                        <a:pt x="720" y="877"/>
                        <a:pt x="720" y="877"/>
                      </a:cubicBezTo>
                      <a:cubicBezTo>
                        <a:pt x="717" y="878"/>
                        <a:pt x="717" y="878"/>
                        <a:pt x="717" y="878"/>
                      </a:cubicBezTo>
                      <a:cubicBezTo>
                        <a:pt x="717" y="882"/>
                        <a:pt x="717" y="882"/>
                        <a:pt x="717" y="882"/>
                      </a:cubicBezTo>
                      <a:cubicBezTo>
                        <a:pt x="726" y="885"/>
                        <a:pt x="726" y="885"/>
                        <a:pt x="726" y="885"/>
                      </a:cubicBezTo>
                      <a:cubicBezTo>
                        <a:pt x="725" y="891"/>
                        <a:pt x="725" y="891"/>
                        <a:pt x="725" y="891"/>
                      </a:cubicBezTo>
                      <a:cubicBezTo>
                        <a:pt x="728" y="897"/>
                        <a:pt x="728" y="897"/>
                        <a:pt x="728" y="897"/>
                      </a:cubicBezTo>
                      <a:cubicBezTo>
                        <a:pt x="736" y="897"/>
                        <a:pt x="736" y="897"/>
                        <a:pt x="736" y="897"/>
                      </a:cubicBezTo>
                      <a:cubicBezTo>
                        <a:pt x="745" y="891"/>
                        <a:pt x="745" y="891"/>
                        <a:pt x="745" y="891"/>
                      </a:cubicBezTo>
                      <a:cubicBezTo>
                        <a:pt x="752" y="888"/>
                        <a:pt x="752" y="888"/>
                        <a:pt x="752" y="888"/>
                      </a:cubicBezTo>
                      <a:cubicBezTo>
                        <a:pt x="761" y="887"/>
                        <a:pt x="761" y="887"/>
                        <a:pt x="761" y="887"/>
                      </a:cubicBezTo>
                      <a:cubicBezTo>
                        <a:pt x="761" y="882"/>
                        <a:pt x="761" y="882"/>
                        <a:pt x="761" y="882"/>
                      </a:cubicBezTo>
                      <a:cubicBezTo>
                        <a:pt x="757" y="882"/>
                        <a:pt x="757" y="882"/>
                        <a:pt x="757" y="882"/>
                      </a:cubicBezTo>
                      <a:cubicBezTo>
                        <a:pt x="745" y="880"/>
                        <a:pt x="745" y="880"/>
                        <a:pt x="745" y="880"/>
                      </a:cubicBezTo>
                      <a:cubicBezTo>
                        <a:pt x="742" y="876"/>
                        <a:pt x="742" y="876"/>
                        <a:pt x="742" y="876"/>
                      </a:cubicBezTo>
                      <a:cubicBezTo>
                        <a:pt x="733" y="872"/>
                        <a:pt x="733" y="872"/>
                        <a:pt x="733" y="872"/>
                      </a:cubicBezTo>
                      <a:cubicBezTo>
                        <a:pt x="731" y="869"/>
                        <a:pt x="731" y="869"/>
                        <a:pt x="731" y="869"/>
                      </a:cubicBezTo>
                      <a:cubicBezTo>
                        <a:pt x="745" y="867"/>
                        <a:pt x="745" y="867"/>
                        <a:pt x="745" y="867"/>
                      </a:cubicBezTo>
                      <a:cubicBezTo>
                        <a:pt x="748" y="864"/>
                        <a:pt x="748" y="864"/>
                        <a:pt x="748" y="864"/>
                      </a:cubicBezTo>
                      <a:cubicBezTo>
                        <a:pt x="748" y="860"/>
                        <a:pt x="748" y="860"/>
                        <a:pt x="748" y="860"/>
                      </a:cubicBezTo>
                      <a:cubicBezTo>
                        <a:pt x="764" y="860"/>
                        <a:pt x="764" y="860"/>
                        <a:pt x="764" y="860"/>
                      </a:cubicBezTo>
                      <a:cubicBezTo>
                        <a:pt x="769" y="854"/>
                        <a:pt x="769" y="854"/>
                        <a:pt x="769" y="854"/>
                      </a:cubicBezTo>
                      <a:cubicBezTo>
                        <a:pt x="778" y="855"/>
                        <a:pt x="778" y="855"/>
                        <a:pt x="778" y="855"/>
                      </a:cubicBezTo>
                      <a:cubicBezTo>
                        <a:pt x="790" y="851"/>
                        <a:pt x="790" y="851"/>
                        <a:pt x="790" y="851"/>
                      </a:cubicBezTo>
                      <a:cubicBezTo>
                        <a:pt x="792" y="853"/>
                        <a:pt x="792" y="853"/>
                        <a:pt x="792" y="853"/>
                      </a:cubicBezTo>
                      <a:cubicBezTo>
                        <a:pt x="780" y="859"/>
                        <a:pt x="780" y="859"/>
                        <a:pt x="780" y="859"/>
                      </a:cubicBezTo>
                      <a:cubicBezTo>
                        <a:pt x="784" y="867"/>
                        <a:pt x="784" y="867"/>
                        <a:pt x="784" y="867"/>
                      </a:cubicBezTo>
                      <a:cubicBezTo>
                        <a:pt x="783" y="870"/>
                        <a:pt x="783" y="870"/>
                        <a:pt x="783" y="870"/>
                      </a:cubicBezTo>
                      <a:cubicBezTo>
                        <a:pt x="776" y="877"/>
                        <a:pt x="776" y="877"/>
                        <a:pt x="776" y="877"/>
                      </a:cubicBezTo>
                      <a:cubicBezTo>
                        <a:pt x="776" y="880"/>
                        <a:pt x="776" y="880"/>
                        <a:pt x="776" y="880"/>
                      </a:cubicBezTo>
                      <a:cubicBezTo>
                        <a:pt x="768" y="880"/>
                        <a:pt x="768" y="880"/>
                        <a:pt x="768" y="880"/>
                      </a:cubicBezTo>
                      <a:cubicBezTo>
                        <a:pt x="769" y="885"/>
                        <a:pt x="769" y="885"/>
                        <a:pt x="769" y="885"/>
                      </a:cubicBezTo>
                      <a:cubicBezTo>
                        <a:pt x="772" y="889"/>
                        <a:pt x="772" y="889"/>
                        <a:pt x="772" y="889"/>
                      </a:cubicBezTo>
                      <a:cubicBezTo>
                        <a:pt x="776" y="891"/>
                        <a:pt x="776" y="891"/>
                        <a:pt x="776" y="891"/>
                      </a:cubicBezTo>
                      <a:cubicBezTo>
                        <a:pt x="781" y="896"/>
                        <a:pt x="781" y="896"/>
                        <a:pt x="781" y="896"/>
                      </a:cubicBezTo>
                      <a:cubicBezTo>
                        <a:pt x="787" y="896"/>
                        <a:pt x="787" y="896"/>
                        <a:pt x="787" y="896"/>
                      </a:cubicBezTo>
                      <a:cubicBezTo>
                        <a:pt x="798" y="909"/>
                        <a:pt x="798" y="909"/>
                        <a:pt x="798" y="909"/>
                      </a:cubicBezTo>
                      <a:cubicBezTo>
                        <a:pt x="805" y="914"/>
                        <a:pt x="805" y="914"/>
                        <a:pt x="805" y="914"/>
                      </a:cubicBezTo>
                      <a:cubicBezTo>
                        <a:pt x="814" y="922"/>
                        <a:pt x="814" y="922"/>
                        <a:pt x="814" y="922"/>
                      </a:cubicBezTo>
                      <a:cubicBezTo>
                        <a:pt x="821" y="924"/>
                        <a:pt x="821" y="924"/>
                        <a:pt x="821" y="924"/>
                      </a:cubicBezTo>
                      <a:cubicBezTo>
                        <a:pt x="824" y="928"/>
                        <a:pt x="824" y="928"/>
                        <a:pt x="824" y="928"/>
                      </a:cubicBezTo>
                      <a:cubicBezTo>
                        <a:pt x="826" y="933"/>
                        <a:pt x="826" y="933"/>
                        <a:pt x="826" y="933"/>
                      </a:cubicBezTo>
                      <a:cubicBezTo>
                        <a:pt x="829" y="940"/>
                        <a:pt x="829" y="940"/>
                        <a:pt x="829" y="940"/>
                      </a:cubicBezTo>
                      <a:cubicBezTo>
                        <a:pt x="828" y="944"/>
                        <a:pt x="828" y="944"/>
                        <a:pt x="828" y="944"/>
                      </a:cubicBezTo>
                      <a:cubicBezTo>
                        <a:pt x="827" y="950"/>
                        <a:pt x="827" y="950"/>
                        <a:pt x="827" y="950"/>
                      </a:cubicBezTo>
                      <a:cubicBezTo>
                        <a:pt x="812" y="957"/>
                        <a:pt x="812" y="957"/>
                        <a:pt x="812" y="957"/>
                      </a:cubicBezTo>
                      <a:cubicBezTo>
                        <a:pt x="803" y="958"/>
                        <a:pt x="803" y="958"/>
                        <a:pt x="803" y="958"/>
                      </a:cubicBezTo>
                      <a:cubicBezTo>
                        <a:pt x="794" y="955"/>
                        <a:pt x="794" y="955"/>
                        <a:pt x="794" y="955"/>
                      </a:cubicBezTo>
                      <a:cubicBezTo>
                        <a:pt x="786" y="958"/>
                        <a:pt x="786" y="958"/>
                        <a:pt x="786" y="958"/>
                      </a:cubicBezTo>
                      <a:cubicBezTo>
                        <a:pt x="775" y="954"/>
                        <a:pt x="775" y="954"/>
                        <a:pt x="775" y="954"/>
                      </a:cubicBezTo>
                      <a:cubicBezTo>
                        <a:pt x="769" y="955"/>
                        <a:pt x="769" y="955"/>
                        <a:pt x="769" y="955"/>
                      </a:cubicBezTo>
                      <a:cubicBezTo>
                        <a:pt x="758" y="946"/>
                        <a:pt x="758" y="946"/>
                        <a:pt x="758" y="946"/>
                      </a:cubicBezTo>
                      <a:cubicBezTo>
                        <a:pt x="749" y="947"/>
                        <a:pt x="749" y="947"/>
                        <a:pt x="749" y="947"/>
                      </a:cubicBezTo>
                      <a:cubicBezTo>
                        <a:pt x="743" y="940"/>
                        <a:pt x="743" y="940"/>
                        <a:pt x="743" y="940"/>
                      </a:cubicBezTo>
                      <a:cubicBezTo>
                        <a:pt x="737" y="942"/>
                        <a:pt x="737" y="942"/>
                        <a:pt x="737" y="942"/>
                      </a:cubicBezTo>
                      <a:cubicBezTo>
                        <a:pt x="724" y="940"/>
                        <a:pt x="724" y="940"/>
                        <a:pt x="724" y="940"/>
                      </a:cubicBezTo>
                      <a:cubicBezTo>
                        <a:pt x="707" y="946"/>
                        <a:pt x="707" y="946"/>
                        <a:pt x="707" y="946"/>
                      </a:cubicBezTo>
                      <a:cubicBezTo>
                        <a:pt x="696" y="954"/>
                        <a:pt x="696" y="954"/>
                        <a:pt x="696" y="954"/>
                      </a:cubicBezTo>
                      <a:cubicBezTo>
                        <a:pt x="691" y="952"/>
                        <a:pt x="691" y="952"/>
                        <a:pt x="691" y="952"/>
                      </a:cubicBezTo>
                      <a:cubicBezTo>
                        <a:pt x="679" y="952"/>
                        <a:pt x="679" y="952"/>
                        <a:pt x="679" y="952"/>
                      </a:cubicBezTo>
                      <a:cubicBezTo>
                        <a:pt x="674" y="953"/>
                        <a:pt x="674" y="953"/>
                        <a:pt x="674" y="953"/>
                      </a:cubicBezTo>
                      <a:cubicBezTo>
                        <a:pt x="673" y="958"/>
                        <a:pt x="673" y="958"/>
                        <a:pt x="673" y="958"/>
                      </a:cubicBezTo>
                      <a:cubicBezTo>
                        <a:pt x="680" y="961"/>
                        <a:pt x="680" y="961"/>
                        <a:pt x="680" y="961"/>
                      </a:cubicBezTo>
                      <a:cubicBezTo>
                        <a:pt x="679" y="964"/>
                        <a:pt x="679" y="964"/>
                        <a:pt x="679" y="964"/>
                      </a:cubicBezTo>
                      <a:cubicBezTo>
                        <a:pt x="671" y="967"/>
                        <a:pt x="671" y="967"/>
                        <a:pt x="671" y="967"/>
                      </a:cubicBezTo>
                      <a:cubicBezTo>
                        <a:pt x="664" y="965"/>
                        <a:pt x="664" y="965"/>
                        <a:pt x="664" y="965"/>
                      </a:cubicBezTo>
                      <a:cubicBezTo>
                        <a:pt x="656" y="967"/>
                        <a:pt x="656" y="967"/>
                        <a:pt x="656" y="967"/>
                      </a:cubicBezTo>
                      <a:cubicBezTo>
                        <a:pt x="649" y="967"/>
                        <a:pt x="649" y="967"/>
                        <a:pt x="649" y="967"/>
                      </a:cubicBezTo>
                      <a:cubicBezTo>
                        <a:pt x="643" y="972"/>
                        <a:pt x="643" y="972"/>
                        <a:pt x="643" y="972"/>
                      </a:cubicBezTo>
                      <a:cubicBezTo>
                        <a:pt x="638" y="979"/>
                        <a:pt x="638" y="979"/>
                        <a:pt x="638" y="979"/>
                      </a:cubicBezTo>
                      <a:cubicBezTo>
                        <a:pt x="640" y="982"/>
                        <a:pt x="640" y="982"/>
                        <a:pt x="640" y="982"/>
                      </a:cubicBezTo>
                      <a:cubicBezTo>
                        <a:pt x="646" y="982"/>
                        <a:pt x="646" y="982"/>
                        <a:pt x="646" y="982"/>
                      </a:cubicBezTo>
                      <a:cubicBezTo>
                        <a:pt x="644" y="986"/>
                        <a:pt x="644" y="986"/>
                        <a:pt x="644" y="986"/>
                      </a:cubicBezTo>
                      <a:cubicBezTo>
                        <a:pt x="645" y="993"/>
                        <a:pt x="645" y="993"/>
                        <a:pt x="645" y="993"/>
                      </a:cubicBezTo>
                      <a:cubicBezTo>
                        <a:pt x="646" y="996"/>
                        <a:pt x="646" y="996"/>
                        <a:pt x="646" y="996"/>
                      </a:cubicBezTo>
                      <a:cubicBezTo>
                        <a:pt x="644" y="999"/>
                        <a:pt x="644" y="999"/>
                        <a:pt x="644" y="999"/>
                      </a:cubicBezTo>
                      <a:cubicBezTo>
                        <a:pt x="638" y="999"/>
                        <a:pt x="638" y="999"/>
                        <a:pt x="638" y="999"/>
                      </a:cubicBezTo>
                      <a:cubicBezTo>
                        <a:pt x="638" y="1002"/>
                        <a:pt x="638" y="1002"/>
                        <a:pt x="638" y="1002"/>
                      </a:cubicBezTo>
                      <a:cubicBezTo>
                        <a:pt x="641" y="1005"/>
                        <a:pt x="641" y="1005"/>
                        <a:pt x="641" y="1005"/>
                      </a:cubicBezTo>
                      <a:cubicBezTo>
                        <a:pt x="646" y="1005"/>
                        <a:pt x="646" y="1005"/>
                        <a:pt x="646" y="1005"/>
                      </a:cubicBezTo>
                      <a:cubicBezTo>
                        <a:pt x="649" y="1009"/>
                        <a:pt x="649" y="1009"/>
                        <a:pt x="649" y="1009"/>
                      </a:cubicBezTo>
                      <a:cubicBezTo>
                        <a:pt x="649" y="1017"/>
                        <a:pt x="649" y="1017"/>
                        <a:pt x="649" y="1017"/>
                      </a:cubicBezTo>
                      <a:cubicBezTo>
                        <a:pt x="654" y="1018"/>
                        <a:pt x="654" y="1018"/>
                        <a:pt x="654" y="1018"/>
                      </a:cubicBezTo>
                      <a:cubicBezTo>
                        <a:pt x="652" y="1021"/>
                        <a:pt x="652" y="1021"/>
                        <a:pt x="652" y="1021"/>
                      </a:cubicBezTo>
                      <a:cubicBezTo>
                        <a:pt x="648" y="1023"/>
                        <a:pt x="648" y="1023"/>
                        <a:pt x="648" y="1023"/>
                      </a:cubicBezTo>
                      <a:cubicBezTo>
                        <a:pt x="647" y="1027"/>
                        <a:pt x="647" y="1027"/>
                        <a:pt x="647" y="1027"/>
                      </a:cubicBezTo>
                      <a:cubicBezTo>
                        <a:pt x="651" y="1026"/>
                        <a:pt x="651" y="1026"/>
                        <a:pt x="651" y="1026"/>
                      </a:cubicBezTo>
                      <a:cubicBezTo>
                        <a:pt x="656" y="1023"/>
                        <a:pt x="656" y="1023"/>
                        <a:pt x="656" y="1023"/>
                      </a:cubicBezTo>
                      <a:cubicBezTo>
                        <a:pt x="659" y="1026"/>
                        <a:pt x="659" y="1026"/>
                        <a:pt x="659" y="1026"/>
                      </a:cubicBezTo>
                      <a:cubicBezTo>
                        <a:pt x="658" y="1030"/>
                        <a:pt x="658" y="1030"/>
                        <a:pt x="658" y="1030"/>
                      </a:cubicBezTo>
                      <a:cubicBezTo>
                        <a:pt x="654" y="1035"/>
                        <a:pt x="654" y="1035"/>
                        <a:pt x="654" y="1035"/>
                      </a:cubicBezTo>
                      <a:cubicBezTo>
                        <a:pt x="655" y="1038"/>
                        <a:pt x="655" y="1038"/>
                        <a:pt x="655" y="1038"/>
                      </a:cubicBezTo>
                      <a:cubicBezTo>
                        <a:pt x="661" y="1036"/>
                        <a:pt x="661" y="1036"/>
                        <a:pt x="661" y="1036"/>
                      </a:cubicBezTo>
                      <a:cubicBezTo>
                        <a:pt x="663" y="1031"/>
                        <a:pt x="663" y="1031"/>
                        <a:pt x="663" y="1031"/>
                      </a:cubicBezTo>
                      <a:cubicBezTo>
                        <a:pt x="667" y="1027"/>
                        <a:pt x="667" y="1027"/>
                        <a:pt x="667" y="1027"/>
                      </a:cubicBezTo>
                      <a:cubicBezTo>
                        <a:pt x="671" y="1029"/>
                        <a:pt x="671" y="1029"/>
                        <a:pt x="671" y="1029"/>
                      </a:cubicBezTo>
                      <a:cubicBezTo>
                        <a:pt x="674" y="1034"/>
                        <a:pt x="674" y="1034"/>
                        <a:pt x="674" y="1034"/>
                      </a:cubicBezTo>
                      <a:cubicBezTo>
                        <a:pt x="684" y="1031"/>
                        <a:pt x="684" y="1031"/>
                        <a:pt x="684" y="1031"/>
                      </a:cubicBezTo>
                      <a:cubicBezTo>
                        <a:pt x="691" y="1030"/>
                        <a:pt x="691" y="1030"/>
                        <a:pt x="691" y="1030"/>
                      </a:cubicBezTo>
                      <a:cubicBezTo>
                        <a:pt x="690" y="1026"/>
                        <a:pt x="690" y="1026"/>
                        <a:pt x="690" y="1026"/>
                      </a:cubicBezTo>
                      <a:cubicBezTo>
                        <a:pt x="696" y="1023"/>
                        <a:pt x="696" y="1023"/>
                        <a:pt x="696" y="1023"/>
                      </a:cubicBezTo>
                      <a:cubicBezTo>
                        <a:pt x="700" y="1026"/>
                        <a:pt x="700" y="1026"/>
                        <a:pt x="700" y="1026"/>
                      </a:cubicBezTo>
                      <a:cubicBezTo>
                        <a:pt x="713" y="1035"/>
                        <a:pt x="713" y="1035"/>
                        <a:pt x="713" y="1035"/>
                      </a:cubicBezTo>
                      <a:cubicBezTo>
                        <a:pt x="721" y="1036"/>
                        <a:pt x="721" y="1036"/>
                        <a:pt x="721" y="1036"/>
                      </a:cubicBezTo>
                      <a:cubicBezTo>
                        <a:pt x="731" y="1033"/>
                        <a:pt x="731" y="1033"/>
                        <a:pt x="731" y="1033"/>
                      </a:cubicBezTo>
                      <a:cubicBezTo>
                        <a:pt x="735" y="1031"/>
                        <a:pt x="735" y="1031"/>
                        <a:pt x="735" y="1031"/>
                      </a:cubicBezTo>
                      <a:cubicBezTo>
                        <a:pt x="740" y="1029"/>
                        <a:pt x="740" y="1029"/>
                        <a:pt x="740" y="1029"/>
                      </a:cubicBezTo>
                      <a:cubicBezTo>
                        <a:pt x="744" y="1027"/>
                        <a:pt x="744" y="1027"/>
                        <a:pt x="744" y="1027"/>
                      </a:cubicBezTo>
                      <a:cubicBezTo>
                        <a:pt x="757" y="1027"/>
                        <a:pt x="757" y="1027"/>
                        <a:pt x="757" y="1027"/>
                      </a:cubicBezTo>
                      <a:cubicBezTo>
                        <a:pt x="757" y="1038"/>
                        <a:pt x="757" y="1038"/>
                        <a:pt x="757" y="1038"/>
                      </a:cubicBezTo>
                      <a:cubicBezTo>
                        <a:pt x="756" y="1043"/>
                        <a:pt x="756" y="1043"/>
                        <a:pt x="756" y="1043"/>
                      </a:cubicBezTo>
                      <a:cubicBezTo>
                        <a:pt x="754" y="1067"/>
                        <a:pt x="754" y="1067"/>
                        <a:pt x="754" y="1067"/>
                      </a:cubicBezTo>
                      <a:cubicBezTo>
                        <a:pt x="749" y="1082"/>
                        <a:pt x="749" y="1082"/>
                        <a:pt x="749" y="1082"/>
                      </a:cubicBezTo>
                      <a:cubicBezTo>
                        <a:pt x="748" y="1087"/>
                        <a:pt x="748" y="1087"/>
                        <a:pt x="748" y="1087"/>
                      </a:cubicBezTo>
                      <a:cubicBezTo>
                        <a:pt x="744" y="1094"/>
                        <a:pt x="744" y="1094"/>
                        <a:pt x="744" y="1094"/>
                      </a:cubicBezTo>
                      <a:cubicBezTo>
                        <a:pt x="742" y="1099"/>
                        <a:pt x="742" y="1099"/>
                        <a:pt x="742" y="1099"/>
                      </a:cubicBezTo>
                      <a:cubicBezTo>
                        <a:pt x="739" y="1106"/>
                        <a:pt x="739" y="1106"/>
                        <a:pt x="739" y="1106"/>
                      </a:cubicBezTo>
                      <a:cubicBezTo>
                        <a:pt x="735" y="1111"/>
                        <a:pt x="735" y="1111"/>
                        <a:pt x="735" y="1111"/>
                      </a:cubicBezTo>
                      <a:cubicBezTo>
                        <a:pt x="721" y="1113"/>
                        <a:pt x="721" y="1113"/>
                        <a:pt x="721" y="1113"/>
                      </a:cubicBezTo>
                      <a:cubicBezTo>
                        <a:pt x="715" y="1112"/>
                        <a:pt x="715" y="1112"/>
                        <a:pt x="715" y="1112"/>
                      </a:cubicBezTo>
                      <a:cubicBezTo>
                        <a:pt x="712" y="1113"/>
                        <a:pt x="712" y="1113"/>
                        <a:pt x="712" y="1113"/>
                      </a:cubicBezTo>
                      <a:cubicBezTo>
                        <a:pt x="711" y="1113"/>
                        <a:pt x="711" y="1113"/>
                        <a:pt x="711" y="1113"/>
                      </a:cubicBezTo>
                      <a:cubicBezTo>
                        <a:pt x="708" y="1114"/>
                        <a:pt x="708" y="1114"/>
                        <a:pt x="708" y="1114"/>
                      </a:cubicBezTo>
                      <a:cubicBezTo>
                        <a:pt x="700" y="1108"/>
                        <a:pt x="700" y="1108"/>
                        <a:pt x="700" y="1108"/>
                      </a:cubicBezTo>
                      <a:cubicBezTo>
                        <a:pt x="692" y="1107"/>
                        <a:pt x="692" y="1107"/>
                        <a:pt x="692" y="1107"/>
                      </a:cubicBezTo>
                      <a:cubicBezTo>
                        <a:pt x="687" y="1111"/>
                        <a:pt x="687" y="1111"/>
                        <a:pt x="687" y="1111"/>
                      </a:cubicBezTo>
                      <a:cubicBezTo>
                        <a:pt x="683" y="1111"/>
                        <a:pt x="683" y="1111"/>
                        <a:pt x="683" y="1111"/>
                      </a:cubicBezTo>
                      <a:cubicBezTo>
                        <a:pt x="678" y="1115"/>
                        <a:pt x="678" y="1115"/>
                        <a:pt x="678" y="1115"/>
                      </a:cubicBezTo>
                      <a:cubicBezTo>
                        <a:pt x="670" y="1116"/>
                        <a:pt x="670" y="1116"/>
                        <a:pt x="670" y="1116"/>
                      </a:cubicBezTo>
                      <a:cubicBezTo>
                        <a:pt x="655" y="1112"/>
                        <a:pt x="655" y="1112"/>
                        <a:pt x="655" y="1112"/>
                      </a:cubicBezTo>
                      <a:cubicBezTo>
                        <a:pt x="642" y="1109"/>
                        <a:pt x="642" y="1109"/>
                        <a:pt x="642" y="1109"/>
                      </a:cubicBezTo>
                      <a:cubicBezTo>
                        <a:pt x="632" y="1108"/>
                        <a:pt x="632" y="1108"/>
                        <a:pt x="632" y="1108"/>
                      </a:cubicBezTo>
                      <a:cubicBezTo>
                        <a:pt x="626" y="1111"/>
                        <a:pt x="626" y="1111"/>
                        <a:pt x="626" y="1111"/>
                      </a:cubicBezTo>
                      <a:cubicBezTo>
                        <a:pt x="626" y="1115"/>
                        <a:pt x="626" y="1115"/>
                        <a:pt x="626" y="1115"/>
                      </a:cubicBezTo>
                      <a:cubicBezTo>
                        <a:pt x="621" y="1107"/>
                        <a:pt x="621" y="1107"/>
                        <a:pt x="621" y="1107"/>
                      </a:cubicBezTo>
                      <a:cubicBezTo>
                        <a:pt x="611" y="1104"/>
                        <a:pt x="611" y="1104"/>
                        <a:pt x="611" y="1104"/>
                      </a:cubicBezTo>
                      <a:cubicBezTo>
                        <a:pt x="602" y="1100"/>
                        <a:pt x="602" y="1100"/>
                        <a:pt x="602" y="1100"/>
                      </a:cubicBezTo>
                      <a:cubicBezTo>
                        <a:pt x="601" y="1094"/>
                        <a:pt x="601" y="1094"/>
                        <a:pt x="601" y="1094"/>
                      </a:cubicBezTo>
                      <a:cubicBezTo>
                        <a:pt x="588" y="1091"/>
                        <a:pt x="588" y="1091"/>
                        <a:pt x="588" y="1091"/>
                      </a:cubicBezTo>
                      <a:cubicBezTo>
                        <a:pt x="578" y="1093"/>
                        <a:pt x="578" y="1093"/>
                        <a:pt x="578" y="1093"/>
                      </a:cubicBezTo>
                      <a:cubicBezTo>
                        <a:pt x="561" y="1102"/>
                        <a:pt x="561" y="1102"/>
                        <a:pt x="561" y="1102"/>
                      </a:cubicBezTo>
                      <a:cubicBezTo>
                        <a:pt x="560" y="1112"/>
                        <a:pt x="560" y="1112"/>
                        <a:pt x="560" y="1112"/>
                      </a:cubicBezTo>
                      <a:cubicBezTo>
                        <a:pt x="565" y="1119"/>
                        <a:pt x="565" y="1119"/>
                        <a:pt x="565" y="1119"/>
                      </a:cubicBezTo>
                      <a:cubicBezTo>
                        <a:pt x="560" y="1125"/>
                        <a:pt x="560" y="1125"/>
                        <a:pt x="560" y="1125"/>
                      </a:cubicBezTo>
                      <a:cubicBezTo>
                        <a:pt x="551" y="1131"/>
                        <a:pt x="551" y="1131"/>
                        <a:pt x="551" y="1131"/>
                      </a:cubicBezTo>
                      <a:cubicBezTo>
                        <a:pt x="528" y="1118"/>
                        <a:pt x="528" y="1118"/>
                        <a:pt x="528" y="1118"/>
                      </a:cubicBezTo>
                      <a:cubicBezTo>
                        <a:pt x="507" y="1115"/>
                        <a:pt x="507" y="1115"/>
                        <a:pt x="507" y="1115"/>
                      </a:cubicBezTo>
                      <a:cubicBezTo>
                        <a:pt x="499" y="1098"/>
                        <a:pt x="499" y="1098"/>
                        <a:pt x="499" y="1098"/>
                      </a:cubicBezTo>
                      <a:cubicBezTo>
                        <a:pt x="493" y="1097"/>
                        <a:pt x="493" y="1097"/>
                        <a:pt x="493" y="1097"/>
                      </a:cubicBezTo>
                      <a:cubicBezTo>
                        <a:pt x="485" y="1094"/>
                        <a:pt x="485" y="1094"/>
                        <a:pt x="485" y="1094"/>
                      </a:cubicBezTo>
                      <a:cubicBezTo>
                        <a:pt x="467" y="1094"/>
                        <a:pt x="467" y="1094"/>
                        <a:pt x="467" y="1094"/>
                      </a:cubicBezTo>
                      <a:cubicBezTo>
                        <a:pt x="454" y="1087"/>
                        <a:pt x="454" y="1087"/>
                        <a:pt x="454" y="1087"/>
                      </a:cubicBezTo>
                      <a:cubicBezTo>
                        <a:pt x="453" y="1083"/>
                        <a:pt x="453" y="1083"/>
                        <a:pt x="453" y="1083"/>
                      </a:cubicBezTo>
                      <a:cubicBezTo>
                        <a:pt x="444" y="1079"/>
                        <a:pt x="444" y="1079"/>
                        <a:pt x="444" y="1079"/>
                      </a:cubicBezTo>
                      <a:cubicBezTo>
                        <a:pt x="438" y="1075"/>
                        <a:pt x="438" y="1075"/>
                        <a:pt x="438" y="1075"/>
                      </a:cubicBezTo>
                      <a:cubicBezTo>
                        <a:pt x="436" y="1067"/>
                        <a:pt x="436" y="1067"/>
                        <a:pt x="436" y="1067"/>
                      </a:cubicBezTo>
                      <a:cubicBezTo>
                        <a:pt x="447" y="1058"/>
                        <a:pt x="447" y="1058"/>
                        <a:pt x="447" y="1058"/>
                      </a:cubicBezTo>
                      <a:cubicBezTo>
                        <a:pt x="447" y="1049"/>
                        <a:pt x="447" y="1049"/>
                        <a:pt x="447" y="1049"/>
                      </a:cubicBezTo>
                      <a:cubicBezTo>
                        <a:pt x="442" y="1040"/>
                        <a:pt x="442" y="1040"/>
                        <a:pt x="442" y="1040"/>
                      </a:cubicBezTo>
                      <a:cubicBezTo>
                        <a:pt x="442" y="1034"/>
                        <a:pt x="442" y="1034"/>
                        <a:pt x="442" y="1034"/>
                      </a:cubicBezTo>
                      <a:cubicBezTo>
                        <a:pt x="447" y="1029"/>
                        <a:pt x="447" y="1029"/>
                        <a:pt x="447" y="1029"/>
                      </a:cubicBezTo>
                      <a:cubicBezTo>
                        <a:pt x="444" y="1026"/>
                        <a:pt x="444" y="1026"/>
                        <a:pt x="444" y="1026"/>
                      </a:cubicBezTo>
                      <a:cubicBezTo>
                        <a:pt x="438" y="1026"/>
                        <a:pt x="438" y="1026"/>
                        <a:pt x="438" y="1026"/>
                      </a:cubicBezTo>
                      <a:cubicBezTo>
                        <a:pt x="434" y="1022"/>
                        <a:pt x="434" y="1022"/>
                        <a:pt x="434" y="1022"/>
                      </a:cubicBezTo>
                      <a:cubicBezTo>
                        <a:pt x="425" y="1023"/>
                        <a:pt x="425" y="1023"/>
                        <a:pt x="425" y="1023"/>
                      </a:cubicBezTo>
                      <a:cubicBezTo>
                        <a:pt x="420" y="1027"/>
                        <a:pt x="420" y="1027"/>
                        <a:pt x="420" y="1027"/>
                      </a:cubicBezTo>
                      <a:cubicBezTo>
                        <a:pt x="411" y="1028"/>
                        <a:pt x="411" y="1028"/>
                        <a:pt x="411" y="1028"/>
                      </a:cubicBezTo>
                      <a:cubicBezTo>
                        <a:pt x="401" y="1026"/>
                        <a:pt x="401" y="1026"/>
                        <a:pt x="401" y="1026"/>
                      </a:cubicBezTo>
                      <a:cubicBezTo>
                        <a:pt x="387" y="1028"/>
                        <a:pt x="387" y="1028"/>
                        <a:pt x="387" y="1028"/>
                      </a:cubicBezTo>
                      <a:cubicBezTo>
                        <a:pt x="378" y="1029"/>
                        <a:pt x="378" y="1029"/>
                        <a:pt x="378" y="1029"/>
                      </a:cubicBezTo>
                      <a:cubicBezTo>
                        <a:pt x="369" y="1029"/>
                        <a:pt x="369" y="1029"/>
                        <a:pt x="369" y="1029"/>
                      </a:cubicBezTo>
                      <a:cubicBezTo>
                        <a:pt x="363" y="1028"/>
                        <a:pt x="363" y="1028"/>
                        <a:pt x="363" y="1028"/>
                      </a:cubicBezTo>
                      <a:cubicBezTo>
                        <a:pt x="349" y="1029"/>
                        <a:pt x="349" y="1029"/>
                        <a:pt x="349" y="1029"/>
                      </a:cubicBezTo>
                      <a:cubicBezTo>
                        <a:pt x="343" y="1032"/>
                        <a:pt x="343" y="1032"/>
                        <a:pt x="343" y="1032"/>
                      </a:cubicBezTo>
                      <a:cubicBezTo>
                        <a:pt x="330" y="1033"/>
                        <a:pt x="330" y="1033"/>
                        <a:pt x="330" y="1033"/>
                      </a:cubicBezTo>
                      <a:cubicBezTo>
                        <a:pt x="321" y="1036"/>
                        <a:pt x="321" y="1036"/>
                        <a:pt x="321" y="1036"/>
                      </a:cubicBezTo>
                      <a:cubicBezTo>
                        <a:pt x="315" y="1039"/>
                        <a:pt x="315" y="1039"/>
                        <a:pt x="315" y="1039"/>
                      </a:cubicBezTo>
                      <a:cubicBezTo>
                        <a:pt x="306" y="1047"/>
                        <a:pt x="306" y="1047"/>
                        <a:pt x="306" y="1047"/>
                      </a:cubicBezTo>
                      <a:cubicBezTo>
                        <a:pt x="301" y="1049"/>
                        <a:pt x="301" y="1049"/>
                        <a:pt x="301" y="1049"/>
                      </a:cubicBezTo>
                      <a:cubicBezTo>
                        <a:pt x="292" y="1053"/>
                        <a:pt x="292" y="1053"/>
                        <a:pt x="292" y="1053"/>
                      </a:cubicBezTo>
                      <a:cubicBezTo>
                        <a:pt x="288" y="1058"/>
                        <a:pt x="288" y="1058"/>
                        <a:pt x="288" y="1058"/>
                      </a:cubicBezTo>
                      <a:cubicBezTo>
                        <a:pt x="279" y="1057"/>
                        <a:pt x="279" y="1057"/>
                        <a:pt x="279" y="1057"/>
                      </a:cubicBezTo>
                      <a:cubicBezTo>
                        <a:pt x="275" y="1055"/>
                        <a:pt x="275" y="1055"/>
                        <a:pt x="275" y="1055"/>
                      </a:cubicBezTo>
                      <a:cubicBezTo>
                        <a:pt x="262" y="1055"/>
                        <a:pt x="262" y="1055"/>
                        <a:pt x="262" y="1055"/>
                      </a:cubicBezTo>
                      <a:cubicBezTo>
                        <a:pt x="253" y="1054"/>
                        <a:pt x="253" y="1054"/>
                        <a:pt x="253" y="1054"/>
                      </a:cubicBezTo>
                      <a:cubicBezTo>
                        <a:pt x="250" y="1052"/>
                        <a:pt x="250" y="1052"/>
                        <a:pt x="250" y="1052"/>
                      </a:cubicBezTo>
                      <a:cubicBezTo>
                        <a:pt x="245" y="1050"/>
                        <a:pt x="245" y="1050"/>
                        <a:pt x="245" y="1050"/>
                      </a:cubicBezTo>
                      <a:cubicBezTo>
                        <a:pt x="244" y="1047"/>
                        <a:pt x="244" y="1047"/>
                        <a:pt x="244" y="1047"/>
                      </a:cubicBezTo>
                      <a:cubicBezTo>
                        <a:pt x="240" y="1045"/>
                        <a:pt x="240" y="1045"/>
                        <a:pt x="240" y="1045"/>
                      </a:cubicBezTo>
                      <a:cubicBezTo>
                        <a:pt x="234" y="1049"/>
                        <a:pt x="234" y="1049"/>
                        <a:pt x="234" y="1049"/>
                      </a:cubicBezTo>
                      <a:cubicBezTo>
                        <a:pt x="234" y="1055"/>
                        <a:pt x="234" y="1055"/>
                        <a:pt x="234" y="1055"/>
                      </a:cubicBezTo>
                      <a:cubicBezTo>
                        <a:pt x="225" y="1066"/>
                        <a:pt x="225" y="1066"/>
                        <a:pt x="225" y="1066"/>
                      </a:cubicBezTo>
                      <a:cubicBezTo>
                        <a:pt x="224" y="1073"/>
                        <a:pt x="224" y="1073"/>
                        <a:pt x="224" y="1073"/>
                      </a:cubicBezTo>
                      <a:cubicBezTo>
                        <a:pt x="216" y="1078"/>
                        <a:pt x="216" y="1078"/>
                        <a:pt x="216" y="1078"/>
                      </a:cubicBezTo>
                      <a:cubicBezTo>
                        <a:pt x="208" y="1081"/>
                        <a:pt x="208" y="1081"/>
                        <a:pt x="208" y="1081"/>
                      </a:cubicBezTo>
                      <a:cubicBezTo>
                        <a:pt x="194" y="1091"/>
                        <a:pt x="194" y="1091"/>
                        <a:pt x="194" y="1091"/>
                      </a:cubicBezTo>
                      <a:cubicBezTo>
                        <a:pt x="192" y="1094"/>
                        <a:pt x="192" y="1094"/>
                        <a:pt x="192" y="1094"/>
                      </a:cubicBezTo>
                      <a:cubicBezTo>
                        <a:pt x="191" y="1102"/>
                        <a:pt x="191" y="1102"/>
                        <a:pt x="191" y="1102"/>
                      </a:cubicBezTo>
                      <a:cubicBezTo>
                        <a:pt x="187" y="1112"/>
                        <a:pt x="187" y="1112"/>
                        <a:pt x="187" y="1112"/>
                      </a:cubicBezTo>
                      <a:cubicBezTo>
                        <a:pt x="188" y="1130"/>
                        <a:pt x="188" y="1130"/>
                        <a:pt x="188" y="1130"/>
                      </a:cubicBezTo>
                      <a:cubicBezTo>
                        <a:pt x="183" y="1139"/>
                        <a:pt x="183" y="1139"/>
                        <a:pt x="183" y="1139"/>
                      </a:cubicBezTo>
                      <a:cubicBezTo>
                        <a:pt x="175" y="1148"/>
                        <a:pt x="175" y="1148"/>
                        <a:pt x="175" y="1148"/>
                      </a:cubicBezTo>
                      <a:cubicBezTo>
                        <a:pt x="168" y="1153"/>
                        <a:pt x="168" y="1153"/>
                        <a:pt x="168" y="1153"/>
                      </a:cubicBezTo>
                      <a:cubicBezTo>
                        <a:pt x="162" y="1158"/>
                        <a:pt x="162" y="1158"/>
                        <a:pt x="162" y="1158"/>
                      </a:cubicBezTo>
                      <a:cubicBezTo>
                        <a:pt x="159" y="1160"/>
                        <a:pt x="159" y="1160"/>
                        <a:pt x="159" y="1160"/>
                      </a:cubicBezTo>
                      <a:cubicBezTo>
                        <a:pt x="152" y="1160"/>
                        <a:pt x="152" y="1160"/>
                        <a:pt x="152" y="1160"/>
                      </a:cubicBezTo>
                      <a:cubicBezTo>
                        <a:pt x="145" y="1164"/>
                        <a:pt x="145" y="1164"/>
                        <a:pt x="145" y="1164"/>
                      </a:cubicBezTo>
                      <a:cubicBezTo>
                        <a:pt x="136" y="1178"/>
                        <a:pt x="136" y="1178"/>
                        <a:pt x="136" y="1178"/>
                      </a:cubicBezTo>
                      <a:cubicBezTo>
                        <a:pt x="134" y="1183"/>
                        <a:pt x="134" y="1183"/>
                        <a:pt x="134" y="1183"/>
                      </a:cubicBezTo>
                      <a:cubicBezTo>
                        <a:pt x="130" y="1184"/>
                        <a:pt x="130" y="1184"/>
                        <a:pt x="130" y="1184"/>
                      </a:cubicBezTo>
                      <a:cubicBezTo>
                        <a:pt x="123" y="1192"/>
                        <a:pt x="123" y="1192"/>
                        <a:pt x="123" y="1192"/>
                      </a:cubicBezTo>
                      <a:cubicBezTo>
                        <a:pt x="120" y="1203"/>
                        <a:pt x="120" y="1203"/>
                        <a:pt x="120" y="1203"/>
                      </a:cubicBezTo>
                      <a:cubicBezTo>
                        <a:pt x="111" y="1214"/>
                        <a:pt x="111" y="1214"/>
                        <a:pt x="111" y="1214"/>
                      </a:cubicBezTo>
                      <a:cubicBezTo>
                        <a:pt x="101" y="1232"/>
                        <a:pt x="101" y="1232"/>
                        <a:pt x="101" y="1232"/>
                      </a:cubicBezTo>
                      <a:cubicBezTo>
                        <a:pt x="93" y="1250"/>
                        <a:pt x="93" y="1250"/>
                        <a:pt x="93" y="1250"/>
                      </a:cubicBezTo>
                      <a:cubicBezTo>
                        <a:pt x="95" y="1255"/>
                        <a:pt x="95" y="1255"/>
                        <a:pt x="95" y="1255"/>
                      </a:cubicBezTo>
                      <a:cubicBezTo>
                        <a:pt x="98" y="1258"/>
                        <a:pt x="98" y="1258"/>
                        <a:pt x="98" y="1258"/>
                      </a:cubicBezTo>
                      <a:cubicBezTo>
                        <a:pt x="103" y="1267"/>
                        <a:pt x="103" y="1267"/>
                        <a:pt x="103" y="1267"/>
                      </a:cubicBezTo>
                      <a:cubicBezTo>
                        <a:pt x="102" y="1276"/>
                        <a:pt x="102" y="1276"/>
                        <a:pt x="102" y="1276"/>
                      </a:cubicBezTo>
                      <a:cubicBezTo>
                        <a:pt x="107" y="1294"/>
                        <a:pt x="107" y="1294"/>
                        <a:pt x="107" y="1294"/>
                      </a:cubicBezTo>
                      <a:cubicBezTo>
                        <a:pt x="107" y="1298"/>
                        <a:pt x="107" y="1298"/>
                        <a:pt x="107" y="1298"/>
                      </a:cubicBezTo>
                      <a:cubicBezTo>
                        <a:pt x="104" y="1310"/>
                        <a:pt x="104" y="1310"/>
                        <a:pt x="104" y="1310"/>
                      </a:cubicBezTo>
                      <a:cubicBezTo>
                        <a:pt x="99" y="1326"/>
                        <a:pt x="99" y="1326"/>
                        <a:pt x="99" y="1326"/>
                      </a:cubicBezTo>
                      <a:cubicBezTo>
                        <a:pt x="95" y="1334"/>
                        <a:pt x="95" y="1334"/>
                        <a:pt x="95" y="1334"/>
                      </a:cubicBezTo>
                      <a:cubicBezTo>
                        <a:pt x="96" y="1343"/>
                        <a:pt x="96" y="1343"/>
                        <a:pt x="96" y="1343"/>
                      </a:cubicBezTo>
                      <a:cubicBezTo>
                        <a:pt x="99" y="1349"/>
                        <a:pt x="99" y="1349"/>
                        <a:pt x="99" y="1349"/>
                      </a:cubicBezTo>
                      <a:cubicBezTo>
                        <a:pt x="101" y="1352"/>
                        <a:pt x="101" y="1352"/>
                        <a:pt x="101" y="1352"/>
                      </a:cubicBezTo>
                      <a:cubicBezTo>
                        <a:pt x="99" y="1358"/>
                        <a:pt x="99" y="1358"/>
                        <a:pt x="99" y="1358"/>
                      </a:cubicBezTo>
                      <a:cubicBezTo>
                        <a:pt x="97" y="1364"/>
                        <a:pt x="97" y="1364"/>
                        <a:pt x="97" y="1364"/>
                      </a:cubicBezTo>
                      <a:cubicBezTo>
                        <a:pt x="102" y="1369"/>
                        <a:pt x="102" y="1369"/>
                        <a:pt x="102" y="1369"/>
                      </a:cubicBezTo>
                      <a:cubicBezTo>
                        <a:pt x="106" y="1371"/>
                        <a:pt x="106" y="1371"/>
                        <a:pt x="106" y="1371"/>
                      </a:cubicBezTo>
                      <a:cubicBezTo>
                        <a:pt x="114" y="1376"/>
                        <a:pt x="114" y="1376"/>
                        <a:pt x="114" y="1376"/>
                      </a:cubicBezTo>
                      <a:cubicBezTo>
                        <a:pt x="118" y="1382"/>
                        <a:pt x="118" y="1382"/>
                        <a:pt x="118" y="1382"/>
                      </a:cubicBezTo>
                      <a:cubicBezTo>
                        <a:pt x="121" y="1386"/>
                        <a:pt x="121" y="1386"/>
                        <a:pt x="121" y="1386"/>
                      </a:cubicBezTo>
                      <a:cubicBezTo>
                        <a:pt x="140" y="1406"/>
                        <a:pt x="140" y="1406"/>
                        <a:pt x="140" y="1406"/>
                      </a:cubicBezTo>
                      <a:cubicBezTo>
                        <a:pt x="145" y="1417"/>
                        <a:pt x="145" y="1417"/>
                        <a:pt x="145" y="1417"/>
                      </a:cubicBezTo>
                      <a:cubicBezTo>
                        <a:pt x="149" y="1430"/>
                        <a:pt x="149" y="1430"/>
                        <a:pt x="149" y="1430"/>
                      </a:cubicBezTo>
                      <a:cubicBezTo>
                        <a:pt x="167" y="1437"/>
                        <a:pt x="167" y="1437"/>
                        <a:pt x="167" y="1437"/>
                      </a:cubicBezTo>
                      <a:cubicBezTo>
                        <a:pt x="180" y="1449"/>
                        <a:pt x="180" y="1449"/>
                        <a:pt x="180" y="1449"/>
                      </a:cubicBezTo>
                      <a:cubicBezTo>
                        <a:pt x="194" y="1462"/>
                        <a:pt x="194" y="1462"/>
                        <a:pt x="194" y="1462"/>
                      </a:cubicBezTo>
                      <a:cubicBezTo>
                        <a:pt x="212" y="1468"/>
                        <a:pt x="212" y="1468"/>
                        <a:pt x="212" y="1468"/>
                      </a:cubicBezTo>
                      <a:cubicBezTo>
                        <a:pt x="226" y="1467"/>
                        <a:pt x="226" y="1467"/>
                        <a:pt x="226" y="1467"/>
                      </a:cubicBezTo>
                      <a:cubicBezTo>
                        <a:pt x="243" y="1462"/>
                        <a:pt x="243" y="1462"/>
                        <a:pt x="243" y="1462"/>
                      </a:cubicBezTo>
                      <a:cubicBezTo>
                        <a:pt x="258" y="1459"/>
                        <a:pt x="258" y="1459"/>
                        <a:pt x="258" y="1459"/>
                      </a:cubicBezTo>
                      <a:cubicBezTo>
                        <a:pt x="276" y="1459"/>
                        <a:pt x="276" y="1459"/>
                        <a:pt x="276" y="1459"/>
                      </a:cubicBezTo>
                      <a:cubicBezTo>
                        <a:pt x="283" y="1462"/>
                        <a:pt x="283" y="1462"/>
                        <a:pt x="283" y="1462"/>
                      </a:cubicBezTo>
                      <a:cubicBezTo>
                        <a:pt x="310" y="1452"/>
                        <a:pt x="310" y="1452"/>
                        <a:pt x="310" y="1452"/>
                      </a:cubicBezTo>
                      <a:cubicBezTo>
                        <a:pt x="318" y="1449"/>
                        <a:pt x="318" y="1449"/>
                        <a:pt x="318" y="1449"/>
                      </a:cubicBezTo>
                      <a:cubicBezTo>
                        <a:pt x="331" y="1445"/>
                        <a:pt x="331" y="1445"/>
                        <a:pt x="331" y="1445"/>
                      </a:cubicBezTo>
                      <a:cubicBezTo>
                        <a:pt x="346" y="1443"/>
                        <a:pt x="346" y="1443"/>
                        <a:pt x="346" y="1443"/>
                      </a:cubicBezTo>
                      <a:cubicBezTo>
                        <a:pt x="361" y="1443"/>
                        <a:pt x="361" y="1443"/>
                        <a:pt x="361" y="1443"/>
                      </a:cubicBezTo>
                      <a:cubicBezTo>
                        <a:pt x="377" y="1457"/>
                        <a:pt x="377" y="1457"/>
                        <a:pt x="377" y="1457"/>
                      </a:cubicBezTo>
                      <a:cubicBezTo>
                        <a:pt x="381" y="1465"/>
                        <a:pt x="381" y="1465"/>
                        <a:pt x="381" y="1465"/>
                      </a:cubicBezTo>
                      <a:cubicBezTo>
                        <a:pt x="388" y="1467"/>
                        <a:pt x="388" y="1467"/>
                        <a:pt x="388" y="1467"/>
                      </a:cubicBezTo>
                      <a:cubicBezTo>
                        <a:pt x="416" y="1467"/>
                        <a:pt x="416" y="1467"/>
                        <a:pt x="416" y="1467"/>
                      </a:cubicBezTo>
                      <a:cubicBezTo>
                        <a:pt x="426" y="1475"/>
                        <a:pt x="426" y="1475"/>
                        <a:pt x="426" y="1475"/>
                      </a:cubicBezTo>
                      <a:cubicBezTo>
                        <a:pt x="433" y="1484"/>
                        <a:pt x="433" y="1484"/>
                        <a:pt x="433" y="1484"/>
                      </a:cubicBezTo>
                      <a:cubicBezTo>
                        <a:pt x="433" y="1495"/>
                        <a:pt x="433" y="1495"/>
                        <a:pt x="433" y="1495"/>
                      </a:cubicBezTo>
                      <a:cubicBezTo>
                        <a:pt x="430" y="1506"/>
                        <a:pt x="430" y="1506"/>
                        <a:pt x="430" y="1506"/>
                      </a:cubicBezTo>
                      <a:cubicBezTo>
                        <a:pt x="428" y="1513"/>
                        <a:pt x="428" y="1513"/>
                        <a:pt x="428" y="1513"/>
                      </a:cubicBezTo>
                      <a:cubicBezTo>
                        <a:pt x="429" y="1521"/>
                        <a:pt x="429" y="1521"/>
                        <a:pt x="429" y="1521"/>
                      </a:cubicBezTo>
                      <a:cubicBezTo>
                        <a:pt x="423" y="1536"/>
                        <a:pt x="423" y="1536"/>
                        <a:pt x="423" y="1536"/>
                      </a:cubicBezTo>
                      <a:cubicBezTo>
                        <a:pt x="431" y="1550"/>
                        <a:pt x="431" y="1550"/>
                        <a:pt x="431" y="1550"/>
                      </a:cubicBezTo>
                      <a:cubicBezTo>
                        <a:pt x="441" y="1560"/>
                        <a:pt x="441" y="1560"/>
                        <a:pt x="441" y="1560"/>
                      </a:cubicBezTo>
                      <a:cubicBezTo>
                        <a:pt x="454" y="1581"/>
                        <a:pt x="454" y="1581"/>
                        <a:pt x="454" y="1581"/>
                      </a:cubicBezTo>
                      <a:cubicBezTo>
                        <a:pt x="457" y="1589"/>
                        <a:pt x="457" y="1589"/>
                        <a:pt x="457" y="1589"/>
                      </a:cubicBezTo>
                      <a:cubicBezTo>
                        <a:pt x="463" y="1595"/>
                        <a:pt x="463" y="1595"/>
                        <a:pt x="463" y="1595"/>
                      </a:cubicBezTo>
                      <a:cubicBezTo>
                        <a:pt x="469" y="1601"/>
                        <a:pt x="469" y="1601"/>
                        <a:pt x="469" y="1601"/>
                      </a:cubicBezTo>
                      <a:cubicBezTo>
                        <a:pt x="468" y="1607"/>
                        <a:pt x="468" y="1607"/>
                        <a:pt x="468" y="1607"/>
                      </a:cubicBezTo>
                      <a:cubicBezTo>
                        <a:pt x="472" y="1617"/>
                        <a:pt x="472" y="1617"/>
                        <a:pt x="472" y="1617"/>
                      </a:cubicBezTo>
                      <a:cubicBezTo>
                        <a:pt x="477" y="1624"/>
                        <a:pt x="477" y="1624"/>
                        <a:pt x="477" y="1624"/>
                      </a:cubicBezTo>
                      <a:cubicBezTo>
                        <a:pt x="477" y="1647"/>
                        <a:pt x="477" y="1647"/>
                        <a:pt x="477" y="1647"/>
                      </a:cubicBezTo>
                      <a:cubicBezTo>
                        <a:pt x="480" y="1658"/>
                        <a:pt x="480" y="1658"/>
                        <a:pt x="480" y="1658"/>
                      </a:cubicBezTo>
                      <a:cubicBezTo>
                        <a:pt x="484" y="1671"/>
                        <a:pt x="484" y="1671"/>
                        <a:pt x="484" y="1671"/>
                      </a:cubicBezTo>
                      <a:cubicBezTo>
                        <a:pt x="477" y="1685"/>
                        <a:pt x="477" y="1685"/>
                        <a:pt x="477" y="1685"/>
                      </a:cubicBezTo>
                      <a:cubicBezTo>
                        <a:pt x="470" y="1690"/>
                        <a:pt x="470" y="1690"/>
                        <a:pt x="470" y="1690"/>
                      </a:cubicBezTo>
                      <a:cubicBezTo>
                        <a:pt x="459" y="1721"/>
                        <a:pt x="459" y="1721"/>
                        <a:pt x="459" y="1721"/>
                      </a:cubicBezTo>
                      <a:cubicBezTo>
                        <a:pt x="457" y="1733"/>
                        <a:pt x="457" y="1733"/>
                        <a:pt x="457" y="1733"/>
                      </a:cubicBezTo>
                      <a:cubicBezTo>
                        <a:pt x="458" y="1744"/>
                        <a:pt x="458" y="1744"/>
                        <a:pt x="458" y="1744"/>
                      </a:cubicBezTo>
                      <a:cubicBezTo>
                        <a:pt x="461" y="1760"/>
                        <a:pt x="461" y="1760"/>
                        <a:pt x="461" y="1760"/>
                      </a:cubicBezTo>
                      <a:cubicBezTo>
                        <a:pt x="466" y="1768"/>
                        <a:pt x="466" y="1768"/>
                        <a:pt x="466" y="1768"/>
                      </a:cubicBezTo>
                      <a:cubicBezTo>
                        <a:pt x="467" y="1773"/>
                        <a:pt x="467" y="1773"/>
                        <a:pt x="467" y="1773"/>
                      </a:cubicBezTo>
                      <a:cubicBezTo>
                        <a:pt x="486" y="1807"/>
                        <a:pt x="486" y="1807"/>
                        <a:pt x="486" y="1807"/>
                      </a:cubicBezTo>
                      <a:cubicBezTo>
                        <a:pt x="488" y="1816"/>
                        <a:pt x="488" y="1816"/>
                        <a:pt x="488" y="1816"/>
                      </a:cubicBezTo>
                      <a:cubicBezTo>
                        <a:pt x="492" y="1841"/>
                        <a:pt x="492" y="1841"/>
                        <a:pt x="492" y="1841"/>
                      </a:cubicBezTo>
                      <a:cubicBezTo>
                        <a:pt x="497" y="1858"/>
                        <a:pt x="497" y="1858"/>
                        <a:pt x="497" y="1858"/>
                      </a:cubicBezTo>
                      <a:cubicBezTo>
                        <a:pt x="503" y="1877"/>
                        <a:pt x="503" y="1877"/>
                        <a:pt x="503" y="1877"/>
                      </a:cubicBezTo>
                      <a:cubicBezTo>
                        <a:pt x="508" y="1888"/>
                        <a:pt x="508" y="1888"/>
                        <a:pt x="508" y="1888"/>
                      </a:cubicBezTo>
                      <a:cubicBezTo>
                        <a:pt x="515" y="1897"/>
                        <a:pt x="515" y="1897"/>
                        <a:pt x="515" y="1897"/>
                      </a:cubicBezTo>
                      <a:cubicBezTo>
                        <a:pt x="517" y="1904"/>
                        <a:pt x="517" y="1904"/>
                        <a:pt x="517" y="1904"/>
                      </a:cubicBezTo>
                      <a:cubicBezTo>
                        <a:pt x="524" y="1918"/>
                        <a:pt x="524" y="1918"/>
                        <a:pt x="524" y="1918"/>
                      </a:cubicBezTo>
                      <a:cubicBezTo>
                        <a:pt x="534" y="1933"/>
                        <a:pt x="534" y="1933"/>
                        <a:pt x="534" y="1933"/>
                      </a:cubicBezTo>
                      <a:cubicBezTo>
                        <a:pt x="541" y="1951"/>
                        <a:pt x="541" y="1951"/>
                        <a:pt x="541" y="1951"/>
                      </a:cubicBezTo>
                      <a:cubicBezTo>
                        <a:pt x="540" y="1961"/>
                        <a:pt x="540" y="1961"/>
                        <a:pt x="540" y="1961"/>
                      </a:cubicBezTo>
                      <a:cubicBezTo>
                        <a:pt x="537" y="1965"/>
                        <a:pt x="537" y="1965"/>
                        <a:pt x="537" y="1965"/>
                      </a:cubicBezTo>
                      <a:cubicBezTo>
                        <a:pt x="538" y="1972"/>
                        <a:pt x="538" y="1972"/>
                        <a:pt x="538" y="1972"/>
                      </a:cubicBezTo>
                      <a:cubicBezTo>
                        <a:pt x="559" y="1991"/>
                        <a:pt x="559" y="1991"/>
                        <a:pt x="559" y="1991"/>
                      </a:cubicBezTo>
                      <a:cubicBezTo>
                        <a:pt x="567" y="1989"/>
                        <a:pt x="567" y="1989"/>
                        <a:pt x="567" y="1989"/>
                      </a:cubicBezTo>
                      <a:cubicBezTo>
                        <a:pt x="573" y="1983"/>
                        <a:pt x="573" y="1983"/>
                        <a:pt x="573" y="1983"/>
                      </a:cubicBezTo>
                      <a:cubicBezTo>
                        <a:pt x="588" y="1981"/>
                        <a:pt x="588" y="1981"/>
                        <a:pt x="588" y="1981"/>
                      </a:cubicBezTo>
                      <a:cubicBezTo>
                        <a:pt x="601" y="1979"/>
                        <a:pt x="601" y="1979"/>
                        <a:pt x="601" y="1979"/>
                      </a:cubicBezTo>
                      <a:cubicBezTo>
                        <a:pt x="625" y="1980"/>
                        <a:pt x="625" y="1980"/>
                        <a:pt x="625" y="1980"/>
                      </a:cubicBezTo>
                      <a:cubicBezTo>
                        <a:pt x="630" y="1977"/>
                        <a:pt x="630" y="1977"/>
                        <a:pt x="630" y="1977"/>
                      </a:cubicBezTo>
                      <a:cubicBezTo>
                        <a:pt x="640" y="1975"/>
                        <a:pt x="640" y="1975"/>
                        <a:pt x="640" y="1975"/>
                      </a:cubicBezTo>
                      <a:cubicBezTo>
                        <a:pt x="653" y="1965"/>
                        <a:pt x="653" y="1965"/>
                        <a:pt x="653" y="1965"/>
                      </a:cubicBezTo>
                      <a:cubicBezTo>
                        <a:pt x="670" y="1953"/>
                        <a:pt x="670" y="1953"/>
                        <a:pt x="670" y="1953"/>
                      </a:cubicBezTo>
                      <a:cubicBezTo>
                        <a:pt x="676" y="1945"/>
                        <a:pt x="676" y="1945"/>
                        <a:pt x="676" y="1945"/>
                      </a:cubicBezTo>
                      <a:cubicBezTo>
                        <a:pt x="689" y="1930"/>
                        <a:pt x="689" y="1930"/>
                        <a:pt x="689" y="1930"/>
                      </a:cubicBezTo>
                      <a:cubicBezTo>
                        <a:pt x="692" y="1920"/>
                        <a:pt x="692" y="1920"/>
                        <a:pt x="692" y="1920"/>
                      </a:cubicBezTo>
                      <a:cubicBezTo>
                        <a:pt x="705" y="1902"/>
                        <a:pt x="705" y="1902"/>
                        <a:pt x="705" y="1902"/>
                      </a:cubicBezTo>
                      <a:cubicBezTo>
                        <a:pt x="714" y="1892"/>
                        <a:pt x="714" y="1892"/>
                        <a:pt x="714" y="1892"/>
                      </a:cubicBezTo>
                      <a:cubicBezTo>
                        <a:pt x="714" y="1883"/>
                        <a:pt x="714" y="1883"/>
                        <a:pt x="714" y="1883"/>
                      </a:cubicBezTo>
                      <a:cubicBezTo>
                        <a:pt x="718" y="1877"/>
                        <a:pt x="718" y="1877"/>
                        <a:pt x="718" y="1877"/>
                      </a:cubicBezTo>
                      <a:cubicBezTo>
                        <a:pt x="718" y="1871"/>
                        <a:pt x="718" y="1871"/>
                        <a:pt x="718" y="1871"/>
                      </a:cubicBezTo>
                      <a:cubicBezTo>
                        <a:pt x="719" y="1865"/>
                        <a:pt x="719" y="1865"/>
                        <a:pt x="719" y="1865"/>
                      </a:cubicBezTo>
                      <a:cubicBezTo>
                        <a:pt x="716" y="1860"/>
                        <a:pt x="716" y="1860"/>
                        <a:pt x="716" y="1860"/>
                      </a:cubicBezTo>
                      <a:cubicBezTo>
                        <a:pt x="722" y="1851"/>
                        <a:pt x="722" y="1851"/>
                        <a:pt x="722" y="1851"/>
                      </a:cubicBezTo>
                      <a:cubicBezTo>
                        <a:pt x="747" y="1844"/>
                        <a:pt x="747" y="1844"/>
                        <a:pt x="747" y="1844"/>
                      </a:cubicBezTo>
                      <a:cubicBezTo>
                        <a:pt x="751" y="1827"/>
                        <a:pt x="751" y="1827"/>
                        <a:pt x="751" y="1827"/>
                      </a:cubicBezTo>
                      <a:cubicBezTo>
                        <a:pt x="749" y="1802"/>
                        <a:pt x="749" y="1802"/>
                        <a:pt x="749" y="1802"/>
                      </a:cubicBezTo>
                      <a:cubicBezTo>
                        <a:pt x="742" y="1780"/>
                        <a:pt x="742" y="1780"/>
                        <a:pt x="742" y="1780"/>
                      </a:cubicBezTo>
                      <a:cubicBezTo>
                        <a:pt x="742" y="1772"/>
                        <a:pt x="742" y="1772"/>
                        <a:pt x="742" y="1772"/>
                      </a:cubicBezTo>
                      <a:cubicBezTo>
                        <a:pt x="755" y="1763"/>
                        <a:pt x="755" y="1763"/>
                        <a:pt x="755" y="1763"/>
                      </a:cubicBezTo>
                      <a:cubicBezTo>
                        <a:pt x="760" y="1761"/>
                        <a:pt x="760" y="1761"/>
                        <a:pt x="760" y="1761"/>
                      </a:cubicBezTo>
                      <a:cubicBezTo>
                        <a:pt x="766" y="1753"/>
                        <a:pt x="766" y="1753"/>
                        <a:pt x="766" y="1753"/>
                      </a:cubicBezTo>
                      <a:cubicBezTo>
                        <a:pt x="778" y="1743"/>
                        <a:pt x="778" y="1743"/>
                        <a:pt x="778" y="1743"/>
                      </a:cubicBezTo>
                      <a:cubicBezTo>
                        <a:pt x="800" y="1736"/>
                        <a:pt x="800" y="1736"/>
                        <a:pt x="800" y="1736"/>
                      </a:cubicBezTo>
                      <a:cubicBezTo>
                        <a:pt x="817" y="1714"/>
                        <a:pt x="817" y="1714"/>
                        <a:pt x="817" y="1714"/>
                      </a:cubicBezTo>
                      <a:cubicBezTo>
                        <a:pt x="818" y="1687"/>
                        <a:pt x="818" y="1687"/>
                        <a:pt x="818" y="1687"/>
                      </a:cubicBezTo>
                      <a:cubicBezTo>
                        <a:pt x="815" y="1674"/>
                        <a:pt x="815" y="1674"/>
                        <a:pt x="815" y="1674"/>
                      </a:cubicBezTo>
                      <a:cubicBezTo>
                        <a:pt x="814" y="1652"/>
                        <a:pt x="814" y="1652"/>
                        <a:pt x="814" y="1652"/>
                      </a:cubicBezTo>
                      <a:cubicBezTo>
                        <a:pt x="800" y="1636"/>
                        <a:pt x="800" y="1636"/>
                        <a:pt x="800" y="1636"/>
                      </a:cubicBezTo>
                      <a:cubicBezTo>
                        <a:pt x="799" y="1620"/>
                        <a:pt x="799" y="1620"/>
                        <a:pt x="799" y="1620"/>
                      </a:cubicBezTo>
                      <a:cubicBezTo>
                        <a:pt x="802" y="1607"/>
                        <a:pt x="802" y="1607"/>
                        <a:pt x="802" y="1607"/>
                      </a:cubicBezTo>
                      <a:cubicBezTo>
                        <a:pt x="793" y="1600"/>
                        <a:pt x="793" y="1600"/>
                        <a:pt x="793" y="1600"/>
                      </a:cubicBezTo>
                      <a:cubicBezTo>
                        <a:pt x="793" y="1593"/>
                        <a:pt x="793" y="1593"/>
                        <a:pt x="793" y="1593"/>
                      </a:cubicBezTo>
                      <a:cubicBezTo>
                        <a:pt x="802" y="1578"/>
                        <a:pt x="802" y="1578"/>
                        <a:pt x="802" y="1578"/>
                      </a:cubicBezTo>
                      <a:cubicBezTo>
                        <a:pt x="807" y="1565"/>
                        <a:pt x="807" y="1565"/>
                        <a:pt x="807" y="1565"/>
                      </a:cubicBezTo>
                      <a:cubicBezTo>
                        <a:pt x="810" y="1556"/>
                        <a:pt x="810" y="1556"/>
                        <a:pt x="810" y="1556"/>
                      </a:cubicBezTo>
                      <a:cubicBezTo>
                        <a:pt x="819" y="1553"/>
                        <a:pt x="819" y="1553"/>
                        <a:pt x="819" y="1553"/>
                      </a:cubicBezTo>
                      <a:cubicBezTo>
                        <a:pt x="819" y="1547"/>
                        <a:pt x="819" y="1547"/>
                        <a:pt x="819" y="1547"/>
                      </a:cubicBezTo>
                      <a:cubicBezTo>
                        <a:pt x="825" y="1545"/>
                        <a:pt x="825" y="1545"/>
                        <a:pt x="825" y="1545"/>
                      </a:cubicBezTo>
                      <a:cubicBezTo>
                        <a:pt x="831" y="1537"/>
                        <a:pt x="831" y="1537"/>
                        <a:pt x="831" y="1537"/>
                      </a:cubicBezTo>
                      <a:cubicBezTo>
                        <a:pt x="844" y="1522"/>
                        <a:pt x="844" y="1522"/>
                        <a:pt x="844" y="1522"/>
                      </a:cubicBezTo>
                      <a:cubicBezTo>
                        <a:pt x="850" y="1513"/>
                        <a:pt x="850" y="1513"/>
                        <a:pt x="850" y="1513"/>
                      </a:cubicBezTo>
                      <a:cubicBezTo>
                        <a:pt x="864" y="1503"/>
                        <a:pt x="864" y="1503"/>
                        <a:pt x="864" y="1503"/>
                      </a:cubicBezTo>
                      <a:cubicBezTo>
                        <a:pt x="880" y="1491"/>
                        <a:pt x="880" y="1491"/>
                        <a:pt x="880" y="1491"/>
                      </a:cubicBezTo>
                      <a:cubicBezTo>
                        <a:pt x="891" y="1485"/>
                        <a:pt x="891" y="1485"/>
                        <a:pt x="891" y="1485"/>
                      </a:cubicBezTo>
                      <a:cubicBezTo>
                        <a:pt x="901" y="1474"/>
                        <a:pt x="901" y="1474"/>
                        <a:pt x="901" y="1474"/>
                      </a:cubicBezTo>
                      <a:cubicBezTo>
                        <a:pt x="914" y="1456"/>
                        <a:pt x="914" y="1456"/>
                        <a:pt x="914" y="1456"/>
                      </a:cubicBezTo>
                      <a:cubicBezTo>
                        <a:pt x="918" y="1448"/>
                        <a:pt x="918" y="1448"/>
                        <a:pt x="918" y="1448"/>
                      </a:cubicBezTo>
                      <a:cubicBezTo>
                        <a:pt x="924" y="1438"/>
                        <a:pt x="924" y="1438"/>
                        <a:pt x="924" y="1438"/>
                      </a:cubicBezTo>
                      <a:cubicBezTo>
                        <a:pt x="927" y="1431"/>
                        <a:pt x="927" y="1431"/>
                        <a:pt x="927" y="1431"/>
                      </a:cubicBezTo>
                      <a:cubicBezTo>
                        <a:pt x="943" y="1409"/>
                        <a:pt x="943" y="1409"/>
                        <a:pt x="943" y="1409"/>
                      </a:cubicBezTo>
                      <a:cubicBezTo>
                        <a:pt x="946" y="1395"/>
                        <a:pt x="946" y="1395"/>
                        <a:pt x="946" y="1395"/>
                      </a:cubicBezTo>
                      <a:cubicBezTo>
                        <a:pt x="948" y="1373"/>
                        <a:pt x="948" y="1373"/>
                        <a:pt x="948" y="1373"/>
                      </a:cubicBezTo>
                      <a:cubicBezTo>
                        <a:pt x="945" y="1369"/>
                        <a:pt x="945" y="1369"/>
                        <a:pt x="945" y="1369"/>
                      </a:cubicBezTo>
                      <a:cubicBezTo>
                        <a:pt x="941" y="1369"/>
                        <a:pt x="941" y="1369"/>
                        <a:pt x="941" y="1369"/>
                      </a:cubicBezTo>
                      <a:cubicBezTo>
                        <a:pt x="934" y="1373"/>
                        <a:pt x="934" y="1373"/>
                        <a:pt x="934" y="1373"/>
                      </a:cubicBezTo>
                      <a:cubicBezTo>
                        <a:pt x="917" y="1378"/>
                        <a:pt x="917" y="1378"/>
                        <a:pt x="917" y="1378"/>
                      </a:cubicBezTo>
                      <a:cubicBezTo>
                        <a:pt x="913" y="1380"/>
                        <a:pt x="913" y="1380"/>
                        <a:pt x="913" y="1380"/>
                      </a:cubicBezTo>
                      <a:cubicBezTo>
                        <a:pt x="903" y="1380"/>
                        <a:pt x="903" y="1380"/>
                        <a:pt x="903" y="1380"/>
                      </a:cubicBezTo>
                      <a:cubicBezTo>
                        <a:pt x="893" y="1385"/>
                        <a:pt x="893" y="1385"/>
                        <a:pt x="893" y="1385"/>
                      </a:cubicBezTo>
                      <a:cubicBezTo>
                        <a:pt x="875" y="1388"/>
                        <a:pt x="875" y="1388"/>
                        <a:pt x="875" y="1388"/>
                      </a:cubicBezTo>
                      <a:cubicBezTo>
                        <a:pt x="869" y="1391"/>
                        <a:pt x="869" y="1391"/>
                        <a:pt x="869" y="1391"/>
                      </a:cubicBezTo>
                      <a:cubicBezTo>
                        <a:pt x="861" y="1389"/>
                        <a:pt x="861" y="1389"/>
                        <a:pt x="861" y="1389"/>
                      </a:cubicBezTo>
                      <a:cubicBezTo>
                        <a:pt x="851" y="1379"/>
                        <a:pt x="851" y="1379"/>
                        <a:pt x="851" y="1379"/>
                      </a:cubicBezTo>
                      <a:cubicBezTo>
                        <a:pt x="843" y="1373"/>
                        <a:pt x="843" y="1373"/>
                        <a:pt x="843" y="1373"/>
                      </a:cubicBezTo>
                      <a:cubicBezTo>
                        <a:pt x="853" y="1368"/>
                        <a:pt x="853" y="1368"/>
                        <a:pt x="853" y="1368"/>
                      </a:cubicBezTo>
                      <a:cubicBezTo>
                        <a:pt x="850" y="1362"/>
                        <a:pt x="850" y="1362"/>
                        <a:pt x="850" y="1362"/>
                      </a:cubicBezTo>
                      <a:cubicBezTo>
                        <a:pt x="846" y="1359"/>
                        <a:pt x="846" y="1359"/>
                        <a:pt x="846" y="1359"/>
                      </a:cubicBezTo>
                      <a:cubicBezTo>
                        <a:pt x="842" y="1359"/>
                        <a:pt x="842" y="1359"/>
                        <a:pt x="842" y="1359"/>
                      </a:cubicBezTo>
                      <a:cubicBezTo>
                        <a:pt x="826" y="1340"/>
                        <a:pt x="826" y="1340"/>
                        <a:pt x="826" y="1340"/>
                      </a:cubicBezTo>
                      <a:cubicBezTo>
                        <a:pt x="810" y="1329"/>
                        <a:pt x="810" y="1329"/>
                        <a:pt x="810" y="1329"/>
                      </a:cubicBezTo>
                      <a:cubicBezTo>
                        <a:pt x="803" y="1326"/>
                        <a:pt x="803" y="1326"/>
                        <a:pt x="803" y="1326"/>
                      </a:cubicBezTo>
                      <a:cubicBezTo>
                        <a:pt x="795" y="1309"/>
                        <a:pt x="795" y="1309"/>
                        <a:pt x="795" y="1309"/>
                      </a:cubicBezTo>
                      <a:cubicBezTo>
                        <a:pt x="791" y="1293"/>
                        <a:pt x="791" y="1293"/>
                        <a:pt x="791" y="1293"/>
                      </a:cubicBezTo>
                      <a:cubicBezTo>
                        <a:pt x="772" y="1275"/>
                        <a:pt x="772" y="1275"/>
                        <a:pt x="772" y="1275"/>
                      </a:cubicBezTo>
                      <a:cubicBezTo>
                        <a:pt x="772" y="1266"/>
                        <a:pt x="772" y="1266"/>
                        <a:pt x="772" y="1266"/>
                      </a:cubicBezTo>
                      <a:cubicBezTo>
                        <a:pt x="771" y="1245"/>
                        <a:pt x="771" y="1245"/>
                        <a:pt x="771" y="1245"/>
                      </a:cubicBezTo>
                      <a:cubicBezTo>
                        <a:pt x="766" y="1235"/>
                        <a:pt x="766" y="1235"/>
                        <a:pt x="766" y="1235"/>
                      </a:cubicBezTo>
                      <a:cubicBezTo>
                        <a:pt x="752" y="1224"/>
                        <a:pt x="752" y="1224"/>
                        <a:pt x="752" y="1224"/>
                      </a:cubicBezTo>
                      <a:cubicBezTo>
                        <a:pt x="749" y="1208"/>
                        <a:pt x="749" y="1208"/>
                        <a:pt x="749" y="1208"/>
                      </a:cubicBezTo>
                      <a:cubicBezTo>
                        <a:pt x="740" y="1190"/>
                        <a:pt x="740" y="1190"/>
                        <a:pt x="740" y="1190"/>
                      </a:cubicBezTo>
                      <a:cubicBezTo>
                        <a:pt x="734" y="1174"/>
                        <a:pt x="734" y="1174"/>
                        <a:pt x="734" y="1174"/>
                      </a:cubicBezTo>
                      <a:cubicBezTo>
                        <a:pt x="727" y="1163"/>
                        <a:pt x="727" y="1163"/>
                        <a:pt x="727" y="1163"/>
                      </a:cubicBezTo>
                      <a:cubicBezTo>
                        <a:pt x="725" y="1156"/>
                        <a:pt x="725" y="1156"/>
                        <a:pt x="725" y="1156"/>
                      </a:cubicBezTo>
                      <a:cubicBezTo>
                        <a:pt x="714" y="1146"/>
                        <a:pt x="714" y="1146"/>
                        <a:pt x="714" y="1146"/>
                      </a:cubicBezTo>
                      <a:cubicBezTo>
                        <a:pt x="712" y="1130"/>
                        <a:pt x="712" y="1130"/>
                        <a:pt x="712" y="1130"/>
                      </a:cubicBezTo>
                      <a:cubicBezTo>
                        <a:pt x="714" y="1126"/>
                        <a:pt x="714" y="1126"/>
                        <a:pt x="714" y="1126"/>
                      </a:cubicBezTo>
                      <a:cubicBezTo>
                        <a:pt x="715" y="1125"/>
                        <a:pt x="715" y="1125"/>
                        <a:pt x="715" y="1125"/>
                      </a:cubicBezTo>
                      <a:cubicBezTo>
                        <a:pt x="718" y="1129"/>
                        <a:pt x="718" y="1129"/>
                        <a:pt x="718" y="1129"/>
                      </a:cubicBezTo>
                      <a:cubicBezTo>
                        <a:pt x="719" y="1140"/>
                        <a:pt x="719" y="1140"/>
                        <a:pt x="719" y="1140"/>
                      </a:cubicBezTo>
                      <a:cubicBezTo>
                        <a:pt x="725" y="1149"/>
                        <a:pt x="725" y="1149"/>
                        <a:pt x="725" y="1149"/>
                      </a:cubicBezTo>
                      <a:cubicBezTo>
                        <a:pt x="733" y="1158"/>
                        <a:pt x="733" y="1158"/>
                        <a:pt x="733" y="1158"/>
                      </a:cubicBezTo>
                      <a:cubicBezTo>
                        <a:pt x="739" y="1156"/>
                        <a:pt x="739" y="1156"/>
                        <a:pt x="739" y="1156"/>
                      </a:cubicBezTo>
                      <a:cubicBezTo>
                        <a:pt x="739" y="1149"/>
                        <a:pt x="739" y="1149"/>
                        <a:pt x="739" y="1149"/>
                      </a:cubicBezTo>
                      <a:cubicBezTo>
                        <a:pt x="742" y="1133"/>
                        <a:pt x="742" y="1133"/>
                        <a:pt x="742" y="1133"/>
                      </a:cubicBezTo>
                      <a:cubicBezTo>
                        <a:pt x="744" y="1133"/>
                        <a:pt x="744" y="1133"/>
                        <a:pt x="744" y="1133"/>
                      </a:cubicBezTo>
                      <a:cubicBezTo>
                        <a:pt x="744" y="1140"/>
                        <a:pt x="744" y="1140"/>
                        <a:pt x="744" y="1140"/>
                      </a:cubicBezTo>
                      <a:cubicBezTo>
                        <a:pt x="743" y="1157"/>
                        <a:pt x="743" y="1157"/>
                        <a:pt x="743" y="1157"/>
                      </a:cubicBezTo>
                      <a:cubicBezTo>
                        <a:pt x="751" y="1159"/>
                        <a:pt x="751" y="1159"/>
                        <a:pt x="751" y="1159"/>
                      </a:cubicBezTo>
                      <a:cubicBezTo>
                        <a:pt x="752" y="1162"/>
                        <a:pt x="752" y="1162"/>
                        <a:pt x="752" y="1162"/>
                      </a:cubicBezTo>
                      <a:cubicBezTo>
                        <a:pt x="760" y="1177"/>
                        <a:pt x="760" y="1177"/>
                        <a:pt x="760" y="1177"/>
                      </a:cubicBezTo>
                      <a:cubicBezTo>
                        <a:pt x="762" y="1184"/>
                        <a:pt x="762" y="1184"/>
                        <a:pt x="762" y="1184"/>
                      </a:cubicBezTo>
                      <a:cubicBezTo>
                        <a:pt x="770" y="1192"/>
                        <a:pt x="770" y="1192"/>
                        <a:pt x="770" y="1192"/>
                      </a:cubicBezTo>
                      <a:cubicBezTo>
                        <a:pt x="771" y="1203"/>
                        <a:pt x="771" y="1203"/>
                        <a:pt x="771" y="1203"/>
                      </a:cubicBezTo>
                      <a:cubicBezTo>
                        <a:pt x="778" y="1211"/>
                        <a:pt x="778" y="1211"/>
                        <a:pt x="778" y="1211"/>
                      </a:cubicBezTo>
                      <a:cubicBezTo>
                        <a:pt x="784" y="1215"/>
                        <a:pt x="784" y="1215"/>
                        <a:pt x="784" y="1215"/>
                      </a:cubicBezTo>
                      <a:cubicBezTo>
                        <a:pt x="791" y="1221"/>
                        <a:pt x="791" y="1221"/>
                        <a:pt x="791" y="1221"/>
                      </a:cubicBezTo>
                      <a:cubicBezTo>
                        <a:pt x="796" y="1229"/>
                        <a:pt x="796" y="1229"/>
                        <a:pt x="796" y="1229"/>
                      </a:cubicBezTo>
                      <a:cubicBezTo>
                        <a:pt x="796" y="1244"/>
                        <a:pt x="796" y="1244"/>
                        <a:pt x="796" y="1244"/>
                      </a:cubicBezTo>
                      <a:cubicBezTo>
                        <a:pt x="801" y="1254"/>
                        <a:pt x="801" y="1254"/>
                        <a:pt x="801" y="1254"/>
                      </a:cubicBezTo>
                      <a:cubicBezTo>
                        <a:pt x="808" y="1263"/>
                        <a:pt x="808" y="1263"/>
                        <a:pt x="808" y="1263"/>
                      </a:cubicBezTo>
                      <a:cubicBezTo>
                        <a:pt x="817" y="1267"/>
                        <a:pt x="817" y="1267"/>
                        <a:pt x="817" y="1267"/>
                      </a:cubicBezTo>
                      <a:cubicBezTo>
                        <a:pt x="818" y="1272"/>
                        <a:pt x="818" y="1272"/>
                        <a:pt x="818" y="1272"/>
                      </a:cubicBezTo>
                      <a:cubicBezTo>
                        <a:pt x="825" y="1289"/>
                        <a:pt x="825" y="1289"/>
                        <a:pt x="825" y="1289"/>
                      </a:cubicBezTo>
                      <a:cubicBezTo>
                        <a:pt x="832" y="1295"/>
                        <a:pt x="832" y="1295"/>
                        <a:pt x="832" y="1295"/>
                      </a:cubicBezTo>
                      <a:cubicBezTo>
                        <a:pt x="840" y="1306"/>
                        <a:pt x="840" y="1306"/>
                        <a:pt x="840" y="1306"/>
                      </a:cubicBezTo>
                      <a:cubicBezTo>
                        <a:pt x="840" y="1313"/>
                        <a:pt x="840" y="1313"/>
                        <a:pt x="840" y="1313"/>
                      </a:cubicBezTo>
                      <a:cubicBezTo>
                        <a:pt x="842" y="1325"/>
                        <a:pt x="842" y="1325"/>
                        <a:pt x="842" y="1325"/>
                      </a:cubicBezTo>
                      <a:cubicBezTo>
                        <a:pt x="842" y="1331"/>
                        <a:pt x="842" y="1331"/>
                        <a:pt x="842" y="1331"/>
                      </a:cubicBezTo>
                      <a:cubicBezTo>
                        <a:pt x="848" y="1344"/>
                        <a:pt x="848" y="1344"/>
                        <a:pt x="848" y="1344"/>
                      </a:cubicBezTo>
                      <a:cubicBezTo>
                        <a:pt x="849" y="1356"/>
                        <a:pt x="849" y="1356"/>
                        <a:pt x="849" y="1356"/>
                      </a:cubicBezTo>
                      <a:cubicBezTo>
                        <a:pt x="855" y="1359"/>
                        <a:pt x="855" y="1359"/>
                        <a:pt x="855" y="1359"/>
                      </a:cubicBezTo>
                      <a:cubicBezTo>
                        <a:pt x="857" y="1362"/>
                        <a:pt x="857" y="1362"/>
                        <a:pt x="857" y="1362"/>
                      </a:cubicBezTo>
                      <a:cubicBezTo>
                        <a:pt x="875" y="1359"/>
                        <a:pt x="875" y="1359"/>
                        <a:pt x="875" y="1359"/>
                      </a:cubicBezTo>
                      <a:cubicBezTo>
                        <a:pt x="879" y="1353"/>
                        <a:pt x="879" y="1353"/>
                        <a:pt x="879" y="1353"/>
                      </a:cubicBezTo>
                      <a:cubicBezTo>
                        <a:pt x="889" y="1353"/>
                        <a:pt x="889" y="1353"/>
                        <a:pt x="889" y="1353"/>
                      </a:cubicBezTo>
                      <a:cubicBezTo>
                        <a:pt x="895" y="1350"/>
                        <a:pt x="895" y="1350"/>
                        <a:pt x="895" y="1350"/>
                      </a:cubicBezTo>
                      <a:cubicBezTo>
                        <a:pt x="918" y="1343"/>
                        <a:pt x="918" y="1343"/>
                        <a:pt x="918" y="1343"/>
                      </a:cubicBezTo>
                      <a:cubicBezTo>
                        <a:pt x="920" y="1338"/>
                        <a:pt x="920" y="1338"/>
                        <a:pt x="920" y="1338"/>
                      </a:cubicBezTo>
                      <a:cubicBezTo>
                        <a:pt x="927" y="1335"/>
                        <a:pt x="927" y="1335"/>
                        <a:pt x="927" y="1335"/>
                      </a:cubicBezTo>
                      <a:cubicBezTo>
                        <a:pt x="931" y="1333"/>
                        <a:pt x="931" y="1333"/>
                        <a:pt x="931" y="1333"/>
                      </a:cubicBezTo>
                      <a:cubicBezTo>
                        <a:pt x="942" y="1331"/>
                        <a:pt x="942" y="1331"/>
                        <a:pt x="942" y="1331"/>
                      </a:cubicBezTo>
                      <a:cubicBezTo>
                        <a:pt x="949" y="1328"/>
                        <a:pt x="949" y="1328"/>
                        <a:pt x="949" y="1328"/>
                      </a:cubicBezTo>
                      <a:cubicBezTo>
                        <a:pt x="959" y="1325"/>
                        <a:pt x="959" y="1325"/>
                        <a:pt x="959" y="1325"/>
                      </a:cubicBezTo>
                      <a:cubicBezTo>
                        <a:pt x="964" y="1320"/>
                        <a:pt x="964" y="1320"/>
                        <a:pt x="964" y="1320"/>
                      </a:cubicBezTo>
                      <a:cubicBezTo>
                        <a:pt x="964" y="1318"/>
                        <a:pt x="964" y="1318"/>
                        <a:pt x="964" y="1318"/>
                      </a:cubicBezTo>
                      <a:cubicBezTo>
                        <a:pt x="972" y="1309"/>
                        <a:pt x="972" y="1309"/>
                        <a:pt x="972" y="1309"/>
                      </a:cubicBezTo>
                      <a:cubicBezTo>
                        <a:pt x="982" y="1305"/>
                        <a:pt x="982" y="1305"/>
                        <a:pt x="982" y="1305"/>
                      </a:cubicBezTo>
                      <a:cubicBezTo>
                        <a:pt x="1001" y="1304"/>
                        <a:pt x="1001" y="1304"/>
                        <a:pt x="1001" y="1304"/>
                      </a:cubicBezTo>
                      <a:cubicBezTo>
                        <a:pt x="1004" y="1296"/>
                        <a:pt x="1004" y="1296"/>
                        <a:pt x="1004" y="1296"/>
                      </a:cubicBezTo>
                      <a:cubicBezTo>
                        <a:pt x="1014" y="1293"/>
                        <a:pt x="1014" y="1293"/>
                        <a:pt x="1014" y="1293"/>
                      </a:cubicBezTo>
                      <a:cubicBezTo>
                        <a:pt x="1019" y="1290"/>
                        <a:pt x="1019" y="1290"/>
                        <a:pt x="1019" y="1290"/>
                      </a:cubicBezTo>
                      <a:cubicBezTo>
                        <a:pt x="1019" y="1285"/>
                        <a:pt x="1019" y="1285"/>
                        <a:pt x="1019" y="1285"/>
                      </a:cubicBezTo>
                      <a:cubicBezTo>
                        <a:pt x="1031" y="1275"/>
                        <a:pt x="1031" y="1275"/>
                        <a:pt x="1031" y="1275"/>
                      </a:cubicBezTo>
                      <a:cubicBezTo>
                        <a:pt x="1032" y="1268"/>
                        <a:pt x="1032" y="1268"/>
                        <a:pt x="1032" y="1268"/>
                      </a:cubicBezTo>
                      <a:cubicBezTo>
                        <a:pt x="1038" y="1260"/>
                        <a:pt x="1038" y="1260"/>
                        <a:pt x="1038" y="1260"/>
                      </a:cubicBezTo>
                      <a:cubicBezTo>
                        <a:pt x="1044" y="1257"/>
                        <a:pt x="1044" y="1257"/>
                        <a:pt x="1044" y="1257"/>
                      </a:cubicBezTo>
                      <a:cubicBezTo>
                        <a:pt x="1055" y="1245"/>
                        <a:pt x="1055" y="1245"/>
                        <a:pt x="1055" y="1245"/>
                      </a:cubicBezTo>
                      <a:cubicBezTo>
                        <a:pt x="1061" y="1236"/>
                        <a:pt x="1061" y="1236"/>
                        <a:pt x="1061" y="1236"/>
                      </a:cubicBezTo>
                      <a:cubicBezTo>
                        <a:pt x="1058" y="1230"/>
                        <a:pt x="1058" y="1230"/>
                        <a:pt x="1058" y="1230"/>
                      </a:cubicBezTo>
                      <a:cubicBezTo>
                        <a:pt x="1053" y="1229"/>
                        <a:pt x="1053" y="1229"/>
                        <a:pt x="1053" y="1229"/>
                      </a:cubicBezTo>
                      <a:cubicBezTo>
                        <a:pt x="1044" y="1220"/>
                        <a:pt x="1044" y="1220"/>
                        <a:pt x="1044" y="1220"/>
                      </a:cubicBezTo>
                      <a:cubicBezTo>
                        <a:pt x="1042" y="1215"/>
                        <a:pt x="1042" y="1215"/>
                        <a:pt x="1042" y="1215"/>
                      </a:cubicBezTo>
                      <a:cubicBezTo>
                        <a:pt x="1032" y="1214"/>
                        <a:pt x="1032" y="1214"/>
                        <a:pt x="1032" y="1214"/>
                      </a:cubicBezTo>
                      <a:cubicBezTo>
                        <a:pt x="1022" y="1209"/>
                        <a:pt x="1022" y="1209"/>
                        <a:pt x="1022" y="1209"/>
                      </a:cubicBezTo>
                      <a:cubicBezTo>
                        <a:pt x="1018" y="1203"/>
                        <a:pt x="1018" y="1203"/>
                        <a:pt x="1018" y="1203"/>
                      </a:cubicBezTo>
                      <a:cubicBezTo>
                        <a:pt x="1016" y="1196"/>
                        <a:pt x="1016" y="1196"/>
                        <a:pt x="1016" y="1196"/>
                      </a:cubicBezTo>
                      <a:cubicBezTo>
                        <a:pt x="1016" y="1192"/>
                        <a:pt x="1016" y="1192"/>
                        <a:pt x="1016" y="1192"/>
                      </a:cubicBezTo>
                      <a:cubicBezTo>
                        <a:pt x="1017" y="1184"/>
                        <a:pt x="1017" y="1184"/>
                        <a:pt x="1017" y="1184"/>
                      </a:cubicBezTo>
                      <a:cubicBezTo>
                        <a:pt x="1015" y="1182"/>
                        <a:pt x="1015" y="1182"/>
                        <a:pt x="1015" y="1182"/>
                      </a:cubicBezTo>
                      <a:cubicBezTo>
                        <a:pt x="1012" y="1183"/>
                        <a:pt x="1012" y="1183"/>
                        <a:pt x="1012" y="1183"/>
                      </a:cubicBezTo>
                      <a:cubicBezTo>
                        <a:pt x="1008" y="1187"/>
                        <a:pt x="1008" y="1187"/>
                        <a:pt x="1008" y="1187"/>
                      </a:cubicBezTo>
                      <a:cubicBezTo>
                        <a:pt x="1002" y="1194"/>
                        <a:pt x="1002" y="1194"/>
                        <a:pt x="1002" y="1194"/>
                      </a:cubicBezTo>
                      <a:cubicBezTo>
                        <a:pt x="990" y="1203"/>
                        <a:pt x="990" y="1203"/>
                        <a:pt x="990" y="1203"/>
                      </a:cubicBezTo>
                      <a:cubicBezTo>
                        <a:pt x="984" y="1211"/>
                        <a:pt x="984" y="1211"/>
                        <a:pt x="984" y="1211"/>
                      </a:cubicBezTo>
                      <a:cubicBezTo>
                        <a:pt x="972" y="1212"/>
                        <a:pt x="972" y="1212"/>
                        <a:pt x="972" y="1212"/>
                      </a:cubicBezTo>
                      <a:cubicBezTo>
                        <a:pt x="966" y="1212"/>
                        <a:pt x="966" y="1212"/>
                        <a:pt x="966" y="1212"/>
                      </a:cubicBezTo>
                      <a:cubicBezTo>
                        <a:pt x="959" y="1211"/>
                        <a:pt x="959" y="1211"/>
                        <a:pt x="959" y="1211"/>
                      </a:cubicBezTo>
                      <a:cubicBezTo>
                        <a:pt x="954" y="1206"/>
                        <a:pt x="954" y="1206"/>
                        <a:pt x="954" y="1206"/>
                      </a:cubicBezTo>
                      <a:cubicBezTo>
                        <a:pt x="956" y="1196"/>
                        <a:pt x="956" y="1196"/>
                        <a:pt x="956" y="1196"/>
                      </a:cubicBezTo>
                      <a:cubicBezTo>
                        <a:pt x="954" y="1182"/>
                        <a:pt x="954" y="1182"/>
                        <a:pt x="954" y="1182"/>
                      </a:cubicBezTo>
                      <a:cubicBezTo>
                        <a:pt x="948" y="1181"/>
                        <a:pt x="948" y="1181"/>
                        <a:pt x="948" y="1181"/>
                      </a:cubicBezTo>
                      <a:cubicBezTo>
                        <a:pt x="946" y="1185"/>
                        <a:pt x="946" y="1185"/>
                        <a:pt x="946" y="1185"/>
                      </a:cubicBezTo>
                      <a:cubicBezTo>
                        <a:pt x="948" y="1192"/>
                        <a:pt x="948" y="1192"/>
                        <a:pt x="948" y="1192"/>
                      </a:cubicBezTo>
                      <a:cubicBezTo>
                        <a:pt x="945" y="1199"/>
                        <a:pt x="945" y="1199"/>
                        <a:pt x="945" y="1199"/>
                      </a:cubicBezTo>
                      <a:cubicBezTo>
                        <a:pt x="935" y="1186"/>
                        <a:pt x="935" y="1186"/>
                        <a:pt x="935" y="1186"/>
                      </a:cubicBezTo>
                      <a:cubicBezTo>
                        <a:pt x="936" y="1175"/>
                        <a:pt x="936" y="1175"/>
                        <a:pt x="936" y="1175"/>
                      </a:cubicBezTo>
                      <a:cubicBezTo>
                        <a:pt x="932" y="1172"/>
                        <a:pt x="932" y="1172"/>
                        <a:pt x="932" y="1172"/>
                      </a:cubicBezTo>
                      <a:cubicBezTo>
                        <a:pt x="924" y="1157"/>
                        <a:pt x="924" y="1157"/>
                        <a:pt x="924" y="1157"/>
                      </a:cubicBezTo>
                      <a:cubicBezTo>
                        <a:pt x="918" y="1154"/>
                        <a:pt x="918" y="1154"/>
                        <a:pt x="918" y="1154"/>
                      </a:cubicBezTo>
                      <a:cubicBezTo>
                        <a:pt x="917" y="1148"/>
                        <a:pt x="917" y="1148"/>
                        <a:pt x="917" y="1148"/>
                      </a:cubicBezTo>
                      <a:cubicBezTo>
                        <a:pt x="911" y="1144"/>
                        <a:pt x="911" y="1144"/>
                        <a:pt x="911" y="1144"/>
                      </a:cubicBezTo>
                      <a:cubicBezTo>
                        <a:pt x="906" y="1138"/>
                        <a:pt x="906" y="1138"/>
                        <a:pt x="906" y="1138"/>
                      </a:cubicBezTo>
                      <a:cubicBezTo>
                        <a:pt x="906" y="1134"/>
                        <a:pt x="906" y="1134"/>
                        <a:pt x="906" y="1134"/>
                      </a:cubicBezTo>
                      <a:cubicBezTo>
                        <a:pt x="915" y="1125"/>
                        <a:pt x="915" y="1125"/>
                        <a:pt x="915" y="1125"/>
                      </a:cubicBezTo>
                      <a:cubicBezTo>
                        <a:pt x="921" y="1123"/>
                        <a:pt x="921" y="1123"/>
                        <a:pt x="921" y="1123"/>
                      </a:cubicBezTo>
                      <a:cubicBezTo>
                        <a:pt x="937" y="1124"/>
                        <a:pt x="937" y="1124"/>
                        <a:pt x="937" y="1124"/>
                      </a:cubicBezTo>
                      <a:cubicBezTo>
                        <a:pt x="938" y="1130"/>
                        <a:pt x="938" y="1130"/>
                        <a:pt x="938" y="1130"/>
                      </a:cubicBezTo>
                      <a:cubicBezTo>
                        <a:pt x="946" y="1139"/>
                        <a:pt x="946" y="1139"/>
                        <a:pt x="946" y="1139"/>
                      </a:cubicBezTo>
                      <a:cubicBezTo>
                        <a:pt x="950" y="1146"/>
                        <a:pt x="950" y="1146"/>
                        <a:pt x="950" y="1146"/>
                      </a:cubicBezTo>
                      <a:cubicBezTo>
                        <a:pt x="951" y="1152"/>
                        <a:pt x="951" y="1152"/>
                        <a:pt x="951" y="1152"/>
                      </a:cubicBezTo>
                      <a:cubicBezTo>
                        <a:pt x="960" y="1159"/>
                        <a:pt x="960" y="1159"/>
                        <a:pt x="960" y="1159"/>
                      </a:cubicBezTo>
                      <a:cubicBezTo>
                        <a:pt x="965" y="1159"/>
                        <a:pt x="965" y="1159"/>
                        <a:pt x="965" y="1159"/>
                      </a:cubicBezTo>
                      <a:cubicBezTo>
                        <a:pt x="974" y="1169"/>
                        <a:pt x="974" y="1169"/>
                        <a:pt x="974" y="1169"/>
                      </a:cubicBezTo>
                      <a:cubicBezTo>
                        <a:pt x="980" y="1170"/>
                        <a:pt x="980" y="1170"/>
                        <a:pt x="980" y="1170"/>
                      </a:cubicBezTo>
                      <a:cubicBezTo>
                        <a:pt x="983" y="1172"/>
                        <a:pt x="983" y="1172"/>
                        <a:pt x="983" y="1172"/>
                      </a:cubicBezTo>
                      <a:cubicBezTo>
                        <a:pt x="1008" y="1173"/>
                        <a:pt x="1008" y="1173"/>
                        <a:pt x="1008" y="1173"/>
                      </a:cubicBezTo>
                      <a:cubicBezTo>
                        <a:pt x="1016" y="1166"/>
                        <a:pt x="1016" y="1166"/>
                        <a:pt x="1016" y="1166"/>
                      </a:cubicBezTo>
                      <a:cubicBezTo>
                        <a:pt x="1019" y="1166"/>
                        <a:pt x="1019" y="1166"/>
                        <a:pt x="1019" y="1166"/>
                      </a:cubicBezTo>
                      <a:cubicBezTo>
                        <a:pt x="1024" y="1169"/>
                        <a:pt x="1024" y="1169"/>
                        <a:pt x="1024" y="1169"/>
                      </a:cubicBezTo>
                      <a:cubicBezTo>
                        <a:pt x="1026" y="1178"/>
                        <a:pt x="1026" y="1178"/>
                        <a:pt x="1026" y="1178"/>
                      </a:cubicBezTo>
                      <a:cubicBezTo>
                        <a:pt x="1027" y="1183"/>
                        <a:pt x="1027" y="1183"/>
                        <a:pt x="1027" y="1183"/>
                      </a:cubicBezTo>
                      <a:cubicBezTo>
                        <a:pt x="1033" y="1187"/>
                        <a:pt x="1033" y="1187"/>
                        <a:pt x="1033" y="1187"/>
                      </a:cubicBezTo>
                      <a:cubicBezTo>
                        <a:pt x="1045" y="1190"/>
                        <a:pt x="1045" y="1190"/>
                        <a:pt x="1045" y="1190"/>
                      </a:cubicBezTo>
                      <a:cubicBezTo>
                        <a:pt x="1053" y="1192"/>
                        <a:pt x="1053" y="1192"/>
                        <a:pt x="1053" y="1192"/>
                      </a:cubicBezTo>
                      <a:cubicBezTo>
                        <a:pt x="1062" y="1191"/>
                        <a:pt x="1062" y="1191"/>
                        <a:pt x="1062" y="1191"/>
                      </a:cubicBezTo>
                      <a:cubicBezTo>
                        <a:pt x="1070" y="1192"/>
                        <a:pt x="1070" y="1192"/>
                        <a:pt x="1070" y="1192"/>
                      </a:cubicBezTo>
                      <a:cubicBezTo>
                        <a:pt x="1077" y="1193"/>
                        <a:pt x="1077" y="1193"/>
                        <a:pt x="1077" y="1193"/>
                      </a:cubicBezTo>
                      <a:cubicBezTo>
                        <a:pt x="1081" y="1195"/>
                        <a:pt x="1081" y="1195"/>
                        <a:pt x="1081" y="1195"/>
                      </a:cubicBezTo>
                      <a:cubicBezTo>
                        <a:pt x="1085" y="1193"/>
                        <a:pt x="1085" y="1193"/>
                        <a:pt x="1085" y="1193"/>
                      </a:cubicBezTo>
                      <a:cubicBezTo>
                        <a:pt x="1087" y="1195"/>
                        <a:pt x="1087" y="1195"/>
                        <a:pt x="1087" y="1195"/>
                      </a:cubicBezTo>
                      <a:cubicBezTo>
                        <a:pt x="1092" y="1197"/>
                        <a:pt x="1092" y="1197"/>
                        <a:pt x="1092" y="1197"/>
                      </a:cubicBezTo>
                      <a:cubicBezTo>
                        <a:pt x="1110" y="1196"/>
                        <a:pt x="1110" y="1196"/>
                        <a:pt x="1110" y="1196"/>
                      </a:cubicBezTo>
                      <a:cubicBezTo>
                        <a:pt x="1116" y="1195"/>
                        <a:pt x="1116" y="1195"/>
                        <a:pt x="1116" y="1195"/>
                      </a:cubicBezTo>
                      <a:cubicBezTo>
                        <a:pt x="1133" y="1196"/>
                        <a:pt x="1133" y="1196"/>
                        <a:pt x="1133" y="1196"/>
                      </a:cubicBezTo>
                      <a:cubicBezTo>
                        <a:pt x="1138" y="1194"/>
                        <a:pt x="1138" y="1194"/>
                        <a:pt x="1138" y="1194"/>
                      </a:cubicBezTo>
                      <a:cubicBezTo>
                        <a:pt x="1148" y="1195"/>
                        <a:pt x="1148" y="1195"/>
                        <a:pt x="1148" y="1195"/>
                      </a:cubicBezTo>
                      <a:cubicBezTo>
                        <a:pt x="1150" y="1198"/>
                        <a:pt x="1150" y="1198"/>
                        <a:pt x="1150" y="1198"/>
                      </a:cubicBezTo>
                      <a:cubicBezTo>
                        <a:pt x="1152" y="1206"/>
                        <a:pt x="1152" y="1206"/>
                        <a:pt x="1152" y="1206"/>
                      </a:cubicBezTo>
                      <a:cubicBezTo>
                        <a:pt x="1157" y="1209"/>
                        <a:pt x="1157" y="1209"/>
                        <a:pt x="1157" y="1209"/>
                      </a:cubicBezTo>
                      <a:cubicBezTo>
                        <a:pt x="1158" y="1212"/>
                        <a:pt x="1158" y="1212"/>
                        <a:pt x="1158" y="1212"/>
                      </a:cubicBezTo>
                      <a:cubicBezTo>
                        <a:pt x="1165" y="1215"/>
                        <a:pt x="1165" y="1215"/>
                        <a:pt x="1165" y="1215"/>
                      </a:cubicBezTo>
                      <a:cubicBezTo>
                        <a:pt x="1167" y="1218"/>
                        <a:pt x="1167" y="1218"/>
                        <a:pt x="1167" y="1218"/>
                      </a:cubicBezTo>
                      <a:cubicBezTo>
                        <a:pt x="1171" y="1220"/>
                        <a:pt x="1171" y="1220"/>
                        <a:pt x="1171" y="1220"/>
                      </a:cubicBezTo>
                      <a:cubicBezTo>
                        <a:pt x="1171" y="1225"/>
                        <a:pt x="1171" y="1225"/>
                        <a:pt x="1171" y="1225"/>
                      </a:cubicBezTo>
                      <a:cubicBezTo>
                        <a:pt x="1175" y="1229"/>
                        <a:pt x="1175" y="1229"/>
                        <a:pt x="1175" y="1229"/>
                      </a:cubicBezTo>
                      <a:cubicBezTo>
                        <a:pt x="1184" y="1229"/>
                        <a:pt x="1184" y="1229"/>
                        <a:pt x="1184" y="1229"/>
                      </a:cubicBezTo>
                      <a:cubicBezTo>
                        <a:pt x="1193" y="1226"/>
                        <a:pt x="1193" y="1226"/>
                        <a:pt x="1193" y="1226"/>
                      </a:cubicBezTo>
                      <a:cubicBezTo>
                        <a:pt x="1188" y="1232"/>
                        <a:pt x="1188" y="1232"/>
                        <a:pt x="1188" y="1232"/>
                      </a:cubicBezTo>
                      <a:cubicBezTo>
                        <a:pt x="1182" y="1233"/>
                        <a:pt x="1182" y="1233"/>
                        <a:pt x="1182" y="1233"/>
                      </a:cubicBezTo>
                      <a:cubicBezTo>
                        <a:pt x="1177" y="1232"/>
                        <a:pt x="1177" y="1232"/>
                        <a:pt x="1177" y="1232"/>
                      </a:cubicBezTo>
                      <a:cubicBezTo>
                        <a:pt x="1177" y="1239"/>
                        <a:pt x="1177" y="1239"/>
                        <a:pt x="1177" y="1239"/>
                      </a:cubicBezTo>
                      <a:cubicBezTo>
                        <a:pt x="1190" y="1251"/>
                        <a:pt x="1190" y="1251"/>
                        <a:pt x="1190" y="1251"/>
                      </a:cubicBezTo>
                      <a:cubicBezTo>
                        <a:pt x="1198" y="1256"/>
                        <a:pt x="1198" y="1256"/>
                        <a:pt x="1198" y="1256"/>
                      </a:cubicBezTo>
                      <a:cubicBezTo>
                        <a:pt x="1212" y="1254"/>
                        <a:pt x="1212" y="1254"/>
                        <a:pt x="1212" y="1254"/>
                      </a:cubicBezTo>
                      <a:cubicBezTo>
                        <a:pt x="1215" y="1249"/>
                        <a:pt x="1215" y="1249"/>
                        <a:pt x="1215" y="1249"/>
                      </a:cubicBezTo>
                      <a:cubicBezTo>
                        <a:pt x="1215" y="1245"/>
                        <a:pt x="1215" y="1245"/>
                        <a:pt x="1215" y="1245"/>
                      </a:cubicBezTo>
                      <a:cubicBezTo>
                        <a:pt x="1218" y="1234"/>
                        <a:pt x="1218" y="1234"/>
                        <a:pt x="1218" y="1234"/>
                      </a:cubicBezTo>
                      <a:cubicBezTo>
                        <a:pt x="1222" y="1239"/>
                        <a:pt x="1222" y="1239"/>
                        <a:pt x="1222" y="1239"/>
                      </a:cubicBezTo>
                      <a:cubicBezTo>
                        <a:pt x="1222" y="1250"/>
                        <a:pt x="1222" y="1250"/>
                        <a:pt x="1222" y="1250"/>
                      </a:cubicBezTo>
                      <a:cubicBezTo>
                        <a:pt x="1224" y="1253"/>
                        <a:pt x="1224" y="1253"/>
                        <a:pt x="1224" y="1253"/>
                      </a:cubicBezTo>
                      <a:cubicBezTo>
                        <a:pt x="1224" y="1274"/>
                        <a:pt x="1224" y="1274"/>
                        <a:pt x="1224" y="1274"/>
                      </a:cubicBezTo>
                      <a:cubicBezTo>
                        <a:pt x="1227" y="1293"/>
                        <a:pt x="1227" y="1293"/>
                        <a:pt x="1227" y="1293"/>
                      </a:cubicBezTo>
                      <a:cubicBezTo>
                        <a:pt x="1234" y="1315"/>
                        <a:pt x="1234" y="1315"/>
                        <a:pt x="1234" y="1315"/>
                      </a:cubicBezTo>
                      <a:cubicBezTo>
                        <a:pt x="1239" y="1322"/>
                        <a:pt x="1239" y="1322"/>
                        <a:pt x="1239" y="1322"/>
                      </a:cubicBezTo>
                      <a:cubicBezTo>
                        <a:pt x="1247" y="1343"/>
                        <a:pt x="1247" y="1343"/>
                        <a:pt x="1247" y="1343"/>
                      </a:cubicBezTo>
                      <a:cubicBezTo>
                        <a:pt x="1249" y="1350"/>
                        <a:pt x="1249" y="1350"/>
                        <a:pt x="1249" y="1350"/>
                      </a:cubicBezTo>
                      <a:cubicBezTo>
                        <a:pt x="1251" y="1357"/>
                        <a:pt x="1251" y="1357"/>
                        <a:pt x="1251" y="1357"/>
                      </a:cubicBezTo>
                      <a:cubicBezTo>
                        <a:pt x="1252" y="1363"/>
                        <a:pt x="1252" y="1363"/>
                        <a:pt x="1252" y="1363"/>
                      </a:cubicBezTo>
                      <a:cubicBezTo>
                        <a:pt x="1260" y="1373"/>
                        <a:pt x="1260" y="1373"/>
                        <a:pt x="1260" y="1373"/>
                      </a:cubicBezTo>
                      <a:cubicBezTo>
                        <a:pt x="1264" y="1384"/>
                        <a:pt x="1264" y="1384"/>
                        <a:pt x="1264" y="1384"/>
                      </a:cubicBezTo>
                      <a:cubicBezTo>
                        <a:pt x="1269" y="1395"/>
                        <a:pt x="1269" y="1395"/>
                        <a:pt x="1269" y="1395"/>
                      </a:cubicBezTo>
                      <a:cubicBezTo>
                        <a:pt x="1273" y="1411"/>
                        <a:pt x="1273" y="1411"/>
                        <a:pt x="1273" y="1411"/>
                      </a:cubicBezTo>
                      <a:cubicBezTo>
                        <a:pt x="1279" y="1417"/>
                        <a:pt x="1279" y="1417"/>
                        <a:pt x="1279" y="1417"/>
                      </a:cubicBezTo>
                      <a:cubicBezTo>
                        <a:pt x="1287" y="1421"/>
                        <a:pt x="1287" y="1421"/>
                        <a:pt x="1287" y="1421"/>
                      </a:cubicBezTo>
                      <a:cubicBezTo>
                        <a:pt x="1294" y="1414"/>
                        <a:pt x="1294" y="1414"/>
                        <a:pt x="1294" y="1414"/>
                      </a:cubicBezTo>
                      <a:cubicBezTo>
                        <a:pt x="1297" y="1410"/>
                        <a:pt x="1297" y="1410"/>
                        <a:pt x="1297" y="1410"/>
                      </a:cubicBezTo>
                      <a:cubicBezTo>
                        <a:pt x="1300" y="1406"/>
                        <a:pt x="1300" y="1406"/>
                        <a:pt x="1300" y="1406"/>
                      </a:cubicBezTo>
                      <a:cubicBezTo>
                        <a:pt x="1307" y="1401"/>
                        <a:pt x="1307" y="1401"/>
                        <a:pt x="1307" y="1401"/>
                      </a:cubicBezTo>
                      <a:cubicBezTo>
                        <a:pt x="1308" y="1395"/>
                        <a:pt x="1308" y="1395"/>
                        <a:pt x="1308" y="1395"/>
                      </a:cubicBezTo>
                      <a:cubicBezTo>
                        <a:pt x="1312" y="1390"/>
                        <a:pt x="1312" y="1390"/>
                        <a:pt x="1312" y="1390"/>
                      </a:cubicBezTo>
                      <a:cubicBezTo>
                        <a:pt x="1316" y="1390"/>
                        <a:pt x="1316" y="1390"/>
                        <a:pt x="1316" y="1390"/>
                      </a:cubicBezTo>
                      <a:cubicBezTo>
                        <a:pt x="1315" y="1373"/>
                        <a:pt x="1315" y="1373"/>
                        <a:pt x="1315" y="1373"/>
                      </a:cubicBezTo>
                      <a:cubicBezTo>
                        <a:pt x="1319" y="1364"/>
                        <a:pt x="1319" y="1364"/>
                        <a:pt x="1319" y="1364"/>
                      </a:cubicBezTo>
                      <a:cubicBezTo>
                        <a:pt x="1320" y="1347"/>
                        <a:pt x="1320" y="1347"/>
                        <a:pt x="1320" y="1347"/>
                      </a:cubicBezTo>
                      <a:cubicBezTo>
                        <a:pt x="1320" y="1341"/>
                        <a:pt x="1320" y="1341"/>
                        <a:pt x="1320" y="1341"/>
                      </a:cubicBezTo>
                      <a:cubicBezTo>
                        <a:pt x="1319" y="1328"/>
                        <a:pt x="1319" y="1328"/>
                        <a:pt x="1319" y="1328"/>
                      </a:cubicBezTo>
                      <a:cubicBezTo>
                        <a:pt x="1323" y="1323"/>
                        <a:pt x="1323" y="1323"/>
                        <a:pt x="1323" y="1323"/>
                      </a:cubicBezTo>
                      <a:cubicBezTo>
                        <a:pt x="1329" y="1322"/>
                        <a:pt x="1329" y="1322"/>
                        <a:pt x="1329" y="1322"/>
                      </a:cubicBezTo>
                      <a:cubicBezTo>
                        <a:pt x="1336" y="1315"/>
                        <a:pt x="1336" y="1315"/>
                        <a:pt x="1336" y="1315"/>
                      </a:cubicBezTo>
                      <a:cubicBezTo>
                        <a:pt x="1342" y="1315"/>
                        <a:pt x="1342" y="1315"/>
                        <a:pt x="1342" y="1315"/>
                      </a:cubicBezTo>
                      <a:cubicBezTo>
                        <a:pt x="1347" y="1306"/>
                        <a:pt x="1347" y="1306"/>
                        <a:pt x="1347" y="1306"/>
                      </a:cubicBezTo>
                      <a:cubicBezTo>
                        <a:pt x="1357" y="1296"/>
                        <a:pt x="1357" y="1296"/>
                        <a:pt x="1357" y="1296"/>
                      </a:cubicBezTo>
                      <a:cubicBezTo>
                        <a:pt x="1365" y="1291"/>
                        <a:pt x="1365" y="1291"/>
                        <a:pt x="1365" y="1291"/>
                      </a:cubicBezTo>
                      <a:cubicBezTo>
                        <a:pt x="1368" y="1287"/>
                        <a:pt x="1368" y="1287"/>
                        <a:pt x="1368" y="1287"/>
                      </a:cubicBezTo>
                      <a:cubicBezTo>
                        <a:pt x="1375" y="1283"/>
                        <a:pt x="1375" y="1283"/>
                        <a:pt x="1375" y="1283"/>
                      </a:cubicBezTo>
                      <a:cubicBezTo>
                        <a:pt x="1377" y="1277"/>
                        <a:pt x="1377" y="1277"/>
                        <a:pt x="1377" y="1277"/>
                      </a:cubicBezTo>
                      <a:cubicBezTo>
                        <a:pt x="1385" y="1269"/>
                        <a:pt x="1385" y="1269"/>
                        <a:pt x="1385" y="1269"/>
                      </a:cubicBezTo>
                      <a:cubicBezTo>
                        <a:pt x="1395" y="1266"/>
                        <a:pt x="1395" y="1266"/>
                        <a:pt x="1395" y="1266"/>
                      </a:cubicBezTo>
                      <a:cubicBezTo>
                        <a:pt x="1404" y="1262"/>
                        <a:pt x="1404" y="1262"/>
                        <a:pt x="1404" y="1262"/>
                      </a:cubicBezTo>
                      <a:cubicBezTo>
                        <a:pt x="1407" y="1256"/>
                        <a:pt x="1407" y="1256"/>
                        <a:pt x="1407" y="1256"/>
                      </a:cubicBezTo>
                      <a:cubicBezTo>
                        <a:pt x="1404" y="1251"/>
                        <a:pt x="1404" y="1251"/>
                        <a:pt x="1404" y="1251"/>
                      </a:cubicBezTo>
                      <a:cubicBezTo>
                        <a:pt x="1409" y="1244"/>
                        <a:pt x="1409" y="1244"/>
                        <a:pt x="1409" y="1244"/>
                      </a:cubicBezTo>
                      <a:cubicBezTo>
                        <a:pt x="1430" y="1238"/>
                        <a:pt x="1430" y="1238"/>
                        <a:pt x="1430" y="1238"/>
                      </a:cubicBezTo>
                      <a:cubicBezTo>
                        <a:pt x="1432" y="1241"/>
                        <a:pt x="1432" y="1241"/>
                        <a:pt x="1432" y="1241"/>
                      </a:cubicBezTo>
                      <a:cubicBezTo>
                        <a:pt x="1440" y="1240"/>
                        <a:pt x="1440" y="1240"/>
                        <a:pt x="1440" y="1240"/>
                      </a:cubicBezTo>
                      <a:cubicBezTo>
                        <a:pt x="1452" y="1234"/>
                        <a:pt x="1452" y="1234"/>
                        <a:pt x="1452" y="1234"/>
                      </a:cubicBezTo>
                      <a:cubicBezTo>
                        <a:pt x="1451" y="1227"/>
                        <a:pt x="1451" y="1227"/>
                        <a:pt x="1451" y="1227"/>
                      </a:cubicBezTo>
                      <a:cubicBezTo>
                        <a:pt x="1453" y="1223"/>
                        <a:pt x="1453" y="1223"/>
                        <a:pt x="1453" y="1223"/>
                      </a:cubicBezTo>
                      <a:cubicBezTo>
                        <a:pt x="1457" y="1223"/>
                        <a:pt x="1457" y="1223"/>
                        <a:pt x="1457" y="1223"/>
                      </a:cubicBezTo>
                      <a:cubicBezTo>
                        <a:pt x="1467" y="1233"/>
                        <a:pt x="1467" y="1233"/>
                        <a:pt x="1467" y="1233"/>
                      </a:cubicBezTo>
                      <a:cubicBezTo>
                        <a:pt x="1468" y="1243"/>
                        <a:pt x="1468" y="1243"/>
                        <a:pt x="1468" y="1243"/>
                      </a:cubicBezTo>
                      <a:cubicBezTo>
                        <a:pt x="1471" y="1249"/>
                        <a:pt x="1471" y="1249"/>
                        <a:pt x="1471" y="1249"/>
                      </a:cubicBezTo>
                      <a:cubicBezTo>
                        <a:pt x="1474" y="1257"/>
                        <a:pt x="1474" y="1257"/>
                        <a:pt x="1474" y="1257"/>
                      </a:cubicBezTo>
                      <a:cubicBezTo>
                        <a:pt x="1486" y="1265"/>
                        <a:pt x="1486" y="1265"/>
                        <a:pt x="1486" y="1265"/>
                      </a:cubicBezTo>
                      <a:cubicBezTo>
                        <a:pt x="1489" y="1277"/>
                        <a:pt x="1489" y="1277"/>
                        <a:pt x="1489" y="1277"/>
                      </a:cubicBezTo>
                      <a:cubicBezTo>
                        <a:pt x="1497" y="1284"/>
                        <a:pt x="1497" y="1284"/>
                        <a:pt x="1497" y="1284"/>
                      </a:cubicBezTo>
                      <a:cubicBezTo>
                        <a:pt x="1497" y="1301"/>
                        <a:pt x="1497" y="1301"/>
                        <a:pt x="1497" y="1301"/>
                      </a:cubicBezTo>
                      <a:cubicBezTo>
                        <a:pt x="1500" y="1311"/>
                        <a:pt x="1500" y="1311"/>
                        <a:pt x="1500" y="1311"/>
                      </a:cubicBezTo>
                      <a:cubicBezTo>
                        <a:pt x="1499" y="1318"/>
                        <a:pt x="1499" y="1318"/>
                        <a:pt x="1499" y="1318"/>
                      </a:cubicBezTo>
                      <a:cubicBezTo>
                        <a:pt x="1506" y="1320"/>
                        <a:pt x="1506" y="1320"/>
                        <a:pt x="1506" y="1320"/>
                      </a:cubicBezTo>
                      <a:cubicBezTo>
                        <a:pt x="1520" y="1317"/>
                        <a:pt x="1520" y="1317"/>
                        <a:pt x="1520" y="1317"/>
                      </a:cubicBezTo>
                      <a:cubicBezTo>
                        <a:pt x="1527" y="1309"/>
                        <a:pt x="1527" y="1309"/>
                        <a:pt x="1527" y="1309"/>
                      </a:cubicBezTo>
                      <a:cubicBezTo>
                        <a:pt x="1533" y="1303"/>
                        <a:pt x="1533" y="1303"/>
                        <a:pt x="1533" y="1303"/>
                      </a:cubicBezTo>
                      <a:cubicBezTo>
                        <a:pt x="1537" y="1308"/>
                        <a:pt x="1537" y="1308"/>
                        <a:pt x="1537" y="1308"/>
                      </a:cubicBezTo>
                      <a:cubicBezTo>
                        <a:pt x="1541" y="1311"/>
                        <a:pt x="1541" y="1311"/>
                        <a:pt x="1541" y="1311"/>
                      </a:cubicBezTo>
                      <a:cubicBezTo>
                        <a:pt x="1543" y="1327"/>
                        <a:pt x="1543" y="1327"/>
                        <a:pt x="1543" y="1327"/>
                      </a:cubicBezTo>
                      <a:cubicBezTo>
                        <a:pt x="1545" y="1340"/>
                        <a:pt x="1545" y="1340"/>
                        <a:pt x="1545" y="1340"/>
                      </a:cubicBezTo>
                      <a:cubicBezTo>
                        <a:pt x="1552" y="1349"/>
                        <a:pt x="1552" y="1349"/>
                        <a:pt x="1552" y="1349"/>
                      </a:cubicBezTo>
                      <a:cubicBezTo>
                        <a:pt x="1554" y="1355"/>
                        <a:pt x="1554" y="1355"/>
                        <a:pt x="1554" y="1355"/>
                      </a:cubicBezTo>
                      <a:cubicBezTo>
                        <a:pt x="1554" y="1362"/>
                        <a:pt x="1554" y="1362"/>
                        <a:pt x="1554" y="1362"/>
                      </a:cubicBezTo>
                      <a:cubicBezTo>
                        <a:pt x="1553" y="1379"/>
                        <a:pt x="1553" y="1379"/>
                        <a:pt x="1553" y="1379"/>
                      </a:cubicBezTo>
                      <a:cubicBezTo>
                        <a:pt x="1552" y="1392"/>
                        <a:pt x="1552" y="1392"/>
                        <a:pt x="1552" y="1392"/>
                      </a:cubicBezTo>
                      <a:cubicBezTo>
                        <a:pt x="1553" y="1399"/>
                        <a:pt x="1553" y="1399"/>
                        <a:pt x="1553" y="1399"/>
                      </a:cubicBezTo>
                      <a:cubicBezTo>
                        <a:pt x="1551" y="1406"/>
                        <a:pt x="1551" y="1406"/>
                        <a:pt x="1551" y="1406"/>
                      </a:cubicBezTo>
                      <a:cubicBezTo>
                        <a:pt x="1552" y="1419"/>
                        <a:pt x="1552" y="1419"/>
                        <a:pt x="1552" y="1419"/>
                      </a:cubicBezTo>
                      <a:cubicBezTo>
                        <a:pt x="1557" y="1420"/>
                        <a:pt x="1557" y="1420"/>
                        <a:pt x="1557" y="1420"/>
                      </a:cubicBezTo>
                      <a:cubicBezTo>
                        <a:pt x="1564" y="1431"/>
                        <a:pt x="1564" y="1431"/>
                        <a:pt x="1564" y="1431"/>
                      </a:cubicBezTo>
                      <a:cubicBezTo>
                        <a:pt x="1573" y="1441"/>
                        <a:pt x="1573" y="1441"/>
                        <a:pt x="1573" y="1441"/>
                      </a:cubicBezTo>
                      <a:cubicBezTo>
                        <a:pt x="1576" y="1447"/>
                        <a:pt x="1576" y="1447"/>
                        <a:pt x="1576" y="1447"/>
                      </a:cubicBezTo>
                      <a:cubicBezTo>
                        <a:pt x="1576" y="1458"/>
                        <a:pt x="1576" y="1458"/>
                        <a:pt x="1576" y="1458"/>
                      </a:cubicBezTo>
                      <a:cubicBezTo>
                        <a:pt x="1583" y="1471"/>
                        <a:pt x="1583" y="1471"/>
                        <a:pt x="1583" y="1471"/>
                      </a:cubicBezTo>
                      <a:cubicBezTo>
                        <a:pt x="1585" y="1480"/>
                        <a:pt x="1585" y="1480"/>
                        <a:pt x="1585" y="1480"/>
                      </a:cubicBezTo>
                      <a:cubicBezTo>
                        <a:pt x="1591" y="1489"/>
                        <a:pt x="1591" y="1489"/>
                        <a:pt x="1591" y="1489"/>
                      </a:cubicBezTo>
                      <a:cubicBezTo>
                        <a:pt x="1598" y="1494"/>
                        <a:pt x="1598" y="1494"/>
                        <a:pt x="1598" y="1494"/>
                      </a:cubicBezTo>
                      <a:cubicBezTo>
                        <a:pt x="1601" y="1494"/>
                        <a:pt x="1601" y="1494"/>
                        <a:pt x="1601" y="1494"/>
                      </a:cubicBezTo>
                      <a:cubicBezTo>
                        <a:pt x="1610" y="1504"/>
                        <a:pt x="1610" y="1504"/>
                        <a:pt x="1610" y="1504"/>
                      </a:cubicBezTo>
                      <a:cubicBezTo>
                        <a:pt x="1619" y="1507"/>
                        <a:pt x="1619" y="1507"/>
                        <a:pt x="1619" y="1507"/>
                      </a:cubicBezTo>
                      <a:cubicBezTo>
                        <a:pt x="1627" y="1509"/>
                        <a:pt x="1627" y="1509"/>
                        <a:pt x="1627" y="1509"/>
                      </a:cubicBezTo>
                      <a:cubicBezTo>
                        <a:pt x="1624" y="1497"/>
                        <a:pt x="1624" y="1497"/>
                        <a:pt x="1624" y="1497"/>
                      </a:cubicBezTo>
                      <a:cubicBezTo>
                        <a:pt x="1619" y="1487"/>
                        <a:pt x="1619" y="1487"/>
                        <a:pt x="1619" y="1487"/>
                      </a:cubicBezTo>
                      <a:cubicBezTo>
                        <a:pt x="1614" y="1482"/>
                        <a:pt x="1614" y="1482"/>
                        <a:pt x="1614" y="1482"/>
                      </a:cubicBezTo>
                      <a:cubicBezTo>
                        <a:pt x="1613" y="1464"/>
                        <a:pt x="1613" y="1464"/>
                        <a:pt x="1613" y="1464"/>
                      </a:cubicBezTo>
                      <a:cubicBezTo>
                        <a:pt x="1604" y="1448"/>
                        <a:pt x="1604" y="1448"/>
                        <a:pt x="1604" y="1448"/>
                      </a:cubicBezTo>
                      <a:cubicBezTo>
                        <a:pt x="1599" y="1444"/>
                        <a:pt x="1599" y="1444"/>
                        <a:pt x="1599" y="1444"/>
                      </a:cubicBezTo>
                      <a:cubicBezTo>
                        <a:pt x="1591" y="1436"/>
                        <a:pt x="1591" y="1436"/>
                        <a:pt x="1591" y="1436"/>
                      </a:cubicBezTo>
                      <a:cubicBezTo>
                        <a:pt x="1583" y="1432"/>
                        <a:pt x="1583" y="1432"/>
                        <a:pt x="1583" y="1432"/>
                      </a:cubicBezTo>
                      <a:cubicBezTo>
                        <a:pt x="1575" y="1423"/>
                        <a:pt x="1575" y="1423"/>
                        <a:pt x="1575" y="1423"/>
                      </a:cubicBezTo>
                      <a:cubicBezTo>
                        <a:pt x="1570" y="1408"/>
                        <a:pt x="1570" y="1408"/>
                        <a:pt x="1570" y="1408"/>
                      </a:cubicBezTo>
                      <a:cubicBezTo>
                        <a:pt x="1564" y="1406"/>
                        <a:pt x="1564" y="1406"/>
                        <a:pt x="1564" y="1406"/>
                      </a:cubicBezTo>
                      <a:cubicBezTo>
                        <a:pt x="1561" y="1395"/>
                        <a:pt x="1561" y="1395"/>
                        <a:pt x="1561" y="1395"/>
                      </a:cubicBezTo>
                      <a:cubicBezTo>
                        <a:pt x="1564" y="1379"/>
                        <a:pt x="1564" y="1379"/>
                        <a:pt x="1564" y="1379"/>
                      </a:cubicBezTo>
                      <a:cubicBezTo>
                        <a:pt x="1572" y="1368"/>
                        <a:pt x="1572" y="1368"/>
                        <a:pt x="1572" y="1368"/>
                      </a:cubicBezTo>
                      <a:cubicBezTo>
                        <a:pt x="1573" y="1355"/>
                        <a:pt x="1573" y="1355"/>
                        <a:pt x="1573" y="1355"/>
                      </a:cubicBezTo>
                      <a:cubicBezTo>
                        <a:pt x="1579" y="1350"/>
                        <a:pt x="1579" y="1350"/>
                        <a:pt x="1579" y="1350"/>
                      </a:cubicBezTo>
                      <a:cubicBezTo>
                        <a:pt x="1584" y="1351"/>
                        <a:pt x="1584" y="1351"/>
                        <a:pt x="1584" y="1351"/>
                      </a:cubicBezTo>
                      <a:cubicBezTo>
                        <a:pt x="1588" y="1361"/>
                        <a:pt x="1588" y="1361"/>
                        <a:pt x="1588" y="1361"/>
                      </a:cubicBezTo>
                      <a:cubicBezTo>
                        <a:pt x="1598" y="1364"/>
                        <a:pt x="1598" y="1364"/>
                        <a:pt x="1598" y="1364"/>
                      </a:cubicBezTo>
                      <a:cubicBezTo>
                        <a:pt x="1604" y="1368"/>
                        <a:pt x="1604" y="1368"/>
                        <a:pt x="1604" y="1368"/>
                      </a:cubicBezTo>
                      <a:cubicBezTo>
                        <a:pt x="1608" y="1376"/>
                        <a:pt x="1608" y="1376"/>
                        <a:pt x="1608" y="1376"/>
                      </a:cubicBezTo>
                      <a:cubicBezTo>
                        <a:pt x="1612" y="1385"/>
                        <a:pt x="1612" y="1385"/>
                        <a:pt x="1612" y="1385"/>
                      </a:cubicBezTo>
                      <a:cubicBezTo>
                        <a:pt x="1620" y="1390"/>
                        <a:pt x="1620" y="1390"/>
                        <a:pt x="1620" y="1390"/>
                      </a:cubicBezTo>
                      <a:cubicBezTo>
                        <a:pt x="1628" y="1390"/>
                        <a:pt x="1628" y="1390"/>
                        <a:pt x="1628" y="1390"/>
                      </a:cubicBezTo>
                      <a:cubicBezTo>
                        <a:pt x="1633" y="1394"/>
                        <a:pt x="1633" y="1394"/>
                        <a:pt x="1633" y="1394"/>
                      </a:cubicBezTo>
                      <a:cubicBezTo>
                        <a:pt x="1631" y="1412"/>
                        <a:pt x="1631" y="1412"/>
                        <a:pt x="1631" y="1412"/>
                      </a:cubicBezTo>
                      <a:cubicBezTo>
                        <a:pt x="1635" y="1414"/>
                        <a:pt x="1635" y="1414"/>
                        <a:pt x="1635" y="1414"/>
                      </a:cubicBezTo>
                      <a:cubicBezTo>
                        <a:pt x="1647" y="1403"/>
                        <a:pt x="1647" y="1403"/>
                        <a:pt x="1647" y="1403"/>
                      </a:cubicBezTo>
                      <a:cubicBezTo>
                        <a:pt x="1653" y="1402"/>
                        <a:pt x="1653" y="1402"/>
                        <a:pt x="1653" y="1402"/>
                      </a:cubicBezTo>
                      <a:cubicBezTo>
                        <a:pt x="1658" y="1395"/>
                        <a:pt x="1658" y="1395"/>
                        <a:pt x="1658" y="1395"/>
                      </a:cubicBezTo>
                      <a:cubicBezTo>
                        <a:pt x="1661" y="1390"/>
                        <a:pt x="1661" y="1390"/>
                        <a:pt x="1661" y="1390"/>
                      </a:cubicBezTo>
                      <a:cubicBezTo>
                        <a:pt x="1673" y="1386"/>
                        <a:pt x="1673" y="1386"/>
                        <a:pt x="1673" y="1386"/>
                      </a:cubicBezTo>
                      <a:cubicBezTo>
                        <a:pt x="1686" y="1377"/>
                        <a:pt x="1686" y="1377"/>
                        <a:pt x="1686" y="1377"/>
                      </a:cubicBezTo>
                      <a:cubicBezTo>
                        <a:pt x="1687" y="1368"/>
                        <a:pt x="1687" y="1368"/>
                        <a:pt x="1687" y="1368"/>
                      </a:cubicBezTo>
                      <a:cubicBezTo>
                        <a:pt x="1690" y="1356"/>
                        <a:pt x="1690" y="1356"/>
                        <a:pt x="1690" y="1356"/>
                      </a:cubicBezTo>
                      <a:cubicBezTo>
                        <a:pt x="1687" y="1331"/>
                        <a:pt x="1687" y="1331"/>
                        <a:pt x="1687" y="1331"/>
                      </a:cubicBezTo>
                      <a:cubicBezTo>
                        <a:pt x="1677" y="1318"/>
                        <a:pt x="1677" y="1318"/>
                        <a:pt x="1677" y="1318"/>
                      </a:cubicBezTo>
                      <a:cubicBezTo>
                        <a:pt x="1669" y="1308"/>
                        <a:pt x="1669" y="1308"/>
                        <a:pt x="1669" y="1308"/>
                      </a:cubicBezTo>
                      <a:cubicBezTo>
                        <a:pt x="1663" y="1305"/>
                        <a:pt x="1663" y="1305"/>
                        <a:pt x="1663" y="1305"/>
                      </a:cubicBezTo>
                      <a:cubicBezTo>
                        <a:pt x="1651" y="1287"/>
                        <a:pt x="1651" y="1287"/>
                        <a:pt x="1651" y="1287"/>
                      </a:cubicBezTo>
                      <a:cubicBezTo>
                        <a:pt x="1645" y="1284"/>
                        <a:pt x="1645" y="1284"/>
                        <a:pt x="1645" y="1284"/>
                      </a:cubicBezTo>
                      <a:cubicBezTo>
                        <a:pt x="1644" y="1269"/>
                        <a:pt x="1644" y="1269"/>
                        <a:pt x="1644" y="1269"/>
                      </a:cubicBezTo>
                      <a:cubicBezTo>
                        <a:pt x="1649" y="1263"/>
                        <a:pt x="1649" y="1263"/>
                        <a:pt x="1649" y="1263"/>
                      </a:cubicBezTo>
                      <a:cubicBezTo>
                        <a:pt x="1653" y="1262"/>
                        <a:pt x="1653" y="1262"/>
                        <a:pt x="1653" y="1262"/>
                      </a:cubicBezTo>
                      <a:cubicBezTo>
                        <a:pt x="1661" y="1250"/>
                        <a:pt x="1661" y="1250"/>
                        <a:pt x="1661" y="1250"/>
                      </a:cubicBezTo>
                      <a:cubicBezTo>
                        <a:pt x="1671" y="1247"/>
                        <a:pt x="1671" y="1247"/>
                        <a:pt x="1671" y="1247"/>
                      </a:cubicBezTo>
                      <a:cubicBezTo>
                        <a:pt x="1676" y="1242"/>
                        <a:pt x="1676" y="1242"/>
                        <a:pt x="1676" y="1242"/>
                      </a:cubicBezTo>
                      <a:cubicBezTo>
                        <a:pt x="1687" y="1243"/>
                        <a:pt x="1687" y="1243"/>
                        <a:pt x="1687" y="1243"/>
                      </a:cubicBezTo>
                      <a:cubicBezTo>
                        <a:pt x="1694" y="1245"/>
                        <a:pt x="1694" y="1245"/>
                        <a:pt x="1694" y="1245"/>
                      </a:cubicBezTo>
                      <a:cubicBezTo>
                        <a:pt x="1693" y="1253"/>
                        <a:pt x="1693" y="1253"/>
                        <a:pt x="1693" y="1253"/>
                      </a:cubicBezTo>
                      <a:cubicBezTo>
                        <a:pt x="1696" y="1256"/>
                        <a:pt x="1696" y="1256"/>
                        <a:pt x="1696" y="1256"/>
                      </a:cubicBezTo>
                      <a:cubicBezTo>
                        <a:pt x="1700" y="1257"/>
                        <a:pt x="1700" y="1257"/>
                        <a:pt x="1700" y="1257"/>
                      </a:cubicBezTo>
                      <a:cubicBezTo>
                        <a:pt x="1701" y="1251"/>
                        <a:pt x="1701" y="1251"/>
                        <a:pt x="1701" y="1251"/>
                      </a:cubicBezTo>
                      <a:cubicBezTo>
                        <a:pt x="1709" y="1248"/>
                        <a:pt x="1709" y="1248"/>
                        <a:pt x="1709" y="1248"/>
                      </a:cubicBezTo>
                      <a:cubicBezTo>
                        <a:pt x="1713" y="1245"/>
                        <a:pt x="1713" y="1245"/>
                        <a:pt x="1713" y="1245"/>
                      </a:cubicBezTo>
                      <a:cubicBezTo>
                        <a:pt x="1718" y="1244"/>
                        <a:pt x="1718" y="1244"/>
                        <a:pt x="1718" y="1244"/>
                      </a:cubicBezTo>
                      <a:cubicBezTo>
                        <a:pt x="1723" y="1241"/>
                        <a:pt x="1723" y="1241"/>
                        <a:pt x="1723" y="1241"/>
                      </a:cubicBezTo>
                      <a:cubicBezTo>
                        <a:pt x="1729" y="1241"/>
                        <a:pt x="1729" y="1241"/>
                        <a:pt x="1729" y="1241"/>
                      </a:cubicBezTo>
                      <a:cubicBezTo>
                        <a:pt x="1738" y="1235"/>
                        <a:pt x="1738" y="1235"/>
                        <a:pt x="1738" y="1235"/>
                      </a:cubicBezTo>
                      <a:cubicBezTo>
                        <a:pt x="1741" y="1226"/>
                        <a:pt x="1741" y="1226"/>
                        <a:pt x="1741" y="1226"/>
                      </a:cubicBezTo>
                      <a:cubicBezTo>
                        <a:pt x="1745" y="1224"/>
                        <a:pt x="1745" y="1224"/>
                        <a:pt x="1745" y="1224"/>
                      </a:cubicBezTo>
                      <a:cubicBezTo>
                        <a:pt x="1749" y="1226"/>
                        <a:pt x="1749" y="1226"/>
                        <a:pt x="1749" y="1226"/>
                      </a:cubicBezTo>
                      <a:cubicBezTo>
                        <a:pt x="1749" y="1230"/>
                        <a:pt x="1749" y="1230"/>
                        <a:pt x="1749" y="1230"/>
                      </a:cubicBezTo>
                      <a:cubicBezTo>
                        <a:pt x="1754" y="1233"/>
                        <a:pt x="1754" y="1233"/>
                        <a:pt x="1754" y="1233"/>
                      </a:cubicBezTo>
                      <a:cubicBezTo>
                        <a:pt x="1764" y="1227"/>
                        <a:pt x="1764" y="1227"/>
                        <a:pt x="1764" y="1227"/>
                      </a:cubicBezTo>
                      <a:cubicBezTo>
                        <a:pt x="1770" y="1227"/>
                        <a:pt x="1770" y="1227"/>
                        <a:pt x="1770" y="1227"/>
                      </a:cubicBezTo>
                      <a:cubicBezTo>
                        <a:pt x="1776" y="1221"/>
                        <a:pt x="1776" y="1221"/>
                        <a:pt x="1776" y="1221"/>
                      </a:cubicBezTo>
                      <a:cubicBezTo>
                        <a:pt x="1784" y="1221"/>
                        <a:pt x="1784" y="1221"/>
                        <a:pt x="1784" y="1221"/>
                      </a:cubicBezTo>
                      <a:cubicBezTo>
                        <a:pt x="1786" y="1215"/>
                        <a:pt x="1786" y="1215"/>
                        <a:pt x="1786" y="1215"/>
                      </a:cubicBezTo>
                      <a:cubicBezTo>
                        <a:pt x="1799" y="1209"/>
                        <a:pt x="1799" y="1209"/>
                        <a:pt x="1799" y="1209"/>
                      </a:cubicBezTo>
                      <a:cubicBezTo>
                        <a:pt x="1800" y="1202"/>
                        <a:pt x="1800" y="1202"/>
                        <a:pt x="1800" y="1202"/>
                      </a:cubicBezTo>
                      <a:cubicBezTo>
                        <a:pt x="1806" y="1197"/>
                        <a:pt x="1806" y="1197"/>
                        <a:pt x="1806" y="1197"/>
                      </a:cubicBezTo>
                      <a:cubicBezTo>
                        <a:pt x="1811" y="1196"/>
                        <a:pt x="1811" y="1196"/>
                        <a:pt x="1811" y="1196"/>
                      </a:cubicBezTo>
                      <a:cubicBezTo>
                        <a:pt x="1814" y="1191"/>
                        <a:pt x="1814" y="1191"/>
                        <a:pt x="1814" y="1191"/>
                      </a:cubicBezTo>
                      <a:cubicBezTo>
                        <a:pt x="1821" y="1187"/>
                        <a:pt x="1821" y="1187"/>
                        <a:pt x="1821" y="1187"/>
                      </a:cubicBezTo>
                      <a:cubicBezTo>
                        <a:pt x="1821" y="1174"/>
                        <a:pt x="1821" y="1174"/>
                        <a:pt x="1821" y="1174"/>
                      </a:cubicBezTo>
                      <a:cubicBezTo>
                        <a:pt x="1827" y="1172"/>
                        <a:pt x="1827" y="1172"/>
                        <a:pt x="1827" y="1172"/>
                      </a:cubicBezTo>
                      <a:cubicBezTo>
                        <a:pt x="1827" y="1165"/>
                        <a:pt x="1827" y="1165"/>
                        <a:pt x="1827" y="1165"/>
                      </a:cubicBezTo>
                      <a:cubicBezTo>
                        <a:pt x="1835" y="1157"/>
                        <a:pt x="1835" y="1157"/>
                        <a:pt x="1835" y="1157"/>
                      </a:cubicBezTo>
                      <a:cubicBezTo>
                        <a:pt x="1836" y="1153"/>
                        <a:pt x="1836" y="1153"/>
                        <a:pt x="1836" y="1153"/>
                      </a:cubicBezTo>
                      <a:cubicBezTo>
                        <a:pt x="1842" y="1148"/>
                        <a:pt x="1842" y="1148"/>
                        <a:pt x="1842" y="1148"/>
                      </a:cubicBezTo>
                      <a:cubicBezTo>
                        <a:pt x="1844" y="1145"/>
                        <a:pt x="1844" y="1145"/>
                        <a:pt x="1844" y="1145"/>
                      </a:cubicBezTo>
                      <a:cubicBezTo>
                        <a:pt x="1843" y="1139"/>
                        <a:pt x="1843" y="1139"/>
                        <a:pt x="1843" y="1139"/>
                      </a:cubicBezTo>
                      <a:cubicBezTo>
                        <a:pt x="1848" y="1132"/>
                        <a:pt x="1848" y="1132"/>
                        <a:pt x="1848" y="1132"/>
                      </a:cubicBezTo>
                      <a:cubicBezTo>
                        <a:pt x="1847" y="1123"/>
                        <a:pt x="1847" y="1123"/>
                        <a:pt x="1847" y="1123"/>
                      </a:cubicBezTo>
                      <a:cubicBezTo>
                        <a:pt x="1843" y="1120"/>
                        <a:pt x="1843" y="1120"/>
                        <a:pt x="1843" y="1120"/>
                      </a:cubicBezTo>
                      <a:cubicBezTo>
                        <a:pt x="1837" y="1123"/>
                        <a:pt x="1837" y="1123"/>
                        <a:pt x="1837" y="1123"/>
                      </a:cubicBezTo>
                      <a:cubicBezTo>
                        <a:pt x="1835" y="1121"/>
                        <a:pt x="1835" y="1121"/>
                        <a:pt x="1835" y="1121"/>
                      </a:cubicBezTo>
                      <a:cubicBezTo>
                        <a:pt x="1835" y="1117"/>
                        <a:pt x="1835" y="1117"/>
                        <a:pt x="1835" y="1117"/>
                      </a:cubicBezTo>
                      <a:cubicBezTo>
                        <a:pt x="1842" y="1112"/>
                        <a:pt x="1842" y="1112"/>
                        <a:pt x="1842" y="1112"/>
                      </a:cubicBezTo>
                      <a:cubicBezTo>
                        <a:pt x="1848" y="1109"/>
                        <a:pt x="1848" y="1109"/>
                        <a:pt x="1848" y="1109"/>
                      </a:cubicBezTo>
                      <a:cubicBezTo>
                        <a:pt x="1846" y="1103"/>
                        <a:pt x="1846" y="1103"/>
                        <a:pt x="1846" y="1103"/>
                      </a:cubicBezTo>
                      <a:cubicBezTo>
                        <a:pt x="1841" y="1099"/>
                        <a:pt x="1841" y="1099"/>
                        <a:pt x="1841" y="1099"/>
                      </a:cubicBezTo>
                      <a:cubicBezTo>
                        <a:pt x="1847" y="1099"/>
                        <a:pt x="1847" y="1099"/>
                        <a:pt x="1847" y="1099"/>
                      </a:cubicBezTo>
                      <a:cubicBezTo>
                        <a:pt x="1847" y="1094"/>
                        <a:pt x="1847" y="1094"/>
                        <a:pt x="1847" y="1094"/>
                      </a:cubicBezTo>
                      <a:cubicBezTo>
                        <a:pt x="1842" y="1088"/>
                        <a:pt x="1842" y="1088"/>
                        <a:pt x="1842" y="1088"/>
                      </a:cubicBezTo>
                      <a:cubicBezTo>
                        <a:pt x="1836" y="1083"/>
                        <a:pt x="1836" y="1083"/>
                        <a:pt x="1836" y="1083"/>
                      </a:cubicBezTo>
                      <a:cubicBezTo>
                        <a:pt x="1836" y="1072"/>
                        <a:pt x="1836" y="1072"/>
                        <a:pt x="1836" y="1072"/>
                      </a:cubicBezTo>
                      <a:cubicBezTo>
                        <a:pt x="1832" y="1068"/>
                        <a:pt x="1832" y="1068"/>
                        <a:pt x="1832" y="1068"/>
                      </a:cubicBezTo>
                      <a:cubicBezTo>
                        <a:pt x="1830" y="1058"/>
                        <a:pt x="1830" y="1058"/>
                        <a:pt x="1830" y="1058"/>
                      </a:cubicBezTo>
                      <a:cubicBezTo>
                        <a:pt x="1822" y="1056"/>
                        <a:pt x="1822" y="1056"/>
                        <a:pt x="1822" y="1056"/>
                      </a:cubicBezTo>
                      <a:cubicBezTo>
                        <a:pt x="1814" y="1049"/>
                        <a:pt x="1814" y="1049"/>
                        <a:pt x="1814" y="1049"/>
                      </a:cubicBezTo>
                      <a:cubicBezTo>
                        <a:pt x="1816" y="1042"/>
                        <a:pt x="1816" y="1042"/>
                        <a:pt x="1816" y="1042"/>
                      </a:cubicBezTo>
                      <a:cubicBezTo>
                        <a:pt x="1823" y="1036"/>
                        <a:pt x="1823" y="1036"/>
                        <a:pt x="1823" y="1036"/>
                      </a:cubicBezTo>
                      <a:cubicBezTo>
                        <a:pt x="1823" y="1034"/>
                        <a:pt x="1823" y="1034"/>
                        <a:pt x="1823" y="1034"/>
                      </a:cubicBezTo>
                      <a:cubicBezTo>
                        <a:pt x="1829" y="1029"/>
                        <a:pt x="1829" y="1029"/>
                        <a:pt x="1829" y="1029"/>
                      </a:cubicBezTo>
                      <a:cubicBezTo>
                        <a:pt x="1831" y="1032"/>
                        <a:pt x="1831" y="1032"/>
                        <a:pt x="1831" y="1032"/>
                      </a:cubicBezTo>
                      <a:cubicBezTo>
                        <a:pt x="1836" y="1032"/>
                        <a:pt x="1836" y="1032"/>
                        <a:pt x="1836" y="1032"/>
                      </a:cubicBezTo>
                      <a:cubicBezTo>
                        <a:pt x="1842" y="1026"/>
                        <a:pt x="1842" y="1026"/>
                        <a:pt x="1842" y="1026"/>
                      </a:cubicBezTo>
                      <a:cubicBezTo>
                        <a:pt x="1843" y="1023"/>
                        <a:pt x="1843" y="1023"/>
                        <a:pt x="1843" y="1023"/>
                      </a:cubicBezTo>
                      <a:cubicBezTo>
                        <a:pt x="1848" y="1021"/>
                        <a:pt x="1848" y="1021"/>
                        <a:pt x="1848" y="1021"/>
                      </a:cubicBezTo>
                      <a:cubicBezTo>
                        <a:pt x="1855" y="1021"/>
                        <a:pt x="1855" y="1021"/>
                        <a:pt x="1855" y="1021"/>
                      </a:cubicBezTo>
                      <a:cubicBezTo>
                        <a:pt x="1857" y="1017"/>
                        <a:pt x="1857" y="1017"/>
                        <a:pt x="1857" y="1017"/>
                      </a:cubicBezTo>
                      <a:cubicBezTo>
                        <a:pt x="1856" y="1012"/>
                        <a:pt x="1856" y="1012"/>
                        <a:pt x="1856" y="1012"/>
                      </a:cubicBezTo>
                      <a:cubicBezTo>
                        <a:pt x="1839" y="1011"/>
                        <a:pt x="1839" y="1011"/>
                        <a:pt x="1839" y="1011"/>
                      </a:cubicBezTo>
                      <a:cubicBezTo>
                        <a:pt x="1835" y="1008"/>
                        <a:pt x="1835" y="1008"/>
                        <a:pt x="1835" y="1008"/>
                      </a:cubicBezTo>
                      <a:cubicBezTo>
                        <a:pt x="1831" y="1008"/>
                        <a:pt x="1831" y="1008"/>
                        <a:pt x="1831" y="1008"/>
                      </a:cubicBezTo>
                      <a:cubicBezTo>
                        <a:pt x="1818" y="1016"/>
                        <a:pt x="1818" y="1016"/>
                        <a:pt x="1818" y="1016"/>
                      </a:cubicBezTo>
                      <a:cubicBezTo>
                        <a:pt x="1811" y="1015"/>
                        <a:pt x="1811" y="1015"/>
                        <a:pt x="1811" y="1015"/>
                      </a:cubicBezTo>
                      <a:cubicBezTo>
                        <a:pt x="1811" y="1006"/>
                        <a:pt x="1811" y="1006"/>
                        <a:pt x="1811" y="1006"/>
                      </a:cubicBezTo>
                      <a:cubicBezTo>
                        <a:pt x="1802" y="1005"/>
                        <a:pt x="1802" y="1005"/>
                        <a:pt x="1802" y="1005"/>
                      </a:cubicBezTo>
                      <a:cubicBezTo>
                        <a:pt x="1795" y="995"/>
                        <a:pt x="1795" y="995"/>
                        <a:pt x="1795" y="995"/>
                      </a:cubicBezTo>
                      <a:cubicBezTo>
                        <a:pt x="1799" y="988"/>
                        <a:pt x="1799" y="988"/>
                        <a:pt x="1799" y="988"/>
                      </a:cubicBezTo>
                      <a:cubicBezTo>
                        <a:pt x="1808" y="987"/>
                        <a:pt x="1808" y="987"/>
                        <a:pt x="1808" y="987"/>
                      </a:cubicBezTo>
                      <a:cubicBezTo>
                        <a:pt x="1811" y="985"/>
                        <a:pt x="1811" y="985"/>
                        <a:pt x="1811" y="985"/>
                      </a:cubicBezTo>
                      <a:cubicBezTo>
                        <a:pt x="1811" y="982"/>
                        <a:pt x="1811" y="982"/>
                        <a:pt x="1811" y="982"/>
                      </a:cubicBezTo>
                      <a:cubicBezTo>
                        <a:pt x="1816" y="977"/>
                        <a:pt x="1816" y="977"/>
                        <a:pt x="1816" y="977"/>
                      </a:cubicBezTo>
                      <a:cubicBezTo>
                        <a:pt x="1818" y="971"/>
                        <a:pt x="1818" y="971"/>
                        <a:pt x="1818" y="971"/>
                      </a:cubicBezTo>
                      <a:cubicBezTo>
                        <a:pt x="1827" y="967"/>
                        <a:pt x="1827" y="967"/>
                        <a:pt x="1827" y="967"/>
                      </a:cubicBezTo>
                      <a:cubicBezTo>
                        <a:pt x="1838" y="958"/>
                        <a:pt x="1838" y="958"/>
                        <a:pt x="1838" y="958"/>
                      </a:cubicBezTo>
                      <a:cubicBezTo>
                        <a:pt x="1849" y="960"/>
                        <a:pt x="1849" y="960"/>
                        <a:pt x="1849" y="960"/>
                      </a:cubicBezTo>
                      <a:cubicBezTo>
                        <a:pt x="1850" y="967"/>
                        <a:pt x="1850" y="967"/>
                        <a:pt x="1850" y="967"/>
                      </a:cubicBezTo>
                      <a:cubicBezTo>
                        <a:pt x="1840" y="979"/>
                        <a:pt x="1840" y="979"/>
                        <a:pt x="1840" y="979"/>
                      </a:cubicBezTo>
                      <a:cubicBezTo>
                        <a:pt x="1846" y="982"/>
                        <a:pt x="1846" y="982"/>
                        <a:pt x="1846" y="982"/>
                      </a:cubicBezTo>
                      <a:cubicBezTo>
                        <a:pt x="1845" y="988"/>
                        <a:pt x="1845" y="988"/>
                        <a:pt x="1845" y="988"/>
                      </a:cubicBezTo>
                      <a:cubicBezTo>
                        <a:pt x="1854" y="985"/>
                        <a:pt x="1854" y="985"/>
                        <a:pt x="1854" y="985"/>
                      </a:cubicBezTo>
                      <a:cubicBezTo>
                        <a:pt x="1868" y="976"/>
                        <a:pt x="1868" y="976"/>
                        <a:pt x="1868" y="976"/>
                      </a:cubicBezTo>
                      <a:cubicBezTo>
                        <a:pt x="1878" y="974"/>
                        <a:pt x="1878" y="974"/>
                        <a:pt x="1878" y="974"/>
                      </a:cubicBezTo>
                      <a:cubicBezTo>
                        <a:pt x="1882" y="977"/>
                        <a:pt x="1882" y="977"/>
                        <a:pt x="1882" y="977"/>
                      </a:cubicBezTo>
                      <a:cubicBezTo>
                        <a:pt x="1886" y="978"/>
                        <a:pt x="1886" y="978"/>
                        <a:pt x="1886" y="978"/>
                      </a:cubicBezTo>
                      <a:cubicBezTo>
                        <a:pt x="1892" y="980"/>
                        <a:pt x="1892" y="980"/>
                        <a:pt x="1892" y="980"/>
                      </a:cubicBezTo>
                      <a:cubicBezTo>
                        <a:pt x="1891" y="987"/>
                        <a:pt x="1891" y="987"/>
                        <a:pt x="1891" y="987"/>
                      </a:cubicBezTo>
                      <a:cubicBezTo>
                        <a:pt x="1893" y="993"/>
                        <a:pt x="1893" y="993"/>
                        <a:pt x="1893" y="993"/>
                      </a:cubicBezTo>
                      <a:cubicBezTo>
                        <a:pt x="1884" y="1002"/>
                        <a:pt x="1884" y="1002"/>
                        <a:pt x="1884" y="1002"/>
                      </a:cubicBezTo>
                      <a:cubicBezTo>
                        <a:pt x="1889" y="1008"/>
                        <a:pt x="1889" y="1008"/>
                        <a:pt x="1889" y="1008"/>
                      </a:cubicBezTo>
                      <a:cubicBezTo>
                        <a:pt x="1895" y="1008"/>
                        <a:pt x="1895" y="1008"/>
                        <a:pt x="1895" y="1008"/>
                      </a:cubicBezTo>
                      <a:cubicBezTo>
                        <a:pt x="1902" y="1006"/>
                        <a:pt x="1902" y="1006"/>
                        <a:pt x="1902" y="1006"/>
                      </a:cubicBezTo>
                      <a:cubicBezTo>
                        <a:pt x="1908" y="1011"/>
                        <a:pt x="1908" y="1011"/>
                        <a:pt x="1908" y="1011"/>
                      </a:cubicBezTo>
                      <a:cubicBezTo>
                        <a:pt x="1908" y="1017"/>
                        <a:pt x="1908" y="1017"/>
                        <a:pt x="1908" y="1017"/>
                      </a:cubicBezTo>
                      <a:cubicBezTo>
                        <a:pt x="1904" y="1020"/>
                        <a:pt x="1904" y="1020"/>
                        <a:pt x="1904" y="1020"/>
                      </a:cubicBezTo>
                      <a:cubicBezTo>
                        <a:pt x="1906" y="1026"/>
                        <a:pt x="1906" y="1026"/>
                        <a:pt x="1906" y="1026"/>
                      </a:cubicBezTo>
                      <a:cubicBezTo>
                        <a:pt x="1908" y="1036"/>
                        <a:pt x="1908" y="1036"/>
                        <a:pt x="1908" y="1036"/>
                      </a:cubicBezTo>
                      <a:cubicBezTo>
                        <a:pt x="1906" y="1048"/>
                        <a:pt x="1906" y="1048"/>
                        <a:pt x="1906" y="1048"/>
                      </a:cubicBezTo>
                      <a:cubicBezTo>
                        <a:pt x="1903" y="1051"/>
                        <a:pt x="1903" y="1051"/>
                        <a:pt x="1903" y="1051"/>
                      </a:cubicBezTo>
                      <a:cubicBezTo>
                        <a:pt x="1908" y="1059"/>
                        <a:pt x="1908" y="1059"/>
                        <a:pt x="1908" y="1059"/>
                      </a:cubicBezTo>
                      <a:cubicBezTo>
                        <a:pt x="1913" y="1059"/>
                        <a:pt x="1913" y="1059"/>
                        <a:pt x="1913" y="1059"/>
                      </a:cubicBezTo>
                      <a:cubicBezTo>
                        <a:pt x="1916" y="1057"/>
                        <a:pt x="1916" y="1057"/>
                        <a:pt x="1916" y="1057"/>
                      </a:cubicBezTo>
                      <a:cubicBezTo>
                        <a:pt x="1925" y="1054"/>
                        <a:pt x="1925" y="1054"/>
                        <a:pt x="1925" y="1054"/>
                      </a:cubicBezTo>
                      <a:cubicBezTo>
                        <a:pt x="1930" y="1053"/>
                        <a:pt x="1930" y="1053"/>
                        <a:pt x="1930" y="1053"/>
                      </a:cubicBezTo>
                      <a:cubicBezTo>
                        <a:pt x="1934" y="1049"/>
                        <a:pt x="1934" y="1049"/>
                        <a:pt x="1934" y="1049"/>
                      </a:cubicBezTo>
                      <a:cubicBezTo>
                        <a:pt x="1939" y="1048"/>
                        <a:pt x="1939" y="1048"/>
                        <a:pt x="1939" y="1048"/>
                      </a:cubicBezTo>
                      <a:cubicBezTo>
                        <a:pt x="1941" y="1045"/>
                        <a:pt x="1941" y="1045"/>
                        <a:pt x="1941" y="1045"/>
                      </a:cubicBezTo>
                      <a:cubicBezTo>
                        <a:pt x="1945" y="1035"/>
                        <a:pt x="1945" y="1035"/>
                        <a:pt x="1945" y="1035"/>
                      </a:cubicBezTo>
                      <a:cubicBezTo>
                        <a:pt x="1941" y="1020"/>
                        <a:pt x="1941" y="1020"/>
                        <a:pt x="1941" y="1020"/>
                      </a:cubicBezTo>
                      <a:cubicBezTo>
                        <a:pt x="1941" y="1011"/>
                        <a:pt x="1941" y="1011"/>
                        <a:pt x="1941" y="1011"/>
                      </a:cubicBezTo>
                      <a:cubicBezTo>
                        <a:pt x="1935" y="998"/>
                        <a:pt x="1935" y="998"/>
                        <a:pt x="1935" y="998"/>
                      </a:cubicBezTo>
                      <a:cubicBezTo>
                        <a:pt x="1932" y="991"/>
                        <a:pt x="1932" y="991"/>
                        <a:pt x="1932" y="991"/>
                      </a:cubicBezTo>
                      <a:cubicBezTo>
                        <a:pt x="1924" y="985"/>
                        <a:pt x="1924" y="985"/>
                        <a:pt x="1924" y="985"/>
                      </a:cubicBezTo>
                      <a:cubicBezTo>
                        <a:pt x="1919" y="984"/>
                        <a:pt x="1919" y="984"/>
                        <a:pt x="1919" y="984"/>
                      </a:cubicBezTo>
                      <a:cubicBezTo>
                        <a:pt x="1919" y="975"/>
                        <a:pt x="1919" y="975"/>
                        <a:pt x="1919" y="975"/>
                      </a:cubicBezTo>
                      <a:cubicBezTo>
                        <a:pt x="1922" y="971"/>
                        <a:pt x="1922" y="971"/>
                        <a:pt x="1922" y="971"/>
                      </a:cubicBezTo>
                      <a:cubicBezTo>
                        <a:pt x="1930" y="970"/>
                        <a:pt x="1930" y="970"/>
                        <a:pt x="1930" y="970"/>
                      </a:cubicBezTo>
                      <a:cubicBezTo>
                        <a:pt x="1941" y="962"/>
                        <a:pt x="1941" y="962"/>
                        <a:pt x="1941" y="962"/>
                      </a:cubicBezTo>
                      <a:cubicBezTo>
                        <a:pt x="1950" y="951"/>
                        <a:pt x="1950" y="951"/>
                        <a:pt x="1950" y="951"/>
                      </a:cubicBezTo>
                      <a:cubicBezTo>
                        <a:pt x="1949" y="943"/>
                        <a:pt x="1949" y="943"/>
                        <a:pt x="1949" y="943"/>
                      </a:cubicBezTo>
                      <a:cubicBezTo>
                        <a:pt x="1953" y="936"/>
                        <a:pt x="1953" y="936"/>
                        <a:pt x="1953" y="936"/>
                      </a:cubicBezTo>
                      <a:cubicBezTo>
                        <a:pt x="1961" y="927"/>
                        <a:pt x="1961" y="927"/>
                        <a:pt x="1961" y="927"/>
                      </a:cubicBezTo>
                      <a:cubicBezTo>
                        <a:pt x="1970" y="925"/>
                        <a:pt x="1970" y="925"/>
                        <a:pt x="1970" y="925"/>
                      </a:cubicBezTo>
                      <a:cubicBezTo>
                        <a:pt x="1972" y="919"/>
                        <a:pt x="1972" y="919"/>
                        <a:pt x="1972" y="919"/>
                      </a:cubicBezTo>
                      <a:cubicBezTo>
                        <a:pt x="1976" y="916"/>
                        <a:pt x="1976" y="916"/>
                        <a:pt x="1976" y="916"/>
                      </a:cubicBezTo>
                      <a:cubicBezTo>
                        <a:pt x="1982" y="919"/>
                        <a:pt x="1982" y="919"/>
                        <a:pt x="1982" y="919"/>
                      </a:cubicBezTo>
                      <a:cubicBezTo>
                        <a:pt x="1984" y="922"/>
                        <a:pt x="1984" y="922"/>
                        <a:pt x="1984" y="922"/>
                      </a:cubicBezTo>
                      <a:cubicBezTo>
                        <a:pt x="1992" y="923"/>
                        <a:pt x="1992" y="923"/>
                        <a:pt x="1992" y="923"/>
                      </a:cubicBezTo>
                      <a:cubicBezTo>
                        <a:pt x="1996" y="925"/>
                        <a:pt x="1996" y="925"/>
                        <a:pt x="1996" y="925"/>
                      </a:cubicBezTo>
                      <a:cubicBezTo>
                        <a:pt x="2002" y="919"/>
                        <a:pt x="2002" y="919"/>
                        <a:pt x="2002" y="919"/>
                      </a:cubicBezTo>
                      <a:cubicBezTo>
                        <a:pt x="2016" y="914"/>
                        <a:pt x="2016" y="914"/>
                        <a:pt x="2016" y="914"/>
                      </a:cubicBezTo>
                      <a:cubicBezTo>
                        <a:pt x="2029" y="892"/>
                        <a:pt x="2029" y="892"/>
                        <a:pt x="2029" y="892"/>
                      </a:cubicBezTo>
                      <a:cubicBezTo>
                        <a:pt x="2040" y="881"/>
                        <a:pt x="2040" y="881"/>
                        <a:pt x="2040" y="881"/>
                      </a:cubicBezTo>
                      <a:cubicBezTo>
                        <a:pt x="2051" y="870"/>
                        <a:pt x="2051" y="870"/>
                        <a:pt x="2051" y="870"/>
                      </a:cubicBezTo>
                      <a:cubicBezTo>
                        <a:pt x="2053" y="856"/>
                        <a:pt x="2053" y="856"/>
                        <a:pt x="2053" y="856"/>
                      </a:cubicBezTo>
                      <a:cubicBezTo>
                        <a:pt x="2060" y="844"/>
                        <a:pt x="2060" y="844"/>
                        <a:pt x="2060" y="844"/>
                      </a:cubicBezTo>
                      <a:cubicBezTo>
                        <a:pt x="2072" y="831"/>
                        <a:pt x="2072" y="831"/>
                        <a:pt x="2072" y="831"/>
                      </a:cubicBezTo>
                      <a:cubicBezTo>
                        <a:pt x="2076" y="826"/>
                        <a:pt x="2076" y="826"/>
                        <a:pt x="2076" y="826"/>
                      </a:cubicBezTo>
                      <a:cubicBezTo>
                        <a:pt x="2082" y="808"/>
                        <a:pt x="2082" y="808"/>
                        <a:pt x="2082" y="808"/>
                      </a:cubicBezTo>
                      <a:cubicBezTo>
                        <a:pt x="2082" y="801"/>
                        <a:pt x="2082" y="801"/>
                        <a:pt x="2082" y="801"/>
                      </a:cubicBezTo>
                      <a:cubicBezTo>
                        <a:pt x="2084" y="788"/>
                        <a:pt x="2084" y="788"/>
                        <a:pt x="2084" y="788"/>
                      </a:cubicBezTo>
                      <a:cubicBezTo>
                        <a:pt x="2082" y="782"/>
                        <a:pt x="2082" y="782"/>
                        <a:pt x="2082" y="782"/>
                      </a:cubicBezTo>
                      <a:cubicBezTo>
                        <a:pt x="2084" y="767"/>
                        <a:pt x="2084" y="767"/>
                        <a:pt x="2084" y="767"/>
                      </a:cubicBezTo>
                      <a:cubicBezTo>
                        <a:pt x="2094" y="752"/>
                        <a:pt x="2094" y="752"/>
                        <a:pt x="2094" y="752"/>
                      </a:cubicBezTo>
                      <a:cubicBezTo>
                        <a:pt x="2094" y="741"/>
                        <a:pt x="2094" y="741"/>
                        <a:pt x="2094" y="741"/>
                      </a:cubicBezTo>
                      <a:cubicBezTo>
                        <a:pt x="2087" y="735"/>
                        <a:pt x="2087" y="735"/>
                        <a:pt x="2087" y="735"/>
                      </a:cubicBezTo>
                      <a:cubicBezTo>
                        <a:pt x="2086" y="731"/>
                        <a:pt x="2086" y="731"/>
                        <a:pt x="2086" y="731"/>
                      </a:cubicBezTo>
                      <a:cubicBezTo>
                        <a:pt x="2092" y="734"/>
                        <a:pt x="2092" y="734"/>
                        <a:pt x="2092" y="734"/>
                      </a:cubicBezTo>
                      <a:cubicBezTo>
                        <a:pt x="2092" y="729"/>
                        <a:pt x="2092" y="729"/>
                        <a:pt x="2092" y="729"/>
                      </a:cubicBezTo>
                      <a:cubicBezTo>
                        <a:pt x="2088" y="720"/>
                        <a:pt x="2088" y="720"/>
                        <a:pt x="2088" y="720"/>
                      </a:cubicBezTo>
                      <a:cubicBezTo>
                        <a:pt x="2082" y="714"/>
                        <a:pt x="2082" y="714"/>
                        <a:pt x="2082" y="714"/>
                      </a:cubicBezTo>
                      <a:cubicBezTo>
                        <a:pt x="2078" y="706"/>
                        <a:pt x="2078" y="706"/>
                        <a:pt x="2078" y="706"/>
                      </a:cubicBezTo>
                      <a:cubicBezTo>
                        <a:pt x="2063" y="703"/>
                        <a:pt x="2063" y="703"/>
                        <a:pt x="2063" y="703"/>
                      </a:cubicBezTo>
                      <a:cubicBezTo>
                        <a:pt x="2060" y="715"/>
                        <a:pt x="2060" y="715"/>
                        <a:pt x="2060" y="715"/>
                      </a:cubicBezTo>
                      <a:cubicBezTo>
                        <a:pt x="2054" y="716"/>
                        <a:pt x="2054" y="716"/>
                        <a:pt x="2054" y="716"/>
                      </a:cubicBezTo>
                      <a:cubicBezTo>
                        <a:pt x="2048" y="719"/>
                        <a:pt x="2048" y="719"/>
                        <a:pt x="2048" y="719"/>
                      </a:cubicBezTo>
                      <a:cubicBezTo>
                        <a:pt x="2047" y="716"/>
                        <a:pt x="2047" y="716"/>
                        <a:pt x="2047" y="716"/>
                      </a:cubicBezTo>
                      <a:cubicBezTo>
                        <a:pt x="2049" y="710"/>
                        <a:pt x="2049" y="710"/>
                        <a:pt x="2049" y="710"/>
                      </a:cubicBezTo>
                      <a:cubicBezTo>
                        <a:pt x="2046" y="704"/>
                        <a:pt x="2046" y="704"/>
                        <a:pt x="2046" y="704"/>
                      </a:cubicBezTo>
                      <a:cubicBezTo>
                        <a:pt x="2041" y="707"/>
                        <a:pt x="2041" y="707"/>
                        <a:pt x="2041" y="707"/>
                      </a:cubicBezTo>
                      <a:cubicBezTo>
                        <a:pt x="2037" y="712"/>
                        <a:pt x="2037" y="712"/>
                        <a:pt x="2037" y="712"/>
                      </a:cubicBezTo>
                      <a:cubicBezTo>
                        <a:pt x="2036" y="697"/>
                        <a:pt x="2036" y="697"/>
                        <a:pt x="2036" y="697"/>
                      </a:cubicBezTo>
                      <a:cubicBezTo>
                        <a:pt x="2027" y="694"/>
                        <a:pt x="2027" y="694"/>
                        <a:pt x="2027" y="694"/>
                      </a:cubicBezTo>
                      <a:cubicBezTo>
                        <a:pt x="2022" y="695"/>
                        <a:pt x="2022" y="695"/>
                        <a:pt x="2022" y="695"/>
                      </a:cubicBezTo>
                      <a:cubicBezTo>
                        <a:pt x="2015" y="691"/>
                        <a:pt x="2015" y="691"/>
                        <a:pt x="2015" y="691"/>
                      </a:cubicBezTo>
                      <a:cubicBezTo>
                        <a:pt x="2016" y="687"/>
                        <a:pt x="2016" y="687"/>
                        <a:pt x="2016" y="687"/>
                      </a:cubicBezTo>
                      <a:cubicBezTo>
                        <a:pt x="2025" y="684"/>
                        <a:pt x="2025" y="684"/>
                        <a:pt x="2025" y="684"/>
                      </a:cubicBezTo>
                      <a:cubicBezTo>
                        <a:pt x="2032" y="677"/>
                        <a:pt x="2032" y="677"/>
                        <a:pt x="2032" y="677"/>
                      </a:cubicBezTo>
                      <a:cubicBezTo>
                        <a:pt x="2043" y="669"/>
                        <a:pt x="2043" y="669"/>
                        <a:pt x="2043" y="669"/>
                      </a:cubicBezTo>
                      <a:cubicBezTo>
                        <a:pt x="2046" y="664"/>
                        <a:pt x="2046" y="664"/>
                        <a:pt x="2046" y="664"/>
                      </a:cubicBezTo>
                      <a:cubicBezTo>
                        <a:pt x="2056" y="652"/>
                        <a:pt x="2056" y="652"/>
                        <a:pt x="2056" y="652"/>
                      </a:cubicBezTo>
                      <a:cubicBezTo>
                        <a:pt x="2057" y="646"/>
                        <a:pt x="2057" y="646"/>
                        <a:pt x="2057" y="646"/>
                      </a:cubicBezTo>
                      <a:cubicBezTo>
                        <a:pt x="2071" y="636"/>
                        <a:pt x="2071" y="636"/>
                        <a:pt x="2071" y="636"/>
                      </a:cubicBezTo>
                      <a:cubicBezTo>
                        <a:pt x="2082" y="623"/>
                        <a:pt x="2082" y="623"/>
                        <a:pt x="2082" y="623"/>
                      </a:cubicBezTo>
                      <a:cubicBezTo>
                        <a:pt x="2085" y="616"/>
                        <a:pt x="2085" y="616"/>
                        <a:pt x="2085" y="616"/>
                      </a:cubicBezTo>
                      <a:cubicBezTo>
                        <a:pt x="2098" y="604"/>
                        <a:pt x="2098" y="604"/>
                        <a:pt x="2098" y="604"/>
                      </a:cubicBezTo>
                      <a:cubicBezTo>
                        <a:pt x="2101" y="596"/>
                        <a:pt x="2101" y="596"/>
                        <a:pt x="2101" y="596"/>
                      </a:cubicBezTo>
                      <a:cubicBezTo>
                        <a:pt x="2112" y="588"/>
                        <a:pt x="2112" y="588"/>
                        <a:pt x="2112" y="588"/>
                      </a:cubicBezTo>
                      <a:cubicBezTo>
                        <a:pt x="2123" y="586"/>
                        <a:pt x="2123" y="586"/>
                        <a:pt x="2123" y="586"/>
                      </a:cubicBezTo>
                      <a:cubicBezTo>
                        <a:pt x="2133" y="586"/>
                        <a:pt x="2133" y="586"/>
                        <a:pt x="2133" y="586"/>
                      </a:cubicBezTo>
                      <a:cubicBezTo>
                        <a:pt x="2140" y="584"/>
                        <a:pt x="2140" y="584"/>
                        <a:pt x="2140" y="584"/>
                      </a:cubicBezTo>
                      <a:cubicBezTo>
                        <a:pt x="2152" y="584"/>
                        <a:pt x="2152" y="584"/>
                        <a:pt x="2152" y="584"/>
                      </a:cubicBezTo>
                      <a:cubicBezTo>
                        <a:pt x="2149" y="589"/>
                        <a:pt x="2149" y="589"/>
                        <a:pt x="2149" y="589"/>
                      </a:cubicBezTo>
                      <a:cubicBezTo>
                        <a:pt x="2152" y="593"/>
                        <a:pt x="2152" y="593"/>
                        <a:pt x="2152" y="593"/>
                      </a:cubicBezTo>
                      <a:cubicBezTo>
                        <a:pt x="2158" y="591"/>
                        <a:pt x="2158" y="591"/>
                        <a:pt x="2158" y="591"/>
                      </a:cubicBezTo>
                      <a:cubicBezTo>
                        <a:pt x="2163" y="585"/>
                        <a:pt x="2163" y="585"/>
                        <a:pt x="2163" y="585"/>
                      </a:cubicBezTo>
                      <a:cubicBezTo>
                        <a:pt x="2168" y="589"/>
                        <a:pt x="2168" y="589"/>
                        <a:pt x="2168" y="589"/>
                      </a:cubicBezTo>
                      <a:cubicBezTo>
                        <a:pt x="2182" y="587"/>
                        <a:pt x="2182" y="587"/>
                        <a:pt x="2182" y="587"/>
                      </a:cubicBezTo>
                      <a:cubicBezTo>
                        <a:pt x="2187" y="589"/>
                        <a:pt x="2187" y="589"/>
                        <a:pt x="2187" y="589"/>
                      </a:cubicBezTo>
                      <a:cubicBezTo>
                        <a:pt x="2193" y="578"/>
                        <a:pt x="2193" y="578"/>
                        <a:pt x="2193" y="578"/>
                      </a:cubicBezTo>
                      <a:cubicBezTo>
                        <a:pt x="2202" y="578"/>
                        <a:pt x="2202" y="578"/>
                        <a:pt x="2202" y="578"/>
                      </a:cubicBezTo>
                      <a:cubicBezTo>
                        <a:pt x="2209" y="579"/>
                        <a:pt x="2209" y="579"/>
                        <a:pt x="2209" y="579"/>
                      </a:cubicBezTo>
                      <a:cubicBezTo>
                        <a:pt x="2224" y="580"/>
                        <a:pt x="2224" y="580"/>
                        <a:pt x="2224" y="580"/>
                      </a:cubicBezTo>
                      <a:cubicBezTo>
                        <a:pt x="2227" y="586"/>
                        <a:pt x="2227" y="586"/>
                        <a:pt x="2227" y="586"/>
                      </a:cubicBezTo>
                      <a:cubicBezTo>
                        <a:pt x="2223" y="589"/>
                        <a:pt x="2223" y="589"/>
                        <a:pt x="2223" y="589"/>
                      </a:cubicBezTo>
                      <a:cubicBezTo>
                        <a:pt x="2220" y="593"/>
                        <a:pt x="2220" y="593"/>
                        <a:pt x="2220" y="593"/>
                      </a:cubicBezTo>
                      <a:cubicBezTo>
                        <a:pt x="2224" y="596"/>
                        <a:pt x="2224" y="596"/>
                        <a:pt x="2224" y="596"/>
                      </a:cubicBezTo>
                      <a:cubicBezTo>
                        <a:pt x="2230" y="593"/>
                        <a:pt x="2230" y="593"/>
                        <a:pt x="2230" y="593"/>
                      </a:cubicBezTo>
                      <a:cubicBezTo>
                        <a:pt x="2238" y="595"/>
                        <a:pt x="2238" y="595"/>
                        <a:pt x="2238" y="595"/>
                      </a:cubicBezTo>
                      <a:cubicBezTo>
                        <a:pt x="2247" y="588"/>
                        <a:pt x="2247" y="588"/>
                        <a:pt x="2247" y="588"/>
                      </a:cubicBezTo>
                      <a:cubicBezTo>
                        <a:pt x="2253" y="595"/>
                        <a:pt x="2253" y="595"/>
                        <a:pt x="2253" y="595"/>
                      </a:cubicBezTo>
                      <a:cubicBezTo>
                        <a:pt x="2257" y="595"/>
                        <a:pt x="2257" y="595"/>
                        <a:pt x="2257" y="595"/>
                      </a:cubicBezTo>
                      <a:cubicBezTo>
                        <a:pt x="2259" y="590"/>
                        <a:pt x="2259" y="590"/>
                        <a:pt x="2259" y="590"/>
                      </a:cubicBezTo>
                      <a:cubicBezTo>
                        <a:pt x="2268" y="588"/>
                        <a:pt x="2268" y="588"/>
                        <a:pt x="2268" y="588"/>
                      </a:cubicBezTo>
                      <a:cubicBezTo>
                        <a:pt x="2268" y="581"/>
                        <a:pt x="2268" y="581"/>
                        <a:pt x="2268" y="581"/>
                      </a:cubicBezTo>
                      <a:cubicBezTo>
                        <a:pt x="2263" y="578"/>
                        <a:pt x="2263" y="578"/>
                        <a:pt x="2263" y="578"/>
                      </a:cubicBezTo>
                      <a:cubicBezTo>
                        <a:pt x="2257" y="580"/>
                        <a:pt x="2257" y="580"/>
                        <a:pt x="2257" y="580"/>
                      </a:cubicBezTo>
                      <a:cubicBezTo>
                        <a:pt x="2256" y="572"/>
                        <a:pt x="2256" y="572"/>
                        <a:pt x="2256" y="572"/>
                      </a:cubicBezTo>
                      <a:cubicBezTo>
                        <a:pt x="2261" y="568"/>
                        <a:pt x="2261" y="568"/>
                        <a:pt x="2261" y="568"/>
                      </a:cubicBezTo>
                      <a:cubicBezTo>
                        <a:pt x="2266" y="561"/>
                        <a:pt x="2266" y="561"/>
                        <a:pt x="2266" y="561"/>
                      </a:cubicBezTo>
                      <a:cubicBezTo>
                        <a:pt x="2275" y="554"/>
                        <a:pt x="2275" y="554"/>
                        <a:pt x="2275" y="554"/>
                      </a:cubicBezTo>
                      <a:cubicBezTo>
                        <a:pt x="2275" y="549"/>
                        <a:pt x="2275" y="549"/>
                        <a:pt x="2275" y="549"/>
                      </a:cubicBezTo>
                      <a:cubicBezTo>
                        <a:pt x="2288" y="538"/>
                        <a:pt x="2288" y="538"/>
                        <a:pt x="2288" y="538"/>
                      </a:cubicBezTo>
                      <a:cubicBezTo>
                        <a:pt x="2286" y="530"/>
                        <a:pt x="2286" y="530"/>
                        <a:pt x="2286" y="530"/>
                      </a:cubicBezTo>
                      <a:cubicBezTo>
                        <a:pt x="2286" y="530"/>
                        <a:pt x="2287" y="529"/>
                        <a:pt x="2289" y="528"/>
                      </a:cubicBezTo>
                      <a:cubicBezTo>
                        <a:pt x="2291" y="527"/>
                        <a:pt x="2294" y="524"/>
                        <a:pt x="2295" y="524"/>
                      </a:cubicBezTo>
                      <a:cubicBezTo>
                        <a:pt x="2295" y="523"/>
                        <a:pt x="2295" y="523"/>
                        <a:pt x="2295" y="523"/>
                      </a:cubicBezTo>
                      <a:cubicBezTo>
                        <a:pt x="2311" y="523"/>
                        <a:pt x="2311" y="523"/>
                        <a:pt x="2311" y="523"/>
                      </a:cubicBezTo>
                      <a:cubicBezTo>
                        <a:pt x="2316" y="518"/>
                        <a:pt x="2316" y="518"/>
                        <a:pt x="2316" y="518"/>
                      </a:cubicBezTo>
                      <a:cubicBezTo>
                        <a:pt x="2323" y="523"/>
                        <a:pt x="2323" y="523"/>
                        <a:pt x="2323" y="523"/>
                      </a:cubicBezTo>
                      <a:cubicBezTo>
                        <a:pt x="2326" y="522"/>
                        <a:pt x="2326" y="522"/>
                        <a:pt x="2326" y="522"/>
                      </a:cubicBezTo>
                      <a:cubicBezTo>
                        <a:pt x="2329" y="518"/>
                        <a:pt x="2329" y="518"/>
                        <a:pt x="2329" y="518"/>
                      </a:cubicBezTo>
                      <a:cubicBezTo>
                        <a:pt x="2334" y="522"/>
                        <a:pt x="2334" y="522"/>
                        <a:pt x="2334" y="522"/>
                      </a:cubicBezTo>
                      <a:cubicBezTo>
                        <a:pt x="2334" y="522"/>
                        <a:pt x="2333" y="526"/>
                        <a:pt x="2333" y="528"/>
                      </a:cubicBezTo>
                      <a:cubicBezTo>
                        <a:pt x="2332" y="529"/>
                        <a:pt x="2332" y="531"/>
                        <a:pt x="2332" y="531"/>
                      </a:cubicBezTo>
                      <a:cubicBezTo>
                        <a:pt x="2326" y="538"/>
                        <a:pt x="2326" y="538"/>
                        <a:pt x="2326" y="538"/>
                      </a:cubicBezTo>
                      <a:cubicBezTo>
                        <a:pt x="2329" y="542"/>
                        <a:pt x="2329" y="542"/>
                        <a:pt x="2329" y="542"/>
                      </a:cubicBezTo>
                      <a:cubicBezTo>
                        <a:pt x="2332" y="543"/>
                        <a:pt x="2332" y="543"/>
                        <a:pt x="2332" y="543"/>
                      </a:cubicBezTo>
                      <a:cubicBezTo>
                        <a:pt x="2332" y="552"/>
                        <a:pt x="2332" y="552"/>
                        <a:pt x="2332" y="552"/>
                      </a:cubicBezTo>
                      <a:cubicBezTo>
                        <a:pt x="2338" y="552"/>
                        <a:pt x="2338" y="552"/>
                        <a:pt x="2338" y="552"/>
                      </a:cubicBezTo>
                      <a:cubicBezTo>
                        <a:pt x="2341" y="542"/>
                        <a:pt x="2341" y="542"/>
                        <a:pt x="2341" y="542"/>
                      </a:cubicBezTo>
                      <a:cubicBezTo>
                        <a:pt x="2354" y="532"/>
                        <a:pt x="2354" y="532"/>
                        <a:pt x="2354" y="532"/>
                      </a:cubicBezTo>
                      <a:cubicBezTo>
                        <a:pt x="2354" y="532"/>
                        <a:pt x="2354" y="532"/>
                        <a:pt x="2354" y="531"/>
                      </a:cubicBezTo>
                      <a:cubicBezTo>
                        <a:pt x="2355" y="530"/>
                        <a:pt x="2355" y="530"/>
                        <a:pt x="2355" y="530"/>
                      </a:cubicBezTo>
                      <a:cubicBezTo>
                        <a:pt x="2356" y="529"/>
                        <a:pt x="2356" y="529"/>
                        <a:pt x="2356" y="529"/>
                      </a:cubicBezTo>
                      <a:cubicBezTo>
                        <a:pt x="2356" y="528"/>
                        <a:pt x="2356" y="528"/>
                        <a:pt x="2356" y="528"/>
                      </a:cubicBezTo>
                      <a:cubicBezTo>
                        <a:pt x="2367" y="528"/>
                        <a:pt x="2367" y="528"/>
                        <a:pt x="2367" y="528"/>
                      </a:cubicBezTo>
                      <a:cubicBezTo>
                        <a:pt x="2369" y="522"/>
                        <a:pt x="2369" y="522"/>
                        <a:pt x="2369" y="522"/>
                      </a:cubicBezTo>
                      <a:cubicBezTo>
                        <a:pt x="2366" y="518"/>
                        <a:pt x="2366" y="518"/>
                        <a:pt x="2366" y="518"/>
                      </a:cubicBezTo>
                      <a:cubicBezTo>
                        <a:pt x="2373" y="501"/>
                        <a:pt x="2373" y="501"/>
                        <a:pt x="2373" y="501"/>
                      </a:cubicBezTo>
                      <a:cubicBezTo>
                        <a:pt x="2385" y="496"/>
                        <a:pt x="2385" y="496"/>
                        <a:pt x="2385" y="496"/>
                      </a:cubicBezTo>
                      <a:cubicBezTo>
                        <a:pt x="2392" y="504"/>
                        <a:pt x="2392" y="504"/>
                        <a:pt x="2392" y="504"/>
                      </a:cubicBezTo>
                      <a:cubicBezTo>
                        <a:pt x="2384" y="507"/>
                        <a:pt x="2384" y="507"/>
                        <a:pt x="2384" y="507"/>
                      </a:cubicBezTo>
                      <a:cubicBezTo>
                        <a:pt x="2381" y="517"/>
                        <a:pt x="2381" y="517"/>
                        <a:pt x="2381" y="517"/>
                      </a:cubicBezTo>
                      <a:cubicBezTo>
                        <a:pt x="2379" y="523"/>
                        <a:pt x="2379" y="523"/>
                        <a:pt x="2379" y="523"/>
                      </a:cubicBezTo>
                      <a:cubicBezTo>
                        <a:pt x="2378" y="524"/>
                        <a:pt x="2378" y="524"/>
                        <a:pt x="2378" y="524"/>
                      </a:cubicBezTo>
                      <a:cubicBezTo>
                        <a:pt x="2378" y="528"/>
                        <a:pt x="2378" y="528"/>
                        <a:pt x="2378" y="528"/>
                      </a:cubicBezTo>
                      <a:cubicBezTo>
                        <a:pt x="2377" y="533"/>
                        <a:pt x="2377" y="538"/>
                        <a:pt x="2377" y="538"/>
                      </a:cubicBezTo>
                      <a:cubicBezTo>
                        <a:pt x="2375" y="541"/>
                        <a:pt x="2375" y="541"/>
                        <a:pt x="2375" y="541"/>
                      </a:cubicBezTo>
                      <a:cubicBezTo>
                        <a:pt x="2374" y="548"/>
                        <a:pt x="2374" y="548"/>
                        <a:pt x="2374" y="548"/>
                      </a:cubicBezTo>
                      <a:cubicBezTo>
                        <a:pt x="2354" y="556"/>
                        <a:pt x="2354" y="556"/>
                        <a:pt x="2354" y="556"/>
                      </a:cubicBezTo>
                      <a:cubicBezTo>
                        <a:pt x="2351" y="563"/>
                        <a:pt x="2351" y="563"/>
                        <a:pt x="2351" y="563"/>
                      </a:cubicBezTo>
                      <a:cubicBezTo>
                        <a:pt x="2339" y="579"/>
                        <a:pt x="2339" y="579"/>
                        <a:pt x="2339" y="579"/>
                      </a:cubicBezTo>
                      <a:cubicBezTo>
                        <a:pt x="2332" y="580"/>
                        <a:pt x="2332" y="580"/>
                        <a:pt x="2332" y="580"/>
                      </a:cubicBezTo>
                      <a:cubicBezTo>
                        <a:pt x="2331" y="590"/>
                        <a:pt x="2331" y="590"/>
                        <a:pt x="2331" y="590"/>
                      </a:cubicBezTo>
                      <a:cubicBezTo>
                        <a:pt x="2317" y="602"/>
                        <a:pt x="2317" y="602"/>
                        <a:pt x="2317" y="602"/>
                      </a:cubicBezTo>
                      <a:cubicBezTo>
                        <a:pt x="2317" y="607"/>
                        <a:pt x="2317" y="607"/>
                        <a:pt x="2317" y="607"/>
                      </a:cubicBezTo>
                      <a:cubicBezTo>
                        <a:pt x="2309" y="613"/>
                        <a:pt x="2309" y="613"/>
                        <a:pt x="2309" y="613"/>
                      </a:cubicBezTo>
                      <a:cubicBezTo>
                        <a:pt x="2304" y="615"/>
                        <a:pt x="2304" y="615"/>
                        <a:pt x="2304" y="615"/>
                      </a:cubicBezTo>
                      <a:cubicBezTo>
                        <a:pt x="2300" y="620"/>
                        <a:pt x="2300" y="620"/>
                        <a:pt x="2300" y="620"/>
                      </a:cubicBezTo>
                      <a:cubicBezTo>
                        <a:pt x="2289" y="620"/>
                        <a:pt x="2289" y="620"/>
                        <a:pt x="2289" y="620"/>
                      </a:cubicBezTo>
                      <a:cubicBezTo>
                        <a:pt x="2287" y="641"/>
                        <a:pt x="2287" y="641"/>
                        <a:pt x="2287" y="641"/>
                      </a:cubicBezTo>
                      <a:cubicBezTo>
                        <a:pt x="2285" y="645"/>
                        <a:pt x="2285" y="645"/>
                        <a:pt x="2285" y="645"/>
                      </a:cubicBezTo>
                      <a:cubicBezTo>
                        <a:pt x="2276" y="656"/>
                        <a:pt x="2276" y="656"/>
                        <a:pt x="2276" y="656"/>
                      </a:cubicBezTo>
                      <a:cubicBezTo>
                        <a:pt x="2274" y="678"/>
                        <a:pt x="2274" y="678"/>
                        <a:pt x="2274" y="678"/>
                      </a:cubicBezTo>
                      <a:cubicBezTo>
                        <a:pt x="2276" y="700"/>
                        <a:pt x="2276" y="700"/>
                        <a:pt x="2276" y="700"/>
                      </a:cubicBezTo>
                      <a:cubicBezTo>
                        <a:pt x="2277" y="711"/>
                        <a:pt x="2277" y="711"/>
                        <a:pt x="2277" y="711"/>
                      </a:cubicBezTo>
                      <a:cubicBezTo>
                        <a:pt x="2280" y="719"/>
                        <a:pt x="2280" y="719"/>
                        <a:pt x="2280" y="719"/>
                      </a:cubicBezTo>
                      <a:cubicBezTo>
                        <a:pt x="2284" y="739"/>
                        <a:pt x="2284" y="739"/>
                        <a:pt x="2284" y="739"/>
                      </a:cubicBezTo>
                      <a:cubicBezTo>
                        <a:pt x="2286" y="750"/>
                        <a:pt x="2286" y="750"/>
                        <a:pt x="2286" y="750"/>
                      </a:cubicBezTo>
                      <a:cubicBezTo>
                        <a:pt x="2285" y="761"/>
                        <a:pt x="2285" y="761"/>
                        <a:pt x="2285" y="761"/>
                      </a:cubicBezTo>
                      <a:cubicBezTo>
                        <a:pt x="2288" y="770"/>
                        <a:pt x="2288" y="770"/>
                        <a:pt x="2288" y="770"/>
                      </a:cubicBezTo>
                      <a:cubicBezTo>
                        <a:pt x="2286" y="773"/>
                        <a:pt x="2286" y="773"/>
                        <a:pt x="2286" y="773"/>
                      </a:cubicBezTo>
                      <a:cubicBezTo>
                        <a:pt x="2291" y="772"/>
                        <a:pt x="2291" y="772"/>
                        <a:pt x="2291" y="772"/>
                      </a:cubicBezTo>
                      <a:cubicBezTo>
                        <a:pt x="2311" y="746"/>
                        <a:pt x="2311" y="746"/>
                        <a:pt x="2311" y="746"/>
                      </a:cubicBezTo>
                      <a:cubicBezTo>
                        <a:pt x="2313" y="739"/>
                        <a:pt x="2313" y="739"/>
                        <a:pt x="2313" y="739"/>
                      </a:cubicBezTo>
                      <a:cubicBezTo>
                        <a:pt x="2315" y="728"/>
                        <a:pt x="2315" y="728"/>
                        <a:pt x="2315" y="728"/>
                      </a:cubicBezTo>
                      <a:cubicBezTo>
                        <a:pt x="2323" y="725"/>
                        <a:pt x="2323" y="725"/>
                        <a:pt x="2323" y="725"/>
                      </a:cubicBezTo>
                      <a:cubicBezTo>
                        <a:pt x="2330" y="728"/>
                        <a:pt x="2330" y="728"/>
                        <a:pt x="2330" y="728"/>
                      </a:cubicBezTo>
                      <a:cubicBezTo>
                        <a:pt x="2332" y="723"/>
                        <a:pt x="2332" y="723"/>
                        <a:pt x="2332" y="723"/>
                      </a:cubicBezTo>
                      <a:cubicBezTo>
                        <a:pt x="2329" y="707"/>
                        <a:pt x="2329" y="707"/>
                        <a:pt x="2329" y="707"/>
                      </a:cubicBezTo>
                      <a:cubicBezTo>
                        <a:pt x="2346" y="694"/>
                        <a:pt x="2346" y="694"/>
                        <a:pt x="2346" y="694"/>
                      </a:cubicBezTo>
                      <a:cubicBezTo>
                        <a:pt x="2348" y="698"/>
                        <a:pt x="2348" y="698"/>
                        <a:pt x="2348" y="698"/>
                      </a:cubicBezTo>
                      <a:cubicBezTo>
                        <a:pt x="2353" y="696"/>
                        <a:pt x="2353" y="696"/>
                        <a:pt x="2353" y="696"/>
                      </a:cubicBezTo>
                      <a:cubicBezTo>
                        <a:pt x="2357" y="687"/>
                        <a:pt x="2357" y="687"/>
                        <a:pt x="2357" y="687"/>
                      </a:cubicBezTo>
                      <a:cubicBezTo>
                        <a:pt x="2353" y="681"/>
                        <a:pt x="2353" y="681"/>
                        <a:pt x="2353" y="681"/>
                      </a:cubicBezTo>
                      <a:cubicBezTo>
                        <a:pt x="2351" y="677"/>
                        <a:pt x="2351" y="677"/>
                        <a:pt x="2351" y="677"/>
                      </a:cubicBezTo>
                      <a:cubicBezTo>
                        <a:pt x="2356" y="663"/>
                        <a:pt x="2356" y="663"/>
                        <a:pt x="2356" y="663"/>
                      </a:cubicBezTo>
                      <a:cubicBezTo>
                        <a:pt x="2365" y="654"/>
                        <a:pt x="2365" y="654"/>
                        <a:pt x="2365" y="654"/>
                      </a:cubicBezTo>
                      <a:cubicBezTo>
                        <a:pt x="2365" y="663"/>
                        <a:pt x="2365" y="663"/>
                        <a:pt x="2365" y="663"/>
                      </a:cubicBezTo>
                      <a:cubicBezTo>
                        <a:pt x="2371" y="663"/>
                        <a:pt x="2371" y="663"/>
                        <a:pt x="2371" y="663"/>
                      </a:cubicBezTo>
                      <a:cubicBezTo>
                        <a:pt x="2374" y="660"/>
                        <a:pt x="2374" y="660"/>
                        <a:pt x="2374" y="660"/>
                      </a:cubicBezTo>
                      <a:cubicBezTo>
                        <a:pt x="2371" y="647"/>
                        <a:pt x="2371" y="647"/>
                        <a:pt x="2371" y="647"/>
                      </a:cubicBezTo>
                      <a:cubicBezTo>
                        <a:pt x="2365" y="644"/>
                        <a:pt x="2365" y="644"/>
                        <a:pt x="2365" y="644"/>
                      </a:cubicBezTo>
                      <a:cubicBezTo>
                        <a:pt x="2364" y="634"/>
                        <a:pt x="2364" y="634"/>
                        <a:pt x="2364" y="634"/>
                      </a:cubicBezTo>
                      <a:cubicBezTo>
                        <a:pt x="2373" y="626"/>
                        <a:pt x="2373" y="626"/>
                        <a:pt x="2373" y="626"/>
                      </a:cubicBezTo>
                      <a:cubicBezTo>
                        <a:pt x="2371" y="623"/>
                        <a:pt x="2371" y="623"/>
                        <a:pt x="2371" y="623"/>
                      </a:cubicBezTo>
                      <a:cubicBezTo>
                        <a:pt x="2363" y="619"/>
                        <a:pt x="2363" y="619"/>
                        <a:pt x="2363" y="619"/>
                      </a:cubicBezTo>
                      <a:cubicBezTo>
                        <a:pt x="2361" y="623"/>
                        <a:pt x="2361" y="623"/>
                        <a:pt x="2361" y="623"/>
                      </a:cubicBezTo>
                      <a:cubicBezTo>
                        <a:pt x="2355" y="617"/>
                        <a:pt x="2355" y="617"/>
                        <a:pt x="2355" y="617"/>
                      </a:cubicBezTo>
                      <a:cubicBezTo>
                        <a:pt x="2358" y="603"/>
                        <a:pt x="2358" y="603"/>
                        <a:pt x="2358" y="603"/>
                      </a:cubicBezTo>
                      <a:cubicBezTo>
                        <a:pt x="2363" y="601"/>
                        <a:pt x="2363" y="601"/>
                        <a:pt x="2363" y="601"/>
                      </a:cubicBezTo>
                      <a:cubicBezTo>
                        <a:pt x="2370" y="590"/>
                        <a:pt x="2370" y="590"/>
                        <a:pt x="2370" y="590"/>
                      </a:cubicBezTo>
                      <a:cubicBezTo>
                        <a:pt x="2372" y="578"/>
                        <a:pt x="2372" y="578"/>
                        <a:pt x="2372" y="578"/>
                      </a:cubicBezTo>
                      <a:cubicBezTo>
                        <a:pt x="2381" y="569"/>
                        <a:pt x="2381" y="569"/>
                        <a:pt x="2381" y="569"/>
                      </a:cubicBezTo>
                      <a:cubicBezTo>
                        <a:pt x="2387" y="570"/>
                        <a:pt x="2387" y="570"/>
                        <a:pt x="2387" y="570"/>
                      </a:cubicBezTo>
                      <a:cubicBezTo>
                        <a:pt x="2392" y="573"/>
                        <a:pt x="2392" y="573"/>
                        <a:pt x="2392" y="573"/>
                      </a:cubicBezTo>
                      <a:cubicBezTo>
                        <a:pt x="2396" y="566"/>
                        <a:pt x="2396" y="566"/>
                        <a:pt x="2396" y="566"/>
                      </a:cubicBezTo>
                      <a:cubicBezTo>
                        <a:pt x="2402" y="562"/>
                        <a:pt x="2402" y="562"/>
                        <a:pt x="2402" y="562"/>
                      </a:cubicBezTo>
                      <a:cubicBezTo>
                        <a:pt x="2408" y="556"/>
                        <a:pt x="2408" y="556"/>
                        <a:pt x="2408" y="556"/>
                      </a:cubicBezTo>
                      <a:cubicBezTo>
                        <a:pt x="2410" y="559"/>
                        <a:pt x="2410" y="559"/>
                        <a:pt x="2410" y="559"/>
                      </a:cubicBezTo>
                      <a:cubicBezTo>
                        <a:pt x="2405" y="568"/>
                        <a:pt x="2405" y="568"/>
                        <a:pt x="2405" y="568"/>
                      </a:cubicBezTo>
                      <a:cubicBezTo>
                        <a:pt x="2405" y="577"/>
                        <a:pt x="2405" y="577"/>
                        <a:pt x="2405" y="577"/>
                      </a:cubicBezTo>
                      <a:cubicBezTo>
                        <a:pt x="2412" y="572"/>
                        <a:pt x="2412" y="572"/>
                        <a:pt x="2412" y="572"/>
                      </a:cubicBezTo>
                      <a:cubicBezTo>
                        <a:pt x="2417" y="561"/>
                        <a:pt x="2417" y="561"/>
                        <a:pt x="2417" y="561"/>
                      </a:cubicBezTo>
                      <a:cubicBezTo>
                        <a:pt x="2440" y="551"/>
                        <a:pt x="2440" y="551"/>
                        <a:pt x="2440" y="551"/>
                      </a:cubicBezTo>
                      <a:cubicBezTo>
                        <a:pt x="2451" y="557"/>
                        <a:pt x="2451" y="557"/>
                        <a:pt x="2451" y="557"/>
                      </a:cubicBezTo>
                      <a:cubicBezTo>
                        <a:pt x="2454" y="563"/>
                        <a:pt x="2454" y="563"/>
                        <a:pt x="2454" y="563"/>
                      </a:cubicBezTo>
                      <a:cubicBezTo>
                        <a:pt x="2455" y="570"/>
                        <a:pt x="2455" y="570"/>
                        <a:pt x="2455" y="570"/>
                      </a:cubicBezTo>
                      <a:cubicBezTo>
                        <a:pt x="2461" y="566"/>
                        <a:pt x="2461" y="566"/>
                        <a:pt x="2461" y="566"/>
                      </a:cubicBezTo>
                      <a:cubicBezTo>
                        <a:pt x="2463" y="560"/>
                        <a:pt x="2463" y="560"/>
                        <a:pt x="2463" y="560"/>
                      </a:cubicBezTo>
                      <a:cubicBezTo>
                        <a:pt x="2471" y="551"/>
                        <a:pt x="2471" y="551"/>
                        <a:pt x="2471" y="551"/>
                      </a:cubicBezTo>
                      <a:cubicBezTo>
                        <a:pt x="2484" y="544"/>
                        <a:pt x="2484" y="544"/>
                        <a:pt x="2484" y="544"/>
                      </a:cubicBezTo>
                      <a:cubicBezTo>
                        <a:pt x="2488" y="537"/>
                        <a:pt x="2488" y="537"/>
                        <a:pt x="2488" y="537"/>
                      </a:cubicBezTo>
                      <a:cubicBezTo>
                        <a:pt x="2494" y="535"/>
                        <a:pt x="2494" y="535"/>
                        <a:pt x="2494" y="535"/>
                      </a:cubicBezTo>
                      <a:cubicBezTo>
                        <a:pt x="2494" y="535"/>
                        <a:pt x="2496" y="533"/>
                        <a:pt x="2498" y="531"/>
                      </a:cubicBezTo>
                      <a:cubicBezTo>
                        <a:pt x="2498" y="530"/>
                        <a:pt x="2499" y="529"/>
                        <a:pt x="2500" y="528"/>
                      </a:cubicBezTo>
                      <a:cubicBezTo>
                        <a:pt x="2501" y="527"/>
                        <a:pt x="2501" y="526"/>
                        <a:pt x="2501" y="526"/>
                      </a:cubicBezTo>
                      <a:cubicBezTo>
                        <a:pt x="2509" y="525"/>
                        <a:pt x="2509" y="525"/>
                        <a:pt x="2509" y="525"/>
                      </a:cubicBezTo>
                      <a:cubicBezTo>
                        <a:pt x="2518" y="516"/>
                        <a:pt x="2518" y="516"/>
                        <a:pt x="2518" y="516"/>
                      </a:cubicBezTo>
                      <a:cubicBezTo>
                        <a:pt x="2534" y="513"/>
                        <a:pt x="2534" y="513"/>
                        <a:pt x="2534" y="513"/>
                      </a:cubicBezTo>
                      <a:cubicBezTo>
                        <a:pt x="2539" y="505"/>
                        <a:pt x="2539" y="505"/>
                        <a:pt x="2539" y="505"/>
                      </a:cubicBezTo>
                      <a:cubicBezTo>
                        <a:pt x="2553" y="502"/>
                        <a:pt x="2553" y="502"/>
                        <a:pt x="2553" y="502"/>
                      </a:cubicBezTo>
                      <a:cubicBezTo>
                        <a:pt x="2560" y="507"/>
                        <a:pt x="2560" y="507"/>
                        <a:pt x="2560" y="507"/>
                      </a:cubicBezTo>
                      <a:cubicBezTo>
                        <a:pt x="2572" y="509"/>
                        <a:pt x="2572" y="509"/>
                        <a:pt x="2572" y="509"/>
                      </a:cubicBezTo>
                      <a:cubicBezTo>
                        <a:pt x="2573" y="504"/>
                        <a:pt x="2573" y="504"/>
                        <a:pt x="2573" y="504"/>
                      </a:cubicBezTo>
                      <a:cubicBezTo>
                        <a:pt x="2576" y="495"/>
                        <a:pt x="2576" y="495"/>
                        <a:pt x="2576" y="495"/>
                      </a:cubicBezTo>
                      <a:cubicBezTo>
                        <a:pt x="2573" y="492"/>
                        <a:pt x="2573" y="492"/>
                        <a:pt x="2573" y="492"/>
                      </a:cubicBezTo>
                      <a:cubicBezTo>
                        <a:pt x="2572" y="480"/>
                        <a:pt x="2572" y="480"/>
                        <a:pt x="2572" y="480"/>
                      </a:cubicBezTo>
                      <a:cubicBezTo>
                        <a:pt x="2567" y="476"/>
                        <a:pt x="2567" y="476"/>
                        <a:pt x="2567" y="476"/>
                      </a:cubicBezTo>
                      <a:cubicBezTo>
                        <a:pt x="2567" y="460"/>
                        <a:pt x="2567" y="460"/>
                        <a:pt x="2567" y="460"/>
                      </a:cubicBezTo>
                      <a:cubicBezTo>
                        <a:pt x="2562" y="457"/>
                        <a:pt x="2562" y="457"/>
                        <a:pt x="2562" y="457"/>
                      </a:cubicBezTo>
                      <a:cubicBezTo>
                        <a:pt x="2563" y="451"/>
                        <a:pt x="2563" y="451"/>
                        <a:pt x="2563" y="451"/>
                      </a:cubicBezTo>
                      <a:cubicBezTo>
                        <a:pt x="2558" y="450"/>
                        <a:pt x="2558" y="450"/>
                        <a:pt x="2558" y="450"/>
                      </a:cubicBezTo>
                      <a:cubicBezTo>
                        <a:pt x="2557" y="455"/>
                        <a:pt x="2557" y="455"/>
                        <a:pt x="2557" y="455"/>
                      </a:cubicBezTo>
                      <a:cubicBezTo>
                        <a:pt x="2549" y="449"/>
                        <a:pt x="2549" y="449"/>
                        <a:pt x="2549" y="449"/>
                      </a:cubicBezTo>
                      <a:cubicBezTo>
                        <a:pt x="2545" y="446"/>
                        <a:pt x="2545" y="446"/>
                        <a:pt x="2545" y="446"/>
                      </a:cubicBezTo>
                      <a:cubicBezTo>
                        <a:pt x="2537" y="444"/>
                        <a:pt x="2537" y="444"/>
                        <a:pt x="2537" y="444"/>
                      </a:cubicBezTo>
                      <a:cubicBezTo>
                        <a:pt x="2534" y="436"/>
                        <a:pt x="2534" y="436"/>
                        <a:pt x="2534" y="436"/>
                      </a:cubicBezTo>
                      <a:cubicBezTo>
                        <a:pt x="2540" y="436"/>
                        <a:pt x="2540" y="436"/>
                        <a:pt x="2540" y="436"/>
                      </a:cubicBezTo>
                      <a:cubicBezTo>
                        <a:pt x="2543" y="441"/>
                        <a:pt x="2543" y="441"/>
                        <a:pt x="2543" y="441"/>
                      </a:cubicBezTo>
                      <a:cubicBezTo>
                        <a:pt x="2545" y="438"/>
                        <a:pt x="2545" y="438"/>
                        <a:pt x="2545" y="438"/>
                      </a:cubicBezTo>
                      <a:cubicBezTo>
                        <a:pt x="2540" y="433"/>
                        <a:pt x="2540" y="433"/>
                        <a:pt x="2540" y="433"/>
                      </a:cubicBezTo>
                      <a:cubicBezTo>
                        <a:pt x="2545" y="430"/>
                        <a:pt x="2545" y="430"/>
                        <a:pt x="2545" y="430"/>
                      </a:cubicBezTo>
                      <a:cubicBezTo>
                        <a:pt x="2551" y="437"/>
                        <a:pt x="2551" y="437"/>
                        <a:pt x="2551" y="437"/>
                      </a:cubicBezTo>
                      <a:cubicBezTo>
                        <a:pt x="2554" y="443"/>
                        <a:pt x="2554" y="443"/>
                        <a:pt x="2554" y="443"/>
                      </a:cubicBezTo>
                      <a:cubicBezTo>
                        <a:pt x="2571" y="442"/>
                        <a:pt x="2571" y="442"/>
                        <a:pt x="2571" y="442"/>
                      </a:cubicBezTo>
                      <a:cubicBezTo>
                        <a:pt x="2576" y="435"/>
                        <a:pt x="2576" y="435"/>
                        <a:pt x="2576" y="435"/>
                      </a:cubicBezTo>
                      <a:cubicBezTo>
                        <a:pt x="2580" y="433"/>
                        <a:pt x="2580" y="433"/>
                        <a:pt x="2580" y="433"/>
                      </a:cubicBezTo>
                      <a:cubicBezTo>
                        <a:pt x="2590" y="421"/>
                        <a:pt x="2590" y="421"/>
                        <a:pt x="2590" y="421"/>
                      </a:cubicBezTo>
                      <a:cubicBezTo>
                        <a:pt x="2587" y="414"/>
                        <a:pt x="2587" y="414"/>
                        <a:pt x="2587" y="414"/>
                      </a:cubicBezTo>
                      <a:cubicBezTo>
                        <a:pt x="2582" y="400"/>
                        <a:pt x="2582" y="400"/>
                        <a:pt x="2582" y="400"/>
                      </a:cubicBezTo>
                      <a:cubicBezTo>
                        <a:pt x="2590" y="396"/>
                        <a:pt x="2590" y="396"/>
                        <a:pt x="2590" y="396"/>
                      </a:cubicBezTo>
                      <a:cubicBezTo>
                        <a:pt x="2593" y="397"/>
                        <a:pt x="2593" y="397"/>
                        <a:pt x="2593" y="397"/>
                      </a:cubicBezTo>
                      <a:cubicBezTo>
                        <a:pt x="2599" y="394"/>
                        <a:pt x="2599" y="394"/>
                        <a:pt x="2599" y="394"/>
                      </a:cubicBezTo>
                      <a:cubicBezTo>
                        <a:pt x="2600" y="400"/>
                        <a:pt x="2600" y="400"/>
                        <a:pt x="2600" y="400"/>
                      </a:cubicBezTo>
                      <a:cubicBezTo>
                        <a:pt x="2599" y="405"/>
                        <a:pt x="2599" y="405"/>
                        <a:pt x="2599" y="405"/>
                      </a:cubicBezTo>
                      <a:cubicBezTo>
                        <a:pt x="2598" y="415"/>
                        <a:pt x="2598" y="415"/>
                        <a:pt x="2598" y="415"/>
                      </a:cubicBezTo>
                      <a:cubicBezTo>
                        <a:pt x="2602" y="420"/>
                        <a:pt x="2602" y="420"/>
                        <a:pt x="2602" y="420"/>
                      </a:cubicBezTo>
                      <a:cubicBezTo>
                        <a:pt x="2611" y="419"/>
                        <a:pt x="2611" y="419"/>
                        <a:pt x="2611" y="419"/>
                      </a:cubicBezTo>
                      <a:cubicBezTo>
                        <a:pt x="2620" y="418"/>
                        <a:pt x="2620" y="418"/>
                        <a:pt x="2620" y="418"/>
                      </a:cubicBezTo>
                      <a:cubicBezTo>
                        <a:pt x="2629" y="421"/>
                        <a:pt x="2629" y="421"/>
                        <a:pt x="2629" y="421"/>
                      </a:cubicBezTo>
                      <a:cubicBezTo>
                        <a:pt x="2632" y="425"/>
                        <a:pt x="2632" y="425"/>
                        <a:pt x="2632" y="425"/>
                      </a:cubicBezTo>
                      <a:cubicBezTo>
                        <a:pt x="2633" y="440"/>
                        <a:pt x="2633" y="440"/>
                        <a:pt x="2633" y="440"/>
                      </a:cubicBezTo>
                      <a:cubicBezTo>
                        <a:pt x="2644" y="438"/>
                        <a:pt x="2644" y="438"/>
                        <a:pt x="2644" y="438"/>
                      </a:cubicBezTo>
                      <a:cubicBezTo>
                        <a:pt x="2650" y="442"/>
                        <a:pt x="2650" y="442"/>
                        <a:pt x="2650" y="442"/>
                      </a:cubicBezTo>
                      <a:cubicBezTo>
                        <a:pt x="2656" y="451"/>
                        <a:pt x="2656" y="451"/>
                        <a:pt x="2656" y="451"/>
                      </a:cubicBezTo>
                      <a:cubicBezTo>
                        <a:pt x="2663" y="455"/>
                        <a:pt x="2663" y="455"/>
                        <a:pt x="2663" y="455"/>
                      </a:cubicBezTo>
                      <a:cubicBezTo>
                        <a:pt x="2675" y="450"/>
                        <a:pt x="2675" y="450"/>
                        <a:pt x="2675" y="450"/>
                      </a:cubicBezTo>
                      <a:cubicBezTo>
                        <a:pt x="2669" y="445"/>
                        <a:pt x="2669" y="445"/>
                        <a:pt x="2669" y="445"/>
                      </a:cubicBezTo>
                      <a:cubicBezTo>
                        <a:pt x="2669" y="438"/>
                        <a:pt x="2669" y="438"/>
                        <a:pt x="2669" y="438"/>
                      </a:cubicBezTo>
                      <a:cubicBezTo>
                        <a:pt x="2678" y="431"/>
                        <a:pt x="2678" y="431"/>
                        <a:pt x="2678" y="431"/>
                      </a:cubicBezTo>
                      <a:cubicBezTo>
                        <a:pt x="2673" y="426"/>
                        <a:pt x="2673" y="426"/>
                        <a:pt x="2673" y="426"/>
                      </a:cubicBezTo>
                      <a:cubicBezTo>
                        <a:pt x="2676" y="423"/>
                        <a:pt x="2676" y="423"/>
                        <a:pt x="2676" y="423"/>
                      </a:cubicBezTo>
                      <a:cubicBezTo>
                        <a:pt x="2678" y="419"/>
                        <a:pt x="2678" y="419"/>
                        <a:pt x="2678" y="419"/>
                      </a:cubicBezTo>
                      <a:cubicBezTo>
                        <a:pt x="2694" y="415"/>
                        <a:pt x="2694" y="415"/>
                        <a:pt x="2694" y="415"/>
                      </a:cubicBezTo>
                      <a:cubicBezTo>
                        <a:pt x="2698" y="411"/>
                        <a:pt x="2698" y="411"/>
                        <a:pt x="2698" y="411"/>
                      </a:cubicBezTo>
                      <a:cubicBezTo>
                        <a:pt x="2699" y="404"/>
                        <a:pt x="2699" y="404"/>
                        <a:pt x="2699" y="404"/>
                      </a:cubicBezTo>
                      <a:cubicBezTo>
                        <a:pt x="2707" y="403"/>
                        <a:pt x="2707" y="403"/>
                        <a:pt x="2707" y="403"/>
                      </a:cubicBezTo>
                      <a:cubicBezTo>
                        <a:pt x="2709" y="397"/>
                        <a:pt x="2709" y="397"/>
                        <a:pt x="2709" y="397"/>
                      </a:cubicBezTo>
                      <a:lnTo>
                        <a:pt x="2694" y="389"/>
                      </a:lnTo>
                      <a:close/>
                      <a:moveTo>
                        <a:pt x="735" y="366"/>
                      </a:moveTo>
                      <a:cubicBezTo>
                        <a:pt x="737" y="366"/>
                        <a:pt x="737" y="367"/>
                        <a:pt x="737" y="368"/>
                      </a:cubicBezTo>
                      <a:cubicBezTo>
                        <a:pt x="737" y="369"/>
                        <a:pt x="737" y="370"/>
                        <a:pt x="736" y="370"/>
                      </a:cubicBezTo>
                      <a:cubicBezTo>
                        <a:pt x="734" y="370"/>
                        <a:pt x="734" y="368"/>
                        <a:pt x="733" y="368"/>
                      </a:cubicBezTo>
                      <a:cubicBezTo>
                        <a:pt x="733" y="367"/>
                        <a:pt x="734" y="367"/>
                        <a:pt x="735" y="366"/>
                      </a:cubicBezTo>
                      <a:close/>
                      <a:moveTo>
                        <a:pt x="430" y="477"/>
                      </a:moveTo>
                      <a:cubicBezTo>
                        <a:pt x="430" y="475"/>
                        <a:pt x="432" y="476"/>
                        <a:pt x="433" y="476"/>
                      </a:cubicBezTo>
                      <a:cubicBezTo>
                        <a:pt x="434" y="476"/>
                        <a:pt x="434" y="478"/>
                        <a:pt x="436" y="477"/>
                      </a:cubicBezTo>
                      <a:cubicBezTo>
                        <a:pt x="438" y="474"/>
                        <a:pt x="437" y="470"/>
                        <a:pt x="441" y="467"/>
                      </a:cubicBezTo>
                      <a:cubicBezTo>
                        <a:pt x="442" y="466"/>
                        <a:pt x="444" y="467"/>
                        <a:pt x="446" y="467"/>
                      </a:cubicBezTo>
                      <a:cubicBezTo>
                        <a:pt x="447" y="468"/>
                        <a:pt x="446" y="470"/>
                        <a:pt x="447" y="471"/>
                      </a:cubicBezTo>
                      <a:cubicBezTo>
                        <a:pt x="444" y="474"/>
                        <a:pt x="441" y="469"/>
                        <a:pt x="440" y="474"/>
                      </a:cubicBezTo>
                      <a:cubicBezTo>
                        <a:pt x="439" y="476"/>
                        <a:pt x="439" y="479"/>
                        <a:pt x="437" y="480"/>
                      </a:cubicBezTo>
                      <a:cubicBezTo>
                        <a:pt x="434" y="481"/>
                        <a:pt x="431" y="480"/>
                        <a:pt x="430" y="477"/>
                      </a:cubicBezTo>
                      <a:close/>
                      <a:moveTo>
                        <a:pt x="447" y="562"/>
                      </a:moveTo>
                      <a:cubicBezTo>
                        <a:pt x="446" y="563"/>
                        <a:pt x="445" y="563"/>
                        <a:pt x="444" y="563"/>
                      </a:cubicBezTo>
                      <a:cubicBezTo>
                        <a:pt x="442" y="557"/>
                        <a:pt x="435" y="553"/>
                        <a:pt x="435" y="547"/>
                      </a:cubicBezTo>
                      <a:cubicBezTo>
                        <a:pt x="436" y="546"/>
                        <a:pt x="436" y="546"/>
                        <a:pt x="436" y="546"/>
                      </a:cubicBezTo>
                      <a:cubicBezTo>
                        <a:pt x="440" y="552"/>
                        <a:pt x="450" y="554"/>
                        <a:pt x="447" y="562"/>
                      </a:cubicBezTo>
                      <a:close/>
                      <a:moveTo>
                        <a:pt x="454" y="520"/>
                      </a:moveTo>
                      <a:cubicBezTo>
                        <a:pt x="451" y="518"/>
                        <a:pt x="451" y="512"/>
                        <a:pt x="453" y="509"/>
                      </a:cubicBezTo>
                      <a:cubicBezTo>
                        <a:pt x="455" y="509"/>
                        <a:pt x="455" y="512"/>
                        <a:pt x="456" y="514"/>
                      </a:cubicBezTo>
                      <a:cubicBezTo>
                        <a:pt x="454" y="516"/>
                        <a:pt x="457" y="519"/>
                        <a:pt x="454" y="520"/>
                      </a:cubicBezTo>
                      <a:close/>
                      <a:moveTo>
                        <a:pt x="489" y="546"/>
                      </a:moveTo>
                      <a:cubicBezTo>
                        <a:pt x="491" y="547"/>
                        <a:pt x="493" y="547"/>
                        <a:pt x="493" y="549"/>
                      </a:cubicBezTo>
                      <a:cubicBezTo>
                        <a:pt x="494" y="552"/>
                        <a:pt x="491" y="552"/>
                        <a:pt x="490" y="552"/>
                      </a:cubicBezTo>
                      <a:cubicBezTo>
                        <a:pt x="487" y="552"/>
                        <a:pt x="486" y="550"/>
                        <a:pt x="485" y="549"/>
                      </a:cubicBezTo>
                      <a:cubicBezTo>
                        <a:pt x="485" y="547"/>
                        <a:pt x="488" y="548"/>
                        <a:pt x="489" y="546"/>
                      </a:cubicBezTo>
                      <a:close/>
                      <a:moveTo>
                        <a:pt x="484" y="484"/>
                      </a:moveTo>
                      <a:cubicBezTo>
                        <a:pt x="487" y="486"/>
                        <a:pt x="487" y="489"/>
                        <a:pt x="486" y="492"/>
                      </a:cubicBezTo>
                      <a:cubicBezTo>
                        <a:pt x="484" y="494"/>
                        <a:pt x="483" y="493"/>
                        <a:pt x="481" y="491"/>
                      </a:cubicBezTo>
                      <a:cubicBezTo>
                        <a:pt x="479" y="489"/>
                        <a:pt x="478" y="481"/>
                        <a:pt x="484" y="484"/>
                      </a:cubicBezTo>
                      <a:close/>
                      <a:moveTo>
                        <a:pt x="464" y="612"/>
                      </a:moveTo>
                      <a:cubicBezTo>
                        <a:pt x="462" y="611"/>
                        <a:pt x="459" y="614"/>
                        <a:pt x="459" y="611"/>
                      </a:cubicBezTo>
                      <a:cubicBezTo>
                        <a:pt x="465" y="607"/>
                        <a:pt x="457" y="596"/>
                        <a:pt x="466" y="595"/>
                      </a:cubicBezTo>
                      <a:cubicBezTo>
                        <a:pt x="467" y="592"/>
                        <a:pt x="468" y="588"/>
                        <a:pt x="472" y="587"/>
                      </a:cubicBezTo>
                      <a:cubicBezTo>
                        <a:pt x="476" y="588"/>
                        <a:pt x="480" y="590"/>
                        <a:pt x="482" y="595"/>
                      </a:cubicBezTo>
                      <a:cubicBezTo>
                        <a:pt x="485" y="608"/>
                        <a:pt x="470" y="607"/>
                        <a:pt x="464" y="612"/>
                      </a:cubicBezTo>
                      <a:close/>
                      <a:moveTo>
                        <a:pt x="494" y="605"/>
                      </a:moveTo>
                      <a:cubicBezTo>
                        <a:pt x="488" y="610"/>
                        <a:pt x="489" y="620"/>
                        <a:pt x="482" y="623"/>
                      </a:cubicBezTo>
                      <a:cubicBezTo>
                        <a:pt x="479" y="621"/>
                        <a:pt x="484" y="617"/>
                        <a:pt x="484" y="613"/>
                      </a:cubicBezTo>
                      <a:cubicBezTo>
                        <a:pt x="484" y="607"/>
                        <a:pt x="486" y="601"/>
                        <a:pt x="492" y="598"/>
                      </a:cubicBezTo>
                      <a:cubicBezTo>
                        <a:pt x="496" y="598"/>
                        <a:pt x="495" y="603"/>
                        <a:pt x="494" y="605"/>
                      </a:cubicBezTo>
                      <a:close/>
                      <a:moveTo>
                        <a:pt x="497" y="469"/>
                      </a:moveTo>
                      <a:cubicBezTo>
                        <a:pt x="493" y="468"/>
                        <a:pt x="491" y="464"/>
                        <a:pt x="491" y="461"/>
                      </a:cubicBezTo>
                      <a:cubicBezTo>
                        <a:pt x="491" y="459"/>
                        <a:pt x="491" y="458"/>
                        <a:pt x="492" y="458"/>
                      </a:cubicBezTo>
                      <a:cubicBezTo>
                        <a:pt x="495" y="459"/>
                        <a:pt x="498" y="460"/>
                        <a:pt x="498" y="463"/>
                      </a:cubicBezTo>
                      <a:cubicBezTo>
                        <a:pt x="498" y="465"/>
                        <a:pt x="500" y="468"/>
                        <a:pt x="497" y="469"/>
                      </a:cubicBezTo>
                      <a:close/>
                      <a:moveTo>
                        <a:pt x="534" y="358"/>
                      </a:moveTo>
                      <a:cubicBezTo>
                        <a:pt x="534" y="358"/>
                        <a:pt x="534" y="358"/>
                        <a:pt x="534" y="358"/>
                      </a:cubicBezTo>
                      <a:cubicBezTo>
                        <a:pt x="534" y="358"/>
                        <a:pt x="534" y="358"/>
                        <a:pt x="534" y="358"/>
                      </a:cubicBezTo>
                      <a:close/>
                      <a:moveTo>
                        <a:pt x="531" y="359"/>
                      </a:moveTo>
                      <a:cubicBezTo>
                        <a:pt x="529" y="360"/>
                        <a:pt x="528" y="360"/>
                        <a:pt x="527" y="360"/>
                      </a:cubicBezTo>
                      <a:cubicBezTo>
                        <a:pt x="529" y="360"/>
                        <a:pt x="530" y="359"/>
                        <a:pt x="531" y="359"/>
                      </a:cubicBezTo>
                      <a:close/>
                      <a:moveTo>
                        <a:pt x="505" y="594"/>
                      </a:moveTo>
                      <a:cubicBezTo>
                        <a:pt x="503" y="594"/>
                        <a:pt x="501" y="592"/>
                        <a:pt x="500" y="590"/>
                      </a:cubicBezTo>
                      <a:cubicBezTo>
                        <a:pt x="498" y="588"/>
                        <a:pt x="501" y="585"/>
                        <a:pt x="503" y="585"/>
                      </a:cubicBezTo>
                      <a:cubicBezTo>
                        <a:pt x="506" y="586"/>
                        <a:pt x="509" y="587"/>
                        <a:pt x="510" y="590"/>
                      </a:cubicBezTo>
                      <a:cubicBezTo>
                        <a:pt x="510" y="592"/>
                        <a:pt x="507" y="594"/>
                        <a:pt x="505" y="594"/>
                      </a:cubicBezTo>
                      <a:close/>
                      <a:moveTo>
                        <a:pt x="527" y="584"/>
                      </a:moveTo>
                      <a:cubicBezTo>
                        <a:pt x="529" y="590"/>
                        <a:pt x="522" y="587"/>
                        <a:pt x="519" y="588"/>
                      </a:cubicBezTo>
                      <a:cubicBezTo>
                        <a:pt x="515" y="587"/>
                        <a:pt x="510" y="588"/>
                        <a:pt x="508" y="584"/>
                      </a:cubicBezTo>
                      <a:cubicBezTo>
                        <a:pt x="511" y="582"/>
                        <a:pt x="515" y="583"/>
                        <a:pt x="517" y="581"/>
                      </a:cubicBezTo>
                      <a:cubicBezTo>
                        <a:pt x="521" y="582"/>
                        <a:pt x="525" y="579"/>
                        <a:pt x="527" y="584"/>
                      </a:cubicBezTo>
                      <a:close/>
                      <a:moveTo>
                        <a:pt x="535" y="416"/>
                      </a:moveTo>
                      <a:cubicBezTo>
                        <a:pt x="531" y="413"/>
                        <a:pt x="525" y="412"/>
                        <a:pt x="524" y="407"/>
                      </a:cubicBezTo>
                      <a:cubicBezTo>
                        <a:pt x="523" y="397"/>
                        <a:pt x="523" y="397"/>
                        <a:pt x="523" y="397"/>
                      </a:cubicBezTo>
                      <a:cubicBezTo>
                        <a:pt x="520" y="397"/>
                        <a:pt x="519" y="393"/>
                        <a:pt x="518" y="392"/>
                      </a:cubicBezTo>
                      <a:cubicBezTo>
                        <a:pt x="518" y="391"/>
                        <a:pt x="519" y="391"/>
                        <a:pt x="520" y="391"/>
                      </a:cubicBezTo>
                      <a:cubicBezTo>
                        <a:pt x="522" y="392"/>
                        <a:pt x="522" y="395"/>
                        <a:pt x="525" y="396"/>
                      </a:cubicBezTo>
                      <a:cubicBezTo>
                        <a:pt x="528" y="402"/>
                        <a:pt x="529" y="411"/>
                        <a:pt x="537" y="413"/>
                      </a:cubicBezTo>
                      <a:cubicBezTo>
                        <a:pt x="537" y="415"/>
                        <a:pt x="536" y="415"/>
                        <a:pt x="535" y="416"/>
                      </a:cubicBezTo>
                      <a:close/>
                      <a:moveTo>
                        <a:pt x="557" y="383"/>
                      </a:moveTo>
                      <a:cubicBezTo>
                        <a:pt x="548" y="381"/>
                        <a:pt x="542" y="375"/>
                        <a:pt x="532" y="374"/>
                      </a:cubicBezTo>
                      <a:cubicBezTo>
                        <a:pt x="530" y="372"/>
                        <a:pt x="525" y="372"/>
                        <a:pt x="524" y="369"/>
                      </a:cubicBezTo>
                      <a:cubicBezTo>
                        <a:pt x="524" y="368"/>
                        <a:pt x="523" y="367"/>
                        <a:pt x="525" y="367"/>
                      </a:cubicBezTo>
                      <a:cubicBezTo>
                        <a:pt x="528" y="367"/>
                        <a:pt x="525" y="369"/>
                        <a:pt x="527" y="370"/>
                      </a:cubicBezTo>
                      <a:cubicBezTo>
                        <a:pt x="537" y="373"/>
                        <a:pt x="546" y="377"/>
                        <a:pt x="555" y="381"/>
                      </a:cubicBezTo>
                      <a:cubicBezTo>
                        <a:pt x="556" y="381"/>
                        <a:pt x="558" y="381"/>
                        <a:pt x="558" y="382"/>
                      </a:cubicBezTo>
                      <a:cubicBezTo>
                        <a:pt x="558" y="383"/>
                        <a:pt x="558" y="383"/>
                        <a:pt x="557" y="383"/>
                      </a:cubicBezTo>
                      <a:close/>
                      <a:moveTo>
                        <a:pt x="558" y="361"/>
                      </a:moveTo>
                      <a:cubicBezTo>
                        <a:pt x="555" y="361"/>
                        <a:pt x="553" y="359"/>
                        <a:pt x="550" y="358"/>
                      </a:cubicBezTo>
                      <a:cubicBezTo>
                        <a:pt x="545" y="358"/>
                        <a:pt x="540" y="356"/>
                        <a:pt x="538" y="354"/>
                      </a:cubicBezTo>
                      <a:cubicBezTo>
                        <a:pt x="538" y="353"/>
                        <a:pt x="540" y="353"/>
                        <a:pt x="541" y="353"/>
                      </a:cubicBezTo>
                      <a:cubicBezTo>
                        <a:pt x="544" y="356"/>
                        <a:pt x="551" y="354"/>
                        <a:pt x="556" y="357"/>
                      </a:cubicBezTo>
                      <a:cubicBezTo>
                        <a:pt x="558" y="358"/>
                        <a:pt x="559" y="359"/>
                        <a:pt x="558" y="361"/>
                      </a:cubicBezTo>
                      <a:close/>
                      <a:moveTo>
                        <a:pt x="609" y="536"/>
                      </a:moveTo>
                      <a:cubicBezTo>
                        <a:pt x="609" y="538"/>
                        <a:pt x="613" y="539"/>
                        <a:pt x="611" y="542"/>
                      </a:cubicBezTo>
                      <a:cubicBezTo>
                        <a:pt x="607" y="542"/>
                        <a:pt x="604" y="538"/>
                        <a:pt x="598" y="539"/>
                      </a:cubicBezTo>
                      <a:cubicBezTo>
                        <a:pt x="597" y="536"/>
                        <a:pt x="600" y="533"/>
                        <a:pt x="602" y="532"/>
                      </a:cubicBezTo>
                      <a:cubicBezTo>
                        <a:pt x="602" y="529"/>
                        <a:pt x="602" y="524"/>
                        <a:pt x="605" y="521"/>
                      </a:cubicBezTo>
                      <a:cubicBezTo>
                        <a:pt x="606" y="521"/>
                        <a:pt x="607" y="519"/>
                        <a:pt x="609" y="520"/>
                      </a:cubicBezTo>
                      <a:cubicBezTo>
                        <a:pt x="609" y="523"/>
                        <a:pt x="605" y="523"/>
                        <a:pt x="605" y="526"/>
                      </a:cubicBezTo>
                      <a:cubicBezTo>
                        <a:pt x="605" y="528"/>
                        <a:pt x="605" y="530"/>
                        <a:pt x="607" y="531"/>
                      </a:cubicBezTo>
                      <a:cubicBezTo>
                        <a:pt x="609" y="530"/>
                        <a:pt x="611" y="529"/>
                        <a:pt x="613" y="529"/>
                      </a:cubicBezTo>
                      <a:cubicBezTo>
                        <a:pt x="615" y="532"/>
                        <a:pt x="609" y="532"/>
                        <a:pt x="609" y="536"/>
                      </a:cubicBezTo>
                      <a:close/>
                      <a:moveTo>
                        <a:pt x="625" y="541"/>
                      </a:moveTo>
                      <a:cubicBezTo>
                        <a:pt x="624" y="539"/>
                        <a:pt x="621" y="538"/>
                        <a:pt x="621" y="535"/>
                      </a:cubicBezTo>
                      <a:cubicBezTo>
                        <a:pt x="620" y="529"/>
                        <a:pt x="625" y="526"/>
                        <a:pt x="624" y="520"/>
                      </a:cubicBezTo>
                      <a:cubicBezTo>
                        <a:pt x="628" y="519"/>
                        <a:pt x="625" y="511"/>
                        <a:pt x="630" y="516"/>
                      </a:cubicBezTo>
                      <a:cubicBezTo>
                        <a:pt x="626" y="520"/>
                        <a:pt x="626" y="528"/>
                        <a:pt x="625" y="534"/>
                      </a:cubicBezTo>
                      <a:cubicBezTo>
                        <a:pt x="626" y="540"/>
                        <a:pt x="633" y="537"/>
                        <a:pt x="636" y="540"/>
                      </a:cubicBezTo>
                      <a:cubicBezTo>
                        <a:pt x="634" y="544"/>
                        <a:pt x="628" y="541"/>
                        <a:pt x="625" y="541"/>
                      </a:cubicBezTo>
                      <a:close/>
                      <a:moveTo>
                        <a:pt x="655" y="620"/>
                      </a:moveTo>
                      <a:cubicBezTo>
                        <a:pt x="653" y="622"/>
                        <a:pt x="651" y="619"/>
                        <a:pt x="650" y="618"/>
                      </a:cubicBezTo>
                      <a:cubicBezTo>
                        <a:pt x="645" y="611"/>
                        <a:pt x="650" y="604"/>
                        <a:pt x="650" y="596"/>
                      </a:cubicBezTo>
                      <a:cubicBezTo>
                        <a:pt x="650" y="595"/>
                        <a:pt x="652" y="594"/>
                        <a:pt x="653" y="594"/>
                      </a:cubicBezTo>
                      <a:cubicBezTo>
                        <a:pt x="654" y="594"/>
                        <a:pt x="655" y="594"/>
                        <a:pt x="655" y="595"/>
                      </a:cubicBezTo>
                      <a:cubicBezTo>
                        <a:pt x="656" y="605"/>
                        <a:pt x="653" y="613"/>
                        <a:pt x="660" y="621"/>
                      </a:cubicBezTo>
                      <a:cubicBezTo>
                        <a:pt x="657" y="622"/>
                        <a:pt x="657" y="623"/>
                        <a:pt x="655" y="620"/>
                      </a:cubicBezTo>
                      <a:close/>
                      <a:moveTo>
                        <a:pt x="715" y="367"/>
                      </a:moveTo>
                      <a:cubicBezTo>
                        <a:pt x="715" y="364"/>
                        <a:pt x="719" y="364"/>
                        <a:pt x="722" y="362"/>
                      </a:cubicBezTo>
                      <a:cubicBezTo>
                        <a:pt x="725" y="362"/>
                        <a:pt x="724" y="364"/>
                        <a:pt x="724" y="365"/>
                      </a:cubicBezTo>
                      <a:cubicBezTo>
                        <a:pt x="720" y="366"/>
                        <a:pt x="720" y="369"/>
                        <a:pt x="720" y="371"/>
                      </a:cubicBezTo>
                      <a:cubicBezTo>
                        <a:pt x="719" y="373"/>
                        <a:pt x="717" y="371"/>
                        <a:pt x="715" y="371"/>
                      </a:cubicBezTo>
                      <a:cubicBezTo>
                        <a:pt x="711" y="371"/>
                        <a:pt x="707" y="372"/>
                        <a:pt x="705" y="371"/>
                      </a:cubicBezTo>
                      <a:cubicBezTo>
                        <a:pt x="707" y="369"/>
                        <a:pt x="713" y="371"/>
                        <a:pt x="715" y="367"/>
                      </a:cubicBezTo>
                      <a:close/>
                      <a:moveTo>
                        <a:pt x="704" y="409"/>
                      </a:moveTo>
                      <a:cubicBezTo>
                        <a:pt x="710" y="408"/>
                        <a:pt x="711" y="415"/>
                        <a:pt x="714" y="419"/>
                      </a:cubicBezTo>
                      <a:cubicBezTo>
                        <a:pt x="709" y="420"/>
                        <a:pt x="706" y="415"/>
                        <a:pt x="702" y="413"/>
                      </a:cubicBezTo>
                      <a:cubicBezTo>
                        <a:pt x="702" y="412"/>
                        <a:pt x="701" y="408"/>
                        <a:pt x="704" y="409"/>
                      </a:cubicBezTo>
                      <a:close/>
                      <a:moveTo>
                        <a:pt x="690" y="397"/>
                      </a:moveTo>
                      <a:cubicBezTo>
                        <a:pt x="694" y="398"/>
                        <a:pt x="696" y="402"/>
                        <a:pt x="697" y="406"/>
                      </a:cubicBezTo>
                      <a:cubicBezTo>
                        <a:pt x="697" y="408"/>
                        <a:pt x="694" y="408"/>
                        <a:pt x="693" y="407"/>
                      </a:cubicBezTo>
                      <a:cubicBezTo>
                        <a:pt x="691" y="407"/>
                        <a:pt x="689" y="404"/>
                        <a:pt x="689" y="402"/>
                      </a:cubicBezTo>
                      <a:cubicBezTo>
                        <a:pt x="689" y="400"/>
                        <a:pt x="688" y="397"/>
                        <a:pt x="690" y="397"/>
                      </a:cubicBezTo>
                      <a:close/>
                      <a:moveTo>
                        <a:pt x="690" y="432"/>
                      </a:moveTo>
                      <a:cubicBezTo>
                        <a:pt x="693" y="431"/>
                        <a:pt x="695" y="426"/>
                        <a:pt x="698" y="429"/>
                      </a:cubicBezTo>
                      <a:cubicBezTo>
                        <a:pt x="699" y="432"/>
                        <a:pt x="707" y="436"/>
                        <a:pt x="703" y="439"/>
                      </a:cubicBezTo>
                      <a:cubicBezTo>
                        <a:pt x="698" y="438"/>
                        <a:pt x="698" y="430"/>
                        <a:pt x="693" y="434"/>
                      </a:cubicBezTo>
                      <a:cubicBezTo>
                        <a:pt x="692" y="435"/>
                        <a:pt x="691" y="436"/>
                        <a:pt x="689" y="435"/>
                      </a:cubicBezTo>
                      <a:cubicBezTo>
                        <a:pt x="686" y="432"/>
                        <a:pt x="686" y="432"/>
                        <a:pt x="686" y="432"/>
                      </a:cubicBezTo>
                      <a:cubicBezTo>
                        <a:pt x="687" y="430"/>
                        <a:pt x="689" y="432"/>
                        <a:pt x="690" y="432"/>
                      </a:cubicBezTo>
                      <a:close/>
                      <a:moveTo>
                        <a:pt x="675" y="480"/>
                      </a:moveTo>
                      <a:cubicBezTo>
                        <a:pt x="677" y="481"/>
                        <a:pt x="680" y="482"/>
                        <a:pt x="680" y="485"/>
                      </a:cubicBezTo>
                      <a:cubicBezTo>
                        <a:pt x="680" y="487"/>
                        <a:pt x="679" y="488"/>
                        <a:pt x="678" y="487"/>
                      </a:cubicBezTo>
                      <a:cubicBezTo>
                        <a:pt x="674" y="487"/>
                        <a:pt x="672" y="484"/>
                        <a:pt x="670" y="482"/>
                      </a:cubicBezTo>
                      <a:cubicBezTo>
                        <a:pt x="670" y="479"/>
                        <a:pt x="674" y="480"/>
                        <a:pt x="675" y="480"/>
                      </a:cubicBezTo>
                      <a:close/>
                      <a:moveTo>
                        <a:pt x="662" y="508"/>
                      </a:moveTo>
                      <a:cubicBezTo>
                        <a:pt x="656" y="507"/>
                        <a:pt x="658" y="494"/>
                        <a:pt x="653" y="503"/>
                      </a:cubicBezTo>
                      <a:cubicBezTo>
                        <a:pt x="650" y="502"/>
                        <a:pt x="652" y="500"/>
                        <a:pt x="652" y="498"/>
                      </a:cubicBezTo>
                      <a:cubicBezTo>
                        <a:pt x="653" y="496"/>
                        <a:pt x="653" y="496"/>
                        <a:pt x="653" y="496"/>
                      </a:cubicBezTo>
                      <a:cubicBezTo>
                        <a:pt x="655" y="496"/>
                        <a:pt x="655" y="496"/>
                        <a:pt x="655" y="496"/>
                      </a:cubicBezTo>
                      <a:cubicBezTo>
                        <a:pt x="659" y="498"/>
                        <a:pt x="663" y="501"/>
                        <a:pt x="663" y="506"/>
                      </a:cubicBezTo>
                      <a:cubicBezTo>
                        <a:pt x="664" y="507"/>
                        <a:pt x="662" y="507"/>
                        <a:pt x="662" y="508"/>
                      </a:cubicBezTo>
                      <a:close/>
                      <a:moveTo>
                        <a:pt x="647" y="342"/>
                      </a:moveTo>
                      <a:cubicBezTo>
                        <a:pt x="650" y="340"/>
                        <a:pt x="654" y="339"/>
                        <a:pt x="656" y="337"/>
                      </a:cubicBezTo>
                      <a:cubicBezTo>
                        <a:pt x="657" y="337"/>
                        <a:pt x="658" y="335"/>
                        <a:pt x="660" y="335"/>
                      </a:cubicBezTo>
                      <a:cubicBezTo>
                        <a:pt x="661" y="337"/>
                        <a:pt x="665" y="341"/>
                        <a:pt x="660" y="342"/>
                      </a:cubicBezTo>
                      <a:cubicBezTo>
                        <a:pt x="656" y="343"/>
                        <a:pt x="654" y="347"/>
                        <a:pt x="649" y="345"/>
                      </a:cubicBezTo>
                      <a:cubicBezTo>
                        <a:pt x="648" y="344"/>
                        <a:pt x="646" y="343"/>
                        <a:pt x="647" y="342"/>
                      </a:cubicBezTo>
                      <a:close/>
                      <a:moveTo>
                        <a:pt x="648" y="359"/>
                      </a:moveTo>
                      <a:cubicBezTo>
                        <a:pt x="651" y="360"/>
                        <a:pt x="656" y="358"/>
                        <a:pt x="657" y="360"/>
                      </a:cubicBezTo>
                      <a:cubicBezTo>
                        <a:pt x="656" y="362"/>
                        <a:pt x="654" y="363"/>
                        <a:pt x="652" y="363"/>
                      </a:cubicBezTo>
                      <a:cubicBezTo>
                        <a:pt x="649" y="364"/>
                        <a:pt x="647" y="362"/>
                        <a:pt x="646" y="360"/>
                      </a:cubicBezTo>
                      <a:cubicBezTo>
                        <a:pt x="645" y="360"/>
                        <a:pt x="647" y="358"/>
                        <a:pt x="648" y="359"/>
                      </a:cubicBezTo>
                      <a:close/>
                      <a:moveTo>
                        <a:pt x="642" y="447"/>
                      </a:moveTo>
                      <a:cubicBezTo>
                        <a:pt x="644" y="447"/>
                        <a:pt x="643" y="451"/>
                        <a:pt x="646" y="449"/>
                      </a:cubicBezTo>
                      <a:cubicBezTo>
                        <a:pt x="646" y="455"/>
                        <a:pt x="654" y="450"/>
                        <a:pt x="651" y="455"/>
                      </a:cubicBezTo>
                      <a:cubicBezTo>
                        <a:pt x="649" y="457"/>
                        <a:pt x="647" y="458"/>
                        <a:pt x="645" y="457"/>
                      </a:cubicBezTo>
                      <a:cubicBezTo>
                        <a:pt x="642" y="454"/>
                        <a:pt x="639" y="449"/>
                        <a:pt x="642" y="447"/>
                      </a:cubicBezTo>
                      <a:close/>
                      <a:moveTo>
                        <a:pt x="646" y="489"/>
                      </a:moveTo>
                      <a:cubicBezTo>
                        <a:pt x="646" y="487"/>
                        <a:pt x="645" y="485"/>
                        <a:pt x="647" y="484"/>
                      </a:cubicBezTo>
                      <a:cubicBezTo>
                        <a:pt x="649" y="486"/>
                        <a:pt x="648" y="489"/>
                        <a:pt x="650" y="491"/>
                      </a:cubicBezTo>
                      <a:cubicBezTo>
                        <a:pt x="651" y="492"/>
                        <a:pt x="656" y="488"/>
                        <a:pt x="656" y="492"/>
                      </a:cubicBezTo>
                      <a:cubicBezTo>
                        <a:pt x="656" y="493"/>
                        <a:pt x="655" y="494"/>
                        <a:pt x="654" y="495"/>
                      </a:cubicBezTo>
                      <a:cubicBezTo>
                        <a:pt x="652" y="495"/>
                        <a:pt x="652" y="495"/>
                        <a:pt x="652" y="495"/>
                      </a:cubicBezTo>
                      <a:cubicBezTo>
                        <a:pt x="649" y="494"/>
                        <a:pt x="646" y="492"/>
                        <a:pt x="646" y="489"/>
                      </a:cubicBezTo>
                      <a:close/>
                      <a:moveTo>
                        <a:pt x="665" y="538"/>
                      </a:moveTo>
                      <a:cubicBezTo>
                        <a:pt x="663" y="540"/>
                        <a:pt x="659" y="541"/>
                        <a:pt x="656" y="540"/>
                      </a:cubicBezTo>
                      <a:cubicBezTo>
                        <a:pt x="653" y="537"/>
                        <a:pt x="646" y="536"/>
                        <a:pt x="650" y="530"/>
                      </a:cubicBezTo>
                      <a:cubicBezTo>
                        <a:pt x="652" y="529"/>
                        <a:pt x="652" y="529"/>
                        <a:pt x="652" y="529"/>
                      </a:cubicBezTo>
                      <a:cubicBezTo>
                        <a:pt x="654" y="530"/>
                        <a:pt x="656" y="529"/>
                        <a:pt x="657" y="531"/>
                      </a:cubicBezTo>
                      <a:cubicBezTo>
                        <a:pt x="660" y="530"/>
                        <a:pt x="661" y="525"/>
                        <a:pt x="664" y="526"/>
                      </a:cubicBezTo>
                      <a:cubicBezTo>
                        <a:pt x="665" y="530"/>
                        <a:pt x="667" y="534"/>
                        <a:pt x="665" y="538"/>
                      </a:cubicBezTo>
                      <a:close/>
                      <a:moveTo>
                        <a:pt x="670" y="531"/>
                      </a:moveTo>
                      <a:cubicBezTo>
                        <a:pt x="666" y="531"/>
                        <a:pt x="667" y="525"/>
                        <a:pt x="665" y="522"/>
                      </a:cubicBezTo>
                      <a:cubicBezTo>
                        <a:pt x="663" y="520"/>
                        <a:pt x="660" y="518"/>
                        <a:pt x="659" y="515"/>
                      </a:cubicBezTo>
                      <a:cubicBezTo>
                        <a:pt x="659" y="513"/>
                        <a:pt x="659" y="512"/>
                        <a:pt x="660" y="510"/>
                      </a:cubicBezTo>
                      <a:cubicBezTo>
                        <a:pt x="661" y="510"/>
                        <a:pt x="662" y="511"/>
                        <a:pt x="662" y="511"/>
                      </a:cubicBezTo>
                      <a:cubicBezTo>
                        <a:pt x="661" y="513"/>
                        <a:pt x="661" y="515"/>
                        <a:pt x="663" y="516"/>
                      </a:cubicBezTo>
                      <a:cubicBezTo>
                        <a:pt x="665" y="517"/>
                        <a:pt x="668" y="519"/>
                        <a:pt x="669" y="522"/>
                      </a:cubicBezTo>
                      <a:cubicBezTo>
                        <a:pt x="671" y="523"/>
                        <a:pt x="673" y="517"/>
                        <a:pt x="675" y="522"/>
                      </a:cubicBezTo>
                      <a:cubicBezTo>
                        <a:pt x="674" y="525"/>
                        <a:pt x="674" y="530"/>
                        <a:pt x="670" y="531"/>
                      </a:cubicBezTo>
                      <a:close/>
                      <a:moveTo>
                        <a:pt x="679" y="517"/>
                      </a:moveTo>
                      <a:cubicBezTo>
                        <a:pt x="675" y="517"/>
                        <a:pt x="674" y="512"/>
                        <a:pt x="673" y="509"/>
                      </a:cubicBezTo>
                      <a:cubicBezTo>
                        <a:pt x="673" y="508"/>
                        <a:pt x="674" y="507"/>
                        <a:pt x="675" y="507"/>
                      </a:cubicBezTo>
                      <a:cubicBezTo>
                        <a:pt x="678" y="508"/>
                        <a:pt x="674" y="513"/>
                        <a:pt x="678" y="515"/>
                      </a:cubicBezTo>
                      <a:cubicBezTo>
                        <a:pt x="682" y="514"/>
                        <a:pt x="677" y="511"/>
                        <a:pt x="678" y="508"/>
                      </a:cubicBezTo>
                      <a:cubicBezTo>
                        <a:pt x="679" y="507"/>
                        <a:pt x="675" y="505"/>
                        <a:pt x="678" y="504"/>
                      </a:cubicBezTo>
                      <a:cubicBezTo>
                        <a:pt x="682" y="505"/>
                        <a:pt x="679" y="511"/>
                        <a:pt x="682" y="513"/>
                      </a:cubicBezTo>
                      <a:cubicBezTo>
                        <a:pt x="681" y="515"/>
                        <a:pt x="681" y="518"/>
                        <a:pt x="679" y="517"/>
                      </a:cubicBezTo>
                      <a:close/>
                      <a:moveTo>
                        <a:pt x="718" y="568"/>
                      </a:moveTo>
                      <a:cubicBezTo>
                        <a:pt x="713" y="572"/>
                        <a:pt x="707" y="568"/>
                        <a:pt x="702" y="568"/>
                      </a:cubicBezTo>
                      <a:cubicBezTo>
                        <a:pt x="698" y="566"/>
                        <a:pt x="694" y="563"/>
                        <a:pt x="689" y="561"/>
                      </a:cubicBezTo>
                      <a:cubicBezTo>
                        <a:pt x="688" y="553"/>
                        <a:pt x="685" y="547"/>
                        <a:pt x="681" y="541"/>
                      </a:cubicBezTo>
                      <a:cubicBezTo>
                        <a:pt x="680" y="537"/>
                        <a:pt x="684" y="535"/>
                        <a:pt x="686" y="532"/>
                      </a:cubicBezTo>
                      <a:cubicBezTo>
                        <a:pt x="688" y="530"/>
                        <a:pt x="689" y="527"/>
                        <a:pt x="691" y="526"/>
                      </a:cubicBezTo>
                      <a:cubicBezTo>
                        <a:pt x="698" y="527"/>
                        <a:pt x="703" y="535"/>
                        <a:pt x="708" y="539"/>
                      </a:cubicBezTo>
                      <a:cubicBezTo>
                        <a:pt x="716" y="546"/>
                        <a:pt x="721" y="557"/>
                        <a:pt x="718" y="568"/>
                      </a:cubicBezTo>
                      <a:close/>
                      <a:moveTo>
                        <a:pt x="740" y="471"/>
                      </a:moveTo>
                      <a:cubicBezTo>
                        <a:pt x="744" y="471"/>
                        <a:pt x="746" y="476"/>
                        <a:pt x="748" y="479"/>
                      </a:cubicBezTo>
                      <a:cubicBezTo>
                        <a:pt x="748" y="481"/>
                        <a:pt x="747" y="483"/>
                        <a:pt x="745" y="483"/>
                      </a:cubicBezTo>
                      <a:cubicBezTo>
                        <a:pt x="742" y="484"/>
                        <a:pt x="739" y="481"/>
                        <a:pt x="738" y="478"/>
                      </a:cubicBezTo>
                      <a:cubicBezTo>
                        <a:pt x="736" y="476"/>
                        <a:pt x="736" y="470"/>
                        <a:pt x="740" y="471"/>
                      </a:cubicBezTo>
                      <a:close/>
                      <a:moveTo>
                        <a:pt x="729" y="485"/>
                      </a:moveTo>
                      <a:cubicBezTo>
                        <a:pt x="726" y="486"/>
                        <a:pt x="724" y="484"/>
                        <a:pt x="723" y="481"/>
                      </a:cubicBezTo>
                      <a:cubicBezTo>
                        <a:pt x="723" y="479"/>
                        <a:pt x="724" y="477"/>
                        <a:pt x="725" y="477"/>
                      </a:cubicBezTo>
                      <a:cubicBezTo>
                        <a:pt x="728" y="477"/>
                        <a:pt x="731" y="476"/>
                        <a:pt x="731" y="479"/>
                      </a:cubicBezTo>
                      <a:cubicBezTo>
                        <a:pt x="732" y="481"/>
                        <a:pt x="731" y="484"/>
                        <a:pt x="729" y="485"/>
                      </a:cubicBezTo>
                      <a:close/>
                      <a:moveTo>
                        <a:pt x="755" y="549"/>
                      </a:moveTo>
                      <a:cubicBezTo>
                        <a:pt x="749" y="549"/>
                        <a:pt x="754" y="544"/>
                        <a:pt x="751" y="542"/>
                      </a:cubicBezTo>
                      <a:cubicBezTo>
                        <a:pt x="750" y="533"/>
                        <a:pt x="737" y="531"/>
                        <a:pt x="735" y="522"/>
                      </a:cubicBezTo>
                      <a:cubicBezTo>
                        <a:pt x="737" y="521"/>
                        <a:pt x="737" y="521"/>
                        <a:pt x="737" y="521"/>
                      </a:cubicBezTo>
                      <a:cubicBezTo>
                        <a:pt x="735" y="519"/>
                        <a:pt x="731" y="516"/>
                        <a:pt x="733" y="513"/>
                      </a:cubicBezTo>
                      <a:cubicBezTo>
                        <a:pt x="736" y="512"/>
                        <a:pt x="736" y="515"/>
                        <a:pt x="738" y="514"/>
                      </a:cubicBezTo>
                      <a:cubicBezTo>
                        <a:pt x="740" y="511"/>
                        <a:pt x="735" y="505"/>
                        <a:pt x="740" y="504"/>
                      </a:cubicBezTo>
                      <a:cubicBezTo>
                        <a:pt x="742" y="508"/>
                        <a:pt x="742" y="513"/>
                        <a:pt x="747" y="515"/>
                      </a:cubicBezTo>
                      <a:cubicBezTo>
                        <a:pt x="749" y="513"/>
                        <a:pt x="752" y="510"/>
                        <a:pt x="749" y="508"/>
                      </a:cubicBezTo>
                      <a:cubicBezTo>
                        <a:pt x="745" y="504"/>
                        <a:pt x="739" y="502"/>
                        <a:pt x="738" y="496"/>
                      </a:cubicBezTo>
                      <a:cubicBezTo>
                        <a:pt x="743" y="494"/>
                        <a:pt x="744" y="500"/>
                        <a:pt x="747" y="502"/>
                      </a:cubicBezTo>
                      <a:cubicBezTo>
                        <a:pt x="761" y="508"/>
                        <a:pt x="751" y="525"/>
                        <a:pt x="762" y="533"/>
                      </a:cubicBezTo>
                      <a:cubicBezTo>
                        <a:pt x="763" y="539"/>
                        <a:pt x="760" y="545"/>
                        <a:pt x="755" y="549"/>
                      </a:cubicBezTo>
                      <a:close/>
                      <a:moveTo>
                        <a:pt x="795" y="614"/>
                      </a:moveTo>
                      <a:cubicBezTo>
                        <a:pt x="791" y="615"/>
                        <a:pt x="790" y="620"/>
                        <a:pt x="786" y="618"/>
                      </a:cubicBezTo>
                      <a:cubicBezTo>
                        <a:pt x="785" y="618"/>
                        <a:pt x="785" y="618"/>
                        <a:pt x="785" y="618"/>
                      </a:cubicBezTo>
                      <a:cubicBezTo>
                        <a:pt x="781" y="613"/>
                        <a:pt x="778" y="606"/>
                        <a:pt x="772" y="604"/>
                      </a:cubicBezTo>
                      <a:cubicBezTo>
                        <a:pt x="771" y="603"/>
                        <a:pt x="771" y="601"/>
                        <a:pt x="772" y="600"/>
                      </a:cubicBezTo>
                      <a:cubicBezTo>
                        <a:pt x="775" y="599"/>
                        <a:pt x="776" y="602"/>
                        <a:pt x="779" y="602"/>
                      </a:cubicBezTo>
                      <a:cubicBezTo>
                        <a:pt x="776" y="599"/>
                        <a:pt x="778" y="594"/>
                        <a:pt x="778" y="591"/>
                      </a:cubicBezTo>
                      <a:cubicBezTo>
                        <a:pt x="782" y="588"/>
                        <a:pt x="782" y="588"/>
                        <a:pt x="782" y="588"/>
                      </a:cubicBezTo>
                      <a:cubicBezTo>
                        <a:pt x="786" y="591"/>
                        <a:pt x="781" y="595"/>
                        <a:pt x="784" y="598"/>
                      </a:cubicBezTo>
                      <a:cubicBezTo>
                        <a:pt x="789" y="602"/>
                        <a:pt x="796" y="608"/>
                        <a:pt x="795" y="614"/>
                      </a:cubicBezTo>
                      <a:close/>
                      <a:moveTo>
                        <a:pt x="224" y="1203"/>
                      </a:moveTo>
                      <a:cubicBezTo>
                        <a:pt x="224" y="1205"/>
                        <a:pt x="224" y="1205"/>
                        <a:pt x="224" y="1205"/>
                      </a:cubicBezTo>
                      <a:cubicBezTo>
                        <a:pt x="224" y="1204"/>
                        <a:pt x="224" y="1204"/>
                        <a:pt x="224" y="1203"/>
                      </a:cubicBezTo>
                      <a:close/>
                      <a:moveTo>
                        <a:pt x="225" y="1209"/>
                      </a:moveTo>
                      <a:cubicBezTo>
                        <a:pt x="225" y="1213"/>
                        <a:pt x="225" y="1213"/>
                        <a:pt x="225" y="1213"/>
                      </a:cubicBezTo>
                      <a:cubicBezTo>
                        <a:pt x="225" y="1212"/>
                        <a:pt x="225" y="1211"/>
                        <a:pt x="225" y="1209"/>
                      </a:cubicBezTo>
                      <a:close/>
                      <a:moveTo>
                        <a:pt x="229" y="1244"/>
                      </a:moveTo>
                      <a:cubicBezTo>
                        <a:pt x="231" y="1256"/>
                        <a:pt x="231" y="1256"/>
                        <a:pt x="231" y="1256"/>
                      </a:cubicBezTo>
                      <a:cubicBezTo>
                        <a:pt x="230" y="1252"/>
                        <a:pt x="230" y="1248"/>
                        <a:pt x="229" y="1244"/>
                      </a:cubicBezTo>
                      <a:close/>
                      <a:moveTo>
                        <a:pt x="234" y="1284"/>
                      </a:moveTo>
                      <a:cubicBezTo>
                        <a:pt x="236" y="1302"/>
                        <a:pt x="236" y="1302"/>
                        <a:pt x="236" y="1302"/>
                      </a:cubicBezTo>
                      <a:cubicBezTo>
                        <a:pt x="236" y="1296"/>
                        <a:pt x="235" y="1290"/>
                        <a:pt x="234" y="1284"/>
                      </a:cubicBezTo>
                      <a:close/>
                      <a:moveTo>
                        <a:pt x="237" y="1308"/>
                      </a:moveTo>
                      <a:cubicBezTo>
                        <a:pt x="239" y="1325"/>
                        <a:pt x="239" y="1325"/>
                        <a:pt x="239" y="1325"/>
                      </a:cubicBezTo>
                      <a:cubicBezTo>
                        <a:pt x="238" y="1319"/>
                        <a:pt x="238" y="1314"/>
                        <a:pt x="237" y="1308"/>
                      </a:cubicBezTo>
                      <a:close/>
                      <a:moveTo>
                        <a:pt x="355" y="1316"/>
                      </a:moveTo>
                      <a:cubicBezTo>
                        <a:pt x="358" y="1309"/>
                        <a:pt x="358" y="1309"/>
                        <a:pt x="358" y="1309"/>
                      </a:cubicBezTo>
                      <a:cubicBezTo>
                        <a:pt x="357" y="1312"/>
                        <a:pt x="356" y="1314"/>
                        <a:pt x="355" y="1316"/>
                      </a:cubicBezTo>
                      <a:close/>
                      <a:moveTo>
                        <a:pt x="364" y="1289"/>
                      </a:moveTo>
                      <a:cubicBezTo>
                        <a:pt x="368" y="1277"/>
                        <a:pt x="368" y="1277"/>
                        <a:pt x="368" y="1277"/>
                      </a:cubicBezTo>
                      <a:cubicBezTo>
                        <a:pt x="367" y="1282"/>
                        <a:pt x="365" y="1286"/>
                        <a:pt x="364" y="1289"/>
                      </a:cubicBezTo>
                      <a:close/>
                      <a:moveTo>
                        <a:pt x="382" y="1277"/>
                      </a:moveTo>
                      <a:cubicBezTo>
                        <a:pt x="382" y="1277"/>
                        <a:pt x="382" y="1277"/>
                        <a:pt x="382" y="1277"/>
                      </a:cubicBezTo>
                      <a:cubicBezTo>
                        <a:pt x="382" y="1277"/>
                        <a:pt x="382" y="1277"/>
                        <a:pt x="382" y="1277"/>
                      </a:cubicBezTo>
                      <a:close/>
                      <a:moveTo>
                        <a:pt x="435" y="1172"/>
                      </a:moveTo>
                      <a:cubicBezTo>
                        <a:pt x="428" y="1181"/>
                        <a:pt x="428" y="1181"/>
                        <a:pt x="428" y="1181"/>
                      </a:cubicBezTo>
                      <a:cubicBezTo>
                        <a:pt x="427" y="1177"/>
                        <a:pt x="427" y="1177"/>
                        <a:pt x="427" y="1177"/>
                      </a:cubicBezTo>
                      <a:cubicBezTo>
                        <a:pt x="435" y="1168"/>
                        <a:pt x="435" y="1168"/>
                        <a:pt x="435" y="1168"/>
                      </a:cubicBezTo>
                      <a:lnTo>
                        <a:pt x="435" y="1172"/>
                      </a:lnTo>
                      <a:close/>
                      <a:moveTo>
                        <a:pt x="432" y="1148"/>
                      </a:moveTo>
                      <a:cubicBezTo>
                        <a:pt x="433" y="1144"/>
                        <a:pt x="433" y="1144"/>
                        <a:pt x="433" y="1144"/>
                      </a:cubicBezTo>
                      <a:cubicBezTo>
                        <a:pt x="433" y="1146"/>
                        <a:pt x="433" y="1146"/>
                        <a:pt x="433" y="1146"/>
                      </a:cubicBezTo>
                      <a:cubicBezTo>
                        <a:pt x="433" y="1149"/>
                        <a:pt x="433" y="1149"/>
                        <a:pt x="433" y="1149"/>
                      </a:cubicBezTo>
                      <a:lnTo>
                        <a:pt x="432" y="1148"/>
                      </a:lnTo>
                      <a:close/>
                      <a:moveTo>
                        <a:pt x="439" y="1119"/>
                      </a:moveTo>
                      <a:cubicBezTo>
                        <a:pt x="432" y="1124"/>
                        <a:pt x="432" y="1124"/>
                        <a:pt x="432" y="1124"/>
                      </a:cubicBezTo>
                      <a:cubicBezTo>
                        <a:pt x="429" y="1124"/>
                        <a:pt x="429" y="1124"/>
                        <a:pt x="429" y="1124"/>
                      </a:cubicBezTo>
                      <a:cubicBezTo>
                        <a:pt x="428" y="1120"/>
                        <a:pt x="428" y="1120"/>
                        <a:pt x="428" y="1120"/>
                      </a:cubicBezTo>
                      <a:cubicBezTo>
                        <a:pt x="432" y="1120"/>
                        <a:pt x="432" y="1120"/>
                        <a:pt x="432" y="1120"/>
                      </a:cubicBezTo>
                      <a:cubicBezTo>
                        <a:pt x="439" y="1115"/>
                        <a:pt x="439" y="1115"/>
                        <a:pt x="439" y="1115"/>
                      </a:cubicBezTo>
                      <a:lnTo>
                        <a:pt x="439" y="1119"/>
                      </a:lnTo>
                      <a:close/>
                      <a:moveTo>
                        <a:pt x="448" y="1103"/>
                      </a:moveTo>
                      <a:cubicBezTo>
                        <a:pt x="439" y="1104"/>
                        <a:pt x="439" y="1104"/>
                        <a:pt x="439" y="1104"/>
                      </a:cubicBezTo>
                      <a:cubicBezTo>
                        <a:pt x="439" y="1100"/>
                        <a:pt x="439" y="1100"/>
                        <a:pt x="439" y="1100"/>
                      </a:cubicBezTo>
                      <a:cubicBezTo>
                        <a:pt x="448" y="1099"/>
                        <a:pt x="448" y="1099"/>
                        <a:pt x="448" y="1099"/>
                      </a:cubicBezTo>
                      <a:cubicBezTo>
                        <a:pt x="454" y="1094"/>
                        <a:pt x="454" y="1094"/>
                        <a:pt x="454" y="1094"/>
                      </a:cubicBezTo>
                      <a:cubicBezTo>
                        <a:pt x="454" y="1098"/>
                        <a:pt x="454" y="1098"/>
                        <a:pt x="454" y="1098"/>
                      </a:cubicBezTo>
                      <a:lnTo>
                        <a:pt x="448" y="1103"/>
                      </a:lnTo>
                      <a:close/>
                      <a:moveTo>
                        <a:pt x="486" y="1359"/>
                      </a:moveTo>
                      <a:cubicBezTo>
                        <a:pt x="486" y="1359"/>
                        <a:pt x="485" y="1360"/>
                        <a:pt x="485" y="1361"/>
                      </a:cubicBezTo>
                      <a:cubicBezTo>
                        <a:pt x="483" y="1362"/>
                        <a:pt x="486" y="1366"/>
                        <a:pt x="483" y="1365"/>
                      </a:cubicBezTo>
                      <a:cubicBezTo>
                        <a:pt x="482" y="1365"/>
                        <a:pt x="482" y="1365"/>
                        <a:pt x="482" y="1365"/>
                      </a:cubicBezTo>
                      <a:cubicBezTo>
                        <a:pt x="479" y="1361"/>
                        <a:pt x="476" y="1356"/>
                        <a:pt x="474" y="1351"/>
                      </a:cubicBezTo>
                      <a:cubicBezTo>
                        <a:pt x="473" y="1350"/>
                        <a:pt x="471" y="1348"/>
                        <a:pt x="470" y="1346"/>
                      </a:cubicBezTo>
                      <a:cubicBezTo>
                        <a:pt x="472" y="1343"/>
                        <a:pt x="475" y="1341"/>
                        <a:pt x="476" y="1338"/>
                      </a:cubicBezTo>
                      <a:cubicBezTo>
                        <a:pt x="478" y="1337"/>
                        <a:pt x="480" y="1338"/>
                        <a:pt x="482" y="1339"/>
                      </a:cubicBezTo>
                      <a:cubicBezTo>
                        <a:pt x="483" y="1339"/>
                        <a:pt x="484" y="1340"/>
                        <a:pt x="485" y="1341"/>
                      </a:cubicBezTo>
                      <a:cubicBezTo>
                        <a:pt x="487" y="1343"/>
                        <a:pt x="485" y="1347"/>
                        <a:pt x="488" y="1350"/>
                      </a:cubicBezTo>
                      <a:cubicBezTo>
                        <a:pt x="492" y="1349"/>
                        <a:pt x="498" y="1349"/>
                        <a:pt x="498" y="1354"/>
                      </a:cubicBezTo>
                      <a:cubicBezTo>
                        <a:pt x="498" y="1357"/>
                        <a:pt x="496" y="1358"/>
                        <a:pt x="494" y="1359"/>
                      </a:cubicBezTo>
                      <a:cubicBezTo>
                        <a:pt x="494" y="1359"/>
                        <a:pt x="494" y="1359"/>
                        <a:pt x="493" y="1359"/>
                      </a:cubicBezTo>
                      <a:cubicBezTo>
                        <a:pt x="491" y="1359"/>
                        <a:pt x="488" y="1358"/>
                        <a:pt x="486" y="1359"/>
                      </a:cubicBezTo>
                      <a:close/>
                      <a:moveTo>
                        <a:pt x="509" y="1740"/>
                      </a:moveTo>
                      <a:cubicBezTo>
                        <a:pt x="514" y="1741"/>
                        <a:pt x="514" y="1741"/>
                        <a:pt x="514" y="1741"/>
                      </a:cubicBezTo>
                      <a:cubicBezTo>
                        <a:pt x="512" y="1741"/>
                        <a:pt x="511" y="1740"/>
                        <a:pt x="509" y="1740"/>
                      </a:cubicBezTo>
                      <a:close/>
                      <a:moveTo>
                        <a:pt x="523" y="1425"/>
                      </a:moveTo>
                      <a:cubicBezTo>
                        <a:pt x="516" y="1427"/>
                        <a:pt x="516" y="1427"/>
                        <a:pt x="516" y="1427"/>
                      </a:cubicBezTo>
                      <a:cubicBezTo>
                        <a:pt x="518" y="1426"/>
                        <a:pt x="521" y="1426"/>
                        <a:pt x="523" y="1425"/>
                      </a:cubicBezTo>
                      <a:close/>
                      <a:moveTo>
                        <a:pt x="530" y="1526"/>
                      </a:moveTo>
                      <a:cubicBezTo>
                        <a:pt x="529" y="1528"/>
                        <a:pt x="528" y="1530"/>
                        <a:pt x="528" y="1532"/>
                      </a:cubicBezTo>
                      <a:lnTo>
                        <a:pt x="530" y="1526"/>
                      </a:lnTo>
                      <a:close/>
                      <a:moveTo>
                        <a:pt x="543" y="1422"/>
                      </a:moveTo>
                      <a:cubicBezTo>
                        <a:pt x="543" y="1422"/>
                        <a:pt x="543" y="1422"/>
                        <a:pt x="543" y="1422"/>
                      </a:cubicBezTo>
                      <a:close/>
                      <a:moveTo>
                        <a:pt x="626" y="1154"/>
                      </a:moveTo>
                      <a:cubicBezTo>
                        <a:pt x="620" y="1128"/>
                        <a:pt x="620" y="1128"/>
                        <a:pt x="620" y="1128"/>
                      </a:cubicBezTo>
                      <a:cubicBezTo>
                        <a:pt x="621" y="1128"/>
                        <a:pt x="621" y="1128"/>
                        <a:pt x="621" y="1128"/>
                      </a:cubicBezTo>
                      <a:cubicBezTo>
                        <a:pt x="626" y="1150"/>
                        <a:pt x="626" y="1150"/>
                        <a:pt x="626" y="1150"/>
                      </a:cubicBezTo>
                      <a:lnTo>
                        <a:pt x="626" y="1154"/>
                      </a:lnTo>
                      <a:close/>
                      <a:moveTo>
                        <a:pt x="763" y="1466"/>
                      </a:moveTo>
                      <a:cubicBezTo>
                        <a:pt x="768" y="1467"/>
                        <a:pt x="765" y="1473"/>
                        <a:pt x="766" y="1476"/>
                      </a:cubicBezTo>
                      <a:cubicBezTo>
                        <a:pt x="764" y="1484"/>
                        <a:pt x="774" y="1486"/>
                        <a:pt x="774" y="1493"/>
                      </a:cubicBezTo>
                      <a:cubicBezTo>
                        <a:pt x="770" y="1493"/>
                        <a:pt x="765" y="1490"/>
                        <a:pt x="763" y="1486"/>
                      </a:cubicBezTo>
                      <a:cubicBezTo>
                        <a:pt x="763" y="1479"/>
                        <a:pt x="757" y="1472"/>
                        <a:pt x="763" y="1466"/>
                      </a:cubicBezTo>
                      <a:close/>
                      <a:moveTo>
                        <a:pt x="688" y="1498"/>
                      </a:moveTo>
                      <a:cubicBezTo>
                        <a:pt x="690" y="1496"/>
                        <a:pt x="692" y="1496"/>
                        <a:pt x="694" y="1495"/>
                      </a:cubicBezTo>
                      <a:cubicBezTo>
                        <a:pt x="698" y="1495"/>
                        <a:pt x="698" y="1495"/>
                        <a:pt x="698" y="1495"/>
                      </a:cubicBezTo>
                      <a:cubicBezTo>
                        <a:pt x="698" y="1496"/>
                        <a:pt x="698" y="1496"/>
                        <a:pt x="699" y="1496"/>
                      </a:cubicBezTo>
                      <a:cubicBezTo>
                        <a:pt x="700" y="1497"/>
                        <a:pt x="701" y="1499"/>
                        <a:pt x="700" y="1501"/>
                      </a:cubicBezTo>
                      <a:cubicBezTo>
                        <a:pt x="700" y="1502"/>
                        <a:pt x="700" y="1502"/>
                        <a:pt x="700" y="1502"/>
                      </a:cubicBezTo>
                      <a:cubicBezTo>
                        <a:pt x="692" y="1508"/>
                        <a:pt x="686" y="1517"/>
                        <a:pt x="682" y="1527"/>
                      </a:cubicBezTo>
                      <a:cubicBezTo>
                        <a:pt x="682" y="1529"/>
                        <a:pt x="679" y="1528"/>
                        <a:pt x="678" y="1530"/>
                      </a:cubicBezTo>
                      <a:cubicBezTo>
                        <a:pt x="677" y="1530"/>
                        <a:pt x="677" y="1529"/>
                        <a:pt x="677" y="1529"/>
                      </a:cubicBezTo>
                      <a:cubicBezTo>
                        <a:pt x="675" y="1529"/>
                        <a:pt x="674" y="1527"/>
                        <a:pt x="673" y="1525"/>
                      </a:cubicBezTo>
                      <a:cubicBezTo>
                        <a:pt x="676" y="1514"/>
                        <a:pt x="686" y="1508"/>
                        <a:pt x="688" y="1498"/>
                      </a:cubicBezTo>
                      <a:close/>
                      <a:moveTo>
                        <a:pt x="668" y="1642"/>
                      </a:moveTo>
                      <a:cubicBezTo>
                        <a:pt x="665" y="1639"/>
                        <a:pt x="668" y="1637"/>
                        <a:pt x="669" y="1634"/>
                      </a:cubicBezTo>
                      <a:cubicBezTo>
                        <a:pt x="673" y="1630"/>
                        <a:pt x="673" y="1630"/>
                        <a:pt x="673" y="1630"/>
                      </a:cubicBezTo>
                      <a:cubicBezTo>
                        <a:pt x="674" y="1630"/>
                        <a:pt x="675" y="1631"/>
                        <a:pt x="676" y="1631"/>
                      </a:cubicBezTo>
                      <a:cubicBezTo>
                        <a:pt x="677" y="1632"/>
                        <a:pt x="677" y="1632"/>
                        <a:pt x="677" y="1634"/>
                      </a:cubicBezTo>
                      <a:cubicBezTo>
                        <a:pt x="674" y="1636"/>
                        <a:pt x="673" y="1644"/>
                        <a:pt x="668" y="1642"/>
                      </a:cubicBezTo>
                      <a:close/>
                      <a:moveTo>
                        <a:pt x="677" y="1566"/>
                      </a:moveTo>
                      <a:cubicBezTo>
                        <a:pt x="677" y="1564"/>
                        <a:pt x="679" y="1565"/>
                        <a:pt x="680" y="1565"/>
                      </a:cubicBezTo>
                      <a:cubicBezTo>
                        <a:pt x="683" y="1568"/>
                        <a:pt x="683" y="1571"/>
                        <a:pt x="683" y="1574"/>
                      </a:cubicBezTo>
                      <a:cubicBezTo>
                        <a:pt x="683" y="1578"/>
                        <a:pt x="683" y="1578"/>
                        <a:pt x="683" y="1578"/>
                      </a:cubicBezTo>
                      <a:cubicBezTo>
                        <a:pt x="689" y="1584"/>
                        <a:pt x="687" y="1593"/>
                        <a:pt x="689" y="1601"/>
                      </a:cubicBezTo>
                      <a:cubicBezTo>
                        <a:pt x="697" y="1606"/>
                        <a:pt x="696" y="1617"/>
                        <a:pt x="700" y="1625"/>
                      </a:cubicBezTo>
                      <a:cubicBezTo>
                        <a:pt x="700" y="1629"/>
                        <a:pt x="700" y="1629"/>
                        <a:pt x="700" y="1629"/>
                      </a:cubicBezTo>
                      <a:cubicBezTo>
                        <a:pt x="700" y="1631"/>
                        <a:pt x="700" y="1633"/>
                        <a:pt x="698" y="1633"/>
                      </a:cubicBezTo>
                      <a:cubicBezTo>
                        <a:pt x="694" y="1631"/>
                        <a:pt x="692" y="1629"/>
                        <a:pt x="690" y="1626"/>
                      </a:cubicBezTo>
                      <a:cubicBezTo>
                        <a:pt x="688" y="1622"/>
                        <a:pt x="686" y="1617"/>
                        <a:pt x="682" y="1614"/>
                      </a:cubicBezTo>
                      <a:cubicBezTo>
                        <a:pt x="680" y="1611"/>
                        <a:pt x="680" y="1606"/>
                        <a:pt x="677" y="1603"/>
                      </a:cubicBezTo>
                      <a:cubicBezTo>
                        <a:pt x="673" y="1591"/>
                        <a:pt x="675" y="1579"/>
                        <a:pt x="677" y="1566"/>
                      </a:cubicBezTo>
                      <a:close/>
                      <a:moveTo>
                        <a:pt x="682" y="1668"/>
                      </a:moveTo>
                      <a:cubicBezTo>
                        <a:pt x="682" y="1666"/>
                        <a:pt x="680" y="1661"/>
                        <a:pt x="684" y="1660"/>
                      </a:cubicBezTo>
                      <a:cubicBezTo>
                        <a:pt x="687" y="1660"/>
                        <a:pt x="688" y="1664"/>
                        <a:pt x="689" y="1666"/>
                      </a:cubicBezTo>
                      <a:cubicBezTo>
                        <a:pt x="689" y="1668"/>
                        <a:pt x="688" y="1670"/>
                        <a:pt x="686" y="1671"/>
                      </a:cubicBezTo>
                      <a:cubicBezTo>
                        <a:pt x="684" y="1672"/>
                        <a:pt x="683" y="1670"/>
                        <a:pt x="682" y="1668"/>
                      </a:cubicBezTo>
                      <a:close/>
                      <a:moveTo>
                        <a:pt x="706" y="1728"/>
                      </a:moveTo>
                      <a:cubicBezTo>
                        <a:pt x="699" y="1727"/>
                        <a:pt x="691" y="1727"/>
                        <a:pt x="686" y="1726"/>
                      </a:cubicBezTo>
                      <a:cubicBezTo>
                        <a:pt x="685" y="1723"/>
                        <a:pt x="688" y="1724"/>
                        <a:pt x="689" y="1723"/>
                      </a:cubicBezTo>
                      <a:cubicBezTo>
                        <a:pt x="691" y="1723"/>
                        <a:pt x="691" y="1723"/>
                        <a:pt x="691" y="1723"/>
                      </a:cubicBezTo>
                      <a:cubicBezTo>
                        <a:pt x="692" y="1723"/>
                        <a:pt x="692" y="1723"/>
                        <a:pt x="692" y="1723"/>
                      </a:cubicBezTo>
                      <a:cubicBezTo>
                        <a:pt x="710" y="1723"/>
                        <a:pt x="710" y="1723"/>
                        <a:pt x="710" y="1723"/>
                      </a:cubicBezTo>
                      <a:cubicBezTo>
                        <a:pt x="711" y="1723"/>
                        <a:pt x="712" y="1724"/>
                        <a:pt x="712" y="1725"/>
                      </a:cubicBezTo>
                      <a:cubicBezTo>
                        <a:pt x="711" y="1727"/>
                        <a:pt x="708" y="1727"/>
                        <a:pt x="706" y="1728"/>
                      </a:cubicBezTo>
                      <a:close/>
                      <a:moveTo>
                        <a:pt x="723" y="1630"/>
                      </a:moveTo>
                      <a:cubicBezTo>
                        <a:pt x="718" y="1628"/>
                        <a:pt x="713" y="1626"/>
                        <a:pt x="710" y="1623"/>
                      </a:cubicBezTo>
                      <a:cubicBezTo>
                        <a:pt x="710" y="1621"/>
                        <a:pt x="710" y="1619"/>
                        <a:pt x="711" y="1619"/>
                      </a:cubicBezTo>
                      <a:cubicBezTo>
                        <a:pt x="717" y="1621"/>
                        <a:pt x="721" y="1624"/>
                        <a:pt x="725" y="1628"/>
                      </a:cubicBezTo>
                      <a:cubicBezTo>
                        <a:pt x="726" y="1630"/>
                        <a:pt x="724" y="1630"/>
                        <a:pt x="723" y="1630"/>
                      </a:cubicBezTo>
                      <a:close/>
                      <a:moveTo>
                        <a:pt x="750" y="1669"/>
                      </a:moveTo>
                      <a:cubicBezTo>
                        <a:pt x="750" y="1673"/>
                        <a:pt x="750" y="1678"/>
                        <a:pt x="747" y="1682"/>
                      </a:cubicBezTo>
                      <a:cubicBezTo>
                        <a:pt x="748" y="1686"/>
                        <a:pt x="752" y="1688"/>
                        <a:pt x="753" y="1691"/>
                      </a:cubicBezTo>
                      <a:cubicBezTo>
                        <a:pt x="752" y="1697"/>
                        <a:pt x="760" y="1705"/>
                        <a:pt x="754" y="1709"/>
                      </a:cubicBezTo>
                      <a:cubicBezTo>
                        <a:pt x="754" y="1710"/>
                        <a:pt x="753" y="1710"/>
                        <a:pt x="752" y="1710"/>
                      </a:cubicBezTo>
                      <a:cubicBezTo>
                        <a:pt x="747" y="1708"/>
                        <a:pt x="744" y="1701"/>
                        <a:pt x="743" y="1695"/>
                      </a:cubicBezTo>
                      <a:cubicBezTo>
                        <a:pt x="740" y="1693"/>
                        <a:pt x="738" y="1690"/>
                        <a:pt x="737" y="1686"/>
                      </a:cubicBezTo>
                      <a:cubicBezTo>
                        <a:pt x="736" y="1681"/>
                        <a:pt x="740" y="1676"/>
                        <a:pt x="741" y="1671"/>
                      </a:cubicBezTo>
                      <a:cubicBezTo>
                        <a:pt x="741" y="1663"/>
                        <a:pt x="734" y="1656"/>
                        <a:pt x="737" y="1648"/>
                      </a:cubicBezTo>
                      <a:cubicBezTo>
                        <a:pt x="739" y="1647"/>
                        <a:pt x="739" y="1647"/>
                        <a:pt x="739" y="1647"/>
                      </a:cubicBezTo>
                      <a:cubicBezTo>
                        <a:pt x="742" y="1646"/>
                        <a:pt x="742" y="1646"/>
                        <a:pt x="742" y="1646"/>
                      </a:cubicBezTo>
                      <a:cubicBezTo>
                        <a:pt x="745" y="1648"/>
                        <a:pt x="746" y="1651"/>
                        <a:pt x="746" y="1654"/>
                      </a:cubicBezTo>
                      <a:cubicBezTo>
                        <a:pt x="748" y="1658"/>
                        <a:pt x="750" y="1664"/>
                        <a:pt x="750" y="1669"/>
                      </a:cubicBezTo>
                      <a:close/>
                      <a:moveTo>
                        <a:pt x="722" y="1503"/>
                      </a:moveTo>
                      <a:cubicBezTo>
                        <a:pt x="724" y="1502"/>
                        <a:pt x="725" y="1501"/>
                        <a:pt x="728" y="1502"/>
                      </a:cubicBezTo>
                      <a:cubicBezTo>
                        <a:pt x="729" y="1503"/>
                        <a:pt x="728" y="1505"/>
                        <a:pt x="728" y="1506"/>
                      </a:cubicBezTo>
                      <a:cubicBezTo>
                        <a:pt x="725" y="1506"/>
                        <a:pt x="725" y="1506"/>
                        <a:pt x="725" y="1506"/>
                      </a:cubicBezTo>
                      <a:cubicBezTo>
                        <a:pt x="722" y="1507"/>
                        <a:pt x="719" y="1508"/>
                        <a:pt x="718" y="1505"/>
                      </a:cubicBezTo>
                      <a:cubicBezTo>
                        <a:pt x="719" y="1504"/>
                        <a:pt x="721" y="1504"/>
                        <a:pt x="722" y="1503"/>
                      </a:cubicBezTo>
                      <a:close/>
                      <a:moveTo>
                        <a:pt x="719" y="1520"/>
                      </a:moveTo>
                      <a:cubicBezTo>
                        <a:pt x="721" y="1517"/>
                        <a:pt x="724" y="1517"/>
                        <a:pt x="727" y="1518"/>
                      </a:cubicBezTo>
                      <a:cubicBezTo>
                        <a:pt x="729" y="1518"/>
                        <a:pt x="731" y="1519"/>
                        <a:pt x="734" y="1520"/>
                      </a:cubicBezTo>
                      <a:cubicBezTo>
                        <a:pt x="737" y="1520"/>
                        <a:pt x="737" y="1520"/>
                        <a:pt x="737" y="1520"/>
                      </a:cubicBezTo>
                      <a:cubicBezTo>
                        <a:pt x="741" y="1521"/>
                        <a:pt x="746" y="1522"/>
                        <a:pt x="747" y="1526"/>
                      </a:cubicBezTo>
                      <a:cubicBezTo>
                        <a:pt x="747" y="1531"/>
                        <a:pt x="742" y="1529"/>
                        <a:pt x="741" y="1530"/>
                      </a:cubicBezTo>
                      <a:cubicBezTo>
                        <a:pt x="739" y="1531"/>
                        <a:pt x="738" y="1533"/>
                        <a:pt x="738" y="1535"/>
                      </a:cubicBezTo>
                      <a:cubicBezTo>
                        <a:pt x="736" y="1539"/>
                        <a:pt x="737" y="1543"/>
                        <a:pt x="732" y="1546"/>
                      </a:cubicBezTo>
                      <a:cubicBezTo>
                        <a:pt x="731" y="1549"/>
                        <a:pt x="736" y="1552"/>
                        <a:pt x="732" y="1554"/>
                      </a:cubicBezTo>
                      <a:cubicBezTo>
                        <a:pt x="731" y="1555"/>
                        <a:pt x="729" y="1557"/>
                        <a:pt x="727" y="1557"/>
                      </a:cubicBezTo>
                      <a:cubicBezTo>
                        <a:pt x="725" y="1558"/>
                        <a:pt x="723" y="1563"/>
                        <a:pt x="721" y="1560"/>
                      </a:cubicBezTo>
                      <a:cubicBezTo>
                        <a:pt x="720" y="1557"/>
                        <a:pt x="719" y="1553"/>
                        <a:pt x="715" y="1554"/>
                      </a:cubicBezTo>
                      <a:cubicBezTo>
                        <a:pt x="713" y="1554"/>
                        <a:pt x="711" y="1559"/>
                        <a:pt x="708" y="1556"/>
                      </a:cubicBezTo>
                      <a:cubicBezTo>
                        <a:pt x="709" y="1548"/>
                        <a:pt x="697" y="1541"/>
                        <a:pt x="705" y="1534"/>
                      </a:cubicBezTo>
                      <a:cubicBezTo>
                        <a:pt x="706" y="1533"/>
                        <a:pt x="706" y="1532"/>
                        <a:pt x="706" y="1531"/>
                      </a:cubicBezTo>
                      <a:cubicBezTo>
                        <a:pt x="707" y="1527"/>
                        <a:pt x="708" y="1523"/>
                        <a:pt x="711" y="1520"/>
                      </a:cubicBezTo>
                      <a:cubicBezTo>
                        <a:pt x="714" y="1519"/>
                        <a:pt x="717" y="1522"/>
                        <a:pt x="719" y="1520"/>
                      </a:cubicBezTo>
                      <a:close/>
                      <a:moveTo>
                        <a:pt x="996" y="957"/>
                      </a:moveTo>
                      <a:cubicBezTo>
                        <a:pt x="990" y="961"/>
                        <a:pt x="982" y="964"/>
                        <a:pt x="975" y="962"/>
                      </a:cubicBezTo>
                      <a:cubicBezTo>
                        <a:pt x="972" y="962"/>
                        <a:pt x="972" y="966"/>
                        <a:pt x="972" y="969"/>
                      </a:cubicBezTo>
                      <a:cubicBezTo>
                        <a:pt x="974" y="973"/>
                        <a:pt x="978" y="966"/>
                        <a:pt x="980" y="970"/>
                      </a:cubicBezTo>
                      <a:cubicBezTo>
                        <a:pt x="982" y="973"/>
                        <a:pt x="984" y="976"/>
                        <a:pt x="982" y="978"/>
                      </a:cubicBezTo>
                      <a:cubicBezTo>
                        <a:pt x="980" y="979"/>
                        <a:pt x="978" y="978"/>
                        <a:pt x="978" y="980"/>
                      </a:cubicBezTo>
                      <a:cubicBezTo>
                        <a:pt x="980" y="983"/>
                        <a:pt x="985" y="984"/>
                        <a:pt x="987" y="988"/>
                      </a:cubicBezTo>
                      <a:cubicBezTo>
                        <a:pt x="987" y="1013"/>
                        <a:pt x="987" y="1013"/>
                        <a:pt x="987" y="1013"/>
                      </a:cubicBezTo>
                      <a:cubicBezTo>
                        <a:pt x="987" y="1021"/>
                        <a:pt x="987" y="1021"/>
                        <a:pt x="987" y="1021"/>
                      </a:cubicBezTo>
                      <a:cubicBezTo>
                        <a:pt x="985" y="1027"/>
                        <a:pt x="976" y="1024"/>
                        <a:pt x="971" y="1025"/>
                      </a:cubicBezTo>
                      <a:cubicBezTo>
                        <a:pt x="964" y="1028"/>
                        <a:pt x="956" y="1029"/>
                        <a:pt x="949" y="1028"/>
                      </a:cubicBezTo>
                      <a:cubicBezTo>
                        <a:pt x="944" y="1024"/>
                        <a:pt x="935" y="1021"/>
                        <a:pt x="936" y="1013"/>
                      </a:cubicBezTo>
                      <a:cubicBezTo>
                        <a:pt x="929" y="1012"/>
                        <a:pt x="922" y="1009"/>
                        <a:pt x="919" y="1002"/>
                      </a:cubicBezTo>
                      <a:cubicBezTo>
                        <a:pt x="920" y="996"/>
                        <a:pt x="915" y="989"/>
                        <a:pt x="921" y="984"/>
                      </a:cubicBezTo>
                      <a:cubicBezTo>
                        <a:pt x="922" y="983"/>
                        <a:pt x="934" y="973"/>
                        <a:pt x="935" y="971"/>
                      </a:cubicBezTo>
                      <a:cubicBezTo>
                        <a:pt x="936" y="963"/>
                        <a:pt x="934" y="962"/>
                        <a:pt x="928" y="956"/>
                      </a:cubicBezTo>
                      <a:cubicBezTo>
                        <a:pt x="928" y="949"/>
                        <a:pt x="920" y="945"/>
                        <a:pt x="915" y="940"/>
                      </a:cubicBezTo>
                      <a:cubicBezTo>
                        <a:pt x="913" y="938"/>
                        <a:pt x="912" y="936"/>
                        <a:pt x="911" y="934"/>
                      </a:cubicBezTo>
                      <a:cubicBezTo>
                        <a:pt x="903" y="926"/>
                        <a:pt x="903" y="917"/>
                        <a:pt x="903" y="907"/>
                      </a:cubicBezTo>
                      <a:cubicBezTo>
                        <a:pt x="898" y="902"/>
                        <a:pt x="893" y="897"/>
                        <a:pt x="893" y="890"/>
                      </a:cubicBezTo>
                      <a:cubicBezTo>
                        <a:pt x="897" y="888"/>
                        <a:pt x="897" y="888"/>
                        <a:pt x="897" y="888"/>
                      </a:cubicBezTo>
                      <a:cubicBezTo>
                        <a:pt x="898" y="883"/>
                        <a:pt x="901" y="879"/>
                        <a:pt x="903" y="874"/>
                      </a:cubicBezTo>
                      <a:cubicBezTo>
                        <a:pt x="911" y="874"/>
                        <a:pt x="916" y="868"/>
                        <a:pt x="921" y="864"/>
                      </a:cubicBezTo>
                      <a:cubicBezTo>
                        <a:pt x="923" y="864"/>
                        <a:pt x="923" y="863"/>
                        <a:pt x="925" y="862"/>
                      </a:cubicBezTo>
                      <a:cubicBezTo>
                        <a:pt x="931" y="861"/>
                        <a:pt x="934" y="860"/>
                        <a:pt x="941" y="857"/>
                      </a:cubicBezTo>
                      <a:cubicBezTo>
                        <a:pt x="947" y="858"/>
                        <a:pt x="942" y="847"/>
                        <a:pt x="958" y="849"/>
                      </a:cubicBezTo>
                      <a:cubicBezTo>
                        <a:pt x="961" y="849"/>
                        <a:pt x="961" y="849"/>
                        <a:pt x="961" y="849"/>
                      </a:cubicBezTo>
                      <a:cubicBezTo>
                        <a:pt x="964" y="857"/>
                        <a:pt x="974" y="848"/>
                        <a:pt x="976" y="857"/>
                      </a:cubicBezTo>
                      <a:cubicBezTo>
                        <a:pt x="979" y="861"/>
                        <a:pt x="974" y="864"/>
                        <a:pt x="975" y="868"/>
                      </a:cubicBezTo>
                      <a:cubicBezTo>
                        <a:pt x="974" y="872"/>
                        <a:pt x="976" y="878"/>
                        <a:pt x="973" y="880"/>
                      </a:cubicBezTo>
                      <a:cubicBezTo>
                        <a:pt x="965" y="880"/>
                        <a:pt x="958" y="881"/>
                        <a:pt x="952" y="884"/>
                      </a:cubicBezTo>
                      <a:cubicBezTo>
                        <a:pt x="951" y="887"/>
                        <a:pt x="950" y="889"/>
                        <a:pt x="951" y="891"/>
                      </a:cubicBezTo>
                      <a:cubicBezTo>
                        <a:pt x="952" y="892"/>
                        <a:pt x="953" y="893"/>
                        <a:pt x="952" y="894"/>
                      </a:cubicBezTo>
                      <a:cubicBezTo>
                        <a:pt x="948" y="898"/>
                        <a:pt x="945" y="891"/>
                        <a:pt x="940" y="891"/>
                      </a:cubicBezTo>
                      <a:cubicBezTo>
                        <a:pt x="939" y="898"/>
                        <a:pt x="947" y="902"/>
                        <a:pt x="950" y="907"/>
                      </a:cubicBezTo>
                      <a:cubicBezTo>
                        <a:pt x="952" y="912"/>
                        <a:pt x="952" y="917"/>
                        <a:pt x="956" y="920"/>
                      </a:cubicBezTo>
                      <a:cubicBezTo>
                        <a:pt x="962" y="918"/>
                        <a:pt x="964" y="925"/>
                        <a:pt x="969" y="925"/>
                      </a:cubicBezTo>
                      <a:cubicBezTo>
                        <a:pt x="971" y="928"/>
                        <a:pt x="970" y="932"/>
                        <a:pt x="969" y="935"/>
                      </a:cubicBezTo>
                      <a:cubicBezTo>
                        <a:pt x="969" y="943"/>
                        <a:pt x="969" y="943"/>
                        <a:pt x="969" y="943"/>
                      </a:cubicBezTo>
                      <a:cubicBezTo>
                        <a:pt x="971" y="941"/>
                        <a:pt x="972" y="937"/>
                        <a:pt x="975" y="935"/>
                      </a:cubicBezTo>
                      <a:cubicBezTo>
                        <a:pt x="979" y="935"/>
                        <a:pt x="983" y="936"/>
                        <a:pt x="986" y="938"/>
                      </a:cubicBezTo>
                      <a:cubicBezTo>
                        <a:pt x="988" y="940"/>
                        <a:pt x="988" y="944"/>
                        <a:pt x="989" y="946"/>
                      </a:cubicBezTo>
                      <a:cubicBezTo>
                        <a:pt x="992" y="949"/>
                        <a:pt x="997" y="952"/>
                        <a:pt x="996" y="957"/>
                      </a:cubicBezTo>
                      <a:close/>
                      <a:moveTo>
                        <a:pt x="1001" y="637"/>
                      </a:moveTo>
                      <a:cubicBezTo>
                        <a:pt x="999" y="637"/>
                        <a:pt x="999" y="637"/>
                        <a:pt x="999" y="637"/>
                      </a:cubicBezTo>
                      <a:cubicBezTo>
                        <a:pt x="998" y="639"/>
                        <a:pt x="999" y="644"/>
                        <a:pt x="995" y="643"/>
                      </a:cubicBezTo>
                      <a:cubicBezTo>
                        <a:pt x="992" y="640"/>
                        <a:pt x="992" y="645"/>
                        <a:pt x="990" y="646"/>
                      </a:cubicBezTo>
                      <a:cubicBezTo>
                        <a:pt x="988" y="646"/>
                        <a:pt x="985" y="650"/>
                        <a:pt x="983" y="648"/>
                      </a:cubicBezTo>
                      <a:cubicBezTo>
                        <a:pt x="983" y="644"/>
                        <a:pt x="990" y="645"/>
                        <a:pt x="989" y="641"/>
                      </a:cubicBezTo>
                      <a:cubicBezTo>
                        <a:pt x="991" y="636"/>
                        <a:pt x="997" y="641"/>
                        <a:pt x="996" y="634"/>
                      </a:cubicBezTo>
                      <a:cubicBezTo>
                        <a:pt x="998" y="633"/>
                        <a:pt x="1000" y="633"/>
                        <a:pt x="1001" y="633"/>
                      </a:cubicBezTo>
                      <a:cubicBezTo>
                        <a:pt x="1003" y="631"/>
                        <a:pt x="999" y="624"/>
                        <a:pt x="1003" y="624"/>
                      </a:cubicBezTo>
                      <a:cubicBezTo>
                        <a:pt x="1003" y="628"/>
                        <a:pt x="1008" y="635"/>
                        <a:pt x="1001" y="637"/>
                      </a:cubicBezTo>
                      <a:close/>
                      <a:moveTo>
                        <a:pt x="1012" y="611"/>
                      </a:moveTo>
                      <a:cubicBezTo>
                        <a:pt x="1010" y="608"/>
                        <a:pt x="1009" y="605"/>
                        <a:pt x="1009" y="602"/>
                      </a:cubicBezTo>
                      <a:cubicBezTo>
                        <a:pt x="1014" y="598"/>
                        <a:pt x="1014" y="598"/>
                        <a:pt x="1014" y="598"/>
                      </a:cubicBezTo>
                      <a:cubicBezTo>
                        <a:pt x="1012" y="594"/>
                        <a:pt x="1012" y="594"/>
                        <a:pt x="1012" y="594"/>
                      </a:cubicBezTo>
                      <a:cubicBezTo>
                        <a:pt x="1012" y="593"/>
                        <a:pt x="1012" y="591"/>
                        <a:pt x="1013" y="591"/>
                      </a:cubicBezTo>
                      <a:cubicBezTo>
                        <a:pt x="1015" y="593"/>
                        <a:pt x="1020" y="597"/>
                        <a:pt x="1017" y="600"/>
                      </a:cubicBezTo>
                      <a:cubicBezTo>
                        <a:pt x="1015" y="603"/>
                        <a:pt x="1012" y="607"/>
                        <a:pt x="1015" y="611"/>
                      </a:cubicBezTo>
                      <a:cubicBezTo>
                        <a:pt x="1014" y="612"/>
                        <a:pt x="1013" y="612"/>
                        <a:pt x="1012" y="611"/>
                      </a:cubicBezTo>
                      <a:close/>
                      <a:moveTo>
                        <a:pt x="1022" y="626"/>
                      </a:moveTo>
                      <a:cubicBezTo>
                        <a:pt x="1019" y="626"/>
                        <a:pt x="1021" y="621"/>
                        <a:pt x="1019" y="620"/>
                      </a:cubicBezTo>
                      <a:cubicBezTo>
                        <a:pt x="1017" y="618"/>
                        <a:pt x="1013" y="617"/>
                        <a:pt x="1015" y="613"/>
                      </a:cubicBezTo>
                      <a:cubicBezTo>
                        <a:pt x="1016" y="613"/>
                        <a:pt x="1017" y="613"/>
                        <a:pt x="1017" y="614"/>
                      </a:cubicBezTo>
                      <a:cubicBezTo>
                        <a:pt x="1023" y="615"/>
                        <a:pt x="1023" y="615"/>
                        <a:pt x="1023" y="615"/>
                      </a:cubicBezTo>
                      <a:cubicBezTo>
                        <a:pt x="1023" y="618"/>
                        <a:pt x="1024" y="624"/>
                        <a:pt x="1022" y="626"/>
                      </a:cubicBezTo>
                      <a:close/>
                      <a:moveTo>
                        <a:pt x="1069" y="502"/>
                      </a:moveTo>
                      <a:cubicBezTo>
                        <a:pt x="1069" y="505"/>
                        <a:pt x="1067" y="513"/>
                        <a:pt x="1065" y="520"/>
                      </a:cubicBezTo>
                      <a:cubicBezTo>
                        <a:pt x="1069" y="502"/>
                        <a:pt x="1069" y="502"/>
                        <a:pt x="1069" y="502"/>
                      </a:cubicBezTo>
                      <a:close/>
                      <a:moveTo>
                        <a:pt x="1064" y="525"/>
                      </a:moveTo>
                      <a:cubicBezTo>
                        <a:pt x="1064" y="528"/>
                        <a:pt x="1064" y="528"/>
                        <a:pt x="1064" y="528"/>
                      </a:cubicBezTo>
                      <a:cubicBezTo>
                        <a:pt x="1064" y="527"/>
                        <a:pt x="1064" y="526"/>
                        <a:pt x="1064" y="525"/>
                      </a:cubicBezTo>
                      <a:close/>
                      <a:moveTo>
                        <a:pt x="1079" y="893"/>
                      </a:moveTo>
                      <a:cubicBezTo>
                        <a:pt x="1077" y="894"/>
                        <a:pt x="1076" y="895"/>
                        <a:pt x="1075" y="897"/>
                      </a:cubicBezTo>
                      <a:cubicBezTo>
                        <a:pt x="1073" y="902"/>
                        <a:pt x="1074" y="909"/>
                        <a:pt x="1070" y="913"/>
                      </a:cubicBezTo>
                      <a:cubicBezTo>
                        <a:pt x="1063" y="915"/>
                        <a:pt x="1055" y="916"/>
                        <a:pt x="1050" y="910"/>
                      </a:cubicBezTo>
                      <a:cubicBezTo>
                        <a:pt x="1046" y="909"/>
                        <a:pt x="1042" y="912"/>
                        <a:pt x="1040" y="909"/>
                      </a:cubicBezTo>
                      <a:cubicBezTo>
                        <a:pt x="1035" y="902"/>
                        <a:pt x="1039" y="893"/>
                        <a:pt x="1037" y="885"/>
                      </a:cubicBezTo>
                      <a:cubicBezTo>
                        <a:pt x="1040" y="875"/>
                        <a:pt x="1040" y="875"/>
                        <a:pt x="1040" y="875"/>
                      </a:cubicBezTo>
                      <a:cubicBezTo>
                        <a:pt x="1041" y="872"/>
                        <a:pt x="1041" y="872"/>
                        <a:pt x="1041" y="872"/>
                      </a:cubicBezTo>
                      <a:cubicBezTo>
                        <a:pt x="1044" y="869"/>
                        <a:pt x="1048" y="867"/>
                        <a:pt x="1053" y="868"/>
                      </a:cubicBezTo>
                      <a:cubicBezTo>
                        <a:pt x="1054" y="865"/>
                        <a:pt x="1054" y="860"/>
                        <a:pt x="1058" y="861"/>
                      </a:cubicBezTo>
                      <a:cubicBezTo>
                        <a:pt x="1062" y="861"/>
                        <a:pt x="1063" y="856"/>
                        <a:pt x="1066" y="854"/>
                      </a:cubicBezTo>
                      <a:cubicBezTo>
                        <a:pt x="1071" y="853"/>
                        <a:pt x="1078" y="852"/>
                        <a:pt x="1082" y="855"/>
                      </a:cubicBezTo>
                      <a:cubicBezTo>
                        <a:pt x="1082" y="859"/>
                        <a:pt x="1078" y="860"/>
                        <a:pt x="1077" y="863"/>
                      </a:cubicBezTo>
                      <a:cubicBezTo>
                        <a:pt x="1071" y="872"/>
                        <a:pt x="1081" y="878"/>
                        <a:pt x="1085" y="884"/>
                      </a:cubicBezTo>
                      <a:cubicBezTo>
                        <a:pt x="1086" y="888"/>
                        <a:pt x="1082" y="891"/>
                        <a:pt x="1079" y="893"/>
                      </a:cubicBezTo>
                      <a:close/>
                      <a:moveTo>
                        <a:pt x="1081" y="432"/>
                      </a:moveTo>
                      <a:cubicBezTo>
                        <a:pt x="1085" y="429"/>
                        <a:pt x="1088" y="426"/>
                        <a:pt x="1090" y="423"/>
                      </a:cubicBezTo>
                      <a:cubicBezTo>
                        <a:pt x="1087" y="427"/>
                        <a:pt x="1084" y="430"/>
                        <a:pt x="1081" y="432"/>
                      </a:cubicBezTo>
                      <a:close/>
                      <a:moveTo>
                        <a:pt x="1183" y="786"/>
                      </a:moveTo>
                      <a:cubicBezTo>
                        <a:pt x="1177" y="784"/>
                        <a:pt x="1181" y="794"/>
                        <a:pt x="1174" y="791"/>
                      </a:cubicBezTo>
                      <a:cubicBezTo>
                        <a:pt x="1173" y="787"/>
                        <a:pt x="1168" y="787"/>
                        <a:pt x="1169" y="783"/>
                      </a:cubicBezTo>
                      <a:cubicBezTo>
                        <a:pt x="1171" y="782"/>
                        <a:pt x="1173" y="782"/>
                        <a:pt x="1175" y="782"/>
                      </a:cubicBezTo>
                      <a:cubicBezTo>
                        <a:pt x="1176" y="780"/>
                        <a:pt x="1178" y="777"/>
                        <a:pt x="1180" y="778"/>
                      </a:cubicBezTo>
                      <a:cubicBezTo>
                        <a:pt x="1182" y="780"/>
                        <a:pt x="1185" y="783"/>
                        <a:pt x="1183" y="786"/>
                      </a:cubicBezTo>
                      <a:close/>
                      <a:moveTo>
                        <a:pt x="1279" y="689"/>
                      </a:moveTo>
                      <a:cubicBezTo>
                        <a:pt x="1282" y="689"/>
                        <a:pt x="1286" y="686"/>
                        <a:pt x="1289" y="688"/>
                      </a:cubicBezTo>
                      <a:cubicBezTo>
                        <a:pt x="1289" y="695"/>
                        <a:pt x="1281" y="694"/>
                        <a:pt x="1277" y="698"/>
                      </a:cubicBezTo>
                      <a:cubicBezTo>
                        <a:pt x="1276" y="698"/>
                        <a:pt x="1274" y="699"/>
                        <a:pt x="1272" y="698"/>
                      </a:cubicBezTo>
                      <a:cubicBezTo>
                        <a:pt x="1268" y="692"/>
                        <a:pt x="1276" y="692"/>
                        <a:pt x="1279" y="689"/>
                      </a:cubicBezTo>
                      <a:close/>
                      <a:moveTo>
                        <a:pt x="1229" y="730"/>
                      </a:moveTo>
                      <a:cubicBezTo>
                        <a:pt x="1226" y="731"/>
                        <a:pt x="1223" y="728"/>
                        <a:pt x="1221" y="727"/>
                      </a:cubicBezTo>
                      <a:cubicBezTo>
                        <a:pt x="1220" y="723"/>
                        <a:pt x="1223" y="723"/>
                        <a:pt x="1224" y="722"/>
                      </a:cubicBezTo>
                      <a:cubicBezTo>
                        <a:pt x="1227" y="722"/>
                        <a:pt x="1230" y="722"/>
                        <a:pt x="1232" y="724"/>
                      </a:cubicBezTo>
                      <a:cubicBezTo>
                        <a:pt x="1233" y="726"/>
                        <a:pt x="1231" y="729"/>
                        <a:pt x="1229" y="730"/>
                      </a:cubicBezTo>
                      <a:close/>
                      <a:moveTo>
                        <a:pt x="1287" y="934"/>
                      </a:moveTo>
                      <a:cubicBezTo>
                        <a:pt x="1280" y="936"/>
                        <a:pt x="1271" y="935"/>
                        <a:pt x="1265" y="930"/>
                      </a:cubicBezTo>
                      <a:cubicBezTo>
                        <a:pt x="1270" y="924"/>
                        <a:pt x="1278" y="927"/>
                        <a:pt x="1285" y="924"/>
                      </a:cubicBezTo>
                      <a:cubicBezTo>
                        <a:pt x="1292" y="924"/>
                        <a:pt x="1292" y="924"/>
                        <a:pt x="1292" y="924"/>
                      </a:cubicBezTo>
                      <a:cubicBezTo>
                        <a:pt x="1292" y="928"/>
                        <a:pt x="1289" y="931"/>
                        <a:pt x="1287" y="934"/>
                      </a:cubicBezTo>
                      <a:close/>
                      <a:moveTo>
                        <a:pt x="1287" y="908"/>
                      </a:moveTo>
                      <a:cubicBezTo>
                        <a:pt x="1285" y="907"/>
                        <a:pt x="1285" y="907"/>
                        <a:pt x="1285" y="907"/>
                      </a:cubicBezTo>
                      <a:cubicBezTo>
                        <a:pt x="1286" y="904"/>
                        <a:pt x="1290" y="903"/>
                        <a:pt x="1294" y="903"/>
                      </a:cubicBezTo>
                      <a:cubicBezTo>
                        <a:pt x="1296" y="903"/>
                        <a:pt x="1299" y="902"/>
                        <a:pt x="1300" y="905"/>
                      </a:cubicBezTo>
                      <a:cubicBezTo>
                        <a:pt x="1298" y="909"/>
                        <a:pt x="1291" y="908"/>
                        <a:pt x="1287" y="908"/>
                      </a:cubicBezTo>
                      <a:close/>
                      <a:moveTo>
                        <a:pt x="1304" y="859"/>
                      </a:moveTo>
                      <a:cubicBezTo>
                        <a:pt x="1294" y="866"/>
                        <a:pt x="1282" y="857"/>
                        <a:pt x="1273" y="859"/>
                      </a:cubicBezTo>
                      <a:cubicBezTo>
                        <a:pt x="1265" y="859"/>
                        <a:pt x="1257" y="861"/>
                        <a:pt x="1250" y="863"/>
                      </a:cubicBezTo>
                      <a:cubicBezTo>
                        <a:pt x="1247" y="866"/>
                        <a:pt x="1246" y="871"/>
                        <a:pt x="1245" y="874"/>
                      </a:cubicBezTo>
                      <a:cubicBezTo>
                        <a:pt x="1246" y="879"/>
                        <a:pt x="1253" y="880"/>
                        <a:pt x="1256" y="884"/>
                      </a:cubicBezTo>
                      <a:cubicBezTo>
                        <a:pt x="1256" y="887"/>
                        <a:pt x="1253" y="886"/>
                        <a:pt x="1251" y="885"/>
                      </a:cubicBezTo>
                      <a:cubicBezTo>
                        <a:pt x="1247" y="884"/>
                        <a:pt x="1243" y="884"/>
                        <a:pt x="1238" y="883"/>
                      </a:cubicBezTo>
                      <a:cubicBezTo>
                        <a:pt x="1238" y="877"/>
                        <a:pt x="1228" y="874"/>
                        <a:pt x="1232" y="868"/>
                      </a:cubicBezTo>
                      <a:cubicBezTo>
                        <a:pt x="1237" y="862"/>
                        <a:pt x="1237" y="862"/>
                        <a:pt x="1237" y="862"/>
                      </a:cubicBezTo>
                      <a:cubicBezTo>
                        <a:pt x="1238" y="854"/>
                        <a:pt x="1247" y="854"/>
                        <a:pt x="1254" y="853"/>
                      </a:cubicBezTo>
                      <a:cubicBezTo>
                        <a:pt x="1265" y="854"/>
                        <a:pt x="1278" y="855"/>
                        <a:pt x="1289" y="855"/>
                      </a:cubicBezTo>
                      <a:cubicBezTo>
                        <a:pt x="1294" y="854"/>
                        <a:pt x="1299" y="851"/>
                        <a:pt x="1304" y="855"/>
                      </a:cubicBezTo>
                      <a:lnTo>
                        <a:pt x="1304" y="859"/>
                      </a:lnTo>
                      <a:close/>
                      <a:moveTo>
                        <a:pt x="1339" y="867"/>
                      </a:moveTo>
                      <a:cubicBezTo>
                        <a:pt x="1336" y="868"/>
                        <a:pt x="1335" y="865"/>
                        <a:pt x="1333" y="865"/>
                      </a:cubicBezTo>
                      <a:cubicBezTo>
                        <a:pt x="1335" y="863"/>
                        <a:pt x="1332" y="859"/>
                        <a:pt x="1336" y="859"/>
                      </a:cubicBezTo>
                      <a:cubicBezTo>
                        <a:pt x="1338" y="859"/>
                        <a:pt x="1341" y="860"/>
                        <a:pt x="1341" y="863"/>
                      </a:cubicBezTo>
                      <a:cubicBezTo>
                        <a:pt x="1341" y="864"/>
                        <a:pt x="1341" y="867"/>
                        <a:pt x="1339" y="867"/>
                      </a:cubicBezTo>
                      <a:close/>
                      <a:moveTo>
                        <a:pt x="1351" y="887"/>
                      </a:moveTo>
                      <a:cubicBezTo>
                        <a:pt x="1349" y="887"/>
                        <a:pt x="1347" y="885"/>
                        <a:pt x="1346" y="883"/>
                      </a:cubicBezTo>
                      <a:cubicBezTo>
                        <a:pt x="1345" y="882"/>
                        <a:pt x="1345" y="882"/>
                        <a:pt x="1345" y="881"/>
                      </a:cubicBezTo>
                      <a:cubicBezTo>
                        <a:pt x="1345" y="880"/>
                        <a:pt x="1346" y="879"/>
                        <a:pt x="1346" y="878"/>
                      </a:cubicBezTo>
                      <a:cubicBezTo>
                        <a:pt x="1348" y="878"/>
                        <a:pt x="1348" y="879"/>
                        <a:pt x="1349" y="880"/>
                      </a:cubicBezTo>
                      <a:cubicBezTo>
                        <a:pt x="1351" y="881"/>
                        <a:pt x="1352" y="882"/>
                        <a:pt x="1353" y="885"/>
                      </a:cubicBezTo>
                      <a:cubicBezTo>
                        <a:pt x="1354" y="886"/>
                        <a:pt x="1353" y="887"/>
                        <a:pt x="1351" y="887"/>
                      </a:cubicBezTo>
                      <a:close/>
                      <a:moveTo>
                        <a:pt x="1370" y="832"/>
                      </a:moveTo>
                      <a:cubicBezTo>
                        <a:pt x="1370" y="833"/>
                        <a:pt x="1370" y="833"/>
                        <a:pt x="1370" y="833"/>
                      </a:cubicBezTo>
                      <a:cubicBezTo>
                        <a:pt x="1365" y="838"/>
                        <a:pt x="1360" y="831"/>
                        <a:pt x="1356" y="830"/>
                      </a:cubicBezTo>
                      <a:cubicBezTo>
                        <a:pt x="1355" y="828"/>
                        <a:pt x="1351" y="827"/>
                        <a:pt x="1353" y="825"/>
                      </a:cubicBezTo>
                      <a:cubicBezTo>
                        <a:pt x="1354" y="823"/>
                        <a:pt x="1359" y="823"/>
                        <a:pt x="1358" y="820"/>
                      </a:cubicBezTo>
                      <a:cubicBezTo>
                        <a:pt x="1356" y="818"/>
                        <a:pt x="1352" y="816"/>
                        <a:pt x="1354" y="813"/>
                      </a:cubicBezTo>
                      <a:cubicBezTo>
                        <a:pt x="1357" y="811"/>
                        <a:pt x="1359" y="809"/>
                        <a:pt x="1363" y="808"/>
                      </a:cubicBezTo>
                      <a:cubicBezTo>
                        <a:pt x="1363" y="806"/>
                        <a:pt x="1361" y="803"/>
                        <a:pt x="1362" y="800"/>
                      </a:cubicBezTo>
                      <a:cubicBezTo>
                        <a:pt x="1362" y="800"/>
                        <a:pt x="1362" y="799"/>
                        <a:pt x="1363" y="799"/>
                      </a:cubicBezTo>
                      <a:cubicBezTo>
                        <a:pt x="1365" y="803"/>
                        <a:pt x="1368" y="805"/>
                        <a:pt x="1369" y="809"/>
                      </a:cubicBezTo>
                      <a:cubicBezTo>
                        <a:pt x="1368" y="814"/>
                        <a:pt x="1358" y="811"/>
                        <a:pt x="1362" y="817"/>
                      </a:cubicBezTo>
                      <a:cubicBezTo>
                        <a:pt x="1365" y="818"/>
                        <a:pt x="1364" y="821"/>
                        <a:pt x="1364" y="823"/>
                      </a:cubicBezTo>
                      <a:cubicBezTo>
                        <a:pt x="1366" y="827"/>
                        <a:pt x="1371" y="828"/>
                        <a:pt x="1370" y="832"/>
                      </a:cubicBezTo>
                      <a:close/>
                      <a:moveTo>
                        <a:pt x="1505" y="1188"/>
                      </a:moveTo>
                      <a:cubicBezTo>
                        <a:pt x="1505" y="1185"/>
                        <a:pt x="1506" y="1183"/>
                        <a:pt x="1507" y="1182"/>
                      </a:cubicBezTo>
                      <a:cubicBezTo>
                        <a:pt x="1506" y="1184"/>
                        <a:pt x="1505" y="1186"/>
                        <a:pt x="1505" y="1188"/>
                      </a:cubicBezTo>
                      <a:close/>
                      <a:moveTo>
                        <a:pt x="1543" y="1288"/>
                      </a:moveTo>
                      <a:cubicBezTo>
                        <a:pt x="1552" y="1296"/>
                        <a:pt x="1552" y="1296"/>
                        <a:pt x="1552" y="1296"/>
                      </a:cubicBezTo>
                      <a:cubicBezTo>
                        <a:pt x="1543" y="1288"/>
                        <a:pt x="1543" y="1288"/>
                        <a:pt x="1543" y="1288"/>
                      </a:cubicBezTo>
                      <a:close/>
                      <a:moveTo>
                        <a:pt x="1585" y="1244"/>
                      </a:moveTo>
                      <a:cubicBezTo>
                        <a:pt x="1584" y="1243"/>
                        <a:pt x="1584" y="1243"/>
                        <a:pt x="1584" y="1243"/>
                      </a:cubicBezTo>
                      <a:cubicBezTo>
                        <a:pt x="1583" y="1240"/>
                        <a:pt x="1583" y="1240"/>
                        <a:pt x="1583" y="1240"/>
                      </a:cubicBezTo>
                      <a:cubicBezTo>
                        <a:pt x="1584" y="1242"/>
                        <a:pt x="1584" y="1242"/>
                        <a:pt x="1584" y="1242"/>
                      </a:cubicBezTo>
                      <a:cubicBezTo>
                        <a:pt x="1587" y="1246"/>
                        <a:pt x="1587" y="1246"/>
                        <a:pt x="1587" y="1246"/>
                      </a:cubicBezTo>
                      <a:cubicBezTo>
                        <a:pt x="1585" y="1244"/>
                        <a:pt x="1585" y="1244"/>
                        <a:pt x="1585" y="1244"/>
                      </a:cubicBezTo>
                      <a:close/>
                      <a:moveTo>
                        <a:pt x="1600" y="1284"/>
                      </a:moveTo>
                      <a:cubicBezTo>
                        <a:pt x="1604" y="1289"/>
                        <a:pt x="1604" y="1289"/>
                        <a:pt x="1604" y="1289"/>
                      </a:cubicBezTo>
                      <a:cubicBezTo>
                        <a:pt x="1600" y="1284"/>
                        <a:pt x="1600" y="1284"/>
                        <a:pt x="1600" y="1284"/>
                      </a:cubicBezTo>
                      <a:close/>
                      <a:moveTo>
                        <a:pt x="1608" y="725"/>
                      </a:moveTo>
                      <a:cubicBezTo>
                        <a:pt x="1607" y="724"/>
                        <a:pt x="1608" y="721"/>
                        <a:pt x="1608" y="720"/>
                      </a:cubicBezTo>
                      <a:cubicBezTo>
                        <a:pt x="1605" y="717"/>
                        <a:pt x="1600" y="719"/>
                        <a:pt x="1600" y="714"/>
                      </a:cubicBezTo>
                      <a:cubicBezTo>
                        <a:pt x="1605" y="712"/>
                        <a:pt x="1604" y="707"/>
                        <a:pt x="1605" y="704"/>
                      </a:cubicBezTo>
                      <a:cubicBezTo>
                        <a:pt x="1605" y="697"/>
                        <a:pt x="1598" y="691"/>
                        <a:pt x="1605" y="685"/>
                      </a:cubicBezTo>
                      <a:cubicBezTo>
                        <a:pt x="1603" y="678"/>
                        <a:pt x="1605" y="667"/>
                        <a:pt x="1597" y="664"/>
                      </a:cubicBezTo>
                      <a:cubicBezTo>
                        <a:pt x="1595" y="664"/>
                        <a:pt x="1594" y="666"/>
                        <a:pt x="1594" y="667"/>
                      </a:cubicBezTo>
                      <a:cubicBezTo>
                        <a:pt x="1594" y="673"/>
                        <a:pt x="1599" y="677"/>
                        <a:pt x="1595" y="682"/>
                      </a:cubicBezTo>
                      <a:cubicBezTo>
                        <a:pt x="1589" y="680"/>
                        <a:pt x="1587" y="673"/>
                        <a:pt x="1584" y="667"/>
                      </a:cubicBezTo>
                      <a:cubicBezTo>
                        <a:pt x="1582" y="662"/>
                        <a:pt x="1591" y="658"/>
                        <a:pt x="1586" y="654"/>
                      </a:cubicBezTo>
                      <a:cubicBezTo>
                        <a:pt x="1584" y="652"/>
                        <a:pt x="1580" y="650"/>
                        <a:pt x="1580" y="646"/>
                      </a:cubicBezTo>
                      <a:cubicBezTo>
                        <a:pt x="1581" y="643"/>
                        <a:pt x="1583" y="640"/>
                        <a:pt x="1587" y="639"/>
                      </a:cubicBezTo>
                      <a:cubicBezTo>
                        <a:pt x="1589" y="639"/>
                        <a:pt x="1592" y="642"/>
                        <a:pt x="1594" y="639"/>
                      </a:cubicBezTo>
                      <a:cubicBezTo>
                        <a:pt x="1595" y="637"/>
                        <a:pt x="1592" y="633"/>
                        <a:pt x="1596" y="632"/>
                      </a:cubicBezTo>
                      <a:cubicBezTo>
                        <a:pt x="1599" y="632"/>
                        <a:pt x="1599" y="635"/>
                        <a:pt x="1599" y="637"/>
                      </a:cubicBezTo>
                      <a:cubicBezTo>
                        <a:pt x="1599" y="640"/>
                        <a:pt x="1598" y="645"/>
                        <a:pt x="1594" y="646"/>
                      </a:cubicBezTo>
                      <a:cubicBezTo>
                        <a:pt x="1592" y="646"/>
                        <a:pt x="1589" y="644"/>
                        <a:pt x="1587" y="646"/>
                      </a:cubicBezTo>
                      <a:cubicBezTo>
                        <a:pt x="1591" y="655"/>
                        <a:pt x="1591" y="655"/>
                        <a:pt x="1591" y="655"/>
                      </a:cubicBezTo>
                      <a:cubicBezTo>
                        <a:pt x="1592" y="659"/>
                        <a:pt x="1589" y="662"/>
                        <a:pt x="1590" y="664"/>
                      </a:cubicBezTo>
                      <a:cubicBezTo>
                        <a:pt x="1593" y="662"/>
                        <a:pt x="1595" y="659"/>
                        <a:pt x="1599" y="658"/>
                      </a:cubicBezTo>
                      <a:cubicBezTo>
                        <a:pt x="1604" y="660"/>
                        <a:pt x="1605" y="667"/>
                        <a:pt x="1607" y="671"/>
                      </a:cubicBezTo>
                      <a:cubicBezTo>
                        <a:pt x="1607" y="678"/>
                        <a:pt x="1612" y="686"/>
                        <a:pt x="1607" y="692"/>
                      </a:cubicBezTo>
                      <a:cubicBezTo>
                        <a:pt x="1608" y="699"/>
                        <a:pt x="1608" y="705"/>
                        <a:pt x="1610" y="712"/>
                      </a:cubicBezTo>
                      <a:cubicBezTo>
                        <a:pt x="1613" y="715"/>
                        <a:pt x="1614" y="719"/>
                        <a:pt x="1612" y="723"/>
                      </a:cubicBezTo>
                      <a:cubicBezTo>
                        <a:pt x="1612" y="725"/>
                        <a:pt x="1610" y="726"/>
                        <a:pt x="1608" y="725"/>
                      </a:cubicBezTo>
                      <a:close/>
                      <a:moveTo>
                        <a:pt x="1625" y="1290"/>
                      </a:moveTo>
                      <a:cubicBezTo>
                        <a:pt x="1626" y="1292"/>
                        <a:pt x="1626" y="1294"/>
                        <a:pt x="1626" y="1295"/>
                      </a:cubicBezTo>
                      <a:cubicBezTo>
                        <a:pt x="1626" y="1293"/>
                        <a:pt x="1625" y="1292"/>
                        <a:pt x="1625" y="1290"/>
                      </a:cubicBezTo>
                      <a:close/>
                      <a:moveTo>
                        <a:pt x="1627" y="1299"/>
                      </a:moveTo>
                      <a:cubicBezTo>
                        <a:pt x="1627" y="1299"/>
                        <a:pt x="1627" y="1299"/>
                        <a:pt x="1627" y="1299"/>
                      </a:cubicBezTo>
                      <a:cubicBezTo>
                        <a:pt x="1627" y="1299"/>
                        <a:pt x="1627" y="1299"/>
                        <a:pt x="1627" y="1299"/>
                      </a:cubicBezTo>
                      <a:close/>
                      <a:moveTo>
                        <a:pt x="1627" y="1298"/>
                      </a:moveTo>
                      <a:cubicBezTo>
                        <a:pt x="1627" y="1299"/>
                        <a:pt x="1627" y="1299"/>
                        <a:pt x="1627" y="1299"/>
                      </a:cubicBezTo>
                      <a:cubicBezTo>
                        <a:pt x="1627" y="1299"/>
                        <a:pt x="1627" y="1299"/>
                        <a:pt x="1627" y="1298"/>
                      </a:cubicBezTo>
                      <a:close/>
                      <a:moveTo>
                        <a:pt x="1636" y="1283"/>
                      </a:moveTo>
                      <a:cubicBezTo>
                        <a:pt x="1639" y="1288"/>
                        <a:pt x="1639" y="1288"/>
                        <a:pt x="1639" y="1288"/>
                      </a:cubicBezTo>
                      <a:cubicBezTo>
                        <a:pt x="1637" y="1286"/>
                        <a:pt x="1636" y="1284"/>
                        <a:pt x="1636" y="1283"/>
                      </a:cubicBezTo>
                      <a:close/>
                      <a:moveTo>
                        <a:pt x="1679" y="723"/>
                      </a:moveTo>
                      <a:cubicBezTo>
                        <a:pt x="1671" y="732"/>
                        <a:pt x="1662" y="737"/>
                        <a:pt x="1657" y="747"/>
                      </a:cubicBezTo>
                      <a:cubicBezTo>
                        <a:pt x="1653" y="748"/>
                        <a:pt x="1650" y="750"/>
                        <a:pt x="1647" y="751"/>
                      </a:cubicBezTo>
                      <a:cubicBezTo>
                        <a:pt x="1641" y="760"/>
                        <a:pt x="1630" y="760"/>
                        <a:pt x="1621" y="763"/>
                      </a:cubicBezTo>
                      <a:cubicBezTo>
                        <a:pt x="1617" y="763"/>
                        <a:pt x="1613" y="760"/>
                        <a:pt x="1612" y="757"/>
                      </a:cubicBezTo>
                      <a:cubicBezTo>
                        <a:pt x="1620" y="754"/>
                        <a:pt x="1620" y="754"/>
                        <a:pt x="1620" y="754"/>
                      </a:cubicBezTo>
                      <a:cubicBezTo>
                        <a:pt x="1628" y="754"/>
                        <a:pt x="1635" y="746"/>
                        <a:pt x="1638" y="740"/>
                      </a:cubicBezTo>
                      <a:cubicBezTo>
                        <a:pt x="1647" y="734"/>
                        <a:pt x="1647" y="734"/>
                        <a:pt x="1647" y="734"/>
                      </a:cubicBezTo>
                      <a:cubicBezTo>
                        <a:pt x="1653" y="722"/>
                        <a:pt x="1665" y="715"/>
                        <a:pt x="1671" y="703"/>
                      </a:cubicBezTo>
                      <a:cubicBezTo>
                        <a:pt x="1682" y="694"/>
                        <a:pt x="1677" y="677"/>
                        <a:pt x="1687" y="668"/>
                      </a:cubicBezTo>
                      <a:cubicBezTo>
                        <a:pt x="1689" y="668"/>
                        <a:pt x="1691" y="669"/>
                        <a:pt x="1691" y="671"/>
                      </a:cubicBezTo>
                      <a:cubicBezTo>
                        <a:pt x="1693" y="689"/>
                        <a:pt x="1688" y="708"/>
                        <a:pt x="1679" y="723"/>
                      </a:cubicBezTo>
                      <a:close/>
                      <a:moveTo>
                        <a:pt x="1909" y="918"/>
                      </a:moveTo>
                      <a:cubicBezTo>
                        <a:pt x="1908" y="920"/>
                        <a:pt x="1908" y="922"/>
                        <a:pt x="1907" y="923"/>
                      </a:cubicBezTo>
                      <a:cubicBezTo>
                        <a:pt x="1906" y="924"/>
                        <a:pt x="1904" y="924"/>
                        <a:pt x="1903" y="923"/>
                      </a:cubicBezTo>
                      <a:cubicBezTo>
                        <a:pt x="1902" y="921"/>
                        <a:pt x="1902" y="919"/>
                        <a:pt x="1902" y="917"/>
                      </a:cubicBezTo>
                      <a:cubicBezTo>
                        <a:pt x="1903" y="915"/>
                        <a:pt x="1907" y="916"/>
                        <a:pt x="1906" y="912"/>
                      </a:cubicBezTo>
                      <a:cubicBezTo>
                        <a:pt x="1907" y="912"/>
                        <a:pt x="1907" y="911"/>
                        <a:pt x="1908" y="911"/>
                      </a:cubicBezTo>
                      <a:cubicBezTo>
                        <a:pt x="1909" y="911"/>
                        <a:pt x="1909" y="911"/>
                        <a:pt x="1909" y="911"/>
                      </a:cubicBezTo>
                      <a:cubicBezTo>
                        <a:pt x="1910" y="914"/>
                        <a:pt x="1910" y="916"/>
                        <a:pt x="1909" y="918"/>
                      </a:cubicBezTo>
                      <a:close/>
                      <a:moveTo>
                        <a:pt x="1981" y="883"/>
                      </a:moveTo>
                      <a:cubicBezTo>
                        <a:pt x="1981" y="887"/>
                        <a:pt x="1980" y="892"/>
                        <a:pt x="1975" y="894"/>
                      </a:cubicBezTo>
                      <a:cubicBezTo>
                        <a:pt x="1971" y="894"/>
                        <a:pt x="1970" y="890"/>
                        <a:pt x="1969" y="887"/>
                      </a:cubicBezTo>
                      <a:cubicBezTo>
                        <a:pt x="1969" y="883"/>
                        <a:pt x="1969" y="883"/>
                        <a:pt x="1969" y="883"/>
                      </a:cubicBezTo>
                      <a:cubicBezTo>
                        <a:pt x="1969" y="881"/>
                        <a:pt x="1970" y="879"/>
                        <a:pt x="1972" y="879"/>
                      </a:cubicBezTo>
                      <a:cubicBezTo>
                        <a:pt x="1975" y="879"/>
                        <a:pt x="1979" y="879"/>
                        <a:pt x="1981" y="882"/>
                      </a:cubicBezTo>
                      <a:lnTo>
                        <a:pt x="1981" y="883"/>
                      </a:lnTo>
                      <a:close/>
                      <a:moveTo>
                        <a:pt x="2038" y="689"/>
                      </a:moveTo>
                      <a:cubicBezTo>
                        <a:pt x="2040" y="689"/>
                        <a:pt x="2040" y="689"/>
                        <a:pt x="2040" y="689"/>
                      </a:cubicBezTo>
                      <a:cubicBezTo>
                        <a:pt x="2043" y="687"/>
                        <a:pt x="2043" y="687"/>
                        <a:pt x="2043" y="687"/>
                      </a:cubicBezTo>
                      <a:cubicBezTo>
                        <a:pt x="2039" y="686"/>
                        <a:pt x="2039" y="686"/>
                        <a:pt x="2039" y="686"/>
                      </a:cubicBezTo>
                      <a:cubicBezTo>
                        <a:pt x="2035" y="688"/>
                        <a:pt x="2035" y="688"/>
                        <a:pt x="2035" y="688"/>
                      </a:cubicBezTo>
                      <a:lnTo>
                        <a:pt x="2038" y="689"/>
                      </a:lnTo>
                      <a:close/>
                      <a:moveTo>
                        <a:pt x="1722" y="207"/>
                      </a:moveTo>
                      <a:cubicBezTo>
                        <a:pt x="1719" y="209"/>
                        <a:pt x="1719" y="209"/>
                        <a:pt x="1719" y="209"/>
                      </a:cubicBezTo>
                      <a:cubicBezTo>
                        <a:pt x="1716" y="212"/>
                        <a:pt x="1716" y="212"/>
                        <a:pt x="1716" y="212"/>
                      </a:cubicBezTo>
                      <a:cubicBezTo>
                        <a:pt x="1720" y="213"/>
                        <a:pt x="1720" y="213"/>
                        <a:pt x="1720" y="213"/>
                      </a:cubicBezTo>
                      <a:cubicBezTo>
                        <a:pt x="1727" y="218"/>
                        <a:pt x="1727" y="218"/>
                        <a:pt x="1727" y="218"/>
                      </a:cubicBezTo>
                      <a:cubicBezTo>
                        <a:pt x="1735" y="215"/>
                        <a:pt x="1735" y="215"/>
                        <a:pt x="1735" y="215"/>
                      </a:cubicBezTo>
                      <a:cubicBezTo>
                        <a:pt x="1735" y="212"/>
                        <a:pt x="1735" y="212"/>
                        <a:pt x="1735" y="212"/>
                      </a:cubicBezTo>
                      <a:cubicBezTo>
                        <a:pt x="1741" y="209"/>
                        <a:pt x="1741" y="209"/>
                        <a:pt x="1741" y="209"/>
                      </a:cubicBezTo>
                      <a:cubicBezTo>
                        <a:pt x="1740" y="207"/>
                        <a:pt x="1740" y="207"/>
                        <a:pt x="1740" y="207"/>
                      </a:cubicBezTo>
                      <a:cubicBezTo>
                        <a:pt x="1730" y="207"/>
                        <a:pt x="1730" y="207"/>
                        <a:pt x="1730" y="207"/>
                      </a:cubicBezTo>
                      <a:lnTo>
                        <a:pt x="1722" y="207"/>
                      </a:lnTo>
                      <a:close/>
                      <a:moveTo>
                        <a:pt x="2049" y="685"/>
                      </a:moveTo>
                      <a:cubicBezTo>
                        <a:pt x="2046" y="688"/>
                        <a:pt x="2046" y="688"/>
                        <a:pt x="2046" y="688"/>
                      </a:cubicBezTo>
                      <a:cubicBezTo>
                        <a:pt x="2046" y="691"/>
                        <a:pt x="2046" y="691"/>
                        <a:pt x="2046" y="691"/>
                      </a:cubicBezTo>
                      <a:cubicBezTo>
                        <a:pt x="2052" y="694"/>
                        <a:pt x="2052" y="694"/>
                        <a:pt x="2052" y="694"/>
                      </a:cubicBezTo>
                      <a:cubicBezTo>
                        <a:pt x="2057" y="688"/>
                        <a:pt x="2057" y="688"/>
                        <a:pt x="2057" y="688"/>
                      </a:cubicBezTo>
                      <a:cubicBezTo>
                        <a:pt x="2054" y="685"/>
                        <a:pt x="2054" y="685"/>
                        <a:pt x="2054" y="685"/>
                      </a:cubicBezTo>
                      <a:lnTo>
                        <a:pt x="2049" y="685"/>
                      </a:lnTo>
                      <a:close/>
                      <a:moveTo>
                        <a:pt x="2197" y="872"/>
                      </a:moveTo>
                      <a:cubicBezTo>
                        <a:pt x="2200" y="872"/>
                        <a:pt x="2200" y="872"/>
                        <a:pt x="2200" y="872"/>
                      </a:cubicBezTo>
                      <a:cubicBezTo>
                        <a:pt x="2204" y="872"/>
                        <a:pt x="2204" y="872"/>
                        <a:pt x="2204" y="872"/>
                      </a:cubicBezTo>
                      <a:cubicBezTo>
                        <a:pt x="2213" y="863"/>
                        <a:pt x="2213" y="863"/>
                        <a:pt x="2213" y="863"/>
                      </a:cubicBezTo>
                      <a:cubicBezTo>
                        <a:pt x="2213" y="862"/>
                        <a:pt x="2213" y="862"/>
                        <a:pt x="2213" y="862"/>
                      </a:cubicBezTo>
                      <a:cubicBezTo>
                        <a:pt x="2207" y="862"/>
                        <a:pt x="2207" y="862"/>
                        <a:pt x="2207" y="862"/>
                      </a:cubicBezTo>
                      <a:lnTo>
                        <a:pt x="2197" y="872"/>
                      </a:lnTo>
                      <a:close/>
                      <a:moveTo>
                        <a:pt x="2255" y="812"/>
                      </a:moveTo>
                      <a:cubicBezTo>
                        <a:pt x="2255" y="815"/>
                        <a:pt x="2255" y="815"/>
                        <a:pt x="2255" y="815"/>
                      </a:cubicBezTo>
                      <a:cubicBezTo>
                        <a:pt x="2258" y="815"/>
                        <a:pt x="2258" y="815"/>
                        <a:pt x="2258" y="815"/>
                      </a:cubicBezTo>
                      <a:cubicBezTo>
                        <a:pt x="2261" y="812"/>
                        <a:pt x="2261" y="812"/>
                        <a:pt x="2261" y="812"/>
                      </a:cubicBezTo>
                      <a:cubicBezTo>
                        <a:pt x="2261" y="809"/>
                        <a:pt x="2261" y="809"/>
                        <a:pt x="2261" y="809"/>
                      </a:cubicBezTo>
                      <a:cubicBezTo>
                        <a:pt x="2258" y="809"/>
                        <a:pt x="2258" y="809"/>
                        <a:pt x="2258" y="809"/>
                      </a:cubicBezTo>
                      <a:lnTo>
                        <a:pt x="2255" y="812"/>
                      </a:lnTo>
                      <a:close/>
                      <a:moveTo>
                        <a:pt x="2236" y="847"/>
                      </a:moveTo>
                      <a:cubicBezTo>
                        <a:pt x="2235" y="844"/>
                        <a:pt x="2235" y="844"/>
                        <a:pt x="2235" y="844"/>
                      </a:cubicBezTo>
                      <a:cubicBezTo>
                        <a:pt x="2232" y="844"/>
                        <a:pt x="2232" y="844"/>
                        <a:pt x="2232" y="844"/>
                      </a:cubicBezTo>
                      <a:cubicBezTo>
                        <a:pt x="2226" y="849"/>
                        <a:pt x="2226" y="849"/>
                        <a:pt x="2226" y="849"/>
                      </a:cubicBezTo>
                      <a:cubicBezTo>
                        <a:pt x="2226" y="853"/>
                        <a:pt x="2226" y="853"/>
                        <a:pt x="2226" y="853"/>
                      </a:cubicBezTo>
                      <a:cubicBezTo>
                        <a:pt x="2230" y="852"/>
                        <a:pt x="2230" y="852"/>
                        <a:pt x="2230" y="852"/>
                      </a:cubicBezTo>
                      <a:cubicBezTo>
                        <a:pt x="2236" y="847"/>
                        <a:pt x="2236" y="847"/>
                        <a:pt x="2236" y="847"/>
                      </a:cubicBezTo>
                      <a:close/>
                      <a:moveTo>
                        <a:pt x="2179" y="880"/>
                      </a:moveTo>
                      <a:cubicBezTo>
                        <a:pt x="2177" y="877"/>
                        <a:pt x="2177" y="877"/>
                        <a:pt x="2177" y="877"/>
                      </a:cubicBezTo>
                      <a:cubicBezTo>
                        <a:pt x="2167" y="890"/>
                        <a:pt x="2167" y="890"/>
                        <a:pt x="2167" y="890"/>
                      </a:cubicBezTo>
                      <a:cubicBezTo>
                        <a:pt x="2165" y="895"/>
                        <a:pt x="2165" y="895"/>
                        <a:pt x="2165" y="895"/>
                      </a:cubicBezTo>
                      <a:cubicBezTo>
                        <a:pt x="2168" y="895"/>
                        <a:pt x="2168" y="895"/>
                        <a:pt x="2168" y="895"/>
                      </a:cubicBezTo>
                      <a:cubicBezTo>
                        <a:pt x="2175" y="886"/>
                        <a:pt x="2175" y="886"/>
                        <a:pt x="2175" y="886"/>
                      </a:cubicBezTo>
                      <a:cubicBezTo>
                        <a:pt x="2185" y="882"/>
                        <a:pt x="2185" y="882"/>
                        <a:pt x="2185" y="882"/>
                      </a:cubicBezTo>
                      <a:cubicBezTo>
                        <a:pt x="2192" y="874"/>
                        <a:pt x="2192" y="874"/>
                        <a:pt x="2192" y="874"/>
                      </a:cubicBezTo>
                      <a:cubicBezTo>
                        <a:pt x="2183" y="875"/>
                        <a:pt x="2183" y="875"/>
                        <a:pt x="2183" y="875"/>
                      </a:cubicBezTo>
                      <a:lnTo>
                        <a:pt x="2179" y="880"/>
                      </a:lnTo>
                      <a:close/>
                      <a:moveTo>
                        <a:pt x="2161" y="906"/>
                      </a:moveTo>
                      <a:cubicBezTo>
                        <a:pt x="2164" y="906"/>
                        <a:pt x="2164" y="906"/>
                        <a:pt x="2164" y="906"/>
                      </a:cubicBezTo>
                      <a:cubicBezTo>
                        <a:pt x="2166" y="903"/>
                        <a:pt x="2166" y="903"/>
                        <a:pt x="2166" y="903"/>
                      </a:cubicBezTo>
                      <a:cubicBezTo>
                        <a:pt x="2162" y="903"/>
                        <a:pt x="2162" y="903"/>
                        <a:pt x="2162" y="903"/>
                      </a:cubicBezTo>
                      <a:lnTo>
                        <a:pt x="2161" y="906"/>
                      </a:lnTo>
                      <a:close/>
                      <a:moveTo>
                        <a:pt x="2249" y="825"/>
                      </a:moveTo>
                      <a:cubicBezTo>
                        <a:pt x="2248" y="822"/>
                        <a:pt x="2248" y="822"/>
                        <a:pt x="2248" y="822"/>
                      </a:cubicBezTo>
                      <a:cubicBezTo>
                        <a:pt x="2246" y="824"/>
                        <a:pt x="2246" y="824"/>
                        <a:pt x="2246" y="824"/>
                      </a:cubicBezTo>
                      <a:cubicBezTo>
                        <a:pt x="2245" y="826"/>
                        <a:pt x="2245" y="826"/>
                        <a:pt x="2245" y="826"/>
                      </a:cubicBezTo>
                      <a:cubicBezTo>
                        <a:pt x="2247" y="827"/>
                        <a:pt x="2247" y="827"/>
                        <a:pt x="2247" y="827"/>
                      </a:cubicBezTo>
                      <a:cubicBezTo>
                        <a:pt x="2249" y="825"/>
                        <a:pt x="2249" y="825"/>
                        <a:pt x="2249" y="825"/>
                      </a:cubicBezTo>
                      <a:close/>
                      <a:moveTo>
                        <a:pt x="2150" y="902"/>
                      </a:moveTo>
                      <a:cubicBezTo>
                        <a:pt x="2152" y="903"/>
                        <a:pt x="2152" y="903"/>
                        <a:pt x="2152" y="903"/>
                      </a:cubicBezTo>
                      <a:cubicBezTo>
                        <a:pt x="2157" y="897"/>
                        <a:pt x="2157" y="897"/>
                        <a:pt x="2157" y="897"/>
                      </a:cubicBezTo>
                      <a:cubicBezTo>
                        <a:pt x="2160" y="897"/>
                        <a:pt x="2160" y="897"/>
                        <a:pt x="2160" y="897"/>
                      </a:cubicBezTo>
                      <a:cubicBezTo>
                        <a:pt x="2162" y="896"/>
                        <a:pt x="2162" y="896"/>
                        <a:pt x="2162" y="896"/>
                      </a:cubicBezTo>
                      <a:cubicBezTo>
                        <a:pt x="2162" y="892"/>
                        <a:pt x="2162" y="892"/>
                        <a:pt x="2162" y="892"/>
                      </a:cubicBezTo>
                      <a:cubicBezTo>
                        <a:pt x="2157" y="892"/>
                        <a:pt x="2157" y="892"/>
                        <a:pt x="2157" y="892"/>
                      </a:cubicBezTo>
                      <a:cubicBezTo>
                        <a:pt x="2150" y="902"/>
                        <a:pt x="2150" y="902"/>
                        <a:pt x="2150" y="902"/>
                      </a:cubicBezTo>
                      <a:close/>
                      <a:moveTo>
                        <a:pt x="1299" y="251"/>
                      </a:moveTo>
                      <a:cubicBezTo>
                        <a:pt x="1300" y="254"/>
                        <a:pt x="1300" y="254"/>
                        <a:pt x="1300" y="254"/>
                      </a:cubicBezTo>
                      <a:cubicBezTo>
                        <a:pt x="1307" y="255"/>
                        <a:pt x="1307" y="255"/>
                        <a:pt x="1307" y="255"/>
                      </a:cubicBezTo>
                      <a:cubicBezTo>
                        <a:pt x="1311" y="251"/>
                        <a:pt x="1311" y="251"/>
                        <a:pt x="1311" y="251"/>
                      </a:cubicBezTo>
                      <a:cubicBezTo>
                        <a:pt x="1310" y="248"/>
                        <a:pt x="1310" y="248"/>
                        <a:pt x="1310" y="248"/>
                      </a:cubicBezTo>
                      <a:cubicBezTo>
                        <a:pt x="1305" y="247"/>
                        <a:pt x="1305" y="247"/>
                        <a:pt x="1305" y="247"/>
                      </a:cubicBezTo>
                      <a:lnTo>
                        <a:pt x="1299" y="251"/>
                      </a:lnTo>
                      <a:close/>
                      <a:moveTo>
                        <a:pt x="1344" y="186"/>
                      </a:moveTo>
                      <a:cubicBezTo>
                        <a:pt x="1341" y="182"/>
                        <a:pt x="1341" y="182"/>
                        <a:pt x="1341" y="182"/>
                      </a:cubicBezTo>
                      <a:cubicBezTo>
                        <a:pt x="1336" y="181"/>
                        <a:pt x="1336" y="181"/>
                        <a:pt x="1336" y="181"/>
                      </a:cubicBezTo>
                      <a:cubicBezTo>
                        <a:pt x="1331" y="184"/>
                        <a:pt x="1331" y="184"/>
                        <a:pt x="1331" y="184"/>
                      </a:cubicBezTo>
                      <a:cubicBezTo>
                        <a:pt x="1339" y="188"/>
                        <a:pt x="1339" y="188"/>
                        <a:pt x="1339" y="188"/>
                      </a:cubicBezTo>
                      <a:lnTo>
                        <a:pt x="1344" y="186"/>
                      </a:lnTo>
                      <a:close/>
                      <a:moveTo>
                        <a:pt x="1348" y="137"/>
                      </a:moveTo>
                      <a:cubicBezTo>
                        <a:pt x="1347" y="134"/>
                        <a:pt x="1347" y="134"/>
                        <a:pt x="1347" y="134"/>
                      </a:cubicBezTo>
                      <a:cubicBezTo>
                        <a:pt x="1341" y="134"/>
                        <a:pt x="1341" y="134"/>
                        <a:pt x="1341" y="134"/>
                      </a:cubicBezTo>
                      <a:cubicBezTo>
                        <a:pt x="1344" y="136"/>
                        <a:pt x="1344" y="136"/>
                        <a:pt x="1344" y="136"/>
                      </a:cubicBezTo>
                      <a:lnTo>
                        <a:pt x="1348" y="137"/>
                      </a:lnTo>
                      <a:close/>
                      <a:moveTo>
                        <a:pt x="1345" y="174"/>
                      </a:moveTo>
                      <a:cubicBezTo>
                        <a:pt x="1345" y="173"/>
                        <a:pt x="1345" y="173"/>
                        <a:pt x="1345" y="173"/>
                      </a:cubicBezTo>
                      <a:cubicBezTo>
                        <a:pt x="1340" y="171"/>
                        <a:pt x="1340" y="171"/>
                        <a:pt x="1340" y="171"/>
                      </a:cubicBezTo>
                      <a:cubicBezTo>
                        <a:pt x="1336" y="172"/>
                        <a:pt x="1336" y="172"/>
                        <a:pt x="1336" y="172"/>
                      </a:cubicBezTo>
                      <a:cubicBezTo>
                        <a:pt x="1338" y="174"/>
                        <a:pt x="1338" y="174"/>
                        <a:pt x="1338" y="174"/>
                      </a:cubicBezTo>
                      <a:lnTo>
                        <a:pt x="1345" y="174"/>
                      </a:lnTo>
                      <a:close/>
                      <a:moveTo>
                        <a:pt x="1288" y="262"/>
                      </a:moveTo>
                      <a:cubicBezTo>
                        <a:pt x="1288" y="260"/>
                        <a:pt x="1288" y="260"/>
                        <a:pt x="1288" y="260"/>
                      </a:cubicBezTo>
                      <a:cubicBezTo>
                        <a:pt x="1284" y="259"/>
                        <a:pt x="1284" y="259"/>
                        <a:pt x="1284" y="259"/>
                      </a:cubicBezTo>
                      <a:cubicBezTo>
                        <a:pt x="1273" y="263"/>
                        <a:pt x="1273" y="263"/>
                        <a:pt x="1273" y="263"/>
                      </a:cubicBezTo>
                      <a:cubicBezTo>
                        <a:pt x="1273" y="266"/>
                        <a:pt x="1273" y="266"/>
                        <a:pt x="1273" y="266"/>
                      </a:cubicBezTo>
                      <a:cubicBezTo>
                        <a:pt x="1281" y="266"/>
                        <a:pt x="1281" y="266"/>
                        <a:pt x="1281" y="266"/>
                      </a:cubicBezTo>
                      <a:lnTo>
                        <a:pt x="1288" y="262"/>
                      </a:lnTo>
                      <a:close/>
                      <a:moveTo>
                        <a:pt x="1201" y="245"/>
                      </a:moveTo>
                      <a:cubicBezTo>
                        <a:pt x="1209" y="241"/>
                        <a:pt x="1209" y="241"/>
                        <a:pt x="1209" y="241"/>
                      </a:cubicBezTo>
                      <a:cubicBezTo>
                        <a:pt x="1200" y="235"/>
                        <a:pt x="1200" y="235"/>
                        <a:pt x="1200" y="235"/>
                      </a:cubicBezTo>
                      <a:cubicBezTo>
                        <a:pt x="1190" y="241"/>
                        <a:pt x="1190" y="241"/>
                        <a:pt x="1190" y="241"/>
                      </a:cubicBezTo>
                      <a:cubicBezTo>
                        <a:pt x="1190" y="245"/>
                        <a:pt x="1190" y="245"/>
                        <a:pt x="1190" y="245"/>
                      </a:cubicBezTo>
                      <a:cubicBezTo>
                        <a:pt x="1195" y="247"/>
                        <a:pt x="1195" y="247"/>
                        <a:pt x="1195" y="247"/>
                      </a:cubicBezTo>
                      <a:lnTo>
                        <a:pt x="1201" y="245"/>
                      </a:lnTo>
                      <a:close/>
                      <a:moveTo>
                        <a:pt x="1402" y="195"/>
                      </a:moveTo>
                      <a:cubicBezTo>
                        <a:pt x="1398" y="193"/>
                        <a:pt x="1398" y="193"/>
                        <a:pt x="1398" y="193"/>
                      </a:cubicBezTo>
                      <a:cubicBezTo>
                        <a:pt x="1395" y="194"/>
                        <a:pt x="1395" y="194"/>
                        <a:pt x="1395" y="194"/>
                      </a:cubicBezTo>
                      <a:cubicBezTo>
                        <a:pt x="1395" y="196"/>
                        <a:pt x="1395" y="196"/>
                        <a:pt x="1395" y="196"/>
                      </a:cubicBezTo>
                      <a:cubicBezTo>
                        <a:pt x="1400" y="197"/>
                        <a:pt x="1400" y="197"/>
                        <a:pt x="1400" y="197"/>
                      </a:cubicBezTo>
                      <a:cubicBezTo>
                        <a:pt x="1402" y="195"/>
                        <a:pt x="1402" y="195"/>
                        <a:pt x="1402" y="195"/>
                      </a:cubicBezTo>
                      <a:close/>
                      <a:moveTo>
                        <a:pt x="1344" y="219"/>
                      </a:moveTo>
                      <a:cubicBezTo>
                        <a:pt x="1350" y="219"/>
                        <a:pt x="1350" y="219"/>
                        <a:pt x="1350" y="219"/>
                      </a:cubicBezTo>
                      <a:cubicBezTo>
                        <a:pt x="1353" y="218"/>
                        <a:pt x="1353" y="218"/>
                        <a:pt x="1353" y="218"/>
                      </a:cubicBezTo>
                      <a:cubicBezTo>
                        <a:pt x="1348" y="218"/>
                        <a:pt x="1348" y="218"/>
                        <a:pt x="1348" y="218"/>
                      </a:cubicBezTo>
                      <a:lnTo>
                        <a:pt x="1344" y="219"/>
                      </a:lnTo>
                      <a:close/>
                      <a:moveTo>
                        <a:pt x="1372" y="222"/>
                      </a:moveTo>
                      <a:cubicBezTo>
                        <a:pt x="1371" y="220"/>
                        <a:pt x="1371" y="220"/>
                        <a:pt x="1371" y="220"/>
                      </a:cubicBezTo>
                      <a:cubicBezTo>
                        <a:pt x="1366" y="221"/>
                        <a:pt x="1366" y="221"/>
                        <a:pt x="1366" y="221"/>
                      </a:cubicBezTo>
                      <a:cubicBezTo>
                        <a:pt x="1368" y="223"/>
                        <a:pt x="1368" y="223"/>
                        <a:pt x="1368" y="223"/>
                      </a:cubicBezTo>
                      <a:lnTo>
                        <a:pt x="1372" y="222"/>
                      </a:lnTo>
                      <a:close/>
                      <a:moveTo>
                        <a:pt x="1389" y="216"/>
                      </a:moveTo>
                      <a:cubicBezTo>
                        <a:pt x="1385" y="216"/>
                        <a:pt x="1385" y="216"/>
                        <a:pt x="1385" y="216"/>
                      </a:cubicBezTo>
                      <a:cubicBezTo>
                        <a:pt x="1384" y="218"/>
                        <a:pt x="1384" y="218"/>
                        <a:pt x="1384" y="218"/>
                      </a:cubicBezTo>
                      <a:cubicBezTo>
                        <a:pt x="1392" y="217"/>
                        <a:pt x="1392" y="217"/>
                        <a:pt x="1392" y="217"/>
                      </a:cubicBezTo>
                      <a:lnTo>
                        <a:pt x="1389" y="216"/>
                      </a:lnTo>
                      <a:close/>
                      <a:moveTo>
                        <a:pt x="1359" y="219"/>
                      </a:moveTo>
                      <a:cubicBezTo>
                        <a:pt x="1363" y="217"/>
                        <a:pt x="1363" y="217"/>
                        <a:pt x="1363" y="217"/>
                      </a:cubicBezTo>
                      <a:cubicBezTo>
                        <a:pt x="1355" y="217"/>
                        <a:pt x="1355" y="217"/>
                        <a:pt x="1355" y="217"/>
                      </a:cubicBezTo>
                      <a:lnTo>
                        <a:pt x="1359" y="219"/>
                      </a:lnTo>
                      <a:close/>
                      <a:moveTo>
                        <a:pt x="1348" y="172"/>
                      </a:moveTo>
                      <a:cubicBezTo>
                        <a:pt x="1353" y="172"/>
                        <a:pt x="1353" y="172"/>
                        <a:pt x="1353" y="172"/>
                      </a:cubicBezTo>
                      <a:cubicBezTo>
                        <a:pt x="1356" y="171"/>
                        <a:pt x="1356" y="171"/>
                        <a:pt x="1356" y="171"/>
                      </a:cubicBezTo>
                      <a:cubicBezTo>
                        <a:pt x="1351" y="170"/>
                        <a:pt x="1351" y="170"/>
                        <a:pt x="1351" y="170"/>
                      </a:cubicBezTo>
                      <a:cubicBezTo>
                        <a:pt x="1343" y="170"/>
                        <a:pt x="1343" y="170"/>
                        <a:pt x="1343" y="170"/>
                      </a:cubicBezTo>
                      <a:lnTo>
                        <a:pt x="1348" y="172"/>
                      </a:lnTo>
                      <a:close/>
                      <a:moveTo>
                        <a:pt x="1312" y="39"/>
                      </a:moveTo>
                      <a:cubicBezTo>
                        <a:pt x="1313" y="37"/>
                        <a:pt x="1313" y="37"/>
                        <a:pt x="1313" y="37"/>
                      </a:cubicBezTo>
                      <a:cubicBezTo>
                        <a:pt x="1309" y="35"/>
                        <a:pt x="1309" y="35"/>
                        <a:pt x="1309" y="35"/>
                      </a:cubicBezTo>
                      <a:cubicBezTo>
                        <a:pt x="1303" y="34"/>
                        <a:pt x="1303" y="34"/>
                        <a:pt x="1303" y="34"/>
                      </a:cubicBezTo>
                      <a:cubicBezTo>
                        <a:pt x="1298" y="38"/>
                        <a:pt x="1298" y="38"/>
                        <a:pt x="1298" y="38"/>
                      </a:cubicBezTo>
                      <a:cubicBezTo>
                        <a:pt x="1302" y="40"/>
                        <a:pt x="1302" y="40"/>
                        <a:pt x="1302" y="40"/>
                      </a:cubicBezTo>
                      <a:lnTo>
                        <a:pt x="1312" y="39"/>
                      </a:lnTo>
                      <a:close/>
                      <a:moveTo>
                        <a:pt x="1276" y="241"/>
                      </a:moveTo>
                      <a:cubicBezTo>
                        <a:pt x="1267" y="240"/>
                        <a:pt x="1267" y="240"/>
                        <a:pt x="1267" y="240"/>
                      </a:cubicBezTo>
                      <a:cubicBezTo>
                        <a:pt x="1269" y="242"/>
                        <a:pt x="1269" y="242"/>
                        <a:pt x="1269" y="242"/>
                      </a:cubicBezTo>
                      <a:cubicBezTo>
                        <a:pt x="1273" y="243"/>
                        <a:pt x="1273" y="243"/>
                        <a:pt x="1273" y="243"/>
                      </a:cubicBezTo>
                      <a:lnTo>
                        <a:pt x="1276" y="241"/>
                      </a:lnTo>
                      <a:close/>
                      <a:moveTo>
                        <a:pt x="1269" y="234"/>
                      </a:moveTo>
                      <a:cubicBezTo>
                        <a:pt x="1262" y="233"/>
                        <a:pt x="1262" y="233"/>
                        <a:pt x="1262" y="233"/>
                      </a:cubicBezTo>
                      <a:cubicBezTo>
                        <a:pt x="1260" y="238"/>
                        <a:pt x="1260" y="238"/>
                        <a:pt x="1260" y="238"/>
                      </a:cubicBezTo>
                      <a:cubicBezTo>
                        <a:pt x="1269" y="235"/>
                        <a:pt x="1269" y="235"/>
                        <a:pt x="1269" y="235"/>
                      </a:cubicBezTo>
                      <a:lnTo>
                        <a:pt x="1269" y="234"/>
                      </a:lnTo>
                      <a:close/>
                      <a:moveTo>
                        <a:pt x="1251" y="248"/>
                      </a:moveTo>
                      <a:cubicBezTo>
                        <a:pt x="1252" y="245"/>
                        <a:pt x="1252" y="245"/>
                        <a:pt x="1252" y="245"/>
                      </a:cubicBezTo>
                      <a:cubicBezTo>
                        <a:pt x="1246" y="245"/>
                        <a:pt x="1246" y="245"/>
                        <a:pt x="1246" y="245"/>
                      </a:cubicBezTo>
                      <a:cubicBezTo>
                        <a:pt x="1243" y="246"/>
                        <a:pt x="1243" y="246"/>
                        <a:pt x="1243" y="246"/>
                      </a:cubicBezTo>
                      <a:cubicBezTo>
                        <a:pt x="1245" y="248"/>
                        <a:pt x="1245" y="248"/>
                        <a:pt x="1245" y="248"/>
                      </a:cubicBezTo>
                      <a:lnTo>
                        <a:pt x="1251" y="248"/>
                      </a:lnTo>
                      <a:close/>
                      <a:moveTo>
                        <a:pt x="1282" y="79"/>
                      </a:moveTo>
                      <a:cubicBezTo>
                        <a:pt x="1285" y="78"/>
                        <a:pt x="1285" y="78"/>
                        <a:pt x="1285" y="78"/>
                      </a:cubicBezTo>
                      <a:cubicBezTo>
                        <a:pt x="1280" y="76"/>
                        <a:pt x="1280" y="76"/>
                        <a:pt x="1280" y="76"/>
                      </a:cubicBezTo>
                      <a:cubicBezTo>
                        <a:pt x="1267" y="76"/>
                        <a:pt x="1267" y="76"/>
                        <a:pt x="1267" y="76"/>
                      </a:cubicBezTo>
                      <a:cubicBezTo>
                        <a:pt x="1272" y="78"/>
                        <a:pt x="1272" y="78"/>
                        <a:pt x="1272" y="78"/>
                      </a:cubicBezTo>
                      <a:lnTo>
                        <a:pt x="1282" y="79"/>
                      </a:lnTo>
                      <a:close/>
                      <a:moveTo>
                        <a:pt x="1046" y="877"/>
                      </a:moveTo>
                      <a:cubicBezTo>
                        <a:pt x="1045" y="877"/>
                        <a:pt x="1044" y="877"/>
                        <a:pt x="1044" y="878"/>
                      </a:cubicBezTo>
                      <a:cubicBezTo>
                        <a:pt x="1042" y="879"/>
                        <a:pt x="1042" y="881"/>
                        <a:pt x="1043" y="883"/>
                      </a:cubicBezTo>
                      <a:cubicBezTo>
                        <a:pt x="1044" y="886"/>
                        <a:pt x="1047" y="888"/>
                        <a:pt x="1050" y="887"/>
                      </a:cubicBezTo>
                      <a:cubicBezTo>
                        <a:pt x="1051" y="886"/>
                        <a:pt x="1051" y="886"/>
                        <a:pt x="1052" y="885"/>
                      </a:cubicBezTo>
                      <a:cubicBezTo>
                        <a:pt x="1052" y="884"/>
                        <a:pt x="1052" y="882"/>
                        <a:pt x="1051" y="881"/>
                      </a:cubicBezTo>
                      <a:cubicBezTo>
                        <a:pt x="1050" y="879"/>
                        <a:pt x="1048" y="877"/>
                        <a:pt x="1046" y="877"/>
                      </a:cubicBezTo>
                      <a:close/>
                      <a:moveTo>
                        <a:pt x="1069" y="898"/>
                      </a:moveTo>
                      <a:cubicBezTo>
                        <a:pt x="1067" y="896"/>
                        <a:pt x="1059" y="894"/>
                        <a:pt x="1059" y="901"/>
                      </a:cubicBezTo>
                      <a:cubicBezTo>
                        <a:pt x="1059" y="902"/>
                        <a:pt x="1059" y="903"/>
                        <a:pt x="1059" y="903"/>
                      </a:cubicBezTo>
                      <a:cubicBezTo>
                        <a:pt x="1063" y="903"/>
                        <a:pt x="1073" y="900"/>
                        <a:pt x="1069" y="898"/>
                      </a:cubicBezTo>
                      <a:close/>
                      <a:moveTo>
                        <a:pt x="1043" y="896"/>
                      </a:moveTo>
                      <a:cubicBezTo>
                        <a:pt x="1042" y="897"/>
                        <a:pt x="1040" y="898"/>
                        <a:pt x="1041" y="899"/>
                      </a:cubicBezTo>
                      <a:cubicBezTo>
                        <a:pt x="1043" y="901"/>
                        <a:pt x="1045" y="900"/>
                        <a:pt x="1047" y="900"/>
                      </a:cubicBezTo>
                      <a:cubicBezTo>
                        <a:pt x="1048" y="899"/>
                        <a:pt x="1048" y="898"/>
                        <a:pt x="1048" y="897"/>
                      </a:cubicBezTo>
                      <a:cubicBezTo>
                        <a:pt x="1046" y="897"/>
                        <a:pt x="1045" y="895"/>
                        <a:pt x="1043" y="896"/>
                      </a:cubicBezTo>
                      <a:close/>
                      <a:moveTo>
                        <a:pt x="350" y="984"/>
                      </a:moveTo>
                      <a:cubicBezTo>
                        <a:pt x="347" y="981"/>
                        <a:pt x="347" y="981"/>
                        <a:pt x="347" y="981"/>
                      </a:cubicBezTo>
                      <a:cubicBezTo>
                        <a:pt x="339" y="982"/>
                        <a:pt x="339" y="982"/>
                        <a:pt x="339" y="982"/>
                      </a:cubicBezTo>
                      <a:cubicBezTo>
                        <a:pt x="339" y="988"/>
                        <a:pt x="339" y="988"/>
                        <a:pt x="339" y="988"/>
                      </a:cubicBezTo>
                      <a:cubicBezTo>
                        <a:pt x="342" y="990"/>
                        <a:pt x="342" y="990"/>
                        <a:pt x="342" y="990"/>
                      </a:cubicBezTo>
                      <a:cubicBezTo>
                        <a:pt x="348" y="987"/>
                        <a:pt x="348" y="987"/>
                        <a:pt x="348" y="987"/>
                      </a:cubicBezTo>
                      <a:lnTo>
                        <a:pt x="350" y="984"/>
                      </a:lnTo>
                      <a:close/>
                      <a:moveTo>
                        <a:pt x="358" y="974"/>
                      </a:moveTo>
                      <a:cubicBezTo>
                        <a:pt x="355" y="976"/>
                        <a:pt x="355" y="976"/>
                        <a:pt x="355" y="976"/>
                      </a:cubicBezTo>
                      <a:cubicBezTo>
                        <a:pt x="355" y="978"/>
                        <a:pt x="355" y="978"/>
                        <a:pt x="355" y="978"/>
                      </a:cubicBezTo>
                      <a:cubicBezTo>
                        <a:pt x="361" y="979"/>
                        <a:pt x="361" y="979"/>
                        <a:pt x="361" y="979"/>
                      </a:cubicBezTo>
                      <a:cubicBezTo>
                        <a:pt x="361" y="975"/>
                        <a:pt x="361" y="975"/>
                        <a:pt x="361" y="975"/>
                      </a:cubicBezTo>
                      <a:lnTo>
                        <a:pt x="358" y="974"/>
                      </a:lnTo>
                      <a:close/>
                      <a:moveTo>
                        <a:pt x="332" y="991"/>
                      </a:moveTo>
                      <a:cubicBezTo>
                        <a:pt x="329" y="990"/>
                        <a:pt x="329" y="990"/>
                        <a:pt x="329" y="990"/>
                      </a:cubicBezTo>
                      <a:cubicBezTo>
                        <a:pt x="325" y="993"/>
                        <a:pt x="325" y="993"/>
                        <a:pt x="325" y="993"/>
                      </a:cubicBezTo>
                      <a:cubicBezTo>
                        <a:pt x="325" y="995"/>
                        <a:pt x="325" y="995"/>
                        <a:pt x="325" y="995"/>
                      </a:cubicBezTo>
                      <a:cubicBezTo>
                        <a:pt x="330" y="994"/>
                        <a:pt x="330" y="994"/>
                        <a:pt x="330" y="994"/>
                      </a:cubicBezTo>
                      <a:lnTo>
                        <a:pt x="332" y="991"/>
                      </a:lnTo>
                      <a:close/>
                      <a:moveTo>
                        <a:pt x="424" y="922"/>
                      </a:moveTo>
                      <a:cubicBezTo>
                        <a:pt x="424" y="927"/>
                        <a:pt x="424" y="927"/>
                        <a:pt x="424" y="927"/>
                      </a:cubicBezTo>
                      <a:cubicBezTo>
                        <a:pt x="418" y="931"/>
                        <a:pt x="418" y="931"/>
                        <a:pt x="418" y="931"/>
                      </a:cubicBezTo>
                      <a:cubicBezTo>
                        <a:pt x="417" y="935"/>
                        <a:pt x="417" y="935"/>
                        <a:pt x="417" y="935"/>
                      </a:cubicBezTo>
                      <a:cubicBezTo>
                        <a:pt x="417" y="945"/>
                        <a:pt x="417" y="945"/>
                        <a:pt x="417" y="945"/>
                      </a:cubicBezTo>
                      <a:cubicBezTo>
                        <a:pt x="421" y="949"/>
                        <a:pt x="421" y="949"/>
                        <a:pt x="421" y="949"/>
                      </a:cubicBezTo>
                      <a:cubicBezTo>
                        <a:pt x="424" y="947"/>
                        <a:pt x="424" y="947"/>
                        <a:pt x="424" y="947"/>
                      </a:cubicBezTo>
                      <a:cubicBezTo>
                        <a:pt x="427" y="932"/>
                        <a:pt x="427" y="932"/>
                        <a:pt x="427" y="932"/>
                      </a:cubicBezTo>
                      <a:cubicBezTo>
                        <a:pt x="426" y="927"/>
                        <a:pt x="426" y="927"/>
                        <a:pt x="426" y="927"/>
                      </a:cubicBezTo>
                      <a:cubicBezTo>
                        <a:pt x="426" y="923"/>
                        <a:pt x="426" y="923"/>
                        <a:pt x="426" y="923"/>
                      </a:cubicBezTo>
                      <a:cubicBezTo>
                        <a:pt x="424" y="922"/>
                        <a:pt x="424" y="922"/>
                        <a:pt x="424" y="922"/>
                      </a:cubicBezTo>
                      <a:close/>
                    </a:path>
                  </a:pathLst>
                </a:custGeom>
                <a:solidFill>
                  <a:schemeClr val="bg2"/>
                </a:solidFill>
                <a:ln w="3175" cap="flat" cmpd="sng">
                  <a:solidFill>
                    <a:schemeClr val="bg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nvGrpSpPr>
                <p:cNvPr id="120" name="Group 5"/>
                <p:cNvGrpSpPr>
                  <a:grpSpLocks noChangeAspect="1"/>
                </p:cNvGrpSpPr>
                <p:nvPr/>
              </p:nvGrpSpPr>
              <p:grpSpPr bwMode="auto">
                <a:xfrm>
                  <a:off x="1595" y="1313"/>
                  <a:ext cx="1901" cy="2544"/>
                  <a:chOff x="-111" y="-2057"/>
                  <a:chExt cx="4159" cy="5565"/>
                </a:xfrm>
              </p:grpSpPr>
              <p:sp>
                <p:nvSpPr>
                  <p:cNvPr id="121" name="Freeform 6"/>
                  <p:cNvSpPr>
                    <a:spLocks noChangeAspect="1"/>
                  </p:cNvSpPr>
                  <p:nvPr/>
                </p:nvSpPr>
                <p:spPr bwMode="gray">
                  <a:xfrm>
                    <a:off x="2225" y="876"/>
                    <a:ext cx="29" cy="20"/>
                  </a:xfrm>
                  <a:custGeom>
                    <a:avLst/>
                    <a:gdLst>
                      <a:gd name="T0" fmla="*/ 0 w 5"/>
                      <a:gd name="T1" fmla="*/ 3 h 3"/>
                      <a:gd name="T2" fmla="*/ 5 w 5"/>
                      <a:gd name="T3" fmla="*/ 1 h 3"/>
                      <a:gd name="T4" fmla="*/ 0 w 5"/>
                      <a:gd name="T5" fmla="*/ 0 h 3"/>
                      <a:gd name="T6" fmla="*/ 0 w 5"/>
                      <a:gd name="T7" fmla="*/ 3 h 3"/>
                      <a:gd name="T8" fmla="*/ 0 w 5"/>
                      <a:gd name="T9" fmla="*/ 3 h 3"/>
                    </a:gdLst>
                    <a:ahLst/>
                    <a:cxnLst>
                      <a:cxn ang="0">
                        <a:pos x="T0" y="T1"/>
                      </a:cxn>
                      <a:cxn ang="0">
                        <a:pos x="T2" y="T3"/>
                      </a:cxn>
                      <a:cxn ang="0">
                        <a:pos x="T4" y="T5"/>
                      </a:cxn>
                      <a:cxn ang="0">
                        <a:pos x="T6" y="T7"/>
                      </a:cxn>
                      <a:cxn ang="0">
                        <a:pos x="T8" y="T9"/>
                      </a:cxn>
                    </a:cxnLst>
                    <a:rect l="0" t="0" r="r" b="b"/>
                    <a:pathLst>
                      <a:path w="5" h="3">
                        <a:moveTo>
                          <a:pt x="0" y="3"/>
                        </a:moveTo>
                        <a:lnTo>
                          <a:pt x="5" y="1"/>
                        </a:lnTo>
                        <a:lnTo>
                          <a:pt x="0" y="0"/>
                        </a:lnTo>
                        <a:lnTo>
                          <a:pt x="0" y="3"/>
                        </a:lnTo>
                        <a:lnTo>
                          <a:pt x="0" y="3"/>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2" name="Freeform 7"/>
                  <p:cNvSpPr>
                    <a:spLocks noChangeAspect="1" noEditPoints="1"/>
                  </p:cNvSpPr>
                  <p:nvPr/>
                </p:nvSpPr>
                <p:spPr bwMode="gray">
                  <a:xfrm>
                    <a:off x="104" y="147"/>
                    <a:ext cx="907" cy="1399"/>
                  </a:xfrm>
                  <a:custGeom>
                    <a:avLst/>
                    <a:gdLst>
                      <a:gd name="T0" fmla="*/ 114 w 148"/>
                      <a:gd name="T1" fmla="*/ 212 h 228"/>
                      <a:gd name="T2" fmla="*/ 107 w 148"/>
                      <a:gd name="T3" fmla="*/ 211 h 228"/>
                      <a:gd name="T4" fmla="*/ 28 w 148"/>
                      <a:gd name="T5" fmla="*/ 5 h 228"/>
                      <a:gd name="T6" fmla="*/ 17 w 148"/>
                      <a:gd name="T7" fmla="*/ 21 h 228"/>
                      <a:gd name="T8" fmla="*/ 33 w 148"/>
                      <a:gd name="T9" fmla="*/ 28 h 228"/>
                      <a:gd name="T10" fmla="*/ 25 w 148"/>
                      <a:gd name="T11" fmla="*/ 35 h 228"/>
                      <a:gd name="T12" fmla="*/ 33 w 148"/>
                      <a:gd name="T13" fmla="*/ 28 h 228"/>
                      <a:gd name="T14" fmla="*/ 28 w 148"/>
                      <a:gd name="T15" fmla="*/ 86 h 228"/>
                      <a:gd name="T16" fmla="*/ 33 w 148"/>
                      <a:gd name="T17" fmla="*/ 79 h 228"/>
                      <a:gd name="T18" fmla="*/ 19 w 148"/>
                      <a:gd name="T19" fmla="*/ 94 h 228"/>
                      <a:gd name="T20" fmla="*/ 0 w 148"/>
                      <a:gd name="T21" fmla="*/ 115 h 228"/>
                      <a:gd name="T22" fmla="*/ 16 w 148"/>
                      <a:gd name="T23" fmla="*/ 122 h 228"/>
                      <a:gd name="T24" fmla="*/ 38 w 148"/>
                      <a:gd name="T25" fmla="*/ 122 h 228"/>
                      <a:gd name="T26" fmla="*/ 31 w 148"/>
                      <a:gd name="T27" fmla="*/ 98 h 228"/>
                      <a:gd name="T28" fmla="*/ 61 w 148"/>
                      <a:gd name="T29" fmla="*/ 121 h 228"/>
                      <a:gd name="T30" fmla="*/ 59 w 148"/>
                      <a:gd name="T31" fmla="*/ 131 h 228"/>
                      <a:gd name="T32" fmla="*/ 137 w 148"/>
                      <a:gd name="T33" fmla="*/ 191 h 228"/>
                      <a:gd name="T34" fmla="*/ 147 w 148"/>
                      <a:gd name="T35" fmla="*/ 158 h 228"/>
                      <a:gd name="T36" fmla="*/ 125 w 148"/>
                      <a:gd name="T37" fmla="*/ 131 h 228"/>
                      <a:gd name="T38" fmla="*/ 105 w 148"/>
                      <a:gd name="T39" fmla="*/ 109 h 228"/>
                      <a:gd name="T40" fmla="*/ 88 w 148"/>
                      <a:gd name="T41" fmla="*/ 73 h 228"/>
                      <a:gd name="T42" fmla="*/ 85 w 148"/>
                      <a:gd name="T43" fmla="*/ 68 h 228"/>
                      <a:gd name="T44" fmla="*/ 94 w 148"/>
                      <a:gd name="T45" fmla="*/ 25 h 228"/>
                      <a:gd name="T46" fmla="*/ 67 w 148"/>
                      <a:gd name="T47" fmla="*/ 14 h 228"/>
                      <a:gd name="T48" fmla="*/ 71 w 148"/>
                      <a:gd name="T49" fmla="*/ 2 h 228"/>
                      <a:gd name="T50" fmla="*/ 44 w 148"/>
                      <a:gd name="T51" fmla="*/ 19 h 228"/>
                      <a:gd name="T52" fmla="*/ 39 w 148"/>
                      <a:gd name="T53" fmla="*/ 36 h 228"/>
                      <a:gd name="T54" fmla="*/ 30 w 148"/>
                      <a:gd name="T55" fmla="*/ 59 h 228"/>
                      <a:gd name="T56" fmla="*/ 37 w 148"/>
                      <a:gd name="T57" fmla="*/ 66 h 228"/>
                      <a:gd name="T58" fmla="*/ 44 w 148"/>
                      <a:gd name="T59" fmla="*/ 57 h 228"/>
                      <a:gd name="T60" fmla="*/ 38 w 148"/>
                      <a:gd name="T61" fmla="*/ 77 h 228"/>
                      <a:gd name="T62" fmla="*/ 42 w 148"/>
                      <a:gd name="T63" fmla="*/ 88 h 228"/>
                      <a:gd name="T64" fmla="*/ 50 w 148"/>
                      <a:gd name="T65" fmla="*/ 81 h 228"/>
                      <a:gd name="T66" fmla="*/ 53 w 148"/>
                      <a:gd name="T67" fmla="*/ 95 h 228"/>
                      <a:gd name="T68" fmla="*/ 49 w 148"/>
                      <a:gd name="T69" fmla="*/ 110 h 228"/>
                      <a:gd name="T70" fmla="*/ 72 w 148"/>
                      <a:gd name="T71" fmla="*/ 116 h 228"/>
                      <a:gd name="T72" fmla="*/ 81 w 148"/>
                      <a:gd name="T73" fmla="*/ 131 h 228"/>
                      <a:gd name="T74" fmla="*/ 70 w 148"/>
                      <a:gd name="T75" fmla="*/ 147 h 228"/>
                      <a:gd name="T76" fmla="*/ 61 w 148"/>
                      <a:gd name="T77" fmla="*/ 158 h 228"/>
                      <a:gd name="T78" fmla="*/ 48 w 148"/>
                      <a:gd name="T79" fmla="*/ 180 h 228"/>
                      <a:gd name="T80" fmla="*/ 65 w 148"/>
                      <a:gd name="T81" fmla="*/ 189 h 228"/>
                      <a:gd name="T82" fmla="*/ 77 w 148"/>
                      <a:gd name="T83" fmla="*/ 192 h 228"/>
                      <a:gd name="T84" fmla="*/ 72 w 148"/>
                      <a:gd name="T85" fmla="*/ 200 h 228"/>
                      <a:gd name="T86" fmla="*/ 55 w 148"/>
                      <a:gd name="T87" fmla="*/ 208 h 228"/>
                      <a:gd name="T88" fmla="*/ 45 w 148"/>
                      <a:gd name="T89" fmla="*/ 228 h 228"/>
                      <a:gd name="T90" fmla="*/ 74 w 148"/>
                      <a:gd name="T91" fmla="*/ 220 h 228"/>
                      <a:gd name="T92" fmla="*/ 88 w 148"/>
                      <a:gd name="T93" fmla="*/ 214 h 228"/>
                      <a:gd name="T94" fmla="*/ 130 w 148"/>
                      <a:gd name="T95" fmla="*/ 209 h 228"/>
                      <a:gd name="T96" fmla="*/ 135 w 148"/>
                      <a:gd name="T97" fmla="*/ 195 h 228"/>
                      <a:gd name="T98" fmla="*/ 137 w 148"/>
                      <a:gd name="T99" fmla="*/ 19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228">
                        <a:moveTo>
                          <a:pt x="107" y="211"/>
                        </a:moveTo>
                        <a:lnTo>
                          <a:pt x="110" y="213"/>
                        </a:lnTo>
                        <a:lnTo>
                          <a:pt x="114" y="212"/>
                        </a:lnTo>
                        <a:lnTo>
                          <a:pt x="110" y="209"/>
                        </a:lnTo>
                        <a:lnTo>
                          <a:pt x="107" y="211"/>
                        </a:lnTo>
                        <a:lnTo>
                          <a:pt x="107" y="211"/>
                        </a:lnTo>
                        <a:close/>
                        <a:moveTo>
                          <a:pt x="23" y="17"/>
                        </a:moveTo>
                        <a:lnTo>
                          <a:pt x="30" y="12"/>
                        </a:lnTo>
                        <a:lnTo>
                          <a:pt x="28" y="5"/>
                        </a:lnTo>
                        <a:lnTo>
                          <a:pt x="25" y="7"/>
                        </a:lnTo>
                        <a:lnTo>
                          <a:pt x="17" y="16"/>
                        </a:lnTo>
                        <a:lnTo>
                          <a:pt x="17" y="21"/>
                        </a:lnTo>
                        <a:lnTo>
                          <a:pt x="23" y="17"/>
                        </a:lnTo>
                        <a:lnTo>
                          <a:pt x="23" y="17"/>
                        </a:lnTo>
                        <a:close/>
                        <a:moveTo>
                          <a:pt x="33" y="28"/>
                        </a:moveTo>
                        <a:lnTo>
                          <a:pt x="28" y="28"/>
                        </a:lnTo>
                        <a:lnTo>
                          <a:pt x="26" y="29"/>
                        </a:lnTo>
                        <a:lnTo>
                          <a:pt x="25" y="35"/>
                        </a:lnTo>
                        <a:lnTo>
                          <a:pt x="31" y="35"/>
                        </a:lnTo>
                        <a:lnTo>
                          <a:pt x="33" y="28"/>
                        </a:lnTo>
                        <a:lnTo>
                          <a:pt x="33" y="28"/>
                        </a:lnTo>
                        <a:close/>
                        <a:moveTo>
                          <a:pt x="33" y="79"/>
                        </a:moveTo>
                        <a:lnTo>
                          <a:pt x="30" y="79"/>
                        </a:lnTo>
                        <a:lnTo>
                          <a:pt x="28" y="86"/>
                        </a:lnTo>
                        <a:lnTo>
                          <a:pt x="32" y="86"/>
                        </a:lnTo>
                        <a:lnTo>
                          <a:pt x="33" y="79"/>
                        </a:lnTo>
                        <a:lnTo>
                          <a:pt x="33" y="79"/>
                        </a:lnTo>
                        <a:close/>
                        <a:moveTo>
                          <a:pt x="31" y="98"/>
                        </a:moveTo>
                        <a:lnTo>
                          <a:pt x="21" y="97"/>
                        </a:lnTo>
                        <a:lnTo>
                          <a:pt x="19" y="94"/>
                        </a:lnTo>
                        <a:lnTo>
                          <a:pt x="10" y="95"/>
                        </a:lnTo>
                        <a:lnTo>
                          <a:pt x="10" y="106"/>
                        </a:lnTo>
                        <a:lnTo>
                          <a:pt x="0" y="115"/>
                        </a:lnTo>
                        <a:lnTo>
                          <a:pt x="0" y="120"/>
                        </a:lnTo>
                        <a:lnTo>
                          <a:pt x="9" y="126"/>
                        </a:lnTo>
                        <a:lnTo>
                          <a:pt x="16" y="122"/>
                        </a:lnTo>
                        <a:lnTo>
                          <a:pt x="23" y="125"/>
                        </a:lnTo>
                        <a:lnTo>
                          <a:pt x="30" y="128"/>
                        </a:lnTo>
                        <a:lnTo>
                          <a:pt x="38" y="122"/>
                        </a:lnTo>
                        <a:lnTo>
                          <a:pt x="43" y="112"/>
                        </a:lnTo>
                        <a:lnTo>
                          <a:pt x="38" y="110"/>
                        </a:lnTo>
                        <a:lnTo>
                          <a:pt x="31" y="98"/>
                        </a:lnTo>
                        <a:lnTo>
                          <a:pt x="31" y="98"/>
                        </a:lnTo>
                        <a:close/>
                        <a:moveTo>
                          <a:pt x="60" y="126"/>
                        </a:moveTo>
                        <a:lnTo>
                          <a:pt x="61" y="121"/>
                        </a:lnTo>
                        <a:lnTo>
                          <a:pt x="56" y="125"/>
                        </a:lnTo>
                        <a:lnTo>
                          <a:pt x="56" y="128"/>
                        </a:lnTo>
                        <a:lnTo>
                          <a:pt x="59" y="131"/>
                        </a:lnTo>
                        <a:lnTo>
                          <a:pt x="60" y="126"/>
                        </a:lnTo>
                        <a:lnTo>
                          <a:pt x="60" y="126"/>
                        </a:lnTo>
                        <a:close/>
                        <a:moveTo>
                          <a:pt x="137" y="191"/>
                        </a:moveTo>
                        <a:lnTo>
                          <a:pt x="145" y="182"/>
                        </a:lnTo>
                        <a:lnTo>
                          <a:pt x="148" y="174"/>
                        </a:lnTo>
                        <a:lnTo>
                          <a:pt x="147" y="158"/>
                        </a:lnTo>
                        <a:lnTo>
                          <a:pt x="132" y="160"/>
                        </a:lnTo>
                        <a:lnTo>
                          <a:pt x="126" y="157"/>
                        </a:lnTo>
                        <a:lnTo>
                          <a:pt x="125" y="131"/>
                        </a:lnTo>
                        <a:lnTo>
                          <a:pt x="123" y="126"/>
                        </a:lnTo>
                        <a:lnTo>
                          <a:pt x="112" y="112"/>
                        </a:lnTo>
                        <a:lnTo>
                          <a:pt x="105" y="109"/>
                        </a:lnTo>
                        <a:lnTo>
                          <a:pt x="104" y="92"/>
                        </a:lnTo>
                        <a:lnTo>
                          <a:pt x="97" y="77"/>
                        </a:lnTo>
                        <a:lnTo>
                          <a:pt x="88" y="73"/>
                        </a:lnTo>
                        <a:lnTo>
                          <a:pt x="80" y="77"/>
                        </a:lnTo>
                        <a:lnTo>
                          <a:pt x="79" y="73"/>
                        </a:lnTo>
                        <a:lnTo>
                          <a:pt x="85" y="68"/>
                        </a:lnTo>
                        <a:lnTo>
                          <a:pt x="83" y="55"/>
                        </a:lnTo>
                        <a:lnTo>
                          <a:pt x="96" y="34"/>
                        </a:lnTo>
                        <a:lnTo>
                          <a:pt x="94" y="25"/>
                        </a:lnTo>
                        <a:lnTo>
                          <a:pt x="80" y="24"/>
                        </a:lnTo>
                        <a:lnTo>
                          <a:pt x="65" y="25"/>
                        </a:lnTo>
                        <a:lnTo>
                          <a:pt x="67" y="14"/>
                        </a:lnTo>
                        <a:lnTo>
                          <a:pt x="77" y="6"/>
                        </a:lnTo>
                        <a:lnTo>
                          <a:pt x="79" y="0"/>
                        </a:lnTo>
                        <a:lnTo>
                          <a:pt x="71" y="2"/>
                        </a:lnTo>
                        <a:lnTo>
                          <a:pt x="52" y="2"/>
                        </a:lnTo>
                        <a:lnTo>
                          <a:pt x="47" y="8"/>
                        </a:lnTo>
                        <a:lnTo>
                          <a:pt x="44" y="19"/>
                        </a:lnTo>
                        <a:lnTo>
                          <a:pt x="36" y="27"/>
                        </a:lnTo>
                        <a:lnTo>
                          <a:pt x="36" y="33"/>
                        </a:lnTo>
                        <a:lnTo>
                          <a:pt x="39" y="36"/>
                        </a:lnTo>
                        <a:lnTo>
                          <a:pt x="39" y="45"/>
                        </a:lnTo>
                        <a:lnTo>
                          <a:pt x="32" y="51"/>
                        </a:lnTo>
                        <a:lnTo>
                          <a:pt x="30" y="59"/>
                        </a:lnTo>
                        <a:lnTo>
                          <a:pt x="31" y="66"/>
                        </a:lnTo>
                        <a:lnTo>
                          <a:pt x="32" y="70"/>
                        </a:lnTo>
                        <a:lnTo>
                          <a:pt x="37" y="66"/>
                        </a:lnTo>
                        <a:lnTo>
                          <a:pt x="37" y="60"/>
                        </a:lnTo>
                        <a:lnTo>
                          <a:pt x="42" y="55"/>
                        </a:lnTo>
                        <a:lnTo>
                          <a:pt x="44" y="57"/>
                        </a:lnTo>
                        <a:lnTo>
                          <a:pt x="43" y="61"/>
                        </a:lnTo>
                        <a:lnTo>
                          <a:pt x="38" y="70"/>
                        </a:lnTo>
                        <a:lnTo>
                          <a:pt x="38" y="77"/>
                        </a:lnTo>
                        <a:lnTo>
                          <a:pt x="38" y="87"/>
                        </a:lnTo>
                        <a:lnTo>
                          <a:pt x="39" y="92"/>
                        </a:lnTo>
                        <a:lnTo>
                          <a:pt x="42" y="88"/>
                        </a:lnTo>
                        <a:lnTo>
                          <a:pt x="43" y="81"/>
                        </a:lnTo>
                        <a:lnTo>
                          <a:pt x="49" y="77"/>
                        </a:lnTo>
                        <a:lnTo>
                          <a:pt x="50" y="81"/>
                        </a:lnTo>
                        <a:lnTo>
                          <a:pt x="52" y="86"/>
                        </a:lnTo>
                        <a:lnTo>
                          <a:pt x="54" y="90"/>
                        </a:lnTo>
                        <a:lnTo>
                          <a:pt x="53" y="95"/>
                        </a:lnTo>
                        <a:lnTo>
                          <a:pt x="48" y="100"/>
                        </a:lnTo>
                        <a:lnTo>
                          <a:pt x="47" y="109"/>
                        </a:lnTo>
                        <a:lnTo>
                          <a:pt x="49" y="110"/>
                        </a:lnTo>
                        <a:lnTo>
                          <a:pt x="66" y="109"/>
                        </a:lnTo>
                        <a:lnTo>
                          <a:pt x="74" y="105"/>
                        </a:lnTo>
                        <a:lnTo>
                          <a:pt x="72" y="116"/>
                        </a:lnTo>
                        <a:lnTo>
                          <a:pt x="75" y="124"/>
                        </a:lnTo>
                        <a:lnTo>
                          <a:pt x="77" y="128"/>
                        </a:lnTo>
                        <a:lnTo>
                          <a:pt x="81" y="131"/>
                        </a:lnTo>
                        <a:lnTo>
                          <a:pt x="82" y="138"/>
                        </a:lnTo>
                        <a:lnTo>
                          <a:pt x="79" y="143"/>
                        </a:lnTo>
                        <a:lnTo>
                          <a:pt x="70" y="147"/>
                        </a:lnTo>
                        <a:lnTo>
                          <a:pt x="60" y="149"/>
                        </a:lnTo>
                        <a:lnTo>
                          <a:pt x="58" y="157"/>
                        </a:lnTo>
                        <a:lnTo>
                          <a:pt x="61" y="158"/>
                        </a:lnTo>
                        <a:lnTo>
                          <a:pt x="59" y="176"/>
                        </a:lnTo>
                        <a:lnTo>
                          <a:pt x="53" y="177"/>
                        </a:lnTo>
                        <a:lnTo>
                          <a:pt x="48" y="180"/>
                        </a:lnTo>
                        <a:lnTo>
                          <a:pt x="45" y="185"/>
                        </a:lnTo>
                        <a:lnTo>
                          <a:pt x="48" y="189"/>
                        </a:lnTo>
                        <a:lnTo>
                          <a:pt x="65" y="189"/>
                        </a:lnTo>
                        <a:lnTo>
                          <a:pt x="69" y="192"/>
                        </a:lnTo>
                        <a:lnTo>
                          <a:pt x="76" y="193"/>
                        </a:lnTo>
                        <a:lnTo>
                          <a:pt x="77" y="192"/>
                        </a:lnTo>
                        <a:lnTo>
                          <a:pt x="82" y="192"/>
                        </a:lnTo>
                        <a:lnTo>
                          <a:pt x="80" y="197"/>
                        </a:lnTo>
                        <a:lnTo>
                          <a:pt x="72" y="200"/>
                        </a:lnTo>
                        <a:lnTo>
                          <a:pt x="63" y="201"/>
                        </a:lnTo>
                        <a:lnTo>
                          <a:pt x="61" y="207"/>
                        </a:lnTo>
                        <a:lnTo>
                          <a:pt x="55" y="208"/>
                        </a:lnTo>
                        <a:lnTo>
                          <a:pt x="53" y="217"/>
                        </a:lnTo>
                        <a:lnTo>
                          <a:pt x="44" y="224"/>
                        </a:lnTo>
                        <a:lnTo>
                          <a:pt x="45" y="228"/>
                        </a:lnTo>
                        <a:lnTo>
                          <a:pt x="52" y="227"/>
                        </a:lnTo>
                        <a:lnTo>
                          <a:pt x="55" y="220"/>
                        </a:lnTo>
                        <a:lnTo>
                          <a:pt x="74" y="220"/>
                        </a:lnTo>
                        <a:lnTo>
                          <a:pt x="75" y="215"/>
                        </a:lnTo>
                        <a:lnTo>
                          <a:pt x="86" y="212"/>
                        </a:lnTo>
                        <a:lnTo>
                          <a:pt x="88" y="214"/>
                        </a:lnTo>
                        <a:lnTo>
                          <a:pt x="110" y="207"/>
                        </a:lnTo>
                        <a:lnTo>
                          <a:pt x="118" y="209"/>
                        </a:lnTo>
                        <a:lnTo>
                          <a:pt x="130" y="209"/>
                        </a:lnTo>
                        <a:lnTo>
                          <a:pt x="143" y="200"/>
                        </a:lnTo>
                        <a:lnTo>
                          <a:pt x="143" y="196"/>
                        </a:lnTo>
                        <a:lnTo>
                          <a:pt x="135" y="195"/>
                        </a:lnTo>
                        <a:lnTo>
                          <a:pt x="129" y="195"/>
                        </a:lnTo>
                        <a:lnTo>
                          <a:pt x="130" y="191"/>
                        </a:lnTo>
                        <a:lnTo>
                          <a:pt x="137" y="191"/>
                        </a:lnTo>
                        <a:lnTo>
                          <a:pt x="137" y="191"/>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3" name="Freeform 8"/>
                  <p:cNvSpPr>
                    <a:spLocks noChangeAspect="1"/>
                  </p:cNvSpPr>
                  <p:nvPr/>
                </p:nvSpPr>
                <p:spPr bwMode="gray">
                  <a:xfrm>
                    <a:off x="-111" y="731"/>
                    <a:ext cx="405" cy="610"/>
                  </a:xfrm>
                  <a:custGeom>
                    <a:avLst/>
                    <a:gdLst>
                      <a:gd name="T0" fmla="*/ 0 w 66"/>
                      <a:gd name="T1" fmla="*/ 81 h 100"/>
                      <a:gd name="T2" fmla="*/ 1 w 66"/>
                      <a:gd name="T3" fmla="*/ 91 h 100"/>
                      <a:gd name="T4" fmla="*/ 6 w 66"/>
                      <a:gd name="T5" fmla="*/ 92 h 100"/>
                      <a:gd name="T6" fmla="*/ 8 w 66"/>
                      <a:gd name="T7" fmla="*/ 97 h 100"/>
                      <a:gd name="T8" fmla="*/ 14 w 66"/>
                      <a:gd name="T9" fmla="*/ 100 h 100"/>
                      <a:gd name="T10" fmla="*/ 23 w 66"/>
                      <a:gd name="T11" fmla="*/ 95 h 100"/>
                      <a:gd name="T12" fmla="*/ 35 w 66"/>
                      <a:gd name="T13" fmla="*/ 89 h 100"/>
                      <a:gd name="T14" fmla="*/ 50 w 66"/>
                      <a:gd name="T15" fmla="*/ 82 h 100"/>
                      <a:gd name="T16" fmla="*/ 60 w 66"/>
                      <a:gd name="T17" fmla="*/ 80 h 100"/>
                      <a:gd name="T18" fmla="*/ 63 w 66"/>
                      <a:gd name="T19" fmla="*/ 63 h 100"/>
                      <a:gd name="T20" fmla="*/ 66 w 66"/>
                      <a:gd name="T21" fmla="*/ 53 h 100"/>
                      <a:gd name="T22" fmla="*/ 65 w 66"/>
                      <a:gd name="T23" fmla="*/ 47 h 100"/>
                      <a:gd name="T24" fmla="*/ 65 w 66"/>
                      <a:gd name="T25" fmla="*/ 33 h 100"/>
                      <a:gd name="T26" fmla="*/ 58 w 66"/>
                      <a:gd name="T27" fmla="*/ 30 h 100"/>
                      <a:gd name="T28" fmla="*/ 51 w 66"/>
                      <a:gd name="T29" fmla="*/ 27 h 100"/>
                      <a:gd name="T30" fmla="*/ 44 w 66"/>
                      <a:gd name="T31" fmla="*/ 31 h 100"/>
                      <a:gd name="T32" fmla="*/ 35 w 66"/>
                      <a:gd name="T33" fmla="*/ 25 h 100"/>
                      <a:gd name="T34" fmla="*/ 35 w 66"/>
                      <a:gd name="T35" fmla="*/ 20 h 100"/>
                      <a:gd name="T36" fmla="*/ 45 w 66"/>
                      <a:gd name="T37" fmla="*/ 11 h 100"/>
                      <a:gd name="T38" fmla="*/ 45 w 66"/>
                      <a:gd name="T39" fmla="*/ 0 h 100"/>
                      <a:gd name="T40" fmla="*/ 33 w 66"/>
                      <a:gd name="T41" fmla="*/ 2 h 100"/>
                      <a:gd name="T42" fmla="*/ 29 w 66"/>
                      <a:gd name="T43" fmla="*/ 6 h 100"/>
                      <a:gd name="T44" fmla="*/ 25 w 66"/>
                      <a:gd name="T45" fmla="*/ 17 h 100"/>
                      <a:gd name="T46" fmla="*/ 29 w 66"/>
                      <a:gd name="T47" fmla="*/ 24 h 100"/>
                      <a:gd name="T48" fmla="*/ 22 w 66"/>
                      <a:gd name="T49" fmla="*/ 27 h 100"/>
                      <a:gd name="T50" fmla="*/ 13 w 66"/>
                      <a:gd name="T51" fmla="*/ 25 h 100"/>
                      <a:gd name="T52" fmla="*/ 7 w 66"/>
                      <a:gd name="T53" fmla="*/ 27 h 100"/>
                      <a:gd name="T54" fmla="*/ 3 w 66"/>
                      <a:gd name="T55" fmla="*/ 33 h 100"/>
                      <a:gd name="T56" fmla="*/ 9 w 66"/>
                      <a:gd name="T57" fmla="*/ 42 h 100"/>
                      <a:gd name="T58" fmla="*/ 8 w 66"/>
                      <a:gd name="T59" fmla="*/ 46 h 100"/>
                      <a:gd name="T60" fmla="*/ 5 w 66"/>
                      <a:gd name="T61" fmla="*/ 49 h 100"/>
                      <a:gd name="T62" fmla="*/ 8 w 66"/>
                      <a:gd name="T63" fmla="*/ 52 h 100"/>
                      <a:gd name="T64" fmla="*/ 13 w 66"/>
                      <a:gd name="T65" fmla="*/ 49 h 100"/>
                      <a:gd name="T66" fmla="*/ 18 w 66"/>
                      <a:gd name="T67" fmla="*/ 52 h 100"/>
                      <a:gd name="T68" fmla="*/ 13 w 66"/>
                      <a:gd name="T69" fmla="*/ 60 h 100"/>
                      <a:gd name="T70" fmla="*/ 13 w 66"/>
                      <a:gd name="T71" fmla="*/ 68 h 100"/>
                      <a:gd name="T72" fmla="*/ 18 w 66"/>
                      <a:gd name="T73" fmla="*/ 70 h 100"/>
                      <a:gd name="T74" fmla="*/ 18 w 66"/>
                      <a:gd name="T75" fmla="*/ 71 h 100"/>
                      <a:gd name="T76" fmla="*/ 5 w 66"/>
                      <a:gd name="T77" fmla="*/ 76 h 100"/>
                      <a:gd name="T78" fmla="*/ 0 w 66"/>
                      <a:gd name="T79" fmla="*/ 81 h 100"/>
                      <a:gd name="T80" fmla="*/ 0 w 66"/>
                      <a:gd name="T81" fmla="*/ 8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100">
                        <a:moveTo>
                          <a:pt x="0" y="81"/>
                        </a:moveTo>
                        <a:lnTo>
                          <a:pt x="1" y="91"/>
                        </a:lnTo>
                        <a:lnTo>
                          <a:pt x="6" y="92"/>
                        </a:lnTo>
                        <a:lnTo>
                          <a:pt x="8" y="97"/>
                        </a:lnTo>
                        <a:lnTo>
                          <a:pt x="14" y="100"/>
                        </a:lnTo>
                        <a:lnTo>
                          <a:pt x="23" y="95"/>
                        </a:lnTo>
                        <a:lnTo>
                          <a:pt x="35" y="89"/>
                        </a:lnTo>
                        <a:lnTo>
                          <a:pt x="50" y="82"/>
                        </a:lnTo>
                        <a:lnTo>
                          <a:pt x="60" y="80"/>
                        </a:lnTo>
                        <a:lnTo>
                          <a:pt x="63" y="63"/>
                        </a:lnTo>
                        <a:lnTo>
                          <a:pt x="66" y="53"/>
                        </a:lnTo>
                        <a:lnTo>
                          <a:pt x="65" y="47"/>
                        </a:lnTo>
                        <a:lnTo>
                          <a:pt x="65" y="33"/>
                        </a:lnTo>
                        <a:lnTo>
                          <a:pt x="58" y="30"/>
                        </a:lnTo>
                        <a:lnTo>
                          <a:pt x="51" y="27"/>
                        </a:lnTo>
                        <a:lnTo>
                          <a:pt x="44" y="31"/>
                        </a:lnTo>
                        <a:lnTo>
                          <a:pt x="35" y="25"/>
                        </a:lnTo>
                        <a:lnTo>
                          <a:pt x="35" y="20"/>
                        </a:lnTo>
                        <a:lnTo>
                          <a:pt x="45" y="11"/>
                        </a:lnTo>
                        <a:lnTo>
                          <a:pt x="45" y="0"/>
                        </a:lnTo>
                        <a:lnTo>
                          <a:pt x="33" y="2"/>
                        </a:lnTo>
                        <a:lnTo>
                          <a:pt x="29" y="6"/>
                        </a:lnTo>
                        <a:lnTo>
                          <a:pt x="25" y="17"/>
                        </a:lnTo>
                        <a:lnTo>
                          <a:pt x="29" y="24"/>
                        </a:lnTo>
                        <a:lnTo>
                          <a:pt x="22" y="27"/>
                        </a:lnTo>
                        <a:lnTo>
                          <a:pt x="13" y="25"/>
                        </a:lnTo>
                        <a:lnTo>
                          <a:pt x="7" y="27"/>
                        </a:lnTo>
                        <a:lnTo>
                          <a:pt x="3" y="33"/>
                        </a:lnTo>
                        <a:lnTo>
                          <a:pt x="9" y="42"/>
                        </a:lnTo>
                        <a:lnTo>
                          <a:pt x="8" y="46"/>
                        </a:lnTo>
                        <a:lnTo>
                          <a:pt x="5" y="49"/>
                        </a:lnTo>
                        <a:lnTo>
                          <a:pt x="8" y="52"/>
                        </a:lnTo>
                        <a:lnTo>
                          <a:pt x="13" y="49"/>
                        </a:lnTo>
                        <a:lnTo>
                          <a:pt x="18" y="52"/>
                        </a:lnTo>
                        <a:lnTo>
                          <a:pt x="13" y="60"/>
                        </a:lnTo>
                        <a:lnTo>
                          <a:pt x="13" y="68"/>
                        </a:lnTo>
                        <a:lnTo>
                          <a:pt x="18" y="70"/>
                        </a:lnTo>
                        <a:lnTo>
                          <a:pt x="18" y="71"/>
                        </a:lnTo>
                        <a:lnTo>
                          <a:pt x="5" y="76"/>
                        </a:lnTo>
                        <a:lnTo>
                          <a:pt x="0" y="81"/>
                        </a:lnTo>
                        <a:lnTo>
                          <a:pt x="0" y="81"/>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4" name="Freeform 9"/>
                  <p:cNvSpPr>
                    <a:spLocks noChangeAspect="1"/>
                  </p:cNvSpPr>
                  <p:nvPr/>
                </p:nvSpPr>
                <p:spPr bwMode="gray">
                  <a:xfrm>
                    <a:off x="2857" y="498"/>
                    <a:ext cx="514" cy="408"/>
                  </a:xfrm>
                  <a:custGeom>
                    <a:avLst/>
                    <a:gdLst>
                      <a:gd name="T0" fmla="*/ 24 w 84"/>
                      <a:gd name="T1" fmla="*/ 43 h 67"/>
                      <a:gd name="T2" fmla="*/ 28 w 84"/>
                      <a:gd name="T3" fmla="*/ 57 h 67"/>
                      <a:gd name="T4" fmla="*/ 35 w 84"/>
                      <a:gd name="T5" fmla="*/ 55 h 67"/>
                      <a:gd name="T6" fmla="*/ 38 w 84"/>
                      <a:gd name="T7" fmla="*/ 62 h 67"/>
                      <a:gd name="T8" fmla="*/ 49 w 84"/>
                      <a:gd name="T9" fmla="*/ 67 h 67"/>
                      <a:gd name="T10" fmla="*/ 54 w 84"/>
                      <a:gd name="T11" fmla="*/ 62 h 67"/>
                      <a:gd name="T12" fmla="*/ 55 w 84"/>
                      <a:gd name="T13" fmla="*/ 55 h 67"/>
                      <a:gd name="T14" fmla="*/ 69 w 84"/>
                      <a:gd name="T15" fmla="*/ 51 h 67"/>
                      <a:gd name="T16" fmla="*/ 75 w 84"/>
                      <a:gd name="T17" fmla="*/ 38 h 67"/>
                      <a:gd name="T18" fmla="*/ 84 w 84"/>
                      <a:gd name="T19" fmla="*/ 24 h 67"/>
                      <a:gd name="T20" fmla="*/ 70 w 84"/>
                      <a:gd name="T21" fmla="*/ 6 h 67"/>
                      <a:gd name="T22" fmla="*/ 42 w 84"/>
                      <a:gd name="T23" fmla="*/ 0 h 67"/>
                      <a:gd name="T24" fmla="*/ 8 w 84"/>
                      <a:gd name="T25" fmla="*/ 0 h 67"/>
                      <a:gd name="T26" fmla="*/ 0 w 84"/>
                      <a:gd name="T27" fmla="*/ 9 h 67"/>
                      <a:gd name="T28" fmla="*/ 5 w 84"/>
                      <a:gd name="T29" fmla="*/ 36 h 67"/>
                      <a:gd name="T30" fmla="*/ 16 w 84"/>
                      <a:gd name="T31" fmla="*/ 40 h 67"/>
                      <a:gd name="T32" fmla="*/ 24 w 84"/>
                      <a:gd name="T33" fmla="*/ 43 h 67"/>
                      <a:gd name="T34" fmla="*/ 24 w 84"/>
                      <a:gd name="T35" fmla="*/ 4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67">
                        <a:moveTo>
                          <a:pt x="24" y="43"/>
                        </a:moveTo>
                        <a:lnTo>
                          <a:pt x="28" y="57"/>
                        </a:lnTo>
                        <a:lnTo>
                          <a:pt x="35" y="55"/>
                        </a:lnTo>
                        <a:lnTo>
                          <a:pt x="38" y="62"/>
                        </a:lnTo>
                        <a:lnTo>
                          <a:pt x="49" y="67"/>
                        </a:lnTo>
                        <a:lnTo>
                          <a:pt x="54" y="62"/>
                        </a:lnTo>
                        <a:lnTo>
                          <a:pt x="55" y="55"/>
                        </a:lnTo>
                        <a:lnTo>
                          <a:pt x="69" y="51"/>
                        </a:lnTo>
                        <a:lnTo>
                          <a:pt x="75" y="38"/>
                        </a:lnTo>
                        <a:lnTo>
                          <a:pt x="84" y="24"/>
                        </a:lnTo>
                        <a:lnTo>
                          <a:pt x="70" y="6"/>
                        </a:lnTo>
                        <a:lnTo>
                          <a:pt x="42" y="0"/>
                        </a:lnTo>
                        <a:lnTo>
                          <a:pt x="8" y="0"/>
                        </a:lnTo>
                        <a:lnTo>
                          <a:pt x="0" y="9"/>
                        </a:lnTo>
                        <a:lnTo>
                          <a:pt x="5" y="36"/>
                        </a:lnTo>
                        <a:lnTo>
                          <a:pt x="16" y="40"/>
                        </a:lnTo>
                        <a:lnTo>
                          <a:pt x="24" y="43"/>
                        </a:lnTo>
                        <a:lnTo>
                          <a:pt x="24" y="43"/>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5" name="Freeform 10"/>
                  <p:cNvSpPr>
                    <a:spLocks noChangeAspect="1"/>
                  </p:cNvSpPr>
                  <p:nvPr/>
                </p:nvSpPr>
                <p:spPr bwMode="gray">
                  <a:xfrm>
                    <a:off x="2432" y="1771"/>
                    <a:ext cx="37" cy="7"/>
                  </a:xfrm>
                  <a:custGeom>
                    <a:avLst/>
                    <a:gdLst>
                      <a:gd name="T0" fmla="*/ 0 w 6"/>
                      <a:gd name="T1" fmla="*/ 0 h 1"/>
                      <a:gd name="T2" fmla="*/ 6 w 6"/>
                      <a:gd name="T3" fmla="*/ 1 h 1"/>
                      <a:gd name="T4" fmla="*/ 6 w 6"/>
                      <a:gd name="T5" fmla="*/ 1 h 1"/>
                      <a:gd name="T6" fmla="*/ 0 w 6"/>
                      <a:gd name="T7" fmla="*/ 0 h 1"/>
                      <a:gd name="T8" fmla="*/ 0 w 6"/>
                      <a:gd name="T9" fmla="*/ 0 h 1"/>
                    </a:gdLst>
                    <a:ahLst/>
                    <a:cxnLst>
                      <a:cxn ang="0">
                        <a:pos x="T0" y="T1"/>
                      </a:cxn>
                      <a:cxn ang="0">
                        <a:pos x="T2" y="T3"/>
                      </a:cxn>
                      <a:cxn ang="0">
                        <a:pos x="T4" y="T5"/>
                      </a:cxn>
                      <a:cxn ang="0">
                        <a:pos x="T6" y="T7"/>
                      </a:cxn>
                      <a:cxn ang="0">
                        <a:pos x="T8" y="T9"/>
                      </a:cxn>
                    </a:cxnLst>
                    <a:rect l="0" t="0" r="r" b="b"/>
                    <a:pathLst>
                      <a:path w="6" h="1">
                        <a:moveTo>
                          <a:pt x="0" y="0"/>
                        </a:moveTo>
                        <a:lnTo>
                          <a:pt x="6" y="1"/>
                        </a:lnTo>
                        <a:lnTo>
                          <a:pt x="6" y="1"/>
                        </a:lnTo>
                        <a:lnTo>
                          <a:pt x="0" y="0"/>
                        </a:lnTo>
                        <a:lnTo>
                          <a:pt x="0"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6" name="Freeform 11"/>
                  <p:cNvSpPr>
                    <a:spLocks noChangeAspect="1"/>
                  </p:cNvSpPr>
                  <p:nvPr/>
                </p:nvSpPr>
                <p:spPr bwMode="gray">
                  <a:xfrm>
                    <a:off x="1770" y="1919"/>
                    <a:ext cx="7" cy="37"/>
                  </a:xfrm>
                  <a:custGeom>
                    <a:avLst/>
                    <a:gdLst>
                      <a:gd name="T0" fmla="*/ 1 w 1"/>
                      <a:gd name="T1" fmla="*/ 5 h 5"/>
                      <a:gd name="T2" fmla="*/ 1 w 1"/>
                      <a:gd name="T3" fmla="*/ 0 h 5"/>
                      <a:gd name="T4" fmla="*/ 0 w 1"/>
                      <a:gd name="T5" fmla="*/ 0 h 5"/>
                      <a:gd name="T6" fmla="*/ 1 w 1"/>
                      <a:gd name="T7" fmla="*/ 5 h 5"/>
                    </a:gdLst>
                    <a:ahLst/>
                    <a:cxnLst>
                      <a:cxn ang="0">
                        <a:pos x="T0" y="T1"/>
                      </a:cxn>
                      <a:cxn ang="0">
                        <a:pos x="T2" y="T3"/>
                      </a:cxn>
                      <a:cxn ang="0">
                        <a:pos x="T4" y="T5"/>
                      </a:cxn>
                      <a:cxn ang="0">
                        <a:pos x="T6" y="T7"/>
                      </a:cxn>
                    </a:cxnLst>
                    <a:rect l="0" t="0" r="r" b="b"/>
                    <a:pathLst>
                      <a:path w="1" h="5">
                        <a:moveTo>
                          <a:pt x="1" y="5"/>
                        </a:moveTo>
                        <a:cubicBezTo>
                          <a:pt x="1" y="3"/>
                          <a:pt x="1" y="1"/>
                          <a:pt x="1" y="0"/>
                        </a:cubicBezTo>
                        <a:cubicBezTo>
                          <a:pt x="0" y="0"/>
                          <a:pt x="0" y="0"/>
                          <a:pt x="0" y="0"/>
                        </a:cubicBezTo>
                        <a:lnTo>
                          <a:pt x="1" y="5"/>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7" name="Freeform 12"/>
                  <p:cNvSpPr>
                    <a:spLocks noChangeAspect="1"/>
                  </p:cNvSpPr>
                  <p:nvPr/>
                </p:nvSpPr>
                <p:spPr bwMode="gray">
                  <a:xfrm>
                    <a:off x="1777" y="1680"/>
                    <a:ext cx="700" cy="360"/>
                  </a:xfrm>
                  <a:custGeom>
                    <a:avLst/>
                    <a:gdLst>
                      <a:gd name="T0" fmla="*/ 92 w 92"/>
                      <a:gd name="T1" fmla="*/ 21 h 48"/>
                      <a:gd name="T2" fmla="*/ 91 w 92"/>
                      <a:gd name="T3" fmla="*/ 15 h 48"/>
                      <a:gd name="T4" fmla="*/ 91 w 92"/>
                      <a:gd name="T5" fmla="*/ 13 h 48"/>
                      <a:gd name="T6" fmla="*/ 86 w 92"/>
                      <a:gd name="T7" fmla="*/ 12 h 48"/>
                      <a:gd name="T8" fmla="*/ 83 w 92"/>
                      <a:gd name="T9" fmla="*/ 4 h 48"/>
                      <a:gd name="T10" fmla="*/ 71 w 92"/>
                      <a:gd name="T11" fmla="*/ 0 h 48"/>
                      <a:gd name="T12" fmla="*/ 53 w 92"/>
                      <a:gd name="T13" fmla="*/ 2 h 48"/>
                      <a:gd name="T14" fmla="*/ 51 w 92"/>
                      <a:gd name="T15" fmla="*/ 8 h 48"/>
                      <a:gd name="T16" fmla="*/ 44 w 92"/>
                      <a:gd name="T17" fmla="*/ 13 h 48"/>
                      <a:gd name="T18" fmla="*/ 44 w 92"/>
                      <a:gd name="T19" fmla="*/ 14 h 48"/>
                      <a:gd name="T20" fmla="*/ 46 w 92"/>
                      <a:gd name="T21" fmla="*/ 21 h 48"/>
                      <a:gd name="T22" fmla="*/ 42 w 92"/>
                      <a:gd name="T23" fmla="*/ 26 h 48"/>
                      <a:gd name="T24" fmla="*/ 33 w 92"/>
                      <a:gd name="T25" fmla="*/ 24 h 48"/>
                      <a:gd name="T26" fmla="*/ 25 w 92"/>
                      <a:gd name="T27" fmla="*/ 28 h 48"/>
                      <a:gd name="T28" fmla="*/ 12 w 92"/>
                      <a:gd name="T29" fmla="*/ 31 h 48"/>
                      <a:gd name="T30" fmla="*/ 1 w 92"/>
                      <a:gd name="T31" fmla="*/ 30 h 48"/>
                      <a:gd name="T32" fmla="*/ 0 w 92"/>
                      <a:gd name="T33" fmla="*/ 32 h 48"/>
                      <a:gd name="T34" fmla="*/ 0 w 92"/>
                      <a:gd name="T35" fmla="*/ 37 h 48"/>
                      <a:gd name="T36" fmla="*/ 0 w 92"/>
                      <a:gd name="T37" fmla="*/ 39 h 48"/>
                      <a:gd name="T38" fmla="*/ 7 w 92"/>
                      <a:gd name="T39" fmla="*/ 42 h 48"/>
                      <a:gd name="T40" fmla="*/ 20 w 92"/>
                      <a:gd name="T41" fmla="*/ 42 h 48"/>
                      <a:gd name="T42" fmla="*/ 24 w 92"/>
                      <a:gd name="T43" fmla="*/ 38 h 48"/>
                      <a:gd name="T44" fmla="*/ 31 w 92"/>
                      <a:gd name="T45" fmla="*/ 38 h 48"/>
                      <a:gd name="T46" fmla="*/ 34 w 92"/>
                      <a:gd name="T47" fmla="*/ 41 h 48"/>
                      <a:gd name="T48" fmla="*/ 39 w 92"/>
                      <a:gd name="T49" fmla="*/ 41 h 48"/>
                      <a:gd name="T50" fmla="*/ 50 w 92"/>
                      <a:gd name="T51" fmla="*/ 45 h 48"/>
                      <a:gd name="T52" fmla="*/ 59 w 92"/>
                      <a:gd name="T53" fmla="*/ 48 h 48"/>
                      <a:gd name="T54" fmla="*/ 73 w 92"/>
                      <a:gd name="T55" fmla="*/ 40 h 48"/>
                      <a:gd name="T56" fmla="*/ 84 w 92"/>
                      <a:gd name="T57" fmla="*/ 37 h 48"/>
                      <a:gd name="T58" fmla="*/ 86 w 92"/>
                      <a:gd name="T59" fmla="*/ 33 h 48"/>
                      <a:gd name="T60" fmla="*/ 86 w 92"/>
                      <a:gd name="T61" fmla="*/ 25 h 48"/>
                      <a:gd name="T62" fmla="*/ 92 w 92"/>
                      <a:gd name="T63"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8">
                        <a:moveTo>
                          <a:pt x="92" y="21"/>
                        </a:moveTo>
                        <a:cubicBezTo>
                          <a:pt x="91" y="15"/>
                          <a:pt x="91" y="15"/>
                          <a:pt x="91" y="15"/>
                        </a:cubicBezTo>
                        <a:cubicBezTo>
                          <a:pt x="91" y="13"/>
                          <a:pt x="91" y="13"/>
                          <a:pt x="91" y="13"/>
                        </a:cubicBezTo>
                        <a:cubicBezTo>
                          <a:pt x="86" y="12"/>
                          <a:pt x="86" y="12"/>
                          <a:pt x="86" y="12"/>
                        </a:cubicBezTo>
                        <a:cubicBezTo>
                          <a:pt x="83" y="4"/>
                          <a:pt x="83" y="4"/>
                          <a:pt x="83" y="4"/>
                        </a:cubicBezTo>
                        <a:cubicBezTo>
                          <a:pt x="71" y="0"/>
                          <a:pt x="71" y="0"/>
                          <a:pt x="71" y="0"/>
                        </a:cubicBezTo>
                        <a:cubicBezTo>
                          <a:pt x="53" y="2"/>
                          <a:pt x="53" y="2"/>
                          <a:pt x="53" y="2"/>
                        </a:cubicBezTo>
                        <a:cubicBezTo>
                          <a:pt x="51" y="8"/>
                          <a:pt x="51" y="8"/>
                          <a:pt x="51" y="8"/>
                        </a:cubicBezTo>
                        <a:cubicBezTo>
                          <a:pt x="44" y="13"/>
                          <a:pt x="44" y="13"/>
                          <a:pt x="44" y="13"/>
                        </a:cubicBezTo>
                        <a:cubicBezTo>
                          <a:pt x="44" y="14"/>
                          <a:pt x="44" y="14"/>
                          <a:pt x="44" y="14"/>
                        </a:cubicBezTo>
                        <a:cubicBezTo>
                          <a:pt x="46" y="21"/>
                          <a:pt x="46" y="21"/>
                          <a:pt x="46" y="21"/>
                        </a:cubicBezTo>
                        <a:cubicBezTo>
                          <a:pt x="42" y="26"/>
                          <a:pt x="42" y="26"/>
                          <a:pt x="42" y="26"/>
                        </a:cubicBezTo>
                        <a:cubicBezTo>
                          <a:pt x="33" y="24"/>
                          <a:pt x="33" y="24"/>
                          <a:pt x="33" y="24"/>
                        </a:cubicBezTo>
                        <a:cubicBezTo>
                          <a:pt x="25" y="28"/>
                          <a:pt x="25" y="28"/>
                          <a:pt x="25" y="28"/>
                        </a:cubicBezTo>
                        <a:cubicBezTo>
                          <a:pt x="12" y="31"/>
                          <a:pt x="12" y="31"/>
                          <a:pt x="12" y="31"/>
                        </a:cubicBezTo>
                        <a:cubicBezTo>
                          <a:pt x="1" y="30"/>
                          <a:pt x="1" y="30"/>
                          <a:pt x="1" y="30"/>
                        </a:cubicBezTo>
                        <a:cubicBezTo>
                          <a:pt x="0" y="32"/>
                          <a:pt x="0" y="32"/>
                          <a:pt x="0" y="32"/>
                        </a:cubicBezTo>
                        <a:cubicBezTo>
                          <a:pt x="0" y="33"/>
                          <a:pt x="0" y="35"/>
                          <a:pt x="0" y="37"/>
                        </a:cubicBezTo>
                        <a:cubicBezTo>
                          <a:pt x="0" y="39"/>
                          <a:pt x="0" y="39"/>
                          <a:pt x="0" y="39"/>
                        </a:cubicBezTo>
                        <a:cubicBezTo>
                          <a:pt x="7" y="42"/>
                          <a:pt x="7" y="42"/>
                          <a:pt x="7" y="42"/>
                        </a:cubicBezTo>
                        <a:cubicBezTo>
                          <a:pt x="20" y="42"/>
                          <a:pt x="20" y="42"/>
                          <a:pt x="20" y="42"/>
                        </a:cubicBezTo>
                        <a:cubicBezTo>
                          <a:pt x="24" y="38"/>
                          <a:pt x="24" y="38"/>
                          <a:pt x="24" y="38"/>
                        </a:cubicBezTo>
                        <a:cubicBezTo>
                          <a:pt x="31" y="38"/>
                          <a:pt x="31" y="38"/>
                          <a:pt x="31" y="38"/>
                        </a:cubicBezTo>
                        <a:cubicBezTo>
                          <a:pt x="34" y="41"/>
                          <a:pt x="34" y="41"/>
                          <a:pt x="34" y="41"/>
                        </a:cubicBezTo>
                        <a:cubicBezTo>
                          <a:pt x="39" y="41"/>
                          <a:pt x="39" y="41"/>
                          <a:pt x="39" y="41"/>
                        </a:cubicBezTo>
                        <a:cubicBezTo>
                          <a:pt x="50" y="45"/>
                          <a:pt x="50" y="45"/>
                          <a:pt x="50" y="45"/>
                        </a:cubicBezTo>
                        <a:cubicBezTo>
                          <a:pt x="59" y="48"/>
                          <a:pt x="59" y="48"/>
                          <a:pt x="59" y="48"/>
                        </a:cubicBezTo>
                        <a:cubicBezTo>
                          <a:pt x="73" y="40"/>
                          <a:pt x="73" y="40"/>
                          <a:pt x="73" y="40"/>
                        </a:cubicBezTo>
                        <a:cubicBezTo>
                          <a:pt x="84" y="37"/>
                          <a:pt x="84" y="37"/>
                          <a:pt x="84" y="37"/>
                        </a:cubicBezTo>
                        <a:cubicBezTo>
                          <a:pt x="86" y="33"/>
                          <a:pt x="86" y="33"/>
                          <a:pt x="86" y="33"/>
                        </a:cubicBezTo>
                        <a:cubicBezTo>
                          <a:pt x="86" y="25"/>
                          <a:pt x="86" y="25"/>
                          <a:pt x="86" y="25"/>
                        </a:cubicBezTo>
                        <a:lnTo>
                          <a:pt x="92" y="21"/>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8" name="Freeform 13"/>
                  <p:cNvSpPr>
                    <a:spLocks noChangeAspect="1"/>
                  </p:cNvSpPr>
                  <p:nvPr/>
                </p:nvSpPr>
                <p:spPr bwMode="gray">
                  <a:xfrm>
                    <a:off x="1777" y="1907"/>
                    <a:ext cx="8" cy="12"/>
                  </a:xfrm>
                  <a:custGeom>
                    <a:avLst/>
                    <a:gdLst>
                      <a:gd name="T0" fmla="*/ 1 w 1"/>
                      <a:gd name="T1" fmla="*/ 0 h 2"/>
                      <a:gd name="T2" fmla="*/ 0 w 1"/>
                      <a:gd name="T3" fmla="*/ 0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cubicBezTo>
                          <a:pt x="0" y="0"/>
                          <a:pt x="0" y="0"/>
                          <a:pt x="0" y="0"/>
                        </a:cubicBezTo>
                        <a:cubicBezTo>
                          <a:pt x="0" y="0"/>
                          <a:pt x="0" y="1"/>
                          <a:pt x="0" y="2"/>
                        </a:cubicBezTo>
                        <a:lnTo>
                          <a:pt x="1"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29" name="Freeform 14"/>
                  <p:cNvSpPr>
                    <a:spLocks noChangeAspect="1"/>
                  </p:cNvSpPr>
                  <p:nvPr/>
                </p:nvSpPr>
                <p:spPr bwMode="gray">
                  <a:xfrm>
                    <a:off x="1777" y="1956"/>
                    <a:ext cx="0" cy="1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1"/>
                          <a:pt x="0" y="2"/>
                        </a:cubicBez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0" name="Freeform 15"/>
                  <p:cNvSpPr>
                    <a:spLocks noChangeAspect="1"/>
                  </p:cNvSpPr>
                  <p:nvPr/>
                </p:nvSpPr>
                <p:spPr bwMode="gray">
                  <a:xfrm>
                    <a:off x="1409" y="1845"/>
                    <a:ext cx="425" cy="270"/>
                  </a:xfrm>
                  <a:custGeom>
                    <a:avLst/>
                    <a:gdLst>
                      <a:gd name="T0" fmla="*/ 49 w 56"/>
                      <a:gd name="T1" fmla="*/ 17 h 36"/>
                      <a:gd name="T2" fmla="*/ 49 w 56"/>
                      <a:gd name="T3" fmla="*/ 17 h 36"/>
                      <a:gd name="T4" fmla="*/ 49 w 56"/>
                      <a:gd name="T5" fmla="*/ 15 h 36"/>
                      <a:gd name="T6" fmla="*/ 48 w 56"/>
                      <a:gd name="T7" fmla="*/ 10 h 36"/>
                      <a:gd name="T8" fmla="*/ 49 w 56"/>
                      <a:gd name="T9" fmla="*/ 10 h 36"/>
                      <a:gd name="T10" fmla="*/ 49 w 56"/>
                      <a:gd name="T11" fmla="*/ 8 h 36"/>
                      <a:gd name="T12" fmla="*/ 43 w 56"/>
                      <a:gd name="T13" fmla="*/ 6 h 36"/>
                      <a:gd name="T14" fmla="*/ 35 w 56"/>
                      <a:gd name="T15" fmla="*/ 0 h 36"/>
                      <a:gd name="T16" fmla="*/ 27 w 56"/>
                      <a:gd name="T17" fmla="*/ 2 h 36"/>
                      <a:gd name="T18" fmla="*/ 21 w 56"/>
                      <a:gd name="T19" fmla="*/ 6 h 36"/>
                      <a:gd name="T20" fmla="*/ 14 w 56"/>
                      <a:gd name="T21" fmla="*/ 5 h 36"/>
                      <a:gd name="T22" fmla="*/ 11 w 56"/>
                      <a:gd name="T23" fmla="*/ 10 h 36"/>
                      <a:gd name="T24" fmla="*/ 11 w 56"/>
                      <a:gd name="T25" fmla="*/ 15 h 36"/>
                      <a:gd name="T26" fmla="*/ 7 w 56"/>
                      <a:gd name="T27" fmla="*/ 17 h 36"/>
                      <a:gd name="T28" fmla="*/ 4 w 56"/>
                      <a:gd name="T29" fmla="*/ 23 h 36"/>
                      <a:gd name="T30" fmla="*/ 0 w 56"/>
                      <a:gd name="T31" fmla="*/ 29 h 36"/>
                      <a:gd name="T32" fmla="*/ 2 w 56"/>
                      <a:gd name="T33" fmla="*/ 32 h 36"/>
                      <a:gd name="T34" fmla="*/ 7 w 56"/>
                      <a:gd name="T35" fmla="*/ 29 h 36"/>
                      <a:gd name="T36" fmla="*/ 12 w 56"/>
                      <a:gd name="T37" fmla="*/ 30 h 36"/>
                      <a:gd name="T38" fmla="*/ 10 w 56"/>
                      <a:gd name="T39" fmla="*/ 36 h 36"/>
                      <a:gd name="T40" fmla="*/ 17 w 56"/>
                      <a:gd name="T41" fmla="*/ 35 h 36"/>
                      <a:gd name="T42" fmla="*/ 23 w 56"/>
                      <a:gd name="T43" fmla="*/ 36 h 36"/>
                      <a:gd name="T44" fmla="*/ 27 w 56"/>
                      <a:gd name="T45" fmla="*/ 34 h 36"/>
                      <a:gd name="T46" fmla="*/ 28 w 56"/>
                      <a:gd name="T47" fmla="*/ 23 h 36"/>
                      <a:gd name="T48" fmla="*/ 34 w 56"/>
                      <a:gd name="T49" fmla="*/ 22 h 36"/>
                      <a:gd name="T50" fmla="*/ 38 w 56"/>
                      <a:gd name="T51" fmla="*/ 25 h 36"/>
                      <a:gd name="T52" fmla="*/ 53 w 56"/>
                      <a:gd name="T53" fmla="*/ 27 h 36"/>
                      <a:gd name="T54" fmla="*/ 56 w 56"/>
                      <a:gd name="T55" fmla="*/ 20 h 36"/>
                      <a:gd name="T56" fmla="*/ 49 w 56"/>
                      <a:gd name="T57"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36">
                        <a:moveTo>
                          <a:pt x="49" y="17"/>
                        </a:moveTo>
                        <a:cubicBezTo>
                          <a:pt x="49" y="17"/>
                          <a:pt x="49" y="17"/>
                          <a:pt x="49" y="17"/>
                        </a:cubicBezTo>
                        <a:cubicBezTo>
                          <a:pt x="49" y="16"/>
                          <a:pt x="49" y="15"/>
                          <a:pt x="49" y="15"/>
                        </a:cubicBezTo>
                        <a:cubicBezTo>
                          <a:pt x="48" y="10"/>
                          <a:pt x="48" y="10"/>
                          <a:pt x="48" y="10"/>
                        </a:cubicBezTo>
                        <a:cubicBezTo>
                          <a:pt x="49" y="10"/>
                          <a:pt x="49" y="10"/>
                          <a:pt x="49" y="10"/>
                        </a:cubicBezTo>
                        <a:cubicBezTo>
                          <a:pt x="49" y="9"/>
                          <a:pt x="49" y="8"/>
                          <a:pt x="49" y="8"/>
                        </a:cubicBezTo>
                        <a:cubicBezTo>
                          <a:pt x="43" y="6"/>
                          <a:pt x="43" y="6"/>
                          <a:pt x="43" y="6"/>
                        </a:cubicBezTo>
                        <a:cubicBezTo>
                          <a:pt x="35" y="0"/>
                          <a:pt x="35" y="0"/>
                          <a:pt x="35" y="0"/>
                        </a:cubicBezTo>
                        <a:cubicBezTo>
                          <a:pt x="27" y="2"/>
                          <a:pt x="27" y="2"/>
                          <a:pt x="27" y="2"/>
                        </a:cubicBezTo>
                        <a:cubicBezTo>
                          <a:pt x="21" y="6"/>
                          <a:pt x="21" y="6"/>
                          <a:pt x="21" y="6"/>
                        </a:cubicBezTo>
                        <a:cubicBezTo>
                          <a:pt x="14" y="5"/>
                          <a:pt x="14" y="5"/>
                          <a:pt x="14" y="5"/>
                        </a:cubicBezTo>
                        <a:cubicBezTo>
                          <a:pt x="11" y="10"/>
                          <a:pt x="11" y="10"/>
                          <a:pt x="11" y="10"/>
                        </a:cubicBezTo>
                        <a:cubicBezTo>
                          <a:pt x="11" y="15"/>
                          <a:pt x="11" y="15"/>
                          <a:pt x="11" y="15"/>
                        </a:cubicBezTo>
                        <a:cubicBezTo>
                          <a:pt x="7" y="17"/>
                          <a:pt x="7" y="17"/>
                          <a:pt x="7" y="17"/>
                        </a:cubicBezTo>
                        <a:cubicBezTo>
                          <a:pt x="4" y="23"/>
                          <a:pt x="4" y="23"/>
                          <a:pt x="4" y="23"/>
                        </a:cubicBezTo>
                        <a:cubicBezTo>
                          <a:pt x="0" y="29"/>
                          <a:pt x="0" y="29"/>
                          <a:pt x="0" y="29"/>
                        </a:cubicBezTo>
                        <a:cubicBezTo>
                          <a:pt x="2" y="32"/>
                          <a:pt x="2" y="32"/>
                          <a:pt x="2" y="32"/>
                        </a:cubicBezTo>
                        <a:cubicBezTo>
                          <a:pt x="7" y="29"/>
                          <a:pt x="7" y="29"/>
                          <a:pt x="7" y="29"/>
                        </a:cubicBezTo>
                        <a:cubicBezTo>
                          <a:pt x="12" y="30"/>
                          <a:pt x="12" y="30"/>
                          <a:pt x="12" y="30"/>
                        </a:cubicBezTo>
                        <a:cubicBezTo>
                          <a:pt x="10" y="36"/>
                          <a:pt x="10" y="36"/>
                          <a:pt x="10" y="36"/>
                        </a:cubicBezTo>
                        <a:cubicBezTo>
                          <a:pt x="17" y="35"/>
                          <a:pt x="17" y="35"/>
                          <a:pt x="17" y="35"/>
                        </a:cubicBezTo>
                        <a:cubicBezTo>
                          <a:pt x="23" y="36"/>
                          <a:pt x="23" y="36"/>
                          <a:pt x="23" y="36"/>
                        </a:cubicBezTo>
                        <a:cubicBezTo>
                          <a:pt x="27" y="34"/>
                          <a:pt x="27" y="34"/>
                          <a:pt x="27" y="34"/>
                        </a:cubicBezTo>
                        <a:cubicBezTo>
                          <a:pt x="28" y="23"/>
                          <a:pt x="28" y="23"/>
                          <a:pt x="28" y="23"/>
                        </a:cubicBezTo>
                        <a:cubicBezTo>
                          <a:pt x="34" y="22"/>
                          <a:pt x="34" y="22"/>
                          <a:pt x="34" y="22"/>
                        </a:cubicBezTo>
                        <a:cubicBezTo>
                          <a:pt x="38" y="25"/>
                          <a:pt x="38" y="25"/>
                          <a:pt x="38" y="25"/>
                        </a:cubicBezTo>
                        <a:cubicBezTo>
                          <a:pt x="53" y="27"/>
                          <a:pt x="53" y="27"/>
                          <a:pt x="53" y="27"/>
                        </a:cubicBezTo>
                        <a:cubicBezTo>
                          <a:pt x="56" y="20"/>
                          <a:pt x="56" y="20"/>
                          <a:pt x="56" y="20"/>
                        </a:cubicBezTo>
                        <a:lnTo>
                          <a:pt x="49" y="17"/>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31" name="Freeform 16"/>
                  <p:cNvSpPr>
                    <a:spLocks noChangeAspect="1"/>
                  </p:cNvSpPr>
                  <p:nvPr/>
                </p:nvSpPr>
                <p:spPr bwMode="gray">
                  <a:xfrm>
                    <a:off x="977" y="2503"/>
                    <a:ext cx="34" cy="24"/>
                  </a:xfrm>
                  <a:custGeom>
                    <a:avLst/>
                    <a:gdLst>
                      <a:gd name="T0" fmla="*/ 6 w 6"/>
                      <a:gd name="T1" fmla="*/ 2 h 4"/>
                      <a:gd name="T2" fmla="*/ 5 w 6"/>
                      <a:gd name="T3" fmla="*/ 0 h 4"/>
                      <a:gd name="T4" fmla="*/ 1 w 6"/>
                      <a:gd name="T5" fmla="*/ 1 h 4"/>
                      <a:gd name="T6" fmla="*/ 0 w 6"/>
                      <a:gd name="T7" fmla="*/ 3 h 4"/>
                      <a:gd name="T8" fmla="*/ 5 w 6"/>
                      <a:gd name="T9" fmla="*/ 4 h 4"/>
                      <a:gd name="T10" fmla="*/ 6 w 6"/>
                      <a:gd name="T11" fmla="*/ 2 h 4"/>
                      <a:gd name="T12" fmla="*/ 6 w 6"/>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2"/>
                        </a:moveTo>
                        <a:lnTo>
                          <a:pt x="5" y="0"/>
                        </a:lnTo>
                        <a:lnTo>
                          <a:pt x="1" y="1"/>
                        </a:lnTo>
                        <a:lnTo>
                          <a:pt x="0" y="3"/>
                        </a:lnTo>
                        <a:lnTo>
                          <a:pt x="5" y="4"/>
                        </a:lnTo>
                        <a:lnTo>
                          <a:pt x="6" y="2"/>
                        </a:lnTo>
                        <a:lnTo>
                          <a:pt x="6" y="2"/>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2" name="Freeform 17"/>
                  <p:cNvSpPr>
                    <a:spLocks noChangeAspect="1"/>
                  </p:cNvSpPr>
                  <p:nvPr/>
                </p:nvSpPr>
                <p:spPr bwMode="gray">
                  <a:xfrm>
                    <a:off x="2501" y="1581"/>
                    <a:ext cx="490" cy="215"/>
                  </a:xfrm>
                  <a:custGeom>
                    <a:avLst/>
                    <a:gdLst>
                      <a:gd name="T0" fmla="*/ 40 w 80"/>
                      <a:gd name="T1" fmla="*/ 6 h 35"/>
                      <a:gd name="T2" fmla="*/ 28 w 80"/>
                      <a:gd name="T3" fmla="*/ 0 h 35"/>
                      <a:gd name="T4" fmla="*/ 25 w 80"/>
                      <a:gd name="T5" fmla="*/ 8 h 35"/>
                      <a:gd name="T6" fmla="*/ 15 w 80"/>
                      <a:gd name="T7" fmla="*/ 10 h 35"/>
                      <a:gd name="T8" fmla="*/ 11 w 80"/>
                      <a:gd name="T9" fmla="*/ 17 h 35"/>
                      <a:gd name="T10" fmla="*/ 2 w 80"/>
                      <a:gd name="T11" fmla="*/ 24 h 35"/>
                      <a:gd name="T12" fmla="*/ 0 w 80"/>
                      <a:gd name="T13" fmla="*/ 32 h 35"/>
                      <a:gd name="T14" fmla="*/ 8 w 80"/>
                      <a:gd name="T15" fmla="*/ 33 h 35"/>
                      <a:gd name="T16" fmla="*/ 12 w 80"/>
                      <a:gd name="T17" fmla="*/ 35 h 35"/>
                      <a:gd name="T18" fmla="*/ 26 w 80"/>
                      <a:gd name="T19" fmla="*/ 35 h 35"/>
                      <a:gd name="T20" fmla="*/ 39 w 80"/>
                      <a:gd name="T21" fmla="*/ 32 h 35"/>
                      <a:gd name="T22" fmla="*/ 46 w 80"/>
                      <a:gd name="T23" fmla="*/ 22 h 35"/>
                      <a:gd name="T24" fmla="*/ 64 w 80"/>
                      <a:gd name="T25" fmla="*/ 20 h 35"/>
                      <a:gd name="T26" fmla="*/ 72 w 80"/>
                      <a:gd name="T27" fmla="*/ 24 h 35"/>
                      <a:gd name="T28" fmla="*/ 77 w 80"/>
                      <a:gd name="T29" fmla="*/ 23 h 35"/>
                      <a:gd name="T30" fmla="*/ 80 w 80"/>
                      <a:gd name="T31" fmla="*/ 10 h 35"/>
                      <a:gd name="T32" fmla="*/ 71 w 80"/>
                      <a:gd name="T33" fmla="*/ 1 h 35"/>
                      <a:gd name="T34" fmla="*/ 40 w 80"/>
                      <a:gd name="T35" fmla="*/ 6 h 35"/>
                      <a:gd name="T36" fmla="*/ 40 w 80"/>
                      <a:gd name="T37"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35">
                        <a:moveTo>
                          <a:pt x="40" y="6"/>
                        </a:moveTo>
                        <a:lnTo>
                          <a:pt x="28" y="0"/>
                        </a:lnTo>
                        <a:lnTo>
                          <a:pt x="25" y="8"/>
                        </a:lnTo>
                        <a:lnTo>
                          <a:pt x="15" y="10"/>
                        </a:lnTo>
                        <a:lnTo>
                          <a:pt x="11" y="17"/>
                        </a:lnTo>
                        <a:lnTo>
                          <a:pt x="2" y="24"/>
                        </a:lnTo>
                        <a:lnTo>
                          <a:pt x="0" y="32"/>
                        </a:lnTo>
                        <a:lnTo>
                          <a:pt x="8" y="33"/>
                        </a:lnTo>
                        <a:lnTo>
                          <a:pt x="12" y="35"/>
                        </a:lnTo>
                        <a:lnTo>
                          <a:pt x="26" y="35"/>
                        </a:lnTo>
                        <a:lnTo>
                          <a:pt x="39" y="32"/>
                        </a:lnTo>
                        <a:lnTo>
                          <a:pt x="46" y="22"/>
                        </a:lnTo>
                        <a:lnTo>
                          <a:pt x="64" y="20"/>
                        </a:lnTo>
                        <a:lnTo>
                          <a:pt x="72" y="24"/>
                        </a:lnTo>
                        <a:lnTo>
                          <a:pt x="77" y="23"/>
                        </a:lnTo>
                        <a:lnTo>
                          <a:pt x="80" y="10"/>
                        </a:lnTo>
                        <a:lnTo>
                          <a:pt x="71" y="1"/>
                        </a:lnTo>
                        <a:lnTo>
                          <a:pt x="40" y="6"/>
                        </a:lnTo>
                        <a:lnTo>
                          <a:pt x="40" y="6"/>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3" name="Freeform 18"/>
                  <p:cNvSpPr>
                    <a:spLocks noChangeAspect="1"/>
                  </p:cNvSpPr>
                  <p:nvPr/>
                </p:nvSpPr>
                <p:spPr bwMode="gray">
                  <a:xfrm>
                    <a:off x="2469" y="1778"/>
                    <a:ext cx="32" cy="0"/>
                  </a:xfrm>
                  <a:custGeom>
                    <a:avLst/>
                    <a:gdLst>
                      <a:gd name="T0" fmla="*/ 0 w 5"/>
                      <a:gd name="T1" fmla="*/ 2 w 5"/>
                      <a:gd name="T2" fmla="*/ 5 w 5"/>
                      <a:gd name="T3" fmla="*/ 0 w 5"/>
                      <a:gd name="T4" fmla="*/ 0 w 5"/>
                      <a:gd name="T5" fmla="*/ 0 w 5"/>
                    </a:gdLst>
                    <a:ahLst/>
                    <a:cxnLst>
                      <a:cxn ang="0">
                        <a:pos x="T0" y="0"/>
                      </a:cxn>
                      <a:cxn ang="0">
                        <a:pos x="T1" y="0"/>
                      </a:cxn>
                      <a:cxn ang="0">
                        <a:pos x="T2" y="0"/>
                      </a:cxn>
                      <a:cxn ang="0">
                        <a:pos x="T3" y="0"/>
                      </a:cxn>
                      <a:cxn ang="0">
                        <a:pos x="T4" y="0"/>
                      </a:cxn>
                      <a:cxn ang="0">
                        <a:pos x="T5" y="0"/>
                      </a:cxn>
                    </a:cxnLst>
                    <a:rect l="0" t="0" r="r" b="b"/>
                    <a:pathLst>
                      <a:path w="5">
                        <a:moveTo>
                          <a:pt x="0" y="0"/>
                        </a:moveTo>
                        <a:lnTo>
                          <a:pt x="2" y="0"/>
                        </a:lnTo>
                        <a:lnTo>
                          <a:pt x="5" y="0"/>
                        </a:lnTo>
                        <a:lnTo>
                          <a:pt x="0" y="0"/>
                        </a:lnTo>
                        <a:lnTo>
                          <a:pt x="0" y="0"/>
                        </a:lnTo>
                        <a:lnTo>
                          <a:pt x="0"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4" name="Freeform 19"/>
                  <p:cNvSpPr>
                    <a:spLocks noChangeAspect="1"/>
                  </p:cNvSpPr>
                  <p:nvPr/>
                </p:nvSpPr>
                <p:spPr bwMode="gray">
                  <a:xfrm>
                    <a:off x="2469" y="1778"/>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5" name="Freeform 20"/>
                  <p:cNvSpPr>
                    <a:spLocks noChangeAspect="1"/>
                  </p:cNvSpPr>
                  <p:nvPr/>
                </p:nvSpPr>
                <p:spPr bwMode="gray">
                  <a:xfrm>
                    <a:off x="2469" y="1778"/>
                    <a:ext cx="0" cy="10"/>
                  </a:xfrm>
                  <a:custGeom>
                    <a:avLst/>
                    <a:gdLst>
                      <a:gd name="T0" fmla="*/ 2 h 2"/>
                      <a:gd name="T1" fmla="*/ 2 h 2"/>
                      <a:gd name="T2" fmla="*/ 0 h 2"/>
                      <a:gd name="T3" fmla="*/ 0 h 2"/>
                      <a:gd name="T4" fmla="*/ 2 h 2"/>
                    </a:gdLst>
                    <a:ahLst/>
                    <a:cxnLst>
                      <a:cxn ang="0">
                        <a:pos x="0" y="T0"/>
                      </a:cxn>
                      <a:cxn ang="0">
                        <a:pos x="0" y="T1"/>
                      </a:cxn>
                      <a:cxn ang="0">
                        <a:pos x="0" y="T2"/>
                      </a:cxn>
                      <a:cxn ang="0">
                        <a:pos x="0" y="T3"/>
                      </a:cxn>
                      <a:cxn ang="0">
                        <a:pos x="0" y="T4"/>
                      </a:cxn>
                    </a:cxnLst>
                    <a:rect l="0" t="0" r="r" b="b"/>
                    <a:pathLst>
                      <a:path h="2">
                        <a:moveTo>
                          <a:pt x="0" y="2"/>
                        </a:moveTo>
                        <a:cubicBezTo>
                          <a:pt x="0" y="2"/>
                          <a:pt x="0" y="2"/>
                          <a:pt x="0" y="2"/>
                        </a:cubicBezTo>
                        <a:cubicBezTo>
                          <a:pt x="0" y="0"/>
                          <a:pt x="0" y="0"/>
                          <a:pt x="0" y="0"/>
                        </a:cubicBezTo>
                        <a:cubicBezTo>
                          <a:pt x="0" y="0"/>
                          <a:pt x="0" y="0"/>
                          <a:pt x="0" y="0"/>
                        </a:cubicBezTo>
                        <a:lnTo>
                          <a:pt x="0" y="2"/>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6" name="Freeform 21"/>
                  <p:cNvSpPr>
                    <a:spLocks noChangeAspect="1"/>
                  </p:cNvSpPr>
                  <p:nvPr/>
                </p:nvSpPr>
                <p:spPr bwMode="gray">
                  <a:xfrm>
                    <a:off x="2415" y="1704"/>
                    <a:ext cx="635" cy="406"/>
                  </a:xfrm>
                  <a:custGeom>
                    <a:avLst/>
                    <a:gdLst>
                      <a:gd name="T0" fmla="*/ 91 w 104"/>
                      <a:gd name="T1" fmla="*/ 3 h 66"/>
                      <a:gd name="T2" fmla="*/ 86 w 104"/>
                      <a:gd name="T3" fmla="*/ 4 h 66"/>
                      <a:gd name="T4" fmla="*/ 78 w 104"/>
                      <a:gd name="T5" fmla="*/ 0 h 66"/>
                      <a:gd name="T6" fmla="*/ 60 w 104"/>
                      <a:gd name="T7" fmla="*/ 2 h 66"/>
                      <a:gd name="T8" fmla="*/ 53 w 104"/>
                      <a:gd name="T9" fmla="*/ 12 h 66"/>
                      <a:gd name="T10" fmla="*/ 40 w 104"/>
                      <a:gd name="T11" fmla="*/ 15 h 66"/>
                      <a:gd name="T12" fmla="*/ 26 w 104"/>
                      <a:gd name="T13" fmla="*/ 15 h 66"/>
                      <a:gd name="T14" fmla="*/ 22 w 104"/>
                      <a:gd name="T15" fmla="*/ 13 h 66"/>
                      <a:gd name="T16" fmla="*/ 14 w 104"/>
                      <a:gd name="T17" fmla="*/ 12 h 66"/>
                      <a:gd name="T18" fmla="*/ 11 w 104"/>
                      <a:gd name="T19" fmla="*/ 12 h 66"/>
                      <a:gd name="T20" fmla="*/ 9 w 104"/>
                      <a:gd name="T21" fmla="*/ 12 h 66"/>
                      <a:gd name="T22" fmla="*/ 9 w 104"/>
                      <a:gd name="T23" fmla="*/ 14 h 66"/>
                      <a:gd name="T24" fmla="*/ 10 w 104"/>
                      <a:gd name="T25" fmla="*/ 22 h 66"/>
                      <a:gd name="T26" fmla="*/ 3 w 104"/>
                      <a:gd name="T27" fmla="*/ 26 h 66"/>
                      <a:gd name="T28" fmla="*/ 3 w 104"/>
                      <a:gd name="T29" fmla="*/ 36 h 66"/>
                      <a:gd name="T30" fmla="*/ 0 w 104"/>
                      <a:gd name="T31" fmla="*/ 41 h 66"/>
                      <a:gd name="T32" fmla="*/ 3 w 104"/>
                      <a:gd name="T33" fmla="*/ 47 h 66"/>
                      <a:gd name="T34" fmla="*/ 11 w 104"/>
                      <a:gd name="T35" fmla="*/ 50 h 66"/>
                      <a:gd name="T36" fmla="*/ 17 w 104"/>
                      <a:gd name="T37" fmla="*/ 63 h 66"/>
                      <a:gd name="T38" fmla="*/ 39 w 104"/>
                      <a:gd name="T39" fmla="*/ 66 h 66"/>
                      <a:gd name="T40" fmla="*/ 42 w 104"/>
                      <a:gd name="T41" fmla="*/ 62 h 66"/>
                      <a:gd name="T42" fmla="*/ 53 w 104"/>
                      <a:gd name="T43" fmla="*/ 58 h 66"/>
                      <a:gd name="T44" fmla="*/ 59 w 104"/>
                      <a:gd name="T45" fmla="*/ 56 h 66"/>
                      <a:gd name="T46" fmla="*/ 64 w 104"/>
                      <a:gd name="T47" fmla="*/ 57 h 66"/>
                      <a:gd name="T48" fmla="*/ 76 w 104"/>
                      <a:gd name="T49" fmla="*/ 53 h 66"/>
                      <a:gd name="T50" fmla="*/ 80 w 104"/>
                      <a:gd name="T51" fmla="*/ 36 h 66"/>
                      <a:gd name="T52" fmla="*/ 92 w 104"/>
                      <a:gd name="T53" fmla="*/ 22 h 66"/>
                      <a:gd name="T54" fmla="*/ 104 w 104"/>
                      <a:gd name="T55" fmla="*/ 14 h 66"/>
                      <a:gd name="T56" fmla="*/ 91 w 104"/>
                      <a:gd name="T57" fmla="*/ 3 h 66"/>
                      <a:gd name="T58" fmla="*/ 91 w 104"/>
                      <a:gd name="T59" fmla="*/ 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4" h="66">
                        <a:moveTo>
                          <a:pt x="91" y="3"/>
                        </a:moveTo>
                        <a:lnTo>
                          <a:pt x="86" y="4"/>
                        </a:lnTo>
                        <a:lnTo>
                          <a:pt x="78" y="0"/>
                        </a:lnTo>
                        <a:lnTo>
                          <a:pt x="60" y="2"/>
                        </a:lnTo>
                        <a:lnTo>
                          <a:pt x="53" y="12"/>
                        </a:lnTo>
                        <a:lnTo>
                          <a:pt x="40" y="15"/>
                        </a:lnTo>
                        <a:lnTo>
                          <a:pt x="26" y="15"/>
                        </a:lnTo>
                        <a:lnTo>
                          <a:pt x="22" y="13"/>
                        </a:lnTo>
                        <a:lnTo>
                          <a:pt x="14" y="12"/>
                        </a:lnTo>
                        <a:lnTo>
                          <a:pt x="11" y="12"/>
                        </a:lnTo>
                        <a:lnTo>
                          <a:pt x="9" y="12"/>
                        </a:lnTo>
                        <a:lnTo>
                          <a:pt x="9" y="14"/>
                        </a:lnTo>
                        <a:lnTo>
                          <a:pt x="10" y="22"/>
                        </a:lnTo>
                        <a:lnTo>
                          <a:pt x="3" y="26"/>
                        </a:lnTo>
                        <a:lnTo>
                          <a:pt x="3" y="36"/>
                        </a:lnTo>
                        <a:lnTo>
                          <a:pt x="0" y="41"/>
                        </a:lnTo>
                        <a:lnTo>
                          <a:pt x="3" y="47"/>
                        </a:lnTo>
                        <a:lnTo>
                          <a:pt x="11" y="50"/>
                        </a:lnTo>
                        <a:lnTo>
                          <a:pt x="17" y="63"/>
                        </a:lnTo>
                        <a:lnTo>
                          <a:pt x="39" y="66"/>
                        </a:lnTo>
                        <a:lnTo>
                          <a:pt x="42" y="62"/>
                        </a:lnTo>
                        <a:lnTo>
                          <a:pt x="53" y="58"/>
                        </a:lnTo>
                        <a:lnTo>
                          <a:pt x="59" y="56"/>
                        </a:lnTo>
                        <a:lnTo>
                          <a:pt x="64" y="57"/>
                        </a:lnTo>
                        <a:lnTo>
                          <a:pt x="76" y="53"/>
                        </a:lnTo>
                        <a:lnTo>
                          <a:pt x="80" y="36"/>
                        </a:lnTo>
                        <a:lnTo>
                          <a:pt x="92" y="22"/>
                        </a:lnTo>
                        <a:lnTo>
                          <a:pt x="104" y="14"/>
                        </a:lnTo>
                        <a:lnTo>
                          <a:pt x="91" y="3"/>
                        </a:lnTo>
                        <a:lnTo>
                          <a:pt x="91" y="3"/>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7" name="Freeform 22"/>
                  <p:cNvSpPr>
                    <a:spLocks noChangeAspect="1"/>
                  </p:cNvSpPr>
                  <p:nvPr/>
                </p:nvSpPr>
                <p:spPr bwMode="gray">
                  <a:xfrm>
                    <a:off x="2469" y="1788"/>
                    <a:ext cx="8" cy="50"/>
                  </a:xfrm>
                  <a:custGeom>
                    <a:avLst/>
                    <a:gdLst>
                      <a:gd name="T0" fmla="*/ 1 w 1"/>
                      <a:gd name="T1" fmla="*/ 6 h 6"/>
                      <a:gd name="T2" fmla="*/ 0 w 1"/>
                      <a:gd name="T3" fmla="*/ 0 h 6"/>
                      <a:gd name="T4" fmla="*/ 0 w 1"/>
                      <a:gd name="T5" fmla="*/ 0 h 6"/>
                      <a:gd name="T6" fmla="*/ 1 w 1"/>
                      <a:gd name="T7" fmla="*/ 6 h 6"/>
                    </a:gdLst>
                    <a:ahLst/>
                    <a:cxnLst>
                      <a:cxn ang="0">
                        <a:pos x="T0" y="T1"/>
                      </a:cxn>
                      <a:cxn ang="0">
                        <a:pos x="T2" y="T3"/>
                      </a:cxn>
                      <a:cxn ang="0">
                        <a:pos x="T4" y="T5"/>
                      </a:cxn>
                      <a:cxn ang="0">
                        <a:pos x="T6" y="T7"/>
                      </a:cxn>
                    </a:cxnLst>
                    <a:rect l="0" t="0" r="r" b="b"/>
                    <a:pathLst>
                      <a:path w="1" h="6">
                        <a:moveTo>
                          <a:pt x="1" y="6"/>
                        </a:moveTo>
                        <a:cubicBezTo>
                          <a:pt x="0" y="0"/>
                          <a:pt x="0" y="0"/>
                          <a:pt x="0" y="0"/>
                        </a:cubicBezTo>
                        <a:cubicBezTo>
                          <a:pt x="0" y="0"/>
                          <a:pt x="0" y="0"/>
                          <a:pt x="0" y="0"/>
                        </a:cubicBezTo>
                        <a:lnTo>
                          <a:pt x="1" y="6"/>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8" name="Freeform 23"/>
                  <p:cNvSpPr>
                    <a:spLocks noChangeAspect="1"/>
                  </p:cNvSpPr>
                  <p:nvPr/>
                </p:nvSpPr>
                <p:spPr bwMode="gray">
                  <a:xfrm>
                    <a:off x="2022" y="1356"/>
                    <a:ext cx="650" cy="422"/>
                  </a:xfrm>
                  <a:custGeom>
                    <a:avLst/>
                    <a:gdLst>
                      <a:gd name="T0" fmla="*/ 63 w 106"/>
                      <a:gd name="T1" fmla="*/ 58 h 69"/>
                      <a:gd name="T2" fmla="*/ 67 w 106"/>
                      <a:gd name="T3" fmla="*/ 68 h 69"/>
                      <a:gd name="T4" fmla="*/ 73 w 106"/>
                      <a:gd name="T5" fmla="*/ 69 h 69"/>
                      <a:gd name="T6" fmla="*/ 73 w 106"/>
                      <a:gd name="T7" fmla="*/ 69 h 69"/>
                      <a:gd name="T8" fmla="*/ 73 w 106"/>
                      <a:gd name="T9" fmla="*/ 68 h 69"/>
                      <a:gd name="T10" fmla="*/ 73 w 106"/>
                      <a:gd name="T11" fmla="*/ 69 h 69"/>
                      <a:gd name="T12" fmla="*/ 78 w 106"/>
                      <a:gd name="T13" fmla="*/ 69 h 69"/>
                      <a:gd name="T14" fmla="*/ 80 w 106"/>
                      <a:gd name="T15" fmla="*/ 61 h 69"/>
                      <a:gd name="T16" fmla="*/ 89 w 106"/>
                      <a:gd name="T17" fmla="*/ 54 h 69"/>
                      <a:gd name="T18" fmla="*/ 93 w 106"/>
                      <a:gd name="T19" fmla="*/ 47 h 69"/>
                      <a:gd name="T20" fmla="*/ 103 w 106"/>
                      <a:gd name="T21" fmla="*/ 45 h 69"/>
                      <a:gd name="T22" fmla="*/ 106 w 106"/>
                      <a:gd name="T23" fmla="*/ 37 h 69"/>
                      <a:gd name="T24" fmla="*/ 98 w 106"/>
                      <a:gd name="T25" fmla="*/ 37 h 69"/>
                      <a:gd name="T26" fmla="*/ 75 w 106"/>
                      <a:gd name="T27" fmla="*/ 16 h 69"/>
                      <a:gd name="T28" fmla="*/ 64 w 106"/>
                      <a:gd name="T29" fmla="*/ 18 h 69"/>
                      <a:gd name="T30" fmla="*/ 54 w 106"/>
                      <a:gd name="T31" fmla="*/ 3 h 69"/>
                      <a:gd name="T32" fmla="*/ 44 w 106"/>
                      <a:gd name="T33" fmla="*/ 0 h 69"/>
                      <a:gd name="T34" fmla="*/ 30 w 106"/>
                      <a:gd name="T35" fmla="*/ 1 h 69"/>
                      <a:gd name="T36" fmla="*/ 25 w 106"/>
                      <a:gd name="T37" fmla="*/ 9 h 69"/>
                      <a:gd name="T38" fmla="*/ 0 w 106"/>
                      <a:gd name="T39" fmla="*/ 21 h 69"/>
                      <a:gd name="T40" fmla="*/ 4 w 106"/>
                      <a:gd name="T41" fmla="*/ 38 h 69"/>
                      <a:gd name="T42" fmla="*/ 26 w 106"/>
                      <a:gd name="T43" fmla="*/ 55 h 69"/>
                      <a:gd name="T44" fmla="*/ 48 w 106"/>
                      <a:gd name="T45" fmla="*/ 53 h 69"/>
                      <a:gd name="T46" fmla="*/ 63 w 106"/>
                      <a:gd name="T47" fmla="*/ 58 h 69"/>
                      <a:gd name="T48" fmla="*/ 63 w 106"/>
                      <a:gd name="T49"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6" h="69">
                        <a:moveTo>
                          <a:pt x="63" y="58"/>
                        </a:moveTo>
                        <a:lnTo>
                          <a:pt x="67" y="68"/>
                        </a:lnTo>
                        <a:lnTo>
                          <a:pt x="73" y="69"/>
                        </a:lnTo>
                        <a:lnTo>
                          <a:pt x="73" y="69"/>
                        </a:lnTo>
                        <a:lnTo>
                          <a:pt x="73" y="68"/>
                        </a:lnTo>
                        <a:lnTo>
                          <a:pt x="73" y="69"/>
                        </a:lnTo>
                        <a:lnTo>
                          <a:pt x="78" y="69"/>
                        </a:lnTo>
                        <a:lnTo>
                          <a:pt x="80" y="61"/>
                        </a:lnTo>
                        <a:lnTo>
                          <a:pt x="89" y="54"/>
                        </a:lnTo>
                        <a:lnTo>
                          <a:pt x="93" y="47"/>
                        </a:lnTo>
                        <a:lnTo>
                          <a:pt x="103" y="45"/>
                        </a:lnTo>
                        <a:lnTo>
                          <a:pt x="106" y="37"/>
                        </a:lnTo>
                        <a:lnTo>
                          <a:pt x="98" y="37"/>
                        </a:lnTo>
                        <a:lnTo>
                          <a:pt x="75" y="16"/>
                        </a:lnTo>
                        <a:lnTo>
                          <a:pt x="64" y="18"/>
                        </a:lnTo>
                        <a:lnTo>
                          <a:pt x="54" y="3"/>
                        </a:lnTo>
                        <a:lnTo>
                          <a:pt x="44" y="0"/>
                        </a:lnTo>
                        <a:lnTo>
                          <a:pt x="30" y="1"/>
                        </a:lnTo>
                        <a:lnTo>
                          <a:pt x="25" y="9"/>
                        </a:lnTo>
                        <a:lnTo>
                          <a:pt x="0" y="21"/>
                        </a:lnTo>
                        <a:lnTo>
                          <a:pt x="4" y="38"/>
                        </a:lnTo>
                        <a:lnTo>
                          <a:pt x="26" y="55"/>
                        </a:lnTo>
                        <a:lnTo>
                          <a:pt x="48" y="53"/>
                        </a:lnTo>
                        <a:lnTo>
                          <a:pt x="63" y="58"/>
                        </a:lnTo>
                        <a:lnTo>
                          <a:pt x="63" y="58"/>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39" name="Freeform 24"/>
                  <p:cNvSpPr>
                    <a:spLocks noChangeAspect="1"/>
                  </p:cNvSpPr>
                  <p:nvPr/>
                </p:nvSpPr>
                <p:spPr bwMode="gray">
                  <a:xfrm>
                    <a:off x="977" y="2520"/>
                    <a:ext cx="46" cy="17"/>
                  </a:xfrm>
                  <a:custGeom>
                    <a:avLst/>
                    <a:gdLst>
                      <a:gd name="T0" fmla="*/ 5 w 8"/>
                      <a:gd name="T1" fmla="*/ 1 h 3"/>
                      <a:gd name="T2" fmla="*/ 0 w 8"/>
                      <a:gd name="T3" fmla="*/ 0 h 3"/>
                      <a:gd name="T4" fmla="*/ 8 w 8"/>
                      <a:gd name="T5" fmla="*/ 3 h 3"/>
                      <a:gd name="T6" fmla="*/ 5 w 8"/>
                      <a:gd name="T7" fmla="*/ 1 h 3"/>
                      <a:gd name="T8" fmla="*/ 5 w 8"/>
                      <a:gd name="T9" fmla="*/ 1 h 3"/>
                    </a:gdLst>
                    <a:ahLst/>
                    <a:cxnLst>
                      <a:cxn ang="0">
                        <a:pos x="T0" y="T1"/>
                      </a:cxn>
                      <a:cxn ang="0">
                        <a:pos x="T2" y="T3"/>
                      </a:cxn>
                      <a:cxn ang="0">
                        <a:pos x="T4" y="T5"/>
                      </a:cxn>
                      <a:cxn ang="0">
                        <a:pos x="T6" y="T7"/>
                      </a:cxn>
                      <a:cxn ang="0">
                        <a:pos x="T8" y="T9"/>
                      </a:cxn>
                    </a:cxnLst>
                    <a:rect l="0" t="0" r="r" b="b"/>
                    <a:pathLst>
                      <a:path w="8" h="3">
                        <a:moveTo>
                          <a:pt x="5" y="1"/>
                        </a:moveTo>
                        <a:lnTo>
                          <a:pt x="0" y="0"/>
                        </a:lnTo>
                        <a:lnTo>
                          <a:pt x="8" y="3"/>
                        </a:lnTo>
                        <a:lnTo>
                          <a:pt x="5" y="1"/>
                        </a:lnTo>
                        <a:lnTo>
                          <a:pt x="5" y="1"/>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0" name="Freeform 25"/>
                  <p:cNvSpPr>
                    <a:spLocks noChangeAspect="1"/>
                  </p:cNvSpPr>
                  <p:nvPr/>
                </p:nvSpPr>
                <p:spPr bwMode="gray">
                  <a:xfrm>
                    <a:off x="1575" y="1828"/>
                    <a:ext cx="7" cy="30"/>
                  </a:xfrm>
                  <a:custGeom>
                    <a:avLst/>
                    <a:gdLst>
                      <a:gd name="T0" fmla="*/ 0 w 1"/>
                      <a:gd name="T1" fmla="*/ 4 h 4"/>
                      <a:gd name="T2" fmla="*/ 1 w 1"/>
                      <a:gd name="T3" fmla="*/ 0 h 4"/>
                      <a:gd name="T4" fmla="*/ 0 w 1"/>
                      <a:gd name="T5" fmla="*/ 4 h 4"/>
                    </a:gdLst>
                    <a:ahLst/>
                    <a:cxnLst>
                      <a:cxn ang="0">
                        <a:pos x="T0" y="T1"/>
                      </a:cxn>
                      <a:cxn ang="0">
                        <a:pos x="T2" y="T3"/>
                      </a:cxn>
                      <a:cxn ang="0">
                        <a:pos x="T4" y="T5"/>
                      </a:cxn>
                    </a:cxnLst>
                    <a:rect l="0" t="0" r="r" b="b"/>
                    <a:pathLst>
                      <a:path w="1" h="4">
                        <a:moveTo>
                          <a:pt x="0" y="4"/>
                        </a:moveTo>
                        <a:cubicBezTo>
                          <a:pt x="1" y="0"/>
                          <a:pt x="1" y="0"/>
                          <a:pt x="1" y="0"/>
                        </a:cubicBezTo>
                        <a:cubicBezTo>
                          <a:pt x="1" y="2"/>
                          <a:pt x="0" y="3"/>
                          <a:pt x="0" y="4"/>
                        </a:cubicBez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1" name="Freeform 26"/>
                  <p:cNvSpPr>
                    <a:spLocks noChangeAspect="1"/>
                  </p:cNvSpPr>
                  <p:nvPr/>
                </p:nvSpPr>
                <p:spPr bwMode="gray">
                  <a:xfrm>
                    <a:off x="1409" y="785"/>
                    <a:ext cx="882" cy="1127"/>
                  </a:xfrm>
                  <a:custGeom>
                    <a:avLst/>
                    <a:gdLst>
                      <a:gd name="T0" fmla="*/ 143 w 143"/>
                      <a:gd name="T1" fmla="*/ 93 h 184"/>
                      <a:gd name="T2" fmla="*/ 132 w 143"/>
                      <a:gd name="T3" fmla="*/ 34 h 184"/>
                      <a:gd name="T4" fmla="*/ 124 w 143"/>
                      <a:gd name="T5" fmla="*/ 15 h 184"/>
                      <a:gd name="T6" fmla="*/ 119 w 143"/>
                      <a:gd name="T7" fmla="*/ 4 h 184"/>
                      <a:gd name="T8" fmla="*/ 93 w 143"/>
                      <a:gd name="T9" fmla="*/ 16 h 184"/>
                      <a:gd name="T10" fmla="*/ 77 w 143"/>
                      <a:gd name="T11" fmla="*/ 11 h 184"/>
                      <a:gd name="T12" fmla="*/ 61 w 143"/>
                      <a:gd name="T13" fmla="*/ 0 h 184"/>
                      <a:gd name="T14" fmla="*/ 50 w 143"/>
                      <a:gd name="T15" fmla="*/ 0 h 184"/>
                      <a:gd name="T16" fmla="*/ 44 w 143"/>
                      <a:gd name="T17" fmla="*/ 2 h 184"/>
                      <a:gd name="T18" fmla="*/ 47 w 143"/>
                      <a:gd name="T19" fmla="*/ 23 h 184"/>
                      <a:gd name="T20" fmla="*/ 37 w 143"/>
                      <a:gd name="T21" fmla="*/ 31 h 184"/>
                      <a:gd name="T22" fmla="*/ 23 w 143"/>
                      <a:gd name="T23" fmla="*/ 29 h 184"/>
                      <a:gd name="T24" fmla="*/ 21 w 143"/>
                      <a:gd name="T25" fmla="*/ 40 h 184"/>
                      <a:gd name="T26" fmla="*/ 19 w 143"/>
                      <a:gd name="T27" fmla="*/ 55 h 184"/>
                      <a:gd name="T28" fmla="*/ 5 w 143"/>
                      <a:gd name="T29" fmla="*/ 75 h 184"/>
                      <a:gd name="T30" fmla="*/ 5 w 143"/>
                      <a:gd name="T31" fmla="*/ 81 h 184"/>
                      <a:gd name="T32" fmla="*/ 1 w 143"/>
                      <a:gd name="T33" fmla="*/ 92 h 184"/>
                      <a:gd name="T34" fmla="*/ 5 w 143"/>
                      <a:gd name="T35" fmla="*/ 103 h 184"/>
                      <a:gd name="T36" fmla="*/ 10 w 143"/>
                      <a:gd name="T37" fmla="*/ 121 h 184"/>
                      <a:gd name="T38" fmla="*/ 27 w 143"/>
                      <a:gd name="T39" fmla="*/ 136 h 184"/>
                      <a:gd name="T40" fmla="*/ 32 w 143"/>
                      <a:gd name="T41" fmla="*/ 159 h 184"/>
                      <a:gd name="T42" fmla="*/ 27 w 143"/>
                      <a:gd name="T43" fmla="*/ 175 h 184"/>
                      <a:gd name="T44" fmla="*/ 33 w 143"/>
                      <a:gd name="T45" fmla="*/ 175 h 184"/>
                      <a:gd name="T46" fmla="*/ 53 w 143"/>
                      <a:gd name="T47" fmla="*/ 180 h 184"/>
                      <a:gd name="T48" fmla="*/ 61 w 143"/>
                      <a:gd name="T49" fmla="*/ 183 h 184"/>
                      <a:gd name="T50" fmla="*/ 91 w 143"/>
                      <a:gd name="T51" fmla="*/ 180 h 184"/>
                      <a:gd name="T52" fmla="*/ 112 w 143"/>
                      <a:gd name="T53" fmla="*/ 178 h 184"/>
                      <a:gd name="T54" fmla="*/ 114 w 143"/>
                      <a:gd name="T55" fmla="*/ 163 h 184"/>
                      <a:gd name="T56" fmla="*/ 123 w 143"/>
                      <a:gd name="T57" fmla="*/ 156 h 184"/>
                      <a:gd name="T58" fmla="*/ 103 w 143"/>
                      <a:gd name="T59" fmla="*/ 131 h 184"/>
                      <a:gd name="T60" fmla="*/ 124 w 143"/>
                      <a:gd name="T61" fmla="*/ 102 h 184"/>
                      <a:gd name="T62" fmla="*/ 129 w 143"/>
                      <a:gd name="T63" fmla="*/ 9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3" h="184">
                        <a:moveTo>
                          <a:pt x="129" y="94"/>
                        </a:moveTo>
                        <a:lnTo>
                          <a:pt x="143" y="93"/>
                        </a:lnTo>
                        <a:lnTo>
                          <a:pt x="131" y="53"/>
                        </a:lnTo>
                        <a:lnTo>
                          <a:pt x="132" y="34"/>
                        </a:lnTo>
                        <a:lnTo>
                          <a:pt x="130" y="22"/>
                        </a:lnTo>
                        <a:lnTo>
                          <a:pt x="124" y="15"/>
                        </a:lnTo>
                        <a:lnTo>
                          <a:pt x="120" y="13"/>
                        </a:lnTo>
                        <a:lnTo>
                          <a:pt x="119" y="4"/>
                        </a:lnTo>
                        <a:lnTo>
                          <a:pt x="101" y="8"/>
                        </a:lnTo>
                        <a:lnTo>
                          <a:pt x="93" y="16"/>
                        </a:lnTo>
                        <a:lnTo>
                          <a:pt x="81" y="15"/>
                        </a:lnTo>
                        <a:lnTo>
                          <a:pt x="77" y="11"/>
                        </a:lnTo>
                        <a:lnTo>
                          <a:pt x="68" y="10"/>
                        </a:lnTo>
                        <a:lnTo>
                          <a:pt x="61" y="0"/>
                        </a:lnTo>
                        <a:lnTo>
                          <a:pt x="61" y="0"/>
                        </a:lnTo>
                        <a:lnTo>
                          <a:pt x="50" y="0"/>
                        </a:lnTo>
                        <a:lnTo>
                          <a:pt x="44" y="1"/>
                        </a:lnTo>
                        <a:lnTo>
                          <a:pt x="44" y="2"/>
                        </a:lnTo>
                        <a:lnTo>
                          <a:pt x="48" y="13"/>
                        </a:lnTo>
                        <a:lnTo>
                          <a:pt x="47" y="23"/>
                        </a:lnTo>
                        <a:lnTo>
                          <a:pt x="41" y="28"/>
                        </a:lnTo>
                        <a:lnTo>
                          <a:pt x="37" y="31"/>
                        </a:lnTo>
                        <a:lnTo>
                          <a:pt x="31" y="29"/>
                        </a:lnTo>
                        <a:lnTo>
                          <a:pt x="23" y="29"/>
                        </a:lnTo>
                        <a:lnTo>
                          <a:pt x="17" y="37"/>
                        </a:lnTo>
                        <a:lnTo>
                          <a:pt x="21" y="40"/>
                        </a:lnTo>
                        <a:lnTo>
                          <a:pt x="17" y="50"/>
                        </a:lnTo>
                        <a:lnTo>
                          <a:pt x="19" y="55"/>
                        </a:lnTo>
                        <a:lnTo>
                          <a:pt x="17" y="65"/>
                        </a:lnTo>
                        <a:lnTo>
                          <a:pt x="5" y="75"/>
                        </a:lnTo>
                        <a:lnTo>
                          <a:pt x="3" y="78"/>
                        </a:lnTo>
                        <a:lnTo>
                          <a:pt x="5" y="81"/>
                        </a:lnTo>
                        <a:lnTo>
                          <a:pt x="6" y="83"/>
                        </a:lnTo>
                        <a:lnTo>
                          <a:pt x="1" y="92"/>
                        </a:lnTo>
                        <a:lnTo>
                          <a:pt x="0" y="98"/>
                        </a:lnTo>
                        <a:lnTo>
                          <a:pt x="5" y="103"/>
                        </a:lnTo>
                        <a:lnTo>
                          <a:pt x="5" y="114"/>
                        </a:lnTo>
                        <a:lnTo>
                          <a:pt x="10" y="121"/>
                        </a:lnTo>
                        <a:lnTo>
                          <a:pt x="12" y="136"/>
                        </a:lnTo>
                        <a:lnTo>
                          <a:pt x="27" y="136"/>
                        </a:lnTo>
                        <a:lnTo>
                          <a:pt x="39" y="140"/>
                        </a:lnTo>
                        <a:lnTo>
                          <a:pt x="32" y="159"/>
                        </a:lnTo>
                        <a:lnTo>
                          <a:pt x="28" y="170"/>
                        </a:lnTo>
                        <a:lnTo>
                          <a:pt x="27" y="175"/>
                        </a:lnTo>
                        <a:lnTo>
                          <a:pt x="26" y="180"/>
                        </a:lnTo>
                        <a:lnTo>
                          <a:pt x="33" y="175"/>
                        </a:lnTo>
                        <a:lnTo>
                          <a:pt x="43" y="173"/>
                        </a:lnTo>
                        <a:lnTo>
                          <a:pt x="53" y="180"/>
                        </a:lnTo>
                        <a:lnTo>
                          <a:pt x="60" y="183"/>
                        </a:lnTo>
                        <a:lnTo>
                          <a:pt x="61" y="183"/>
                        </a:lnTo>
                        <a:lnTo>
                          <a:pt x="75" y="184"/>
                        </a:lnTo>
                        <a:lnTo>
                          <a:pt x="91" y="180"/>
                        </a:lnTo>
                        <a:lnTo>
                          <a:pt x="101" y="175"/>
                        </a:lnTo>
                        <a:lnTo>
                          <a:pt x="112" y="178"/>
                        </a:lnTo>
                        <a:lnTo>
                          <a:pt x="117" y="172"/>
                        </a:lnTo>
                        <a:lnTo>
                          <a:pt x="114" y="163"/>
                        </a:lnTo>
                        <a:lnTo>
                          <a:pt x="114" y="162"/>
                        </a:lnTo>
                        <a:lnTo>
                          <a:pt x="123" y="156"/>
                        </a:lnTo>
                        <a:lnTo>
                          <a:pt x="125" y="148"/>
                        </a:lnTo>
                        <a:lnTo>
                          <a:pt x="103" y="131"/>
                        </a:lnTo>
                        <a:lnTo>
                          <a:pt x="99" y="114"/>
                        </a:lnTo>
                        <a:lnTo>
                          <a:pt x="124" y="102"/>
                        </a:lnTo>
                        <a:lnTo>
                          <a:pt x="129" y="94"/>
                        </a:lnTo>
                        <a:lnTo>
                          <a:pt x="129" y="94"/>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2" name="Freeform 27"/>
                  <p:cNvSpPr>
                    <a:spLocks noChangeAspect="1" noEditPoints="1"/>
                  </p:cNvSpPr>
                  <p:nvPr/>
                </p:nvSpPr>
                <p:spPr bwMode="gray">
                  <a:xfrm>
                    <a:off x="1612" y="288"/>
                    <a:ext cx="459" cy="509"/>
                  </a:xfrm>
                  <a:custGeom>
                    <a:avLst/>
                    <a:gdLst>
                      <a:gd name="T0" fmla="*/ 24 w 74"/>
                      <a:gd name="T1" fmla="*/ 18 h 83"/>
                      <a:gd name="T2" fmla="*/ 39 w 74"/>
                      <a:gd name="T3" fmla="*/ 11 h 83"/>
                      <a:gd name="T4" fmla="*/ 30 w 74"/>
                      <a:gd name="T5" fmla="*/ 4 h 83"/>
                      <a:gd name="T6" fmla="*/ 19 w 74"/>
                      <a:gd name="T7" fmla="*/ 15 h 83"/>
                      <a:gd name="T8" fmla="*/ 4 w 74"/>
                      <a:gd name="T9" fmla="*/ 24 h 83"/>
                      <a:gd name="T10" fmla="*/ 11 w 74"/>
                      <a:gd name="T11" fmla="*/ 26 h 83"/>
                      <a:gd name="T12" fmla="*/ 19 w 74"/>
                      <a:gd name="T13" fmla="*/ 24 h 83"/>
                      <a:gd name="T14" fmla="*/ 68 w 74"/>
                      <a:gd name="T15" fmla="*/ 59 h 83"/>
                      <a:gd name="T16" fmla="*/ 63 w 74"/>
                      <a:gd name="T17" fmla="*/ 50 h 83"/>
                      <a:gd name="T18" fmla="*/ 48 w 74"/>
                      <a:gd name="T19" fmla="*/ 55 h 83"/>
                      <a:gd name="T20" fmla="*/ 52 w 74"/>
                      <a:gd name="T21" fmla="*/ 66 h 83"/>
                      <a:gd name="T22" fmla="*/ 60 w 74"/>
                      <a:gd name="T23" fmla="*/ 70 h 83"/>
                      <a:gd name="T24" fmla="*/ 68 w 74"/>
                      <a:gd name="T25" fmla="*/ 70 h 83"/>
                      <a:gd name="T26" fmla="*/ 70 w 74"/>
                      <a:gd name="T27" fmla="*/ 65 h 83"/>
                      <a:gd name="T28" fmla="*/ 64 w 74"/>
                      <a:gd name="T29" fmla="*/ 78 h 83"/>
                      <a:gd name="T30" fmla="*/ 71 w 74"/>
                      <a:gd name="T31" fmla="*/ 76 h 83"/>
                      <a:gd name="T32" fmla="*/ 70 w 74"/>
                      <a:gd name="T33" fmla="*/ 74 h 83"/>
                      <a:gd name="T34" fmla="*/ 50 w 74"/>
                      <a:gd name="T35" fmla="*/ 75 h 83"/>
                      <a:gd name="T36" fmla="*/ 50 w 74"/>
                      <a:gd name="T37" fmla="*/ 82 h 83"/>
                      <a:gd name="T38" fmla="*/ 57 w 74"/>
                      <a:gd name="T39" fmla="*/ 78 h 83"/>
                      <a:gd name="T40" fmla="*/ 50 w 74"/>
                      <a:gd name="T41" fmla="*/ 75 h 83"/>
                      <a:gd name="T42" fmla="*/ 30 w 74"/>
                      <a:gd name="T43" fmla="*/ 63 h 83"/>
                      <a:gd name="T44" fmla="*/ 41 w 74"/>
                      <a:gd name="T45" fmla="*/ 72 h 83"/>
                      <a:gd name="T46" fmla="*/ 43 w 74"/>
                      <a:gd name="T47" fmla="*/ 61 h 83"/>
                      <a:gd name="T48" fmla="*/ 35 w 74"/>
                      <a:gd name="T49" fmla="*/ 61 h 83"/>
                      <a:gd name="T50" fmla="*/ 24 w 74"/>
                      <a:gd name="T51" fmla="*/ 59 h 83"/>
                      <a:gd name="T52" fmla="*/ 36 w 74"/>
                      <a:gd name="T53" fmla="*/ 44 h 83"/>
                      <a:gd name="T54" fmla="*/ 49 w 74"/>
                      <a:gd name="T55" fmla="*/ 37 h 83"/>
                      <a:gd name="T56" fmla="*/ 38 w 74"/>
                      <a:gd name="T57" fmla="*/ 33 h 83"/>
                      <a:gd name="T58" fmla="*/ 26 w 74"/>
                      <a:gd name="T59" fmla="*/ 22 h 83"/>
                      <a:gd name="T60" fmla="*/ 13 w 74"/>
                      <a:gd name="T61" fmla="*/ 29 h 83"/>
                      <a:gd name="T62" fmla="*/ 0 w 74"/>
                      <a:gd name="T63" fmla="*/ 49 h 83"/>
                      <a:gd name="T64" fmla="*/ 9 w 74"/>
                      <a:gd name="T65" fmla="*/ 70 h 83"/>
                      <a:gd name="T66" fmla="*/ 11 w 74"/>
                      <a:gd name="T67" fmla="*/ 83 h 83"/>
                      <a:gd name="T68" fmla="*/ 17 w 74"/>
                      <a:gd name="T69" fmla="*/ 81 h 83"/>
                      <a:gd name="T70" fmla="*/ 28 w 74"/>
                      <a:gd name="T71" fmla="*/ 81 h 83"/>
                      <a:gd name="T72" fmla="*/ 24 w 74"/>
                      <a:gd name="T73" fmla="*/ 7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83">
                        <a:moveTo>
                          <a:pt x="19" y="24"/>
                        </a:moveTo>
                        <a:lnTo>
                          <a:pt x="24" y="18"/>
                        </a:lnTo>
                        <a:lnTo>
                          <a:pt x="37" y="18"/>
                        </a:lnTo>
                        <a:lnTo>
                          <a:pt x="39" y="11"/>
                        </a:lnTo>
                        <a:lnTo>
                          <a:pt x="39" y="0"/>
                        </a:lnTo>
                        <a:lnTo>
                          <a:pt x="30" y="4"/>
                        </a:lnTo>
                        <a:lnTo>
                          <a:pt x="25" y="10"/>
                        </a:lnTo>
                        <a:lnTo>
                          <a:pt x="19" y="15"/>
                        </a:lnTo>
                        <a:lnTo>
                          <a:pt x="11" y="17"/>
                        </a:lnTo>
                        <a:lnTo>
                          <a:pt x="4" y="24"/>
                        </a:lnTo>
                        <a:lnTo>
                          <a:pt x="4" y="33"/>
                        </a:lnTo>
                        <a:lnTo>
                          <a:pt x="11" y="26"/>
                        </a:lnTo>
                        <a:lnTo>
                          <a:pt x="19" y="24"/>
                        </a:lnTo>
                        <a:lnTo>
                          <a:pt x="19" y="24"/>
                        </a:lnTo>
                        <a:close/>
                        <a:moveTo>
                          <a:pt x="70" y="65"/>
                        </a:moveTo>
                        <a:lnTo>
                          <a:pt x="68" y="59"/>
                        </a:lnTo>
                        <a:lnTo>
                          <a:pt x="69" y="51"/>
                        </a:lnTo>
                        <a:lnTo>
                          <a:pt x="63" y="50"/>
                        </a:lnTo>
                        <a:lnTo>
                          <a:pt x="55" y="54"/>
                        </a:lnTo>
                        <a:lnTo>
                          <a:pt x="48" y="55"/>
                        </a:lnTo>
                        <a:lnTo>
                          <a:pt x="46" y="59"/>
                        </a:lnTo>
                        <a:lnTo>
                          <a:pt x="52" y="66"/>
                        </a:lnTo>
                        <a:lnTo>
                          <a:pt x="55" y="70"/>
                        </a:lnTo>
                        <a:lnTo>
                          <a:pt x="60" y="70"/>
                        </a:lnTo>
                        <a:lnTo>
                          <a:pt x="63" y="74"/>
                        </a:lnTo>
                        <a:lnTo>
                          <a:pt x="68" y="70"/>
                        </a:lnTo>
                        <a:lnTo>
                          <a:pt x="70" y="65"/>
                        </a:lnTo>
                        <a:lnTo>
                          <a:pt x="70" y="65"/>
                        </a:lnTo>
                        <a:close/>
                        <a:moveTo>
                          <a:pt x="70" y="74"/>
                        </a:moveTo>
                        <a:lnTo>
                          <a:pt x="64" y="78"/>
                        </a:lnTo>
                        <a:lnTo>
                          <a:pt x="66" y="81"/>
                        </a:lnTo>
                        <a:lnTo>
                          <a:pt x="71" y="76"/>
                        </a:lnTo>
                        <a:lnTo>
                          <a:pt x="74" y="74"/>
                        </a:lnTo>
                        <a:lnTo>
                          <a:pt x="70" y="74"/>
                        </a:lnTo>
                        <a:lnTo>
                          <a:pt x="70" y="74"/>
                        </a:lnTo>
                        <a:close/>
                        <a:moveTo>
                          <a:pt x="50" y="75"/>
                        </a:moveTo>
                        <a:lnTo>
                          <a:pt x="48" y="78"/>
                        </a:lnTo>
                        <a:lnTo>
                          <a:pt x="50" y="82"/>
                        </a:lnTo>
                        <a:lnTo>
                          <a:pt x="58" y="82"/>
                        </a:lnTo>
                        <a:lnTo>
                          <a:pt x="57" y="78"/>
                        </a:lnTo>
                        <a:lnTo>
                          <a:pt x="50" y="75"/>
                        </a:lnTo>
                        <a:lnTo>
                          <a:pt x="50" y="75"/>
                        </a:lnTo>
                        <a:close/>
                        <a:moveTo>
                          <a:pt x="35" y="61"/>
                        </a:moveTo>
                        <a:lnTo>
                          <a:pt x="30" y="63"/>
                        </a:lnTo>
                        <a:lnTo>
                          <a:pt x="32" y="70"/>
                        </a:lnTo>
                        <a:lnTo>
                          <a:pt x="41" y="72"/>
                        </a:lnTo>
                        <a:lnTo>
                          <a:pt x="46" y="66"/>
                        </a:lnTo>
                        <a:lnTo>
                          <a:pt x="43" y="61"/>
                        </a:lnTo>
                        <a:lnTo>
                          <a:pt x="35" y="61"/>
                        </a:lnTo>
                        <a:lnTo>
                          <a:pt x="35" y="61"/>
                        </a:lnTo>
                        <a:close/>
                        <a:moveTo>
                          <a:pt x="24" y="70"/>
                        </a:moveTo>
                        <a:lnTo>
                          <a:pt x="24" y="59"/>
                        </a:lnTo>
                        <a:lnTo>
                          <a:pt x="35" y="51"/>
                        </a:lnTo>
                        <a:lnTo>
                          <a:pt x="36" y="44"/>
                        </a:lnTo>
                        <a:lnTo>
                          <a:pt x="46" y="43"/>
                        </a:lnTo>
                        <a:lnTo>
                          <a:pt x="49" y="37"/>
                        </a:lnTo>
                        <a:lnTo>
                          <a:pt x="44" y="34"/>
                        </a:lnTo>
                        <a:lnTo>
                          <a:pt x="38" y="33"/>
                        </a:lnTo>
                        <a:lnTo>
                          <a:pt x="32" y="22"/>
                        </a:lnTo>
                        <a:lnTo>
                          <a:pt x="26" y="22"/>
                        </a:lnTo>
                        <a:lnTo>
                          <a:pt x="19" y="32"/>
                        </a:lnTo>
                        <a:lnTo>
                          <a:pt x="13" y="29"/>
                        </a:lnTo>
                        <a:lnTo>
                          <a:pt x="2" y="37"/>
                        </a:lnTo>
                        <a:lnTo>
                          <a:pt x="0" y="49"/>
                        </a:lnTo>
                        <a:lnTo>
                          <a:pt x="3" y="63"/>
                        </a:lnTo>
                        <a:lnTo>
                          <a:pt x="9" y="70"/>
                        </a:lnTo>
                        <a:lnTo>
                          <a:pt x="10" y="81"/>
                        </a:lnTo>
                        <a:lnTo>
                          <a:pt x="11" y="83"/>
                        </a:lnTo>
                        <a:lnTo>
                          <a:pt x="11" y="82"/>
                        </a:lnTo>
                        <a:lnTo>
                          <a:pt x="17" y="81"/>
                        </a:lnTo>
                        <a:lnTo>
                          <a:pt x="28" y="81"/>
                        </a:lnTo>
                        <a:lnTo>
                          <a:pt x="28" y="81"/>
                        </a:lnTo>
                        <a:lnTo>
                          <a:pt x="27" y="80"/>
                        </a:lnTo>
                        <a:lnTo>
                          <a:pt x="24" y="70"/>
                        </a:lnTo>
                        <a:lnTo>
                          <a:pt x="24" y="7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3" name="Freeform 28"/>
                  <p:cNvSpPr>
                    <a:spLocks noChangeAspect="1"/>
                  </p:cNvSpPr>
                  <p:nvPr/>
                </p:nvSpPr>
                <p:spPr bwMode="gray">
                  <a:xfrm>
                    <a:off x="1159" y="1012"/>
                    <a:ext cx="379" cy="386"/>
                  </a:xfrm>
                  <a:custGeom>
                    <a:avLst/>
                    <a:gdLst>
                      <a:gd name="T0" fmla="*/ 62 w 62"/>
                      <a:gd name="T1" fmla="*/ 3 h 63"/>
                      <a:gd name="T2" fmla="*/ 58 w 62"/>
                      <a:gd name="T3" fmla="*/ 0 h 63"/>
                      <a:gd name="T4" fmla="*/ 42 w 62"/>
                      <a:gd name="T5" fmla="*/ 0 h 63"/>
                      <a:gd name="T6" fmla="*/ 35 w 62"/>
                      <a:gd name="T7" fmla="*/ 5 h 63"/>
                      <a:gd name="T8" fmla="*/ 34 w 62"/>
                      <a:gd name="T9" fmla="*/ 11 h 63"/>
                      <a:gd name="T10" fmla="*/ 40 w 62"/>
                      <a:gd name="T11" fmla="*/ 16 h 63"/>
                      <a:gd name="T12" fmla="*/ 39 w 62"/>
                      <a:gd name="T13" fmla="*/ 22 h 63"/>
                      <a:gd name="T14" fmla="*/ 31 w 62"/>
                      <a:gd name="T15" fmla="*/ 27 h 63"/>
                      <a:gd name="T16" fmla="*/ 30 w 62"/>
                      <a:gd name="T17" fmla="*/ 22 h 63"/>
                      <a:gd name="T18" fmla="*/ 34 w 62"/>
                      <a:gd name="T19" fmla="*/ 16 h 63"/>
                      <a:gd name="T20" fmla="*/ 31 w 62"/>
                      <a:gd name="T21" fmla="*/ 13 h 63"/>
                      <a:gd name="T22" fmla="*/ 24 w 62"/>
                      <a:gd name="T23" fmla="*/ 14 h 63"/>
                      <a:gd name="T24" fmla="*/ 19 w 62"/>
                      <a:gd name="T25" fmla="*/ 28 h 63"/>
                      <a:gd name="T26" fmla="*/ 17 w 62"/>
                      <a:gd name="T27" fmla="*/ 33 h 63"/>
                      <a:gd name="T28" fmla="*/ 13 w 62"/>
                      <a:gd name="T29" fmla="*/ 36 h 63"/>
                      <a:gd name="T30" fmla="*/ 12 w 62"/>
                      <a:gd name="T31" fmla="*/ 44 h 63"/>
                      <a:gd name="T32" fmla="*/ 13 w 62"/>
                      <a:gd name="T33" fmla="*/ 46 h 63"/>
                      <a:gd name="T34" fmla="*/ 11 w 62"/>
                      <a:gd name="T35" fmla="*/ 50 h 63"/>
                      <a:gd name="T36" fmla="*/ 6 w 62"/>
                      <a:gd name="T37" fmla="*/ 50 h 63"/>
                      <a:gd name="T38" fmla="*/ 0 w 62"/>
                      <a:gd name="T39" fmla="*/ 51 h 63"/>
                      <a:gd name="T40" fmla="*/ 7 w 62"/>
                      <a:gd name="T41" fmla="*/ 55 h 63"/>
                      <a:gd name="T42" fmla="*/ 16 w 62"/>
                      <a:gd name="T43" fmla="*/ 51 h 63"/>
                      <a:gd name="T44" fmla="*/ 22 w 62"/>
                      <a:gd name="T45" fmla="*/ 49 h 63"/>
                      <a:gd name="T46" fmla="*/ 27 w 62"/>
                      <a:gd name="T47" fmla="*/ 50 h 63"/>
                      <a:gd name="T48" fmla="*/ 35 w 62"/>
                      <a:gd name="T49" fmla="*/ 50 h 63"/>
                      <a:gd name="T50" fmla="*/ 36 w 62"/>
                      <a:gd name="T51" fmla="*/ 59 h 63"/>
                      <a:gd name="T52" fmla="*/ 40 w 62"/>
                      <a:gd name="T53" fmla="*/ 63 h 63"/>
                      <a:gd name="T54" fmla="*/ 41 w 62"/>
                      <a:gd name="T55" fmla="*/ 61 h 63"/>
                      <a:gd name="T56" fmla="*/ 42 w 62"/>
                      <a:gd name="T57" fmla="*/ 55 h 63"/>
                      <a:gd name="T58" fmla="*/ 47 w 62"/>
                      <a:gd name="T59" fmla="*/ 46 h 63"/>
                      <a:gd name="T60" fmla="*/ 46 w 62"/>
                      <a:gd name="T61" fmla="*/ 44 h 63"/>
                      <a:gd name="T62" fmla="*/ 44 w 62"/>
                      <a:gd name="T63" fmla="*/ 41 h 63"/>
                      <a:gd name="T64" fmla="*/ 46 w 62"/>
                      <a:gd name="T65" fmla="*/ 38 h 63"/>
                      <a:gd name="T66" fmla="*/ 58 w 62"/>
                      <a:gd name="T67" fmla="*/ 28 h 63"/>
                      <a:gd name="T68" fmla="*/ 60 w 62"/>
                      <a:gd name="T69" fmla="*/ 18 h 63"/>
                      <a:gd name="T70" fmla="*/ 58 w 62"/>
                      <a:gd name="T71" fmla="*/ 13 h 63"/>
                      <a:gd name="T72" fmla="*/ 62 w 62"/>
                      <a:gd name="T73" fmla="*/ 3 h 63"/>
                      <a:gd name="T74" fmla="*/ 62 w 62"/>
                      <a:gd name="T75"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3">
                        <a:moveTo>
                          <a:pt x="62" y="3"/>
                        </a:moveTo>
                        <a:lnTo>
                          <a:pt x="58" y="0"/>
                        </a:lnTo>
                        <a:lnTo>
                          <a:pt x="42" y="0"/>
                        </a:lnTo>
                        <a:lnTo>
                          <a:pt x="35" y="5"/>
                        </a:lnTo>
                        <a:lnTo>
                          <a:pt x="34" y="11"/>
                        </a:lnTo>
                        <a:lnTo>
                          <a:pt x="40" y="16"/>
                        </a:lnTo>
                        <a:lnTo>
                          <a:pt x="39" y="22"/>
                        </a:lnTo>
                        <a:lnTo>
                          <a:pt x="31" y="27"/>
                        </a:lnTo>
                        <a:lnTo>
                          <a:pt x="30" y="22"/>
                        </a:lnTo>
                        <a:lnTo>
                          <a:pt x="34" y="16"/>
                        </a:lnTo>
                        <a:lnTo>
                          <a:pt x="31" y="13"/>
                        </a:lnTo>
                        <a:lnTo>
                          <a:pt x="24" y="14"/>
                        </a:lnTo>
                        <a:lnTo>
                          <a:pt x="19" y="28"/>
                        </a:lnTo>
                        <a:lnTo>
                          <a:pt x="17" y="33"/>
                        </a:lnTo>
                        <a:lnTo>
                          <a:pt x="13" y="36"/>
                        </a:lnTo>
                        <a:lnTo>
                          <a:pt x="12" y="44"/>
                        </a:lnTo>
                        <a:lnTo>
                          <a:pt x="13" y="46"/>
                        </a:lnTo>
                        <a:lnTo>
                          <a:pt x="11" y="50"/>
                        </a:lnTo>
                        <a:lnTo>
                          <a:pt x="6" y="50"/>
                        </a:lnTo>
                        <a:lnTo>
                          <a:pt x="0" y="51"/>
                        </a:lnTo>
                        <a:lnTo>
                          <a:pt x="7" y="55"/>
                        </a:lnTo>
                        <a:lnTo>
                          <a:pt x="16" y="51"/>
                        </a:lnTo>
                        <a:lnTo>
                          <a:pt x="22" y="49"/>
                        </a:lnTo>
                        <a:lnTo>
                          <a:pt x="27" y="50"/>
                        </a:lnTo>
                        <a:lnTo>
                          <a:pt x="35" y="50"/>
                        </a:lnTo>
                        <a:lnTo>
                          <a:pt x="36" y="59"/>
                        </a:lnTo>
                        <a:lnTo>
                          <a:pt x="40" y="63"/>
                        </a:lnTo>
                        <a:lnTo>
                          <a:pt x="41" y="61"/>
                        </a:lnTo>
                        <a:lnTo>
                          <a:pt x="42" y="55"/>
                        </a:lnTo>
                        <a:lnTo>
                          <a:pt x="47" y="46"/>
                        </a:lnTo>
                        <a:lnTo>
                          <a:pt x="46" y="44"/>
                        </a:lnTo>
                        <a:lnTo>
                          <a:pt x="44" y="41"/>
                        </a:lnTo>
                        <a:lnTo>
                          <a:pt x="46" y="38"/>
                        </a:lnTo>
                        <a:lnTo>
                          <a:pt x="58" y="28"/>
                        </a:lnTo>
                        <a:lnTo>
                          <a:pt x="60" y="18"/>
                        </a:lnTo>
                        <a:lnTo>
                          <a:pt x="58" y="13"/>
                        </a:lnTo>
                        <a:lnTo>
                          <a:pt x="62" y="3"/>
                        </a:lnTo>
                        <a:lnTo>
                          <a:pt x="62" y="3"/>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4" name="Freeform 29"/>
                  <p:cNvSpPr>
                    <a:spLocks noChangeAspect="1"/>
                  </p:cNvSpPr>
                  <p:nvPr/>
                </p:nvSpPr>
                <p:spPr bwMode="gray">
                  <a:xfrm>
                    <a:off x="1416" y="1482"/>
                    <a:ext cx="67" cy="138"/>
                  </a:xfrm>
                  <a:custGeom>
                    <a:avLst/>
                    <a:gdLst>
                      <a:gd name="T0" fmla="*/ 4 w 11"/>
                      <a:gd name="T1" fmla="*/ 0 h 22"/>
                      <a:gd name="T2" fmla="*/ 2 w 11"/>
                      <a:gd name="T3" fmla="*/ 4 h 22"/>
                      <a:gd name="T4" fmla="*/ 0 w 11"/>
                      <a:gd name="T5" fmla="*/ 11 h 22"/>
                      <a:gd name="T6" fmla="*/ 2 w 11"/>
                      <a:gd name="T7" fmla="*/ 20 h 22"/>
                      <a:gd name="T8" fmla="*/ 11 w 11"/>
                      <a:gd name="T9" fmla="*/ 22 h 22"/>
                      <a:gd name="T10" fmla="*/ 9 w 11"/>
                      <a:gd name="T11" fmla="*/ 7 h 22"/>
                      <a:gd name="T12" fmla="*/ 4 w 11"/>
                      <a:gd name="T13" fmla="*/ 0 h 22"/>
                      <a:gd name="T14" fmla="*/ 4 w 1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4" y="0"/>
                        </a:moveTo>
                        <a:lnTo>
                          <a:pt x="2" y="4"/>
                        </a:lnTo>
                        <a:lnTo>
                          <a:pt x="0" y="11"/>
                        </a:lnTo>
                        <a:lnTo>
                          <a:pt x="2" y="20"/>
                        </a:lnTo>
                        <a:lnTo>
                          <a:pt x="11" y="22"/>
                        </a:lnTo>
                        <a:lnTo>
                          <a:pt x="9" y="7"/>
                        </a:lnTo>
                        <a:lnTo>
                          <a:pt x="4" y="0"/>
                        </a:lnTo>
                        <a:lnTo>
                          <a:pt x="4"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5" name="Freeform 30"/>
                  <p:cNvSpPr>
                    <a:spLocks noChangeAspect="1"/>
                  </p:cNvSpPr>
                  <p:nvPr/>
                </p:nvSpPr>
                <p:spPr bwMode="gray">
                  <a:xfrm>
                    <a:off x="1095" y="1311"/>
                    <a:ext cx="346" cy="294"/>
                  </a:xfrm>
                  <a:custGeom>
                    <a:avLst/>
                    <a:gdLst>
                      <a:gd name="T0" fmla="*/ 26 w 56"/>
                      <a:gd name="T1" fmla="*/ 32 h 48"/>
                      <a:gd name="T2" fmla="*/ 32 w 56"/>
                      <a:gd name="T3" fmla="*/ 34 h 48"/>
                      <a:gd name="T4" fmla="*/ 41 w 56"/>
                      <a:gd name="T5" fmla="*/ 39 h 48"/>
                      <a:gd name="T6" fmla="*/ 54 w 56"/>
                      <a:gd name="T7" fmla="*/ 48 h 48"/>
                      <a:gd name="T8" fmla="*/ 52 w 56"/>
                      <a:gd name="T9" fmla="*/ 39 h 48"/>
                      <a:gd name="T10" fmla="*/ 54 w 56"/>
                      <a:gd name="T11" fmla="*/ 32 h 48"/>
                      <a:gd name="T12" fmla="*/ 56 w 56"/>
                      <a:gd name="T13" fmla="*/ 28 h 48"/>
                      <a:gd name="T14" fmla="*/ 56 w 56"/>
                      <a:gd name="T15" fmla="*/ 17 h 48"/>
                      <a:gd name="T16" fmla="*/ 51 w 56"/>
                      <a:gd name="T17" fmla="*/ 12 h 48"/>
                      <a:gd name="T18" fmla="*/ 50 w 56"/>
                      <a:gd name="T19" fmla="*/ 14 h 48"/>
                      <a:gd name="T20" fmla="*/ 46 w 56"/>
                      <a:gd name="T21" fmla="*/ 10 h 48"/>
                      <a:gd name="T22" fmla="*/ 45 w 56"/>
                      <a:gd name="T23" fmla="*/ 1 h 48"/>
                      <a:gd name="T24" fmla="*/ 37 w 56"/>
                      <a:gd name="T25" fmla="*/ 1 h 48"/>
                      <a:gd name="T26" fmla="*/ 32 w 56"/>
                      <a:gd name="T27" fmla="*/ 0 h 48"/>
                      <a:gd name="T28" fmla="*/ 26 w 56"/>
                      <a:gd name="T29" fmla="*/ 2 h 48"/>
                      <a:gd name="T30" fmla="*/ 17 w 56"/>
                      <a:gd name="T31" fmla="*/ 6 h 48"/>
                      <a:gd name="T32" fmla="*/ 10 w 56"/>
                      <a:gd name="T33" fmla="*/ 2 h 48"/>
                      <a:gd name="T34" fmla="*/ 7 w 56"/>
                      <a:gd name="T35" fmla="*/ 6 h 48"/>
                      <a:gd name="T36" fmla="*/ 0 w 56"/>
                      <a:gd name="T37" fmla="*/ 11 h 48"/>
                      <a:gd name="T38" fmla="*/ 11 w 56"/>
                      <a:gd name="T39" fmla="*/ 22 h 48"/>
                      <a:gd name="T40" fmla="*/ 26 w 56"/>
                      <a:gd name="T41" fmla="*/ 32 h 48"/>
                      <a:gd name="T42" fmla="*/ 26 w 56"/>
                      <a:gd name="T43"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48">
                        <a:moveTo>
                          <a:pt x="26" y="32"/>
                        </a:moveTo>
                        <a:lnTo>
                          <a:pt x="32" y="34"/>
                        </a:lnTo>
                        <a:lnTo>
                          <a:pt x="41" y="39"/>
                        </a:lnTo>
                        <a:lnTo>
                          <a:pt x="54" y="48"/>
                        </a:lnTo>
                        <a:lnTo>
                          <a:pt x="52" y="39"/>
                        </a:lnTo>
                        <a:lnTo>
                          <a:pt x="54" y="32"/>
                        </a:lnTo>
                        <a:lnTo>
                          <a:pt x="56" y="28"/>
                        </a:lnTo>
                        <a:lnTo>
                          <a:pt x="56" y="17"/>
                        </a:lnTo>
                        <a:lnTo>
                          <a:pt x="51" y="12"/>
                        </a:lnTo>
                        <a:lnTo>
                          <a:pt x="50" y="14"/>
                        </a:lnTo>
                        <a:lnTo>
                          <a:pt x="46" y="10"/>
                        </a:lnTo>
                        <a:lnTo>
                          <a:pt x="45" y="1"/>
                        </a:lnTo>
                        <a:lnTo>
                          <a:pt x="37" y="1"/>
                        </a:lnTo>
                        <a:lnTo>
                          <a:pt x="32" y="0"/>
                        </a:lnTo>
                        <a:lnTo>
                          <a:pt x="26" y="2"/>
                        </a:lnTo>
                        <a:lnTo>
                          <a:pt x="17" y="6"/>
                        </a:lnTo>
                        <a:lnTo>
                          <a:pt x="10" y="2"/>
                        </a:lnTo>
                        <a:lnTo>
                          <a:pt x="7" y="6"/>
                        </a:lnTo>
                        <a:lnTo>
                          <a:pt x="0" y="11"/>
                        </a:lnTo>
                        <a:lnTo>
                          <a:pt x="11" y="22"/>
                        </a:lnTo>
                        <a:lnTo>
                          <a:pt x="26" y="32"/>
                        </a:lnTo>
                        <a:lnTo>
                          <a:pt x="26" y="32"/>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6" name="Freeform 31"/>
                  <p:cNvSpPr>
                    <a:spLocks noChangeAspect="1" noEditPoints="1"/>
                  </p:cNvSpPr>
                  <p:nvPr/>
                </p:nvSpPr>
                <p:spPr bwMode="gray">
                  <a:xfrm>
                    <a:off x="1483" y="1961"/>
                    <a:ext cx="1152" cy="1288"/>
                  </a:xfrm>
                  <a:custGeom>
                    <a:avLst/>
                    <a:gdLst>
                      <a:gd name="T0" fmla="*/ 108 w 187"/>
                      <a:gd name="T1" fmla="*/ 187 h 210"/>
                      <a:gd name="T2" fmla="*/ 95 w 187"/>
                      <a:gd name="T3" fmla="*/ 184 h 210"/>
                      <a:gd name="T4" fmla="*/ 90 w 187"/>
                      <a:gd name="T5" fmla="*/ 193 h 210"/>
                      <a:gd name="T6" fmla="*/ 109 w 187"/>
                      <a:gd name="T7" fmla="*/ 202 h 210"/>
                      <a:gd name="T8" fmla="*/ 130 w 187"/>
                      <a:gd name="T9" fmla="*/ 194 h 210"/>
                      <a:gd name="T10" fmla="*/ 125 w 187"/>
                      <a:gd name="T11" fmla="*/ 186 h 210"/>
                      <a:gd name="T12" fmla="*/ 45 w 187"/>
                      <a:gd name="T13" fmla="*/ 121 h 210"/>
                      <a:gd name="T14" fmla="*/ 37 w 187"/>
                      <a:gd name="T15" fmla="*/ 124 h 210"/>
                      <a:gd name="T16" fmla="*/ 29 w 187"/>
                      <a:gd name="T17" fmla="*/ 135 h 210"/>
                      <a:gd name="T18" fmla="*/ 29 w 187"/>
                      <a:gd name="T19" fmla="*/ 164 h 210"/>
                      <a:gd name="T20" fmla="*/ 36 w 187"/>
                      <a:gd name="T21" fmla="*/ 162 h 210"/>
                      <a:gd name="T22" fmla="*/ 45 w 187"/>
                      <a:gd name="T23" fmla="*/ 157 h 210"/>
                      <a:gd name="T24" fmla="*/ 48 w 187"/>
                      <a:gd name="T25" fmla="*/ 133 h 210"/>
                      <a:gd name="T26" fmla="*/ 45 w 187"/>
                      <a:gd name="T27" fmla="*/ 121 h 210"/>
                      <a:gd name="T28" fmla="*/ 185 w 187"/>
                      <a:gd name="T29" fmla="*/ 141 h 210"/>
                      <a:gd name="T30" fmla="*/ 166 w 187"/>
                      <a:gd name="T31" fmla="*/ 129 h 210"/>
                      <a:gd name="T32" fmla="*/ 154 w 187"/>
                      <a:gd name="T33" fmla="*/ 122 h 210"/>
                      <a:gd name="T34" fmla="*/ 146 w 187"/>
                      <a:gd name="T35" fmla="*/ 108 h 210"/>
                      <a:gd name="T36" fmla="*/ 117 w 187"/>
                      <a:gd name="T37" fmla="*/ 97 h 210"/>
                      <a:gd name="T38" fmla="*/ 103 w 187"/>
                      <a:gd name="T39" fmla="*/ 70 h 210"/>
                      <a:gd name="T40" fmla="*/ 89 w 187"/>
                      <a:gd name="T41" fmla="*/ 42 h 210"/>
                      <a:gd name="T42" fmla="*/ 94 w 187"/>
                      <a:gd name="T43" fmla="*/ 34 h 210"/>
                      <a:gd name="T44" fmla="*/ 109 w 187"/>
                      <a:gd name="T45" fmla="*/ 37 h 210"/>
                      <a:gd name="T46" fmla="*/ 114 w 187"/>
                      <a:gd name="T47" fmla="*/ 23 h 210"/>
                      <a:gd name="T48" fmla="*/ 109 w 187"/>
                      <a:gd name="T49" fmla="*/ 9 h 210"/>
                      <a:gd name="T50" fmla="*/ 90 w 187"/>
                      <a:gd name="T51" fmla="*/ 4 h 210"/>
                      <a:gd name="T52" fmla="*/ 78 w 187"/>
                      <a:gd name="T53" fmla="*/ 0 h 210"/>
                      <a:gd name="T54" fmla="*/ 57 w 187"/>
                      <a:gd name="T55" fmla="*/ 5 h 210"/>
                      <a:gd name="T56" fmla="*/ 35 w 187"/>
                      <a:gd name="T57" fmla="*/ 11 h 210"/>
                      <a:gd name="T58" fmla="*/ 23 w 187"/>
                      <a:gd name="T59" fmla="*/ 9 h 210"/>
                      <a:gd name="T60" fmla="*/ 16 w 187"/>
                      <a:gd name="T61" fmla="*/ 25 h 210"/>
                      <a:gd name="T62" fmla="*/ 0 w 187"/>
                      <a:gd name="T63" fmla="*/ 25 h 210"/>
                      <a:gd name="T64" fmla="*/ 7 w 187"/>
                      <a:gd name="T65" fmla="*/ 58 h 210"/>
                      <a:gd name="T66" fmla="*/ 21 w 187"/>
                      <a:gd name="T67" fmla="*/ 68 h 210"/>
                      <a:gd name="T68" fmla="*/ 46 w 187"/>
                      <a:gd name="T69" fmla="*/ 56 h 210"/>
                      <a:gd name="T70" fmla="*/ 62 w 187"/>
                      <a:gd name="T71" fmla="*/ 73 h 210"/>
                      <a:gd name="T72" fmla="*/ 73 w 187"/>
                      <a:gd name="T73" fmla="*/ 94 h 210"/>
                      <a:gd name="T74" fmla="*/ 84 w 187"/>
                      <a:gd name="T75" fmla="*/ 108 h 210"/>
                      <a:gd name="T76" fmla="*/ 92 w 187"/>
                      <a:gd name="T77" fmla="*/ 116 h 210"/>
                      <a:gd name="T78" fmla="*/ 111 w 187"/>
                      <a:gd name="T79" fmla="*/ 126 h 210"/>
                      <a:gd name="T80" fmla="*/ 120 w 187"/>
                      <a:gd name="T81" fmla="*/ 132 h 210"/>
                      <a:gd name="T82" fmla="*/ 130 w 187"/>
                      <a:gd name="T83" fmla="*/ 138 h 210"/>
                      <a:gd name="T84" fmla="*/ 138 w 187"/>
                      <a:gd name="T85" fmla="*/ 148 h 210"/>
                      <a:gd name="T86" fmla="*/ 147 w 187"/>
                      <a:gd name="T87" fmla="*/ 154 h 210"/>
                      <a:gd name="T88" fmla="*/ 150 w 187"/>
                      <a:gd name="T89" fmla="*/ 171 h 210"/>
                      <a:gd name="T90" fmla="*/ 141 w 187"/>
                      <a:gd name="T91" fmla="*/ 186 h 210"/>
                      <a:gd name="T92" fmla="*/ 156 w 187"/>
                      <a:gd name="T93" fmla="*/ 182 h 210"/>
                      <a:gd name="T94" fmla="*/ 166 w 187"/>
                      <a:gd name="T95" fmla="*/ 170 h 210"/>
                      <a:gd name="T96" fmla="*/ 157 w 187"/>
                      <a:gd name="T97" fmla="*/ 154 h 210"/>
                      <a:gd name="T98" fmla="*/ 168 w 187"/>
                      <a:gd name="T99" fmla="*/ 140 h 210"/>
                      <a:gd name="T100" fmla="*/ 184 w 187"/>
                      <a:gd name="T101" fmla="*/ 150 h 210"/>
                      <a:gd name="T102" fmla="*/ 185 w 187"/>
                      <a:gd name="T103" fmla="*/ 14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7" h="210">
                        <a:moveTo>
                          <a:pt x="125" y="186"/>
                        </a:moveTo>
                        <a:lnTo>
                          <a:pt x="108" y="187"/>
                        </a:lnTo>
                        <a:lnTo>
                          <a:pt x="101" y="184"/>
                        </a:lnTo>
                        <a:lnTo>
                          <a:pt x="95" y="184"/>
                        </a:lnTo>
                        <a:lnTo>
                          <a:pt x="89" y="189"/>
                        </a:lnTo>
                        <a:lnTo>
                          <a:pt x="90" y="193"/>
                        </a:lnTo>
                        <a:lnTo>
                          <a:pt x="101" y="195"/>
                        </a:lnTo>
                        <a:lnTo>
                          <a:pt x="109" y="202"/>
                        </a:lnTo>
                        <a:lnTo>
                          <a:pt x="130" y="210"/>
                        </a:lnTo>
                        <a:lnTo>
                          <a:pt x="130" y="194"/>
                        </a:lnTo>
                        <a:lnTo>
                          <a:pt x="134" y="183"/>
                        </a:lnTo>
                        <a:lnTo>
                          <a:pt x="125" y="186"/>
                        </a:lnTo>
                        <a:lnTo>
                          <a:pt x="125" y="186"/>
                        </a:lnTo>
                        <a:close/>
                        <a:moveTo>
                          <a:pt x="45" y="121"/>
                        </a:moveTo>
                        <a:lnTo>
                          <a:pt x="42" y="119"/>
                        </a:lnTo>
                        <a:lnTo>
                          <a:pt x="37" y="124"/>
                        </a:lnTo>
                        <a:lnTo>
                          <a:pt x="27" y="130"/>
                        </a:lnTo>
                        <a:lnTo>
                          <a:pt x="29" y="135"/>
                        </a:lnTo>
                        <a:lnTo>
                          <a:pt x="27" y="151"/>
                        </a:lnTo>
                        <a:lnTo>
                          <a:pt x="29" y="164"/>
                        </a:lnTo>
                        <a:lnTo>
                          <a:pt x="34" y="166"/>
                        </a:lnTo>
                        <a:lnTo>
                          <a:pt x="36" y="162"/>
                        </a:lnTo>
                        <a:lnTo>
                          <a:pt x="42" y="162"/>
                        </a:lnTo>
                        <a:lnTo>
                          <a:pt x="45" y="157"/>
                        </a:lnTo>
                        <a:lnTo>
                          <a:pt x="47" y="153"/>
                        </a:lnTo>
                        <a:lnTo>
                          <a:pt x="48" y="133"/>
                        </a:lnTo>
                        <a:lnTo>
                          <a:pt x="45" y="129"/>
                        </a:lnTo>
                        <a:lnTo>
                          <a:pt x="45" y="121"/>
                        </a:lnTo>
                        <a:lnTo>
                          <a:pt x="45" y="121"/>
                        </a:lnTo>
                        <a:close/>
                        <a:moveTo>
                          <a:pt x="185" y="141"/>
                        </a:moveTo>
                        <a:lnTo>
                          <a:pt x="176" y="133"/>
                        </a:lnTo>
                        <a:lnTo>
                          <a:pt x="166" y="129"/>
                        </a:lnTo>
                        <a:lnTo>
                          <a:pt x="166" y="123"/>
                        </a:lnTo>
                        <a:lnTo>
                          <a:pt x="154" y="122"/>
                        </a:lnTo>
                        <a:lnTo>
                          <a:pt x="150" y="118"/>
                        </a:lnTo>
                        <a:lnTo>
                          <a:pt x="146" y="108"/>
                        </a:lnTo>
                        <a:lnTo>
                          <a:pt x="131" y="107"/>
                        </a:lnTo>
                        <a:lnTo>
                          <a:pt x="117" y="97"/>
                        </a:lnTo>
                        <a:lnTo>
                          <a:pt x="109" y="80"/>
                        </a:lnTo>
                        <a:lnTo>
                          <a:pt x="103" y="70"/>
                        </a:lnTo>
                        <a:lnTo>
                          <a:pt x="87" y="59"/>
                        </a:lnTo>
                        <a:lnTo>
                          <a:pt x="89" y="42"/>
                        </a:lnTo>
                        <a:lnTo>
                          <a:pt x="87" y="40"/>
                        </a:lnTo>
                        <a:lnTo>
                          <a:pt x="94" y="34"/>
                        </a:lnTo>
                        <a:lnTo>
                          <a:pt x="109" y="30"/>
                        </a:lnTo>
                        <a:lnTo>
                          <a:pt x="109" y="37"/>
                        </a:lnTo>
                        <a:lnTo>
                          <a:pt x="113" y="31"/>
                        </a:lnTo>
                        <a:lnTo>
                          <a:pt x="114" y="23"/>
                        </a:lnTo>
                        <a:lnTo>
                          <a:pt x="109" y="18"/>
                        </a:lnTo>
                        <a:lnTo>
                          <a:pt x="109" y="9"/>
                        </a:lnTo>
                        <a:lnTo>
                          <a:pt x="96" y="4"/>
                        </a:lnTo>
                        <a:lnTo>
                          <a:pt x="90" y="4"/>
                        </a:lnTo>
                        <a:lnTo>
                          <a:pt x="86" y="0"/>
                        </a:lnTo>
                        <a:lnTo>
                          <a:pt x="78" y="0"/>
                        </a:lnTo>
                        <a:lnTo>
                          <a:pt x="73" y="5"/>
                        </a:lnTo>
                        <a:lnTo>
                          <a:pt x="57" y="5"/>
                        </a:lnTo>
                        <a:lnTo>
                          <a:pt x="53" y="14"/>
                        </a:lnTo>
                        <a:lnTo>
                          <a:pt x="35" y="11"/>
                        </a:lnTo>
                        <a:lnTo>
                          <a:pt x="30" y="8"/>
                        </a:lnTo>
                        <a:lnTo>
                          <a:pt x="23" y="9"/>
                        </a:lnTo>
                        <a:lnTo>
                          <a:pt x="21" y="23"/>
                        </a:lnTo>
                        <a:lnTo>
                          <a:pt x="16" y="25"/>
                        </a:lnTo>
                        <a:lnTo>
                          <a:pt x="9" y="24"/>
                        </a:lnTo>
                        <a:lnTo>
                          <a:pt x="0" y="25"/>
                        </a:lnTo>
                        <a:lnTo>
                          <a:pt x="3" y="42"/>
                        </a:lnTo>
                        <a:lnTo>
                          <a:pt x="7" y="58"/>
                        </a:lnTo>
                        <a:lnTo>
                          <a:pt x="14" y="61"/>
                        </a:lnTo>
                        <a:lnTo>
                          <a:pt x="21" y="68"/>
                        </a:lnTo>
                        <a:lnTo>
                          <a:pt x="31" y="58"/>
                        </a:lnTo>
                        <a:lnTo>
                          <a:pt x="46" y="56"/>
                        </a:lnTo>
                        <a:lnTo>
                          <a:pt x="52" y="58"/>
                        </a:lnTo>
                        <a:lnTo>
                          <a:pt x="62" y="73"/>
                        </a:lnTo>
                        <a:lnTo>
                          <a:pt x="63" y="88"/>
                        </a:lnTo>
                        <a:lnTo>
                          <a:pt x="73" y="94"/>
                        </a:lnTo>
                        <a:lnTo>
                          <a:pt x="75" y="102"/>
                        </a:lnTo>
                        <a:lnTo>
                          <a:pt x="84" y="108"/>
                        </a:lnTo>
                        <a:lnTo>
                          <a:pt x="89" y="110"/>
                        </a:lnTo>
                        <a:lnTo>
                          <a:pt x="92" y="116"/>
                        </a:lnTo>
                        <a:lnTo>
                          <a:pt x="106" y="124"/>
                        </a:lnTo>
                        <a:lnTo>
                          <a:pt x="111" y="126"/>
                        </a:lnTo>
                        <a:lnTo>
                          <a:pt x="117" y="132"/>
                        </a:lnTo>
                        <a:lnTo>
                          <a:pt x="120" y="132"/>
                        </a:lnTo>
                        <a:lnTo>
                          <a:pt x="124" y="135"/>
                        </a:lnTo>
                        <a:lnTo>
                          <a:pt x="130" y="138"/>
                        </a:lnTo>
                        <a:lnTo>
                          <a:pt x="131" y="144"/>
                        </a:lnTo>
                        <a:lnTo>
                          <a:pt x="138" y="148"/>
                        </a:lnTo>
                        <a:lnTo>
                          <a:pt x="143" y="148"/>
                        </a:lnTo>
                        <a:lnTo>
                          <a:pt x="147" y="154"/>
                        </a:lnTo>
                        <a:lnTo>
                          <a:pt x="147" y="161"/>
                        </a:lnTo>
                        <a:lnTo>
                          <a:pt x="150" y="171"/>
                        </a:lnTo>
                        <a:lnTo>
                          <a:pt x="144" y="179"/>
                        </a:lnTo>
                        <a:lnTo>
                          <a:pt x="141" y="186"/>
                        </a:lnTo>
                        <a:lnTo>
                          <a:pt x="145" y="191"/>
                        </a:lnTo>
                        <a:lnTo>
                          <a:pt x="156" y="182"/>
                        </a:lnTo>
                        <a:lnTo>
                          <a:pt x="158" y="173"/>
                        </a:lnTo>
                        <a:lnTo>
                          <a:pt x="166" y="170"/>
                        </a:lnTo>
                        <a:lnTo>
                          <a:pt x="165" y="162"/>
                        </a:lnTo>
                        <a:lnTo>
                          <a:pt x="157" y="154"/>
                        </a:lnTo>
                        <a:lnTo>
                          <a:pt x="160" y="141"/>
                        </a:lnTo>
                        <a:lnTo>
                          <a:pt x="168" y="140"/>
                        </a:lnTo>
                        <a:lnTo>
                          <a:pt x="174" y="144"/>
                        </a:lnTo>
                        <a:lnTo>
                          <a:pt x="184" y="150"/>
                        </a:lnTo>
                        <a:lnTo>
                          <a:pt x="187" y="148"/>
                        </a:lnTo>
                        <a:lnTo>
                          <a:pt x="185" y="141"/>
                        </a:lnTo>
                        <a:lnTo>
                          <a:pt x="185" y="141"/>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7" name="Freeform 32"/>
                  <p:cNvSpPr>
                    <a:spLocks noChangeAspect="1"/>
                  </p:cNvSpPr>
                  <p:nvPr/>
                </p:nvSpPr>
                <p:spPr bwMode="gray">
                  <a:xfrm>
                    <a:off x="2183" y="2102"/>
                    <a:ext cx="4" cy="50"/>
                  </a:xfrm>
                  <a:custGeom>
                    <a:avLst/>
                    <a:gdLst>
                      <a:gd name="T0" fmla="*/ 0 w 1"/>
                      <a:gd name="T1" fmla="*/ 8 h 8"/>
                      <a:gd name="T2" fmla="*/ 1 w 1"/>
                      <a:gd name="T3" fmla="*/ 4 h 8"/>
                      <a:gd name="T4" fmla="*/ 1 w 1"/>
                      <a:gd name="T5" fmla="*/ 0 h 8"/>
                      <a:gd name="T6" fmla="*/ 0 w 1"/>
                      <a:gd name="T7" fmla="*/ 8 h 8"/>
                      <a:gd name="T8" fmla="*/ 0 w 1"/>
                      <a:gd name="T9" fmla="*/ 8 h 8"/>
                    </a:gdLst>
                    <a:ahLst/>
                    <a:cxnLst>
                      <a:cxn ang="0">
                        <a:pos x="T0" y="T1"/>
                      </a:cxn>
                      <a:cxn ang="0">
                        <a:pos x="T2" y="T3"/>
                      </a:cxn>
                      <a:cxn ang="0">
                        <a:pos x="T4" y="T5"/>
                      </a:cxn>
                      <a:cxn ang="0">
                        <a:pos x="T6" y="T7"/>
                      </a:cxn>
                      <a:cxn ang="0">
                        <a:pos x="T8" y="T9"/>
                      </a:cxn>
                    </a:cxnLst>
                    <a:rect l="0" t="0" r="r" b="b"/>
                    <a:pathLst>
                      <a:path w="1" h="8">
                        <a:moveTo>
                          <a:pt x="0" y="8"/>
                        </a:moveTo>
                        <a:lnTo>
                          <a:pt x="1" y="4"/>
                        </a:lnTo>
                        <a:lnTo>
                          <a:pt x="1" y="0"/>
                        </a:lnTo>
                        <a:lnTo>
                          <a:pt x="0" y="8"/>
                        </a:lnTo>
                        <a:lnTo>
                          <a:pt x="0" y="8"/>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8" name="Freeform 33"/>
                  <p:cNvSpPr>
                    <a:spLocks noChangeAspect="1"/>
                  </p:cNvSpPr>
                  <p:nvPr/>
                </p:nvSpPr>
                <p:spPr bwMode="gray">
                  <a:xfrm>
                    <a:off x="2158" y="1956"/>
                    <a:ext cx="274" cy="171"/>
                  </a:xfrm>
                  <a:custGeom>
                    <a:avLst/>
                    <a:gdLst>
                      <a:gd name="T0" fmla="*/ 29 w 45"/>
                      <a:gd name="T1" fmla="*/ 4 h 28"/>
                      <a:gd name="T2" fmla="*/ 11 w 45"/>
                      <a:gd name="T3" fmla="*/ 14 h 28"/>
                      <a:gd name="T4" fmla="*/ 0 w 45"/>
                      <a:gd name="T5" fmla="*/ 10 h 28"/>
                      <a:gd name="T6" fmla="*/ 0 w 45"/>
                      <a:gd name="T7" fmla="*/ 19 h 28"/>
                      <a:gd name="T8" fmla="*/ 5 w 45"/>
                      <a:gd name="T9" fmla="*/ 24 h 28"/>
                      <a:gd name="T10" fmla="*/ 5 w 45"/>
                      <a:gd name="T11" fmla="*/ 28 h 28"/>
                      <a:gd name="T12" fmla="*/ 31 w 45"/>
                      <a:gd name="T13" fmla="*/ 27 h 28"/>
                      <a:gd name="T14" fmla="*/ 37 w 45"/>
                      <a:gd name="T15" fmla="*/ 16 h 28"/>
                      <a:gd name="T16" fmla="*/ 38 w 45"/>
                      <a:gd name="T17" fmla="*/ 10 h 28"/>
                      <a:gd name="T18" fmla="*/ 45 w 45"/>
                      <a:gd name="T19" fmla="*/ 6 h 28"/>
                      <a:gd name="T20" fmla="*/ 42 w 45"/>
                      <a:gd name="T21" fmla="*/ 0 h 28"/>
                      <a:gd name="T22" fmla="*/ 29 w 45"/>
                      <a:gd name="T23" fmla="*/ 4 h 28"/>
                      <a:gd name="T24" fmla="*/ 29 w 45"/>
                      <a:gd name="T25"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28">
                        <a:moveTo>
                          <a:pt x="29" y="4"/>
                        </a:moveTo>
                        <a:lnTo>
                          <a:pt x="11" y="14"/>
                        </a:lnTo>
                        <a:lnTo>
                          <a:pt x="0" y="10"/>
                        </a:lnTo>
                        <a:lnTo>
                          <a:pt x="0" y="19"/>
                        </a:lnTo>
                        <a:lnTo>
                          <a:pt x="5" y="24"/>
                        </a:lnTo>
                        <a:lnTo>
                          <a:pt x="5" y="28"/>
                        </a:lnTo>
                        <a:lnTo>
                          <a:pt x="31" y="27"/>
                        </a:lnTo>
                        <a:lnTo>
                          <a:pt x="37" y="16"/>
                        </a:lnTo>
                        <a:lnTo>
                          <a:pt x="38" y="10"/>
                        </a:lnTo>
                        <a:lnTo>
                          <a:pt x="45" y="6"/>
                        </a:lnTo>
                        <a:lnTo>
                          <a:pt x="42" y="0"/>
                        </a:lnTo>
                        <a:lnTo>
                          <a:pt x="29" y="4"/>
                        </a:lnTo>
                        <a:lnTo>
                          <a:pt x="29" y="4"/>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49" name="Freeform 34"/>
                  <p:cNvSpPr>
                    <a:spLocks noChangeAspect="1"/>
                  </p:cNvSpPr>
                  <p:nvPr/>
                </p:nvSpPr>
                <p:spPr bwMode="gray">
                  <a:xfrm>
                    <a:off x="3008" y="2322"/>
                    <a:ext cx="541" cy="368"/>
                  </a:xfrm>
                  <a:custGeom>
                    <a:avLst/>
                    <a:gdLst>
                      <a:gd name="T0" fmla="*/ 60 w 88"/>
                      <a:gd name="T1" fmla="*/ 0 h 60"/>
                      <a:gd name="T2" fmla="*/ 48 w 88"/>
                      <a:gd name="T3" fmla="*/ 9 h 60"/>
                      <a:gd name="T4" fmla="*/ 32 w 88"/>
                      <a:gd name="T5" fmla="*/ 11 h 60"/>
                      <a:gd name="T6" fmla="*/ 15 w 88"/>
                      <a:gd name="T7" fmla="*/ 6 h 60"/>
                      <a:gd name="T8" fmla="*/ 5 w 88"/>
                      <a:gd name="T9" fmla="*/ 0 h 60"/>
                      <a:gd name="T10" fmla="*/ 0 w 88"/>
                      <a:gd name="T11" fmla="*/ 11 h 60"/>
                      <a:gd name="T12" fmla="*/ 8 w 88"/>
                      <a:gd name="T13" fmla="*/ 20 h 60"/>
                      <a:gd name="T14" fmla="*/ 2 w 88"/>
                      <a:gd name="T15" fmla="*/ 33 h 60"/>
                      <a:gd name="T16" fmla="*/ 7 w 88"/>
                      <a:gd name="T17" fmla="*/ 48 h 60"/>
                      <a:gd name="T18" fmla="*/ 8 w 88"/>
                      <a:gd name="T19" fmla="*/ 60 h 60"/>
                      <a:gd name="T20" fmla="*/ 18 w 88"/>
                      <a:gd name="T21" fmla="*/ 58 h 60"/>
                      <a:gd name="T22" fmla="*/ 26 w 88"/>
                      <a:gd name="T23" fmla="*/ 54 h 60"/>
                      <a:gd name="T24" fmla="*/ 37 w 88"/>
                      <a:gd name="T25" fmla="*/ 57 h 60"/>
                      <a:gd name="T26" fmla="*/ 45 w 88"/>
                      <a:gd name="T27" fmla="*/ 60 h 60"/>
                      <a:gd name="T28" fmla="*/ 52 w 88"/>
                      <a:gd name="T29" fmla="*/ 59 h 60"/>
                      <a:gd name="T30" fmla="*/ 57 w 88"/>
                      <a:gd name="T31" fmla="*/ 48 h 60"/>
                      <a:gd name="T32" fmla="*/ 67 w 88"/>
                      <a:gd name="T33" fmla="*/ 44 h 60"/>
                      <a:gd name="T34" fmla="*/ 77 w 88"/>
                      <a:gd name="T35" fmla="*/ 46 h 60"/>
                      <a:gd name="T36" fmla="*/ 81 w 88"/>
                      <a:gd name="T37" fmla="*/ 38 h 60"/>
                      <a:gd name="T38" fmla="*/ 81 w 88"/>
                      <a:gd name="T39" fmla="*/ 22 h 60"/>
                      <a:gd name="T40" fmla="*/ 88 w 88"/>
                      <a:gd name="T41" fmla="*/ 17 h 60"/>
                      <a:gd name="T42" fmla="*/ 88 w 88"/>
                      <a:gd name="T43" fmla="*/ 9 h 60"/>
                      <a:gd name="T44" fmla="*/ 68 w 88"/>
                      <a:gd name="T45" fmla="*/ 0 h 60"/>
                      <a:gd name="T46" fmla="*/ 60 w 88"/>
                      <a:gd name="T47" fmla="*/ 0 h 60"/>
                      <a:gd name="T48" fmla="*/ 60 w 88"/>
                      <a:gd name="T4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8" h="60">
                        <a:moveTo>
                          <a:pt x="60" y="0"/>
                        </a:moveTo>
                        <a:lnTo>
                          <a:pt x="48" y="9"/>
                        </a:lnTo>
                        <a:lnTo>
                          <a:pt x="32" y="11"/>
                        </a:lnTo>
                        <a:lnTo>
                          <a:pt x="15" y="6"/>
                        </a:lnTo>
                        <a:lnTo>
                          <a:pt x="5" y="0"/>
                        </a:lnTo>
                        <a:lnTo>
                          <a:pt x="0" y="11"/>
                        </a:lnTo>
                        <a:lnTo>
                          <a:pt x="8" y="20"/>
                        </a:lnTo>
                        <a:lnTo>
                          <a:pt x="2" y="33"/>
                        </a:lnTo>
                        <a:lnTo>
                          <a:pt x="7" y="48"/>
                        </a:lnTo>
                        <a:lnTo>
                          <a:pt x="8" y="60"/>
                        </a:lnTo>
                        <a:lnTo>
                          <a:pt x="18" y="58"/>
                        </a:lnTo>
                        <a:lnTo>
                          <a:pt x="26" y="54"/>
                        </a:lnTo>
                        <a:lnTo>
                          <a:pt x="37" y="57"/>
                        </a:lnTo>
                        <a:lnTo>
                          <a:pt x="45" y="60"/>
                        </a:lnTo>
                        <a:lnTo>
                          <a:pt x="52" y="59"/>
                        </a:lnTo>
                        <a:lnTo>
                          <a:pt x="57" y="48"/>
                        </a:lnTo>
                        <a:lnTo>
                          <a:pt x="67" y="44"/>
                        </a:lnTo>
                        <a:lnTo>
                          <a:pt x="77" y="46"/>
                        </a:lnTo>
                        <a:lnTo>
                          <a:pt x="81" y="38"/>
                        </a:lnTo>
                        <a:lnTo>
                          <a:pt x="81" y="22"/>
                        </a:lnTo>
                        <a:lnTo>
                          <a:pt x="88" y="17"/>
                        </a:lnTo>
                        <a:lnTo>
                          <a:pt x="88" y="9"/>
                        </a:lnTo>
                        <a:lnTo>
                          <a:pt x="68" y="0"/>
                        </a:lnTo>
                        <a:lnTo>
                          <a:pt x="60" y="0"/>
                        </a:lnTo>
                        <a:lnTo>
                          <a:pt x="60"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0" name="Freeform 35"/>
                  <p:cNvSpPr>
                    <a:spLocks noChangeAspect="1" noEditPoints="1"/>
                  </p:cNvSpPr>
                  <p:nvPr/>
                </p:nvSpPr>
                <p:spPr bwMode="gray">
                  <a:xfrm>
                    <a:off x="2783" y="2619"/>
                    <a:ext cx="675" cy="850"/>
                  </a:xfrm>
                  <a:custGeom>
                    <a:avLst/>
                    <a:gdLst>
                      <a:gd name="T0" fmla="*/ 74 w 110"/>
                      <a:gd name="T1" fmla="*/ 130 h 139"/>
                      <a:gd name="T2" fmla="*/ 54 w 110"/>
                      <a:gd name="T3" fmla="*/ 128 h 139"/>
                      <a:gd name="T4" fmla="*/ 64 w 110"/>
                      <a:gd name="T5" fmla="*/ 135 h 139"/>
                      <a:gd name="T6" fmla="*/ 87 w 110"/>
                      <a:gd name="T7" fmla="*/ 137 h 139"/>
                      <a:gd name="T8" fmla="*/ 85 w 110"/>
                      <a:gd name="T9" fmla="*/ 130 h 139"/>
                      <a:gd name="T10" fmla="*/ 52 w 110"/>
                      <a:gd name="T11" fmla="*/ 60 h 139"/>
                      <a:gd name="T12" fmla="*/ 63 w 110"/>
                      <a:gd name="T13" fmla="*/ 74 h 139"/>
                      <a:gd name="T14" fmla="*/ 66 w 110"/>
                      <a:gd name="T15" fmla="*/ 71 h 139"/>
                      <a:gd name="T16" fmla="*/ 52 w 110"/>
                      <a:gd name="T17" fmla="*/ 60 h 139"/>
                      <a:gd name="T18" fmla="*/ 75 w 110"/>
                      <a:gd name="T19" fmla="*/ 28 h 139"/>
                      <a:gd name="T20" fmla="*/ 70 w 110"/>
                      <a:gd name="T21" fmla="*/ 26 h 139"/>
                      <a:gd name="T22" fmla="*/ 76 w 110"/>
                      <a:gd name="T23" fmla="*/ 42 h 139"/>
                      <a:gd name="T24" fmla="*/ 82 w 110"/>
                      <a:gd name="T25" fmla="*/ 39 h 139"/>
                      <a:gd name="T26" fmla="*/ 86 w 110"/>
                      <a:gd name="T27" fmla="*/ 64 h 139"/>
                      <a:gd name="T28" fmla="*/ 91 w 110"/>
                      <a:gd name="T29" fmla="*/ 60 h 139"/>
                      <a:gd name="T30" fmla="*/ 86 w 110"/>
                      <a:gd name="T31" fmla="*/ 59 h 139"/>
                      <a:gd name="T32" fmla="*/ 89 w 110"/>
                      <a:gd name="T33" fmla="*/ 52 h 139"/>
                      <a:gd name="T34" fmla="*/ 96 w 110"/>
                      <a:gd name="T35" fmla="*/ 54 h 139"/>
                      <a:gd name="T36" fmla="*/ 99 w 110"/>
                      <a:gd name="T37" fmla="*/ 87 h 139"/>
                      <a:gd name="T38" fmla="*/ 99 w 110"/>
                      <a:gd name="T39" fmla="*/ 81 h 139"/>
                      <a:gd name="T40" fmla="*/ 92 w 110"/>
                      <a:gd name="T41" fmla="*/ 91 h 139"/>
                      <a:gd name="T42" fmla="*/ 92 w 110"/>
                      <a:gd name="T43" fmla="*/ 85 h 139"/>
                      <a:gd name="T44" fmla="*/ 85 w 110"/>
                      <a:gd name="T45" fmla="*/ 99 h 139"/>
                      <a:gd name="T46" fmla="*/ 77 w 110"/>
                      <a:gd name="T47" fmla="*/ 98 h 139"/>
                      <a:gd name="T48" fmla="*/ 85 w 110"/>
                      <a:gd name="T49" fmla="*/ 99 h 139"/>
                      <a:gd name="T50" fmla="*/ 104 w 110"/>
                      <a:gd name="T51" fmla="*/ 124 h 139"/>
                      <a:gd name="T52" fmla="*/ 109 w 110"/>
                      <a:gd name="T53" fmla="*/ 124 h 139"/>
                      <a:gd name="T54" fmla="*/ 11 w 110"/>
                      <a:gd name="T55" fmla="*/ 70 h 139"/>
                      <a:gd name="T56" fmla="*/ 11 w 110"/>
                      <a:gd name="T57" fmla="*/ 75 h 139"/>
                      <a:gd name="T58" fmla="*/ 42 w 110"/>
                      <a:gd name="T59" fmla="*/ 66 h 139"/>
                      <a:gd name="T60" fmla="*/ 36 w 110"/>
                      <a:gd name="T61" fmla="*/ 32 h 139"/>
                      <a:gd name="T62" fmla="*/ 44 w 110"/>
                      <a:gd name="T63" fmla="*/ 37 h 139"/>
                      <a:gd name="T64" fmla="*/ 50 w 110"/>
                      <a:gd name="T65" fmla="*/ 37 h 139"/>
                      <a:gd name="T66" fmla="*/ 58 w 110"/>
                      <a:gd name="T67" fmla="*/ 42 h 139"/>
                      <a:gd name="T68" fmla="*/ 63 w 110"/>
                      <a:gd name="T69" fmla="*/ 36 h 139"/>
                      <a:gd name="T70" fmla="*/ 64 w 110"/>
                      <a:gd name="T71" fmla="*/ 23 h 139"/>
                      <a:gd name="T72" fmla="*/ 81 w 110"/>
                      <a:gd name="T73" fmla="*/ 22 h 139"/>
                      <a:gd name="T74" fmla="*/ 99 w 110"/>
                      <a:gd name="T75" fmla="*/ 7 h 139"/>
                      <a:gd name="T76" fmla="*/ 82 w 110"/>
                      <a:gd name="T77" fmla="*/ 12 h 139"/>
                      <a:gd name="T78" fmla="*/ 55 w 110"/>
                      <a:gd name="T79" fmla="*/ 10 h 139"/>
                      <a:gd name="T80" fmla="*/ 31 w 110"/>
                      <a:gd name="T81" fmla="*/ 21 h 139"/>
                      <a:gd name="T82" fmla="*/ 7 w 110"/>
                      <a:gd name="T83" fmla="*/ 41 h 139"/>
                      <a:gd name="T84" fmla="*/ 7 w 110"/>
                      <a:gd name="T85" fmla="*/ 59 h 139"/>
                      <a:gd name="T86" fmla="*/ 27 w 110"/>
                      <a:gd name="T87" fmla="*/ 72 h 139"/>
                      <a:gd name="T88" fmla="*/ 28 w 110"/>
                      <a:gd name="T89" fmla="*/ 77 h 139"/>
                      <a:gd name="T90" fmla="*/ 25 w 110"/>
                      <a:gd name="T91" fmla="*/ 92 h 139"/>
                      <a:gd name="T92" fmla="*/ 31 w 110"/>
                      <a:gd name="T93" fmla="*/ 103 h 139"/>
                      <a:gd name="T94" fmla="*/ 47 w 110"/>
                      <a:gd name="T95" fmla="*/ 109 h 139"/>
                      <a:gd name="T96" fmla="*/ 43 w 110"/>
                      <a:gd name="T97" fmla="*/ 92 h 139"/>
                      <a:gd name="T98" fmla="*/ 59 w 110"/>
                      <a:gd name="T99" fmla="*/ 84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0" h="139">
                        <a:moveTo>
                          <a:pt x="80" y="130"/>
                        </a:moveTo>
                        <a:lnTo>
                          <a:pt x="77" y="131"/>
                        </a:lnTo>
                        <a:lnTo>
                          <a:pt x="74" y="130"/>
                        </a:lnTo>
                        <a:lnTo>
                          <a:pt x="67" y="130"/>
                        </a:lnTo>
                        <a:lnTo>
                          <a:pt x="64" y="128"/>
                        </a:lnTo>
                        <a:lnTo>
                          <a:pt x="54" y="128"/>
                        </a:lnTo>
                        <a:lnTo>
                          <a:pt x="54" y="130"/>
                        </a:lnTo>
                        <a:lnTo>
                          <a:pt x="54" y="134"/>
                        </a:lnTo>
                        <a:lnTo>
                          <a:pt x="64" y="135"/>
                        </a:lnTo>
                        <a:lnTo>
                          <a:pt x="71" y="139"/>
                        </a:lnTo>
                        <a:lnTo>
                          <a:pt x="83" y="139"/>
                        </a:lnTo>
                        <a:lnTo>
                          <a:pt x="87" y="137"/>
                        </a:lnTo>
                        <a:lnTo>
                          <a:pt x="91" y="136"/>
                        </a:lnTo>
                        <a:lnTo>
                          <a:pt x="91" y="133"/>
                        </a:lnTo>
                        <a:lnTo>
                          <a:pt x="85" y="130"/>
                        </a:lnTo>
                        <a:lnTo>
                          <a:pt x="80" y="130"/>
                        </a:lnTo>
                        <a:lnTo>
                          <a:pt x="80" y="130"/>
                        </a:lnTo>
                        <a:close/>
                        <a:moveTo>
                          <a:pt x="52" y="60"/>
                        </a:moveTo>
                        <a:lnTo>
                          <a:pt x="50" y="63"/>
                        </a:lnTo>
                        <a:lnTo>
                          <a:pt x="56" y="69"/>
                        </a:lnTo>
                        <a:lnTo>
                          <a:pt x="63" y="74"/>
                        </a:lnTo>
                        <a:lnTo>
                          <a:pt x="64" y="80"/>
                        </a:lnTo>
                        <a:lnTo>
                          <a:pt x="67" y="80"/>
                        </a:lnTo>
                        <a:lnTo>
                          <a:pt x="66" y="71"/>
                        </a:lnTo>
                        <a:lnTo>
                          <a:pt x="58" y="60"/>
                        </a:lnTo>
                        <a:lnTo>
                          <a:pt x="52" y="60"/>
                        </a:lnTo>
                        <a:lnTo>
                          <a:pt x="52" y="60"/>
                        </a:lnTo>
                        <a:close/>
                        <a:moveTo>
                          <a:pt x="70" y="26"/>
                        </a:moveTo>
                        <a:lnTo>
                          <a:pt x="70" y="30"/>
                        </a:lnTo>
                        <a:lnTo>
                          <a:pt x="75" y="28"/>
                        </a:lnTo>
                        <a:lnTo>
                          <a:pt x="74" y="26"/>
                        </a:lnTo>
                        <a:lnTo>
                          <a:pt x="70" y="26"/>
                        </a:lnTo>
                        <a:lnTo>
                          <a:pt x="70" y="26"/>
                        </a:lnTo>
                        <a:close/>
                        <a:moveTo>
                          <a:pt x="82" y="39"/>
                        </a:moveTo>
                        <a:lnTo>
                          <a:pt x="78" y="39"/>
                        </a:lnTo>
                        <a:lnTo>
                          <a:pt x="76" y="42"/>
                        </a:lnTo>
                        <a:lnTo>
                          <a:pt x="78" y="44"/>
                        </a:lnTo>
                        <a:lnTo>
                          <a:pt x="82" y="43"/>
                        </a:lnTo>
                        <a:lnTo>
                          <a:pt x="82" y="39"/>
                        </a:lnTo>
                        <a:lnTo>
                          <a:pt x="82" y="39"/>
                        </a:lnTo>
                        <a:close/>
                        <a:moveTo>
                          <a:pt x="86" y="59"/>
                        </a:moveTo>
                        <a:lnTo>
                          <a:pt x="86" y="64"/>
                        </a:lnTo>
                        <a:lnTo>
                          <a:pt x="89" y="69"/>
                        </a:lnTo>
                        <a:lnTo>
                          <a:pt x="91" y="66"/>
                        </a:lnTo>
                        <a:lnTo>
                          <a:pt x="91" y="60"/>
                        </a:lnTo>
                        <a:lnTo>
                          <a:pt x="89" y="58"/>
                        </a:lnTo>
                        <a:lnTo>
                          <a:pt x="86" y="59"/>
                        </a:lnTo>
                        <a:lnTo>
                          <a:pt x="86" y="59"/>
                        </a:lnTo>
                        <a:close/>
                        <a:moveTo>
                          <a:pt x="96" y="54"/>
                        </a:moveTo>
                        <a:lnTo>
                          <a:pt x="94" y="52"/>
                        </a:lnTo>
                        <a:lnTo>
                          <a:pt x="89" y="52"/>
                        </a:lnTo>
                        <a:lnTo>
                          <a:pt x="93" y="55"/>
                        </a:lnTo>
                        <a:lnTo>
                          <a:pt x="96" y="54"/>
                        </a:lnTo>
                        <a:lnTo>
                          <a:pt x="96" y="54"/>
                        </a:lnTo>
                        <a:close/>
                        <a:moveTo>
                          <a:pt x="99" y="81"/>
                        </a:moveTo>
                        <a:lnTo>
                          <a:pt x="97" y="84"/>
                        </a:lnTo>
                        <a:lnTo>
                          <a:pt x="99" y="87"/>
                        </a:lnTo>
                        <a:lnTo>
                          <a:pt x="102" y="85"/>
                        </a:lnTo>
                        <a:lnTo>
                          <a:pt x="102" y="82"/>
                        </a:lnTo>
                        <a:lnTo>
                          <a:pt x="99" y="81"/>
                        </a:lnTo>
                        <a:lnTo>
                          <a:pt x="99" y="81"/>
                        </a:lnTo>
                        <a:close/>
                        <a:moveTo>
                          <a:pt x="89" y="87"/>
                        </a:moveTo>
                        <a:lnTo>
                          <a:pt x="92" y="91"/>
                        </a:lnTo>
                        <a:lnTo>
                          <a:pt x="96" y="90"/>
                        </a:lnTo>
                        <a:lnTo>
                          <a:pt x="96" y="87"/>
                        </a:lnTo>
                        <a:lnTo>
                          <a:pt x="92" y="85"/>
                        </a:lnTo>
                        <a:lnTo>
                          <a:pt x="89" y="87"/>
                        </a:lnTo>
                        <a:lnTo>
                          <a:pt x="89" y="87"/>
                        </a:lnTo>
                        <a:close/>
                        <a:moveTo>
                          <a:pt x="85" y="99"/>
                        </a:moveTo>
                        <a:lnTo>
                          <a:pt x="85" y="97"/>
                        </a:lnTo>
                        <a:lnTo>
                          <a:pt x="80" y="96"/>
                        </a:lnTo>
                        <a:lnTo>
                          <a:pt x="77" y="98"/>
                        </a:lnTo>
                        <a:lnTo>
                          <a:pt x="80" y="99"/>
                        </a:lnTo>
                        <a:lnTo>
                          <a:pt x="85" y="99"/>
                        </a:lnTo>
                        <a:lnTo>
                          <a:pt x="85" y="99"/>
                        </a:lnTo>
                        <a:close/>
                        <a:moveTo>
                          <a:pt x="109" y="124"/>
                        </a:moveTo>
                        <a:lnTo>
                          <a:pt x="107" y="123"/>
                        </a:lnTo>
                        <a:lnTo>
                          <a:pt x="104" y="124"/>
                        </a:lnTo>
                        <a:lnTo>
                          <a:pt x="107" y="128"/>
                        </a:lnTo>
                        <a:lnTo>
                          <a:pt x="110" y="126"/>
                        </a:lnTo>
                        <a:lnTo>
                          <a:pt x="109" y="124"/>
                        </a:lnTo>
                        <a:lnTo>
                          <a:pt x="109" y="124"/>
                        </a:lnTo>
                        <a:close/>
                        <a:moveTo>
                          <a:pt x="11" y="75"/>
                        </a:moveTo>
                        <a:lnTo>
                          <a:pt x="11" y="70"/>
                        </a:lnTo>
                        <a:lnTo>
                          <a:pt x="9" y="72"/>
                        </a:lnTo>
                        <a:lnTo>
                          <a:pt x="11" y="75"/>
                        </a:lnTo>
                        <a:lnTo>
                          <a:pt x="11" y="75"/>
                        </a:lnTo>
                        <a:close/>
                        <a:moveTo>
                          <a:pt x="59" y="77"/>
                        </a:moveTo>
                        <a:lnTo>
                          <a:pt x="52" y="70"/>
                        </a:lnTo>
                        <a:lnTo>
                          <a:pt x="42" y="66"/>
                        </a:lnTo>
                        <a:lnTo>
                          <a:pt x="44" y="52"/>
                        </a:lnTo>
                        <a:lnTo>
                          <a:pt x="34" y="39"/>
                        </a:lnTo>
                        <a:lnTo>
                          <a:pt x="36" y="32"/>
                        </a:lnTo>
                        <a:lnTo>
                          <a:pt x="40" y="30"/>
                        </a:lnTo>
                        <a:lnTo>
                          <a:pt x="44" y="32"/>
                        </a:lnTo>
                        <a:lnTo>
                          <a:pt x="44" y="37"/>
                        </a:lnTo>
                        <a:lnTo>
                          <a:pt x="50" y="42"/>
                        </a:lnTo>
                        <a:lnTo>
                          <a:pt x="52" y="42"/>
                        </a:lnTo>
                        <a:lnTo>
                          <a:pt x="50" y="37"/>
                        </a:lnTo>
                        <a:lnTo>
                          <a:pt x="54" y="36"/>
                        </a:lnTo>
                        <a:lnTo>
                          <a:pt x="55" y="42"/>
                        </a:lnTo>
                        <a:lnTo>
                          <a:pt x="58" y="42"/>
                        </a:lnTo>
                        <a:lnTo>
                          <a:pt x="56" y="37"/>
                        </a:lnTo>
                        <a:lnTo>
                          <a:pt x="61" y="38"/>
                        </a:lnTo>
                        <a:lnTo>
                          <a:pt x="63" y="36"/>
                        </a:lnTo>
                        <a:lnTo>
                          <a:pt x="55" y="32"/>
                        </a:lnTo>
                        <a:lnTo>
                          <a:pt x="55" y="26"/>
                        </a:lnTo>
                        <a:lnTo>
                          <a:pt x="64" y="23"/>
                        </a:lnTo>
                        <a:lnTo>
                          <a:pt x="70" y="22"/>
                        </a:lnTo>
                        <a:lnTo>
                          <a:pt x="74" y="23"/>
                        </a:lnTo>
                        <a:lnTo>
                          <a:pt x="81" y="22"/>
                        </a:lnTo>
                        <a:lnTo>
                          <a:pt x="89" y="25"/>
                        </a:lnTo>
                        <a:lnTo>
                          <a:pt x="97" y="16"/>
                        </a:lnTo>
                        <a:lnTo>
                          <a:pt x="99" y="7"/>
                        </a:lnTo>
                        <a:lnTo>
                          <a:pt x="94" y="0"/>
                        </a:lnTo>
                        <a:lnTo>
                          <a:pt x="89" y="11"/>
                        </a:lnTo>
                        <a:lnTo>
                          <a:pt x="82" y="12"/>
                        </a:lnTo>
                        <a:lnTo>
                          <a:pt x="74" y="9"/>
                        </a:lnTo>
                        <a:lnTo>
                          <a:pt x="63" y="6"/>
                        </a:lnTo>
                        <a:lnTo>
                          <a:pt x="55" y="10"/>
                        </a:lnTo>
                        <a:lnTo>
                          <a:pt x="45" y="12"/>
                        </a:lnTo>
                        <a:lnTo>
                          <a:pt x="38" y="12"/>
                        </a:lnTo>
                        <a:lnTo>
                          <a:pt x="31" y="21"/>
                        </a:lnTo>
                        <a:lnTo>
                          <a:pt x="12" y="21"/>
                        </a:lnTo>
                        <a:lnTo>
                          <a:pt x="15" y="30"/>
                        </a:lnTo>
                        <a:lnTo>
                          <a:pt x="7" y="41"/>
                        </a:lnTo>
                        <a:lnTo>
                          <a:pt x="0" y="47"/>
                        </a:lnTo>
                        <a:lnTo>
                          <a:pt x="3" y="53"/>
                        </a:lnTo>
                        <a:lnTo>
                          <a:pt x="7" y="59"/>
                        </a:lnTo>
                        <a:lnTo>
                          <a:pt x="11" y="68"/>
                        </a:lnTo>
                        <a:lnTo>
                          <a:pt x="18" y="75"/>
                        </a:lnTo>
                        <a:lnTo>
                          <a:pt x="27" y="72"/>
                        </a:lnTo>
                        <a:lnTo>
                          <a:pt x="39" y="74"/>
                        </a:lnTo>
                        <a:lnTo>
                          <a:pt x="43" y="79"/>
                        </a:lnTo>
                        <a:lnTo>
                          <a:pt x="28" y="77"/>
                        </a:lnTo>
                        <a:lnTo>
                          <a:pt x="18" y="80"/>
                        </a:lnTo>
                        <a:lnTo>
                          <a:pt x="18" y="86"/>
                        </a:lnTo>
                        <a:lnTo>
                          <a:pt x="25" y="92"/>
                        </a:lnTo>
                        <a:lnTo>
                          <a:pt x="22" y="99"/>
                        </a:lnTo>
                        <a:lnTo>
                          <a:pt x="25" y="103"/>
                        </a:lnTo>
                        <a:lnTo>
                          <a:pt x="31" y="103"/>
                        </a:lnTo>
                        <a:lnTo>
                          <a:pt x="34" y="108"/>
                        </a:lnTo>
                        <a:lnTo>
                          <a:pt x="40" y="108"/>
                        </a:lnTo>
                        <a:lnTo>
                          <a:pt x="47" y="109"/>
                        </a:lnTo>
                        <a:lnTo>
                          <a:pt x="45" y="98"/>
                        </a:lnTo>
                        <a:lnTo>
                          <a:pt x="40" y="93"/>
                        </a:lnTo>
                        <a:lnTo>
                          <a:pt x="43" y="92"/>
                        </a:lnTo>
                        <a:lnTo>
                          <a:pt x="49" y="93"/>
                        </a:lnTo>
                        <a:lnTo>
                          <a:pt x="50" y="85"/>
                        </a:lnTo>
                        <a:lnTo>
                          <a:pt x="59" y="84"/>
                        </a:lnTo>
                        <a:lnTo>
                          <a:pt x="59" y="77"/>
                        </a:lnTo>
                        <a:lnTo>
                          <a:pt x="59" y="77"/>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1" name="Freeform 36"/>
                  <p:cNvSpPr>
                    <a:spLocks noChangeAspect="1"/>
                  </p:cNvSpPr>
                  <p:nvPr/>
                </p:nvSpPr>
                <p:spPr bwMode="gray">
                  <a:xfrm>
                    <a:off x="2808" y="1788"/>
                    <a:ext cx="850" cy="601"/>
                  </a:xfrm>
                  <a:custGeom>
                    <a:avLst/>
                    <a:gdLst>
                      <a:gd name="T0" fmla="*/ 138 w 139"/>
                      <a:gd name="T1" fmla="*/ 59 h 98"/>
                      <a:gd name="T2" fmla="*/ 138 w 139"/>
                      <a:gd name="T3" fmla="*/ 59 h 98"/>
                      <a:gd name="T4" fmla="*/ 130 w 139"/>
                      <a:gd name="T5" fmla="*/ 59 h 98"/>
                      <a:gd name="T6" fmla="*/ 122 w 139"/>
                      <a:gd name="T7" fmla="*/ 58 h 98"/>
                      <a:gd name="T8" fmla="*/ 122 w 139"/>
                      <a:gd name="T9" fmla="*/ 48 h 98"/>
                      <a:gd name="T10" fmla="*/ 116 w 139"/>
                      <a:gd name="T11" fmla="*/ 41 h 98"/>
                      <a:gd name="T12" fmla="*/ 110 w 139"/>
                      <a:gd name="T13" fmla="*/ 16 h 98"/>
                      <a:gd name="T14" fmla="*/ 101 w 139"/>
                      <a:gd name="T15" fmla="*/ 3 h 98"/>
                      <a:gd name="T16" fmla="*/ 92 w 139"/>
                      <a:gd name="T17" fmla="*/ 0 h 98"/>
                      <a:gd name="T18" fmla="*/ 81 w 139"/>
                      <a:gd name="T19" fmla="*/ 5 h 98"/>
                      <a:gd name="T20" fmla="*/ 66 w 139"/>
                      <a:gd name="T21" fmla="*/ 9 h 98"/>
                      <a:gd name="T22" fmla="*/ 51 w 139"/>
                      <a:gd name="T23" fmla="*/ 3 h 98"/>
                      <a:gd name="T24" fmla="*/ 40 w 139"/>
                      <a:gd name="T25" fmla="*/ 0 h 98"/>
                      <a:gd name="T26" fmla="*/ 28 w 139"/>
                      <a:gd name="T27" fmla="*/ 8 h 98"/>
                      <a:gd name="T28" fmla="*/ 16 w 139"/>
                      <a:gd name="T29" fmla="*/ 22 h 98"/>
                      <a:gd name="T30" fmla="*/ 12 w 139"/>
                      <a:gd name="T31" fmla="*/ 39 h 98"/>
                      <a:gd name="T32" fmla="*/ 0 w 139"/>
                      <a:gd name="T33" fmla="*/ 43 h 98"/>
                      <a:gd name="T34" fmla="*/ 7 w 139"/>
                      <a:gd name="T35" fmla="*/ 57 h 98"/>
                      <a:gd name="T36" fmla="*/ 8 w 139"/>
                      <a:gd name="T37" fmla="*/ 74 h 98"/>
                      <a:gd name="T38" fmla="*/ 29 w 139"/>
                      <a:gd name="T39" fmla="*/ 77 h 98"/>
                      <a:gd name="T40" fmla="*/ 33 w 139"/>
                      <a:gd name="T41" fmla="*/ 81 h 98"/>
                      <a:gd name="T42" fmla="*/ 38 w 139"/>
                      <a:gd name="T43" fmla="*/ 87 h 98"/>
                      <a:gd name="T44" fmla="*/ 48 w 139"/>
                      <a:gd name="T45" fmla="*/ 93 h 98"/>
                      <a:gd name="T46" fmla="*/ 65 w 139"/>
                      <a:gd name="T47" fmla="*/ 98 h 98"/>
                      <a:gd name="T48" fmla="*/ 81 w 139"/>
                      <a:gd name="T49" fmla="*/ 96 h 98"/>
                      <a:gd name="T50" fmla="*/ 93 w 139"/>
                      <a:gd name="T51" fmla="*/ 87 h 98"/>
                      <a:gd name="T52" fmla="*/ 101 w 139"/>
                      <a:gd name="T53" fmla="*/ 87 h 98"/>
                      <a:gd name="T54" fmla="*/ 121 w 139"/>
                      <a:gd name="T55" fmla="*/ 96 h 98"/>
                      <a:gd name="T56" fmla="*/ 125 w 139"/>
                      <a:gd name="T57" fmla="*/ 81 h 98"/>
                      <a:gd name="T58" fmla="*/ 139 w 139"/>
                      <a:gd name="T59" fmla="*/ 65 h 98"/>
                      <a:gd name="T60" fmla="*/ 138 w 139"/>
                      <a:gd name="T61" fmla="*/ 59 h 98"/>
                      <a:gd name="T62" fmla="*/ 138 w 139"/>
                      <a:gd name="T63" fmla="*/ 5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9" h="98">
                        <a:moveTo>
                          <a:pt x="138" y="59"/>
                        </a:moveTo>
                        <a:lnTo>
                          <a:pt x="138" y="59"/>
                        </a:lnTo>
                        <a:lnTo>
                          <a:pt x="130" y="59"/>
                        </a:lnTo>
                        <a:lnTo>
                          <a:pt x="122" y="58"/>
                        </a:lnTo>
                        <a:lnTo>
                          <a:pt x="122" y="48"/>
                        </a:lnTo>
                        <a:lnTo>
                          <a:pt x="116" y="41"/>
                        </a:lnTo>
                        <a:lnTo>
                          <a:pt x="110" y="16"/>
                        </a:lnTo>
                        <a:lnTo>
                          <a:pt x="101" y="3"/>
                        </a:lnTo>
                        <a:lnTo>
                          <a:pt x="92" y="0"/>
                        </a:lnTo>
                        <a:lnTo>
                          <a:pt x="81" y="5"/>
                        </a:lnTo>
                        <a:lnTo>
                          <a:pt x="66" y="9"/>
                        </a:lnTo>
                        <a:lnTo>
                          <a:pt x="51" y="3"/>
                        </a:lnTo>
                        <a:lnTo>
                          <a:pt x="40" y="0"/>
                        </a:lnTo>
                        <a:lnTo>
                          <a:pt x="28" y="8"/>
                        </a:lnTo>
                        <a:lnTo>
                          <a:pt x="16" y="22"/>
                        </a:lnTo>
                        <a:lnTo>
                          <a:pt x="12" y="39"/>
                        </a:lnTo>
                        <a:lnTo>
                          <a:pt x="0" y="43"/>
                        </a:lnTo>
                        <a:lnTo>
                          <a:pt x="7" y="57"/>
                        </a:lnTo>
                        <a:lnTo>
                          <a:pt x="8" y="74"/>
                        </a:lnTo>
                        <a:lnTo>
                          <a:pt x="29" y="77"/>
                        </a:lnTo>
                        <a:lnTo>
                          <a:pt x="33" y="81"/>
                        </a:lnTo>
                        <a:lnTo>
                          <a:pt x="38" y="87"/>
                        </a:lnTo>
                        <a:lnTo>
                          <a:pt x="48" y="93"/>
                        </a:lnTo>
                        <a:lnTo>
                          <a:pt x="65" y="98"/>
                        </a:lnTo>
                        <a:lnTo>
                          <a:pt x="81" y="96"/>
                        </a:lnTo>
                        <a:lnTo>
                          <a:pt x="93" y="87"/>
                        </a:lnTo>
                        <a:lnTo>
                          <a:pt x="101" y="87"/>
                        </a:lnTo>
                        <a:lnTo>
                          <a:pt x="121" y="96"/>
                        </a:lnTo>
                        <a:lnTo>
                          <a:pt x="125" y="81"/>
                        </a:lnTo>
                        <a:lnTo>
                          <a:pt x="139" y="65"/>
                        </a:lnTo>
                        <a:lnTo>
                          <a:pt x="138" y="59"/>
                        </a:lnTo>
                        <a:lnTo>
                          <a:pt x="138" y="59"/>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2" name="Freeform 37"/>
                  <p:cNvSpPr>
                    <a:spLocks noChangeAspect="1" noEditPoints="1"/>
                  </p:cNvSpPr>
                  <p:nvPr/>
                </p:nvSpPr>
                <p:spPr bwMode="gray">
                  <a:xfrm>
                    <a:off x="1953" y="-1911"/>
                    <a:ext cx="1186" cy="2575"/>
                  </a:xfrm>
                  <a:custGeom>
                    <a:avLst/>
                    <a:gdLst>
                      <a:gd name="T0" fmla="*/ 65 w 157"/>
                      <a:gd name="T1" fmla="*/ 309 h 343"/>
                      <a:gd name="T2" fmla="*/ 65 w 157"/>
                      <a:gd name="T3" fmla="*/ 308 h 343"/>
                      <a:gd name="T4" fmla="*/ 107 w 157"/>
                      <a:gd name="T5" fmla="*/ 227 h 343"/>
                      <a:gd name="T6" fmla="*/ 85 w 157"/>
                      <a:gd name="T7" fmla="*/ 292 h 343"/>
                      <a:gd name="T8" fmla="*/ 92 w 157"/>
                      <a:gd name="T9" fmla="*/ 299 h 343"/>
                      <a:gd name="T10" fmla="*/ 85 w 157"/>
                      <a:gd name="T11" fmla="*/ 292 h 343"/>
                      <a:gd name="T12" fmla="*/ 60 w 157"/>
                      <a:gd name="T13" fmla="*/ 324 h 343"/>
                      <a:gd name="T14" fmla="*/ 65 w 157"/>
                      <a:gd name="T15" fmla="*/ 309 h 343"/>
                      <a:gd name="T16" fmla="*/ 156 w 157"/>
                      <a:gd name="T17" fmla="*/ 49 h 343"/>
                      <a:gd name="T18" fmla="*/ 152 w 157"/>
                      <a:gd name="T19" fmla="*/ 25 h 343"/>
                      <a:gd name="T20" fmla="*/ 117 w 157"/>
                      <a:gd name="T21" fmla="*/ 7 h 343"/>
                      <a:gd name="T22" fmla="*/ 106 w 157"/>
                      <a:gd name="T23" fmla="*/ 11 h 343"/>
                      <a:gd name="T24" fmla="*/ 84 w 157"/>
                      <a:gd name="T25" fmla="*/ 11 h 343"/>
                      <a:gd name="T26" fmla="*/ 67 w 157"/>
                      <a:gd name="T27" fmla="*/ 28 h 343"/>
                      <a:gd name="T28" fmla="*/ 61 w 157"/>
                      <a:gd name="T29" fmla="*/ 44 h 343"/>
                      <a:gd name="T30" fmla="*/ 35 w 157"/>
                      <a:gd name="T31" fmla="*/ 68 h 343"/>
                      <a:gd name="T32" fmla="*/ 27 w 157"/>
                      <a:gd name="T33" fmla="*/ 113 h 343"/>
                      <a:gd name="T34" fmla="*/ 15 w 157"/>
                      <a:gd name="T35" fmla="*/ 129 h 343"/>
                      <a:gd name="T36" fmla="*/ 10 w 157"/>
                      <a:gd name="T37" fmla="*/ 189 h 343"/>
                      <a:gd name="T38" fmla="*/ 9 w 157"/>
                      <a:gd name="T39" fmla="*/ 210 h 343"/>
                      <a:gd name="T40" fmla="*/ 11 w 157"/>
                      <a:gd name="T41" fmla="*/ 230 h 343"/>
                      <a:gd name="T42" fmla="*/ 3 w 157"/>
                      <a:gd name="T43" fmla="*/ 265 h 343"/>
                      <a:gd name="T44" fmla="*/ 5 w 157"/>
                      <a:gd name="T45" fmla="*/ 299 h 343"/>
                      <a:gd name="T46" fmla="*/ 16 w 157"/>
                      <a:gd name="T47" fmla="*/ 319 h 343"/>
                      <a:gd name="T48" fmla="*/ 26 w 157"/>
                      <a:gd name="T49" fmla="*/ 343 h 343"/>
                      <a:gd name="T50" fmla="*/ 42 w 157"/>
                      <a:gd name="T51" fmla="*/ 329 h 343"/>
                      <a:gd name="T52" fmla="*/ 62 w 157"/>
                      <a:gd name="T53" fmla="*/ 308 h 343"/>
                      <a:gd name="T54" fmla="*/ 70 w 157"/>
                      <a:gd name="T55" fmla="*/ 268 h 343"/>
                      <a:gd name="T56" fmla="*/ 79 w 157"/>
                      <a:gd name="T57" fmla="*/ 260 h 343"/>
                      <a:gd name="T58" fmla="*/ 91 w 157"/>
                      <a:gd name="T59" fmla="*/ 231 h 343"/>
                      <a:gd name="T60" fmla="*/ 73 w 157"/>
                      <a:gd name="T61" fmla="*/ 195 h 343"/>
                      <a:gd name="T62" fmla="*/ 74 w 157"/>
                      <a:gd name="T63" fmla="*/ 176 h 343"/>
                      <a:gd name="T64" fmla="*/ 92 w 157"/>
                      <a:gd name="T65" fmla="*/ 151 h 343"/>
                      <a:gd name="T66" fmla="*/ 117 w 157"/>
                      <a:gd name="T67" fmla="*/ 126 h 343"/>
                      <a:gd name="T68" fmla="*/ 122 w 157"/>
                      <a:gd name="T69" fmla="*/ 103 h 343"/>
                      <a:gd name="T70" fmla="*/ 136 w 157"/>
                      <a:gd name="T71" fmla="*/ 80 h 343"/>
                      <a:gd name="T72" fmla="*/ 157 w 157"/>
                      <a:gd name="T73" fmla="*/ 72 h 343"/>
                      <a:gd name="T74" fmla="*/ 40 w 157"/>
                      <a:gd name="T75" fmla="*/ 210 h 343"/>
                      <a:gd name="T76" fmla="*/ 36 w 157"/>
                      <a:gd name="T77" fmla="*/ 207 h 343"/>
                      <a:gd name="T78" fmla="*/ 28 w 157"/>
                      <a:gd name="T79" fmla="*/ 152 h 343"/>
                      <a:gd name="T80" fmla="*/ 6 w 157"/>
                      <a:gd name="T81" fmla="*/ 272 h 343"/>
                      <a:gd name="T82" fmla="*/ 29 w 157"/>
                      <a:gd name="T83" fmla="*/ 256 h 343"/>
                      <a:gd name="T84" fmla="*/ 29 w 157"/>
                      <a:gd name="T85" fmla="*/ 284 h 343"/>
                      <a:gd name="T86" fmla="*/ 41 w 157"/>
                      <a:gd name="T87" fmla="*/ 266 h 343"/>
                      <a:gd name="T88" fmla="*/ 39 w 157"/>
                      <a:gd name="T89" fmla="*/ 119 h 343"/>
                      <a:gd name="T90" fmla="*/ 52 w 157"/>
                      <a:gd name="T91" fmla="*/ 255 h 343"/>
                      <a:gd name="T92" fmla="*/ 57 w 157"/>
                      <a:gd name="T93" fmla="*/ 251 h 343"/>
                      <a:gd name="T94" fmla="*/ 66 w 157"/>
                      <a:gd name="T95" fmla="*/ 249 h 343"/>
                      <a:gd name="T96" fmla="*/ 74 w 157"/>
                      <a:gd name="T97" fmla="*/ 245 h 343"/>
                      <a:gd name="T98" fmla="*/ 70 w 157"/>
                      <a:gd name="T99" fmla="*/ 58 h 343"/>
                      <a:gd name="T100" fmla="*/ 72 w 157"/>
                      <a:gd name="T101" fmla="*/ 57 h 343"/>
                      <a:gd name="T102" fmla="*/ 104 w 157"/>
                      <a:gd name="T103" fmla="*/ 44 h 343"/>
                      <a:gd name="T104" fmla="*/ 72 w 157"/>
                      <a:gd name="T105" fmla="*/ 28 h 343"/>
                      <a:gd name="T106" fmla="*/ 105 w 157"/>
                      <a:gd name="T107" fmla="*/ 43 h 343"/>
                      <a:gd name="T108" fmla="*/ 97 w 157"/>
                      <a:gd name="T109" fmla="*/ 19 h 343"/>
                      <a:gd name="T110" fmla="*/ 103 w 157"/>
                      <a:gd name="T111" fmla="*/ 1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7" h="343">
                        <a:moveTo>
                          <a:pt x="65" y="308"/>
                        </a:moveTo>
                        <a:cubicBezTo>
                          <a:pt x="65" y="309"/>
                          <a:pt x="65" y="309"/>
                          <a:pt x="65" y="309"/>
                        </a:cubicBezTo>
                        <a:cubicBezTo>
                          <a:pt x="65" y="309"/>
                          <a:pt x="65" y="309"/>
                          <a:pt x="65" y="309"/>
                        </a:cubicBezTo>
                        <a:cubicBezTo>
                          <a:pt x="65" y="309"/>
                          <a:pt x="65" y="309"/>
                          <a:pt x="65" y="309"/>
                        </a:cubicBezTo>
                        <a:cubicBezTo>
                          <a:pt x="65" y="309"/>
                          <a:pt x="65" y="309"/>
                          <a:pt x="65" y="309"/>
                        </a:cubicBezTo>
                        <a:cubicBezTo>
                          <a:pt x="65" y="308"/>
                          <a:pt x="65" y="308"/>
                          <a:pt x="65" y="308"/>
                        </a:cubicBezTo>
                        <a:close/>
                        <a:moveTo>
                          <a:pt x="103" y="230"/>
                        </a:moveTo>
                        <a:cubicBezTo>
                          <a:pt x="106" y="232"/>
                          <a:pt x="106" y="232"/>
                          <a:pt x="106" y="232"/>
                        </a:cubicBezTo>
                        <a:cubicBezTo>
                          <a:pt x="107" y="227"/>
                          <a:pt x="107" y="227"/>
                          <a:pt x="107" y="227"/>
                        </a:cubicBezTo>
                        <a:cubicBezTo>
                          <a:pt x="103" y="227"/>
                          <a:pt x="103" y="227"/>
                          <a:pt x="103" y="227"/>
                        </a:cubicBezTo>
                        <a:lnTo>
                          <a:pt x="103" y="230"/>
                        </a:lnTo>
                        <a:close/>
                        <a:moveTo>
                          <a:pt x="85" y="292"/>
                        </a:moveTo>
                        <a:cubicBezTo>
                          <a:pt x="86" y="297"/>
                          <a:pt x="86" y="297"/>
                          <a:pt x="86" y="297"/>
                        </a:cubicBezTo>
                        <a:cubicBezTo>
                          <a:pt x="88" y="302"/>
                          <a:pt x="88" y="302"/>
                          <a:pt x="88" y="302"/>
                        </a:cubicBezTo>
                        <a:cubicBezTo>
                          <a:pt x="92" y="299"/>
                          <a:pt x="92" y="299"/>
                          <a:pt x="92" y="299"/>
                        </a:cubicBezTo>
                        <a:cubicBezTo>
                          <a:pt x="93" y="289"/>
                          <a:pt x="93" y="289"/>
                          <a:pt x="93" y="289"/>
                        </a:cubicBezTo>
                        <a:cubicBezTo>
                          <a:pt x="88" y="288"/>
                          <a:pt x="88" y="288"/>
                          <a:pt x="88" y="288"/>
                        </a:cubicBezTo>
                        <a:lnTo>
                          <a:pt x="85" y="292"/>
                        </a:lnTo>
                        <a:close/>
                        <a:moveTo>
                          <a:pt x="65" y="309"/>
                        </a:moveTo>
                        <a:cubicBezTo>
                          <a:pt x="65" y="310"/>
                          <a:pt x="64" y="311"/>
                          <a:pt x="64" y="314"/>
                        </a:cubicBezTo>
                        <a:cubicBezTo>
                          <a:pt x="61" y="323"/>
                          <a:pt x="60" y="324"/>
                          <a:pt x="60" y="324"/>
                        </a:cubicBezTo>
                        <a:cubicBezTo>
                          <a:pt x="63" y="323"/>
                          <a:pt x="63" y="323"/>
                          <a:pt x="63" y="323"/>
                        </a:cubicBezTo>
                        <a:cubicBezTo>
                          <a:pt x="68" y="308"/>
                          <a:pt x="68" y="308"/>
                          <a:pt x="68" y="308"/>
                        </a:cubicBezTo>
                        <a:cubicBezTo>
                          <a:pt x="65" y="309"/>
                          <a:pt x="65" y="309"/>
                          <a:pt x="65" y="309"/>
                        </a:cubicBezTo>
                        <a:cubicBezTo>
                          <a:pt x="65" y="309"/>
                          <a:pt x="65" y="309"/>
                          <a:pt x="65" y="309"/>
                        </a:cubicBezTo>
                        <a:close/>
                        <a:moveTo>
                          <a:pt x="155" y="61"/>
                        </a:moveTo>
                        <a:cubicBezTo>
                          <a:pt x="156" y="49"/>
                          <a:pt x="156" y="49"/>
                          <a:pt x="156" y="49"/>
                        </a:cubicBezTo>
                        <a:cubicBezTo>
                          <a:pt x="155" y="39"/>
                          <a:pt x="155" y="39"/>
                          <a:pt x="155" y="39"/>
                        </a:cubicBezTo>
                        <a:cubicBezTo>
                          <a:pt x="147" y="34"/>
                          <a:pt x="147" y="34"/>
                          <a:pt x="147" y="34"/>
                        </a:cubicBezTo>
                        <a:cubicBezTo>
                          <a:pt x="152" y="25"/>
                          <a:pt x="152" y="25"/>
                          <a:pt x="152" y="25"/>
                        </a:cubicBezTo>
                        <a:cubicBezTo>
                          <a:pt x="134" y="13"/>
                          <a:pt x="134" y="13"/>
                          <a:pt x="134" y="13"/>
                        </a:cubicBezTo>
                        <a:cubicBezTo>
                          <a:pt x="126" y="12"/>
                          <a:pt x="126" y="12"/>
                          <a:pt x="126" y="12"/>
                        </a:cubicBezTo>
                        <a:cubicBezTo>
                          <a:pt x="117" y="7"/>
                          <a:pt x="117" y="7"/>
                          <a:pt x="117" y="7"/>
                        </a:cubicBezTo>
                        <a:cubicBezTo>
                          <a:pt x="115" y="0"/>
                          <a:pt x="115" y="0"/>
                          <a:pt x="115" y="0"/>
                        </a:cubicBezTo>
                        <a:cubicBezTo>
                          <a:pt x="108" y="1"/>
                          <a:pt x="108" y="1"/>
                          <a:pt x="108" y="1"/>
                        </a:cubicBezTo>
                        <a:cubicBezTo>
                          <a:pt x="106" y="11"/>
                          <a:pt x="106" y="11"/>
                          <a:pt x="106" y="11"/>
                        </a:cubicBezTo>
                        <a:cubicBezTo>
                          <a:pt x="98" y="12"/>
                          <a:pt x="98" y="12"/>
                          <a:pt x="98" y="12"/>
                        </a:cubicBezTo>
                        <a:cubicBezTo>
                          <a:pt x="91" y="11"/>
                          <a:pt x="91" y="11"/>
                          <a:pt x="91" y="11"/>
                        </a:cubicBezTo>
                        <a:cubicBezTo>
                          <a:pt x="84" y="11"/>
                          <a:pt x="84" y="11"/>
                          <a:pt x="84" y="11"/>
                        </a:cubicBezTo>
                        <a:cubicBezTo>
                          <a:pt x="81" y="19"/>
                          <a:pt x="81" y="19"/>
                          <a:pt x="81" y="19"/>
                        </a:cubicBezTo>
                        <a:cubicBezTo>
                          <a:pt x="71" y="22"/>
                          <a:pt x="71" y="22"/>
                          <a:pt x="71" y="22"/>
                        </a:cubicBezTo>
                        <a:cubicBezTo>
                          <a:pt x="67" y="28"/>
                          <a:pt x="67" y="28"/>
                          <a:pt x="67" y="28"/>
                        </a:cubicBezTo>
                        <a:cubicBezTo>
                          <a:pt x="57" y="36"/>
                          <a:pt x="57" y="36"/>
                          <a:pt x="57" y="36"/>
                        </a:cubicBezTo>
                        <a:cubicBezTo>
                          <a:pt x="62" y="38"/>
                          <a:pt x="62" y="38"/>
                          <a:pt x="62" y="38"/>
                        </a:cubicBezTo>
                        <a:cubicBezTo>
                          <a:pt x="61" y="44"/>
                          <a:pt x="61" y="44"/>
                          <a:pt x="61" y="44"/>
                        </a:cubicBezTo>
                        <a:cubicBezTo>
                          <a:pt x="46" y="58"/>
                          <a:pt x="46" y="58"/>
                          <a:pt x="46" y="58"/>
                        </a:cubicBezTo>
                        <a:cubicBezTo>
                          <a:pt x="39" y="61"/>
                          <a:pt x="39" y="61"/>
                          <a:pt x="39" y="61"/>
                        </a:cubicBezTo>
                        <a:cubicBezTo>
                          <a:pt x="35" y="68"/>
                          <a:pt x="35" y="68"/>
                          <a:pt x="35" y="68"/>
                        </a:cubicBezTo>
                        <a:cubicBezTo>
                          <a:pt x="38" y="76"/>
                          <a:pt x="38" y="76"/>
                          <a:pt x="38" y="76"/>
                        </a:cubicBezTo>
                        <a:cubicBezTo>
                          <a:pt x="36" y="100"/>
                          <a:pt x="36" y="100"/>
                          <a:pt x="36" y="100"/>
                        </a:cubicBezTo>
                        <a:cubicBezTo>
                          <a:pt x="27" y="113"/>
                          <a:pt x="27" y="113"/>
                          <a:pt x="27" y="113"/>
                        </a:cubicBezTo>
                        <a:cubicBezTo>
                          <a:pt x="35" y="123"/>
                          <a:pt x="35" y="123"/>
                          <a:pt x="35" y="123"/>
                        </a:cubicBezTo>
                        <a:cubicBezTo>
                          <a:pt x="27" y="131"/>
                          <a:pt x="27" y="131"/>
                          <a:pt x="27" y="131"/>
                        </a:cubicBezTo>
                        <a:cubicBezTo>
                          <a:pt x="15" y="129"/>
                          <a:pt x="15" y="129"/>
                          <a:pt x="15" y="129"/>
                        </a:cubicBezTo>
                        <a:cubicBezTo>
                          <a:pt x="8" y="136"/>
                          <a:pt x="8" y="136"/>
                          <a:pt x="8" y="136"/>
                        </a:cubicBezTo>
                        <a:cubicBezTo>
                          <a:pt x="8" y="158"/>
                          <a:pt x="8" y="158"/>
                          <a:pt x="8" y="158"/>
                        </a:cubicBezTo>
                        <a:cubicBezTo>
                          <a:pt x="10" y="189"/>
                          <a:pt x="10" y="189"/>
                          <a:pt x="10" y="189"/>
                        </a:cubicBezTo>
                        <a:cubicBezTo>
                          <a:pt x="16" y="196"/>
                          <a:pt x="16" y="196"/>
                          <a:pt x="16" y="196"/>
                        </a:cubicBezTo>
                        <a:cubicBezTo>
                          <a:pt x="16" y="207"/>
                          <a:pt x="16" y="207"/>
                          <a:pt x="16" y="207"/>
                        </a:cubicBezTo>
                        <a:cubicBezTo>
                          <a:pt x="9" y="210"/>
                          <a:pt x="9" y="210"/>
                          <a:pt x="9" y="210"/>
                        </a:cubicBezTo>
                        <a:cubicBezTo>
                          <a:pt x="8" y="214"/>
                          <a:pt x="8" y="214"/>
                          <a:pt x="8" y="214"/>
                        </a:cubicBezTo>
                        <a:cubicBezTo>
                          <a:pt x="13" y="221"/>
                          <a:pt x="13" y="221"/>
                          <a:pt x="13" y="221"/>
                        </a:cubicBezTo>
                        <a:cubicBezTo>
                          <a:pt x="11" y="230"/>
                          <a:pt x="11" y="230"/>
                          <a:pt x="11" y="230"/>
                        </a:cubicBezTo>
                        <a:cubicBezTo>
                          <a:pt x="7" y="235"/>
                          <a:pt x="7" y="235"/>
                          <a:pt x="7" y="235"/>
                        </a:cubicBezTo>
                        <a:cubicBezTo>
                          <a:pt x="4" y="259"/>
                          <a:pt x="4" y="259"/>
                          <a:pt x="4" y="259"/>
                        </a:cubicBezTo>
                        <a:cubicBezTo>
                          <a:pt x="3" y="265"/>
                          <a:pt x="3" y="265"/>
                          <a:pt x="3" y="265"/>
                        </a:cubicBezTo>
                        <a:cubicBezTo>
                          <a:pt x="0" y="277"/>
                          <a:pt x="0" y="277"/>
                          <a:pt x="0" y="277"/>
                        </a:cubicBezTo>
                        <a:cubicBezTo>
                          <a:pt x="6" y="282"/>
                          <a:pt x="6" y="282"/>
                          <a:pt x="6" y="282"/>
                        </a:cubicBezTo>
                        <a:cubicBezTo>
                          <a:pt x="5" y="299"/>
                          <a:pt x="5" y="299"/>
                          <a:pt x="5" y="299"/>
                        </a:cubicBezTo>
                        <a:cubicBezTo>
                          <a:pt x="9" y="305"/>
                          <a:pt x="9" y="305"/>
                          <a:pt x="9" y="305"/>
                        </a:cubicBezTo>
                        <a:cubicBezTo>
                          <a:pt x="11" y="313"/>
                          <a:pt x="11" y="313"/>
                          <a:pt x="11" y="313"/>
                        </a:cubicBezTo>
                        <a:cubicBezTo>
                          <a:pt x="16" y="319"/>
                          <a:pt x="16" y="319"/>
                          <a:pt x="16" y="319"/>
                        </a:cubicBezTo>
                        <a:cubicBezTo>
                          <a:pt x="16" y="330"/>
                          <a:pt x="16" y="330"/>
                          <a:pt x="16" y="330"/>
                        </a:cubicBezTo>
                        <a:cubicBezTo>
                          <a:pt x="21" y="338"/>
                          <a:pt x="21" y="338"/>
                          <a:pt x="21" y="338"/>
                        </a:cubicBezTo>
                        <a:cubicBezTo>
                          <a:pt x="26" y="343"/>
                          <a:pt x="26" y="343"/>
                          <a:pt x="26" y="343"/>
                        </a:cubicBezTo>
                        <a:cubicBezTo>
                          <a:pt x="30" y="341"/>
                          <a:pt x="30" y="341"/>
                          <a:pt x="30" y="341"/>
                        </a:cubicBezTo>
                        <a:cubicBezTo>
                          <a:pt x="34" y="341"/>
                          <a:pt x="34" y="341"/>
                          <a:pt x="34" y="341"/>
                        </a:cubicBezTo>
                        <a:cubicBezTo>
                          <a:pt x="42" y="329"/>
                          <a:pt x="42" y="329"/>
                          <a:pt x="42" y="329"/>
                        </a:cubicBezTo>
                        <a:cubicBezTo>
                          <a:pt x="51" y="328"/>
                          <a:pt x="51" y="328"/>
                          <a:pt x="51" y="328"/>
                        </a:cubicBezTo>
                        <a:cubicBezTo>
                          <a:pt x="57" y="324"/>
                          <a:pt x="57" y="324"/>
                          <a:pt x="57" y="324"/>
                        </a:cubicBezTo>
                        <a:cubicBezTo>
                          <a:pt x="62" y="308"/>
                          <a:pt x="62" y="308"/>
                          <a:pt x="62" y="308"/>
                        </a:cubicBezTo>
                        <a:cubicBezTo>
                          <a:pt x="66" y="294"/>
                          <a:pt x="66" y="294"/>
                          <a:pt x="66" y="294"/>
                        </a:cubicBezTo>
                        <a:cubicBezTo>
                          <a:pt x="65" y="274"/>
                          <a:pt x="65" y="274"/>
                          <a:pt x="65" y="274"/>
                        </a:cubicBezTo>
                        <a:cubicBezTo>
                          <a:pt x="70" y="268"/>
                          <a:pt x="70" y="268"/>
                          <a:pt x="70" y="268"/>
                        </a:cubicBezTo>
                        <a:cubicBezTo>
                          <a:pt x="75" y="269"/>
                          <a:pt x="75" y="269"/>
                          <a:pt x="75" y="269"/>
                        </a:cubicBezTo>
                        <a:cubicBezTo>
                          <a:pt x="74" y="263"/>
                          <a:pt x="74" y="263"/>
                          <a:pt x="74" y="263"/>
                        </a:cubicBezTo>
                        <a:cubicBezTo>
                          <a:pt x="79" y="260"/>
                          <a:pt x="79" y="260"/>
                          <a:pt x="79" y="260"/>
                        </a:cubicBezTo>
                        <a:cubicBezTo>
                          <a:pt x="84" y="261"/>
                          <a:pt x="84" y="261"/>
                          <a:pt x="84" y="261"/>
                        </a:cubicBezTo>
                        <a:cubicBezTo>
                          <a:pt x="92" y="249"/>
                          <a:pt x="92" y="249"/>
                          <a:pt x="92" y="249"/>
                        </a:cubicBezTo>
                        <a:cubicBezTo>
                          <a:pt x="91" y="231"/>
                          <a:pt x="91" y="231"/>
                          <a:pt x="91" y="231"/>
                        </a:cubicBezTo>
                        <a:cubicBezTo>
                          <a:pt x="82" y="220"/>
                          <a:pt x="82" y="220"/>
                          <a:pt x="82" y="220"/>
                        </a:cubicBezTo>
                        <a:cubicBezTo>
                          <a:pt x="72" y="213"/>
                          <a:pt x="72" y="213"/>
                          <a:pt x="72" y="213"/>
                        </a:cubicBezTo>
                        <a:cubicBezTo>
                          <a:pt x="73" y="195"/>
                          <a:pt x="73" y="195"/>
                          <a:pt x="73" y="195"/>
                        </a:cubicBezTo>
                        <a:cubicBezTo>
                          <a:pt x="76" y="190"/>
                          <a:pt x="76" y="190"/>
                          <a:pt x="76" y="190"/>
                        </a:cubicBezTo>
                        <a:cubicBezTo>
                          <a:pt x="74" y="187"/>
                          <a:pt x="74" y="187"/>
                          <a:pt x="74" y="187"/>
                        </a:cubicBezTo>
                        <a:cubicBezTo>
                          <a:pt x="74" y="176"/>
                          <a:pt x="74" y="176"/>
                          <a:pt x="74" y="176"/>
                        </a:cubicBezTo>
                        <a:cubicBezTo>
                          <a:pt x="81" y="171"/>
                          <a:pt x="81" y="171"/>
                          <a:pt x="81" y="171"/>
                        </a:cubicBezTo>
                        <a:cubicBezTo>
                          <a:pt x="84" y="156"/>
                          <a:pt x="84" y="156"/>
                          <a:pt x="84" y="156"/>
                        </a:cubicBezTo>
                        <a:cubicBezTo>
                          <a:pt x="92" y="151"/>
                          <a:pt x="92" y="151"/>
                          <a:pt x="92" y="151"/>
                        </a:cubicBezTo>
                        <a:cubicBezTo>
                          <a:pt x="98" y="143"/>
                          <a:pt x="98" y="143"/>
                          <a:pt x="98" y="143"/>
                        </a:cubicBezTo>
                        <a:cubicBezTo>
                          <a:pt x="107" y="136"/>
                          <a:pt x="107" y="136"/>
                          <a:pt x="107" y="136"/>
                        </a:cubicBezTo>
                        <a:cubicBezTo>
                          <a:pt x="117" y="126"/>
                          <a:pt x="117" y="126"/>
                          <a:pt x="117" y="126"/>
                        </a:cubicBezTo>
                        <a:cubicBezTo>
                          <a:pt x="125" y="113"/>
                          <a:pt x="125" y="113"/>
                          <a:pt x="125" y="113"/>
                        </a:cubicBezTo>
                        <a:cubicBezTo>
                          <a:pt x="124" y="107"/>
                          <a:pt x="124" y="107"/>
                          <a:pt x="124" y="107"/>
                        </a:cubicBezTo>
                        <a:cubicBezTo>
                          <a:pt x="122" y="103"/>
                          <a:pt x="122" y="103"/>
                          <a:pt x="122" y="103"/>
                        </a:cubicBezTo>
                        <a:cubicBezTo>
                          <a:pt x="128" y="92"/>
                          <a:pt x="128" y="92"/>
                          <a:pt x="128" y="92"/>
                        </a:cubicBezTo>
                        <a:cubicBezTo>
                          <a:pt x="128" y="86"/>
                          <a:pt x="128" y="86"/>
                          <a:pt x="128" y="86"/>
                        </a:cubicBezTo>
                        <a:cubicBezTo>
                          <a:pt x="136" y="80"/>
                          <a:pt x="136" y="80"/>
                          <a:pt x="136" y="80"/>
                        </a:cubicBezTo>
                        <a:cubicBezTo>
                          <a:pt x="137" y="74"/>
                          <a:pt x="137" y="74"/>
                          <a:pt x="137" y="74"/>
                        </a:cubicBezTo>
                        <a:cubicBezTo>
                          <a:pt x="146" y="76"/>
                          <a:pt x="146" y="76"/>
                          <a:pt x="146" y="76"/>
                        </a:cubicBezTo>
                        <a:cubicBezTo>
                          <a:pt x="157" y="72"/>
                          <a:pt x="157" y="72"/>
                          <a:pt x="157" y="72"/>
                        </a:cubicBezTo>
                        <a:lnTo>
                          <a:pt x="155" y="61"/>
                        </a:lnTo>
                        <a:close/>
                        <a:moveTo>
                          <a:pt x="36" y="207"/>
                        </a:moveTo>
                        <a:cubicBezTo>
                          <a:pt x="38" y="208"/>
                          <a:pt x="40" y="208"/>
                          <a:pt x="40" y="210"/>
                        </a:cubicBezTo>
                        <a:cubicBezTo>
                          <a:pt x="41" y="213"/>
                          <a:pt x="38" y="213"/>
                          <a:pt x="37" y="213"/>
                        </a:cubicBezTo>
                        <a:cubicBezTo>
                          <a:pt x="34" y="213"/>
                          <a:pt x="33" y="211"/>
                          <a:pt x="32" y="210"/>
                        </a:cubicBezTo>
                        <a:cubicBezTo>
                          <a:pt x="32" y="208"/>
                          <a:pt x="35" y="209"/>
                          <a:pt x="36" y="207"/>
                        </a:cubicBezTo>
                        <a:close/>
                        <a:moveTo>
                          <a:pt x="31" y="145"/>
                        </a:moveTo>
                        <a:cubicBezTo>
                          <a:pt x="34" y="147"/>
                          <a:pt x="34" y="150"/>
                          <a:pt x="33" y="153"/>
                        </a:cubicBezTo>
                        <a:cubicBezTo>
                          <a:pt x="31" y="155"/>
                          <a:pt x="30" y="154"/>
                          <a:pt x="28" y="152"/>
                        </a:cubicBezTo>
                        <a:cubicBezTo>
                          <a:pt x="26" y="150"/>
                          <a:pt x="25" y="142"/>
                          <a:pt x="31" y="145"/>
                        </a:cubicBezTo>
                        <a:close/>
                        <a:moveTo>
                          <a:pt x="11" y="273"/>
                        </a:moveTo>
                        <a:cubicBezTo>
                          <a:pt x="9" y="272"/>
                          <a:pt x="6" y="275"/>
                          <a:pt x="6" y="272"/>
                        </a:cubicBezTo>
                        <a:cubicBezTo>
                          <a:pt x="12" y="268"/>
                          <a:pt x="4" y="257"/>
                          <a:pt x="13" y="256"/>
                        </a:cubicBezTo>
                        <a:cubicBezTo>
                          <a:pt x="14" y="253"/>
                          <a:pt x="15" y="249"/>
                          <a:pt x="19" y="248"/>
                        </a:cubicBezTo>
                        <a:cubicBezTo>
                          <a:pt x="23" y="249"/>
                          <a:pt x="27" y="251"/>
                          <a:pt x="29" y="256"/>
                        </a:cubicBezTo>
                        <a:cubicBezTo>
                          <a:pt x="32" y="269"/>
                          <a:pt x="17" y="268"/>
                          <a:pt x="11" y="273"/>
                        </a:cubicBezTo>
                        <a:close/>
                        <a:moveTo>
                          <a:pt x="41" y="266"/>
                        </a:moveTo>
                        <a:cubicBezTo>
                          <a:pt x="35" y="271"/>
                          <a:pt x="36" y="281"/>
                          <a:pt x="29" y="284"/>
                        </a:cubicBezTo>
                        <a:cubicBezTo>
                          <a:pt x="26" y="282"/>
                          <a:pt x="31" y="278"/>
                          <a:pt x="31" y="274"/>
                        </a:cubicBezTo>
                        <a:cubicBezTo>
                          <a:pt x="31" y="268"/>
                          <a:pt x="33" y="262"/>
                          <a:pt x="39" y="259"/>
                        </a:cubicBezTo>
                        <a:cubicBezTo>
                          <a:pt x="43" y="259"/>
                          <a:pt x="42" y="264"/>
                          <a:pt x="41" y="266"/>
                        </a:cubicBezTo>
                        <a:close/>
                        <a:moveTo>
                          <a:pt x="44" y="130"/>
                        </a:moveTo>
                        <a:cubicBezTo>
                          <a:pt x="40" y="129"/>
                          <a:pt x="38" y="125"/>
                          <a:pt x="38" y="122"/>
                        </a:cubicBezTo>
                        <a:cubicBezTo>
                          <a:pt x="38" y="120"/>
                          <a:pt x="38" y="119"/>
                          <a:pt x="39" y="119"/>
                        </a:cubicBezTo>
                        <a:cubicBezTo>
                          <a:pt x="42" y="120"/>
                          <a:pt x="45" y="121"/>
                          <a:pt x="45" y="124"/>
                        </a:cubicBezTo>
                        <a:cubicBezTo>
                          <a:pt x="45" y="126"/>
                          <a:pt x="47" y="129"/>
                          <a:pt x="44" y="130"/>
                        </a:cubicBezTo>
                        <a:close/>
                        <a:moveTo>
                          <a:pt x="52" y="255"/>
                        </a:moveTo>
                        <a:cubicBezTo>
                          <a:pt x="50" y="255"/>
                          <a:pt x="48" y="253"/>
                          <a:pt x="47" y="251"/>
                        </a:cubicBezTo>
                        <a:cubicBezTo>
                          <a:pt x="45" y="249"/>
                          <a:pt x="48" y="246"/>
                          <a:pt x="50" y="246"/>
                        </a:cubicBezTo>
                        <a:cubicBezTo>
                          <a:pt x="53" y="247"/>
                          <a:pt x="56" y="248"/>
                          <a:pt x="57" y="251"/>
                        </a:cubicBezTo>
                        <a:cubicBezTo>
                          <a:pt x="57" y="253"/>
                          <a:pt x="54" y="255"/>
                          <a:pt x="52" y="255"/>
                        </a:cubicBezTo>
                        <a:close/>
                        <a:moveTo>
                          <a:pt x="74" y="245"/>
                        </a:moveTo>
                        <a:cubicBezTo>
                          <a:pt x="76" y="251"/>
                          <a:pt x="69" y="248"/>
                          <a:pt x="66" y="249"/>
                        </a:cubicBezTo>
                        <a:cubicBezTo>
                          <a:pt x="62" y="248"/>
                          <a:pt x="57" y="249"/>
                          <a:pt x="55" y="245"/>
                        </a:cubicBezTo>
                        <a:cubicBezTo>
                          <a:pt x="58" y="243"/>
                          <a:pt x="62" y="244"/>
                          <a:pt x="64" y="242"/>
                        </a:cubicBezTo>
                        <a:cubicBezTo>
                          <a:pt x="68" y="243"/>
                          <a:pt x="72" y="240"/>
                          <a:pt x="74" y="245"/>
                        </a:cubicBezTo>
                        <a:close/>
                        <a:moveTo>
                          <a:pt x="82" y="77"/>
                        </a:moveTo>
                        <a:cubicBezTo>
                          <a:pt x="78" y="74"/>
                          <a:pt x="72" y="73"/>
                          <a:pt x="71" y="68"/>
                        </a:cubicBezTo>
                        <a:cubicBezTo>
                          <a:pt x="70" y="58"/>
                          <a:pt x="70" y="58"/>
                          <a:pt x="70" y="58"/>
                        </a:cubicBezTo>
                        <a:cubicBezTo>
                          <a:pt x="67" y="58"/>
                          <a:pt x="66" y="54"/>
                          <a:pt x="65" y="53"/>
                        </a:cubicBezTo>
                        <a:cubicBezTo>
                          <a:pt x="65" y="52"/>
                          <a:pt x="66" y="52"/>
                          <a:pt x="67" y="52"/>
                        </a:cubicBezTo>
                        <a:cubicBezTo>
                          <a:pt x="69" y="53"/>
                          <a:pt x="69" y="56"/>
                          <a:pt x="72" y="57"/>
                        </a:cubicBezTo>
                        <a:cubicBezTo>
                          <a:pt x="75" y="63"/>
                          <a:pt x="76" y="72"/>
                          <a:pt x="84" y="74"/>
                        </a:cubicBezTo>
                        <a:cubicBezTo>
                          <a:pt x="84" y="76"/>
                          <a:pt x="83" y="76"/>
                          <a:pt x="82" y="77"/>
                        </a:cubicBezTo>
                        <a:close/>
                        <a:moveTo>
                          <a:pt x="104" y="44"/>
                        </a:moveTo>
                        <a:cubicBezTo>
                          <a:pt x="95" y="42"/>
                          <a:pt x="89" y="36"/>
                          <a:pt x="79" y="35"/>
                        </a:cubicBezTo>
                        <a:cubicBezTo>
                          <a:pt x="77" y="33"/>
                          <a:pt x="72" y="33"/>
                          <a:pt x="71" y="30"/>
                        </a:cubicBezTo>
                        <a:cubicBezTo>
                          <a:pt x="71" y="29"/>
                          <a:pt x="70" y="28"/>
                          <a:pt x="72" y="28"/>
                        </a:cubicBezTo>
                        <a:cubicBezTo>
                          <a:pt x="75" y="28"/>
                          <a:pt x="72" y="30"/>
                          <a:pt x="74" y="31"/>
                        </a:cubicBezTo>
                        <a:cubicBezTo>
                          <a:pt x="84" y="34"/>
                          <a:pt x="93" y="38"/>
                          <a:pt x="102" y="42"/>
                        </a:cubicBezTo>
                        <a:cubicBezTo>
                          <a:pt x="103" y="42"/>
                          <a:pt x="105" y="42"/>
                          <a:pt x="105" y="43"/>
                        </a:cubicBezTo>
                        <a:cubicBezTo>
                          <a:pt x="105" y="44"/>
                          <a:pt x="105" y="44"/>
                          <a:pt x="104" y="44"/>
                        </a:cubicBezTo>
                        <a:close/>
                        <a:moveTo>
                          <a:pt x="105" y="22"/>
                        </a:moveTo>
                        <a:cubicBezTo>
                          <a:pt x="102" y="22"/>
                          <a:pt x="100" y="20"/>
                          <a:pt x="97" y="19"/>
                        </a:cubicBezTo>
                        <a:cubicBezTo>
                          <a:pt x="92" y="19"/>
                          <a:pt x="87" y="17"/>
                          <a:pt x="85" y="15"/>
                        </a:cubicBezTo>
                        <a:cubicBezTo>
                          <a:pt x="85" y="14"/>
                          <a:pt x="87" y="14"/>
                          <a:pt x="88" y="14"/>
                        </a:cubicBezTo>
                        <a:cubicBezTo>
                          <a:pt x="91" y="17"/>
                          <a:pt x="98" y="15"/>
                          <a:pt x="103" y="18"/>
                        </a:cubicBezTo>
                        <a:cubicBezTo>
                          <a:pt x="105" y="19"/>
                          <a:pt x="106" y="20"/>
                          <a:pt x="105" y="22"/>
                        </a:cubicBez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3" name="Freeform 38"/>
                  <p:cNvSpPr>
                    <a:spLocks noChangeAspect="1" noEditPoints="1"/>
                  </p:cNvSpPr>
                  <p:nvPr/>
                </p:nvSpPr>
                <p:spPr bwMode="gray">
                  <a:xfrm>
                    <a:off x="2818" y="-2057"/>
                    <a:ext cx="1023" cy="1923"/>
                  </a:xfrm>
                  <a:custGeom>
                    <a:avLst/>
                    <a:gdLst>
                      <a:gd name="T0" fmla="*/ 127 w 136"/>
                      <a:gd name="T1" fmla="*/ 164 h 256"/>
                      <a:gd name="T2" fmla="*/ 120 w 136"/>
                      <a:gd name="T3" fmla="*/ 146 h 256"/>
                      <a:gd name="T4" fmla="*/ 118 w 136"/>
                      <a:gd name="T5" fmla="*/ 122 h 256"/>
                      <a:gd name="T6" fmla="*/ 113 w 136"/>
                      <a:gd name="T7" fmla="*/ 96 h 256"/>
                      <a:gd name="T8" fmla="*/ 111 w 136"/>
                      <a:gd name="T9" fmla="*/ 52 h 256"/>
                      <a:gd name="T10" fmla="*/ 95 w 136"/>
                      <a:gd name="T11" fmla="*/ 28 h 256"/>
                      <a:gd name="T12" fmla="*/ 91 w 136"/>
                      <a:gd name="T13" fmla="*/ 0 h 256"/>
                      <a:gd name="T14" fmla="*/ 67 w 136"/>
                      <a:gd name="T15" fmla="*/ 20 h 256"/>
                      <a:gd name="T16" fmla="*/ 49 w 136"/>
                      <a:gd name="T17" fmla="*/ 24 h 256"/>
                      <a:gd name="T18" fmla="*/ 25 w 136"/>
                      <a:gd name="T19" fmla="*/ 26 h 256"/>
                      <a:gd name="T20" fmla="*/ 0 w 136"/>
                      <a:gd name="T21" fmla="*/ 19 h 256"/>
                      <a:gd name="T22" fmla="*/ 19 w 136"/>
                      <a:gd name="T23" fmla="*/ 32 h 256"/>
                      <a:gd name="T24" fmla="*/ 40 w 136"/>
                      <a:gd name="T25" fmla="*/ 58 h 256"/>
                      <a:gd name="T26" fmla="*/ 42 w 136"/>
                      <a:gd name="T27" fmla="*/ 91 h 256"/>
                      <a:gd name="T28" fmla="*/ 60 w 136"/>
                      <a:gd name="T29" fmla="*/ 109 h 256"/>
                      <a:gd name="T30" fmla="*/ 52 w 136"/>
                      <a:gd name="T31" fmla="*/ 120 h 256"/>
                      <a:gd name="T32" fmla="*/ 34 w 136"/>
                      <a:gd name="T33" fmla="*/ 147 h 256"/>
                      <a:gd name="T34" fmla="*/ 22 w 136"/>
                      <a:gd name="T35" fmla="*/ 161 h 256"/>
                      <a:gd name="T36" fmla="*/ 13 w 136"/>
                      <a:gd name="T37" fmla="*/ 175 h 256"/>
                      <a:gd name="T38" fmla="*/ 10 w 136"/>
                      <a:gd name="T39" fmla="*/ 209 h 256"/>
                      <a:gd name="T40" fmla="*/ 12 w 136"/>
                      <a:gd name="T41" fmla="*/ 242 h 256"/>
                      <a:gd name="T42" fmla="*/ 28 w 136"/>
                      <a:gd name="T43" fmla="*/ 248 h 256"/>
                      <a:gd name="T44" fmla="*/ 40 w 136"/>
                      <a:gd name="T45" fmla="*/ 254 h 256"/>
                      <a:gd name="T46" fmla="*/ 55 w 136"/>
                      <a:gd name="T47" fmla="*/ 248 h 256"/>
                      <a:gd name="T48" fmla="*/ 78 w 136"/>
                      <a:gd name="T49" fmla="*/ 242 h 256"/>
                      <a:gd name="T50" fmla="*/ 97 w 136"/>
                      <a:gd name="T51" fmla="*/ 236 h 256"/>
                      <a:gd name="T52" fmla="*/ 41 w 136"/>
                      <a:gd name="T53" fmla="*/ 216 h 256"/>
                      <a:gd name="T54" fmla="*/ 34 w 136"/>
                      <a:gd name="T55" fmla="*/ 212 h 256"/>
                      <a:gd name="T56" fmla="*/ 37 w 136"/>
                      <a:gd name="T57" fmla="*/ 206 h 256"/>
                      <a:gd name="T58" fmla="*/ 41 w 136"/>
                      <a:gd name="T59" fmla="*/ 216 h 256"/>
                      <a:gd name="T60" fmla="*/ 56 w 136"/>
                      <a:gd name="T61" fmla="*/ 200 h 256"/>
                      <a:gd name="T62" fmla="*/ 68 w 136"/>
                      <a:gd name="T63" fmla="*/ 220 h 256"/>
                      <a:gd name="T64" fmla="*/ 111 w 136"/>
                      <a:gd name="T65" fmla="*/ 197 h 256"/>
                      <a:gd name="T66" fmla="*/ 110 w 136"/>
                      <a:gd name="T67" fmla="*/ 195 h 256"/>
                      <a:gd name="T68" fmla="*/ 114 w 136"/>
                      <a:gd name="T69" fmla="*/ 193 h 256"/>
                      <a:gd name="T70" fmla="*/ 110 w 136"/>
                      <a:gd name="T71" fmla="*/ 167 h 256"/>
                      <a:gd name="T72" fmla="*/ 94 w 136"/>
                      <a:gd name="T73" fmla="*/ 188 h 256"/>
                      <a:gd name="T74" fmla="*/ 85 w 136"/>
                      <a:gd name="T75" fmla="*/ 176 h 256"/>
                      <a:gd name="T76" fmla="*/ 94 w 136"/>
                      <a:gd name="T77" fmla="*/ 188 h 256"/>
                      <a:gd name="T78" fmla="*/ 92 w 136"/>
                      <a:gd name="T79" fmla="*/ 22 h 256"/>
                      <a:gd name="T80" fmla="*/ 88 w 136"/>
                      <a:gd name="T81" fmla="*/ 17 h 256"/>
                      <a:gd name="T82" fmla="*/ 84 w 136"/>
                      <a:gd name="T83" fmla="*/ 43 h 256"/>
                      <a:gd name="T84" fmla="*/ 77 w 136"/>
                      <a:gd name="T85" fmla="*/ 137 h 256"/>
                      <a:gd name="T86" fmla="*/ 83 w 136"/>
                      <a:gd name="T87" fmla="*/ 135 h 256"/>
                      <a:gd name="T88" fmla="*/ 79 w 136"/>
                      <a:gd name="T89" fmla="*/ 164 h 256"/>
                      <a:gd name="T90" fmla="*/ 86 w 136"/>
                      <a:gd name="T91" fmla="*/ 175 h 256"/>
                      <a:gd name="T92" fmla="*/ 97 w 136"/>
                      <a:gd name="T93" fmla="*/ 218 h 256"/>
                      <a:gd name="T94" fmla="*/ 84 w 136"/>
                      <a:gd name="T95" fmla="*/ 209 h 256"/>
                      <a:gd name="T96" fmla="*/ 97 w 136"/>
                      <a:gd name="T97" fmla="*/ 218 h 256"/>
                      <a:gd name="T98" fmla="*/ 92 w 136"/>
                      <a:gd name="T99" fmla="*/ 190 h 256"/>
                      <a:gd name="T100" fmla="*/ 101 w 136"/>
                      <a:gd name="T101" fmla="*/ 202 h 256"/>
                      <a:gd name="T102" fmla="*/ 97 w 136"/>
                      <a:gd name="T103" fmla="*/ 20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6" h="256">
                        <a:moveTo>
                          <a:pt x="114" y="204"/>
                        </a:moveTo>
                        <a:cubicBezTo>
                          <a:pt x="136" y="178"/>
                          <a:pt x="136" y="178"/>
                          <a:pt x="136" y="178"/>
                        </a:cubicBezTo>
                        <a:cubicBezTo>
                          <a:pt x="127" y="164"/>
                          <a:pt x="127" y="164"/>
                          <a:pt x="127" y="164"/>
                        </a:cubicBezTo>
                        <a:cubicBezTo>
                          <a:pt x="118" y="161"/>
                          <a:pt x="118" y="161"/>
                          <a:pt x="118" y="161"/>
                        </a:cubicBezTo>
                        <a:cubicBezTo>
                          <a:pt x="116" y="154"/>
                          <a:pt x="116" y="154"/>
                          <a:pt x="116" y="154"/>
                        </a:cubicBezTo>
                        <a:cubicBezTo>
                          <a:pt x="120" y="146"/>
                          <a:pt x="120" y="146"/>
                          <a:pt x="120" y="146"/>
                        </a:cubicBezTo>
                        <a:cubicBezTo>
                          <a:pt x="120" y="138"/>
                          <a:pt x="120" y="138"/>
                          <a:pt x="120" y="138"/>
                        </a:cubicBezTo>
                        <a:cubicBezTo>
                          <a:pt x="115" y="128"/>
                          <a:pt x="115" y="128"/>
                          <a:pt x="115" y="128"/>
                        </a:cubicBezTo>
                        <a:cubicBezTo>
                          <a:pt x="118" y="122"/>
                          <a:pt x="118" y="122"/>
                          <a:pt x="118" y="122"/>
                        </a:cubicBezTo>
                        <a:cubicBezTo>
                          <a:pt x="112" y="117"/>
                          <a:pt x="112" y="117"/>
                          <a:pt x="112" y="117"/>
                        </a:cubicBezTo>
                        <a:cubicBezTo>
                          <a:pt x="116" y="106"/>
                          <a:pt x="116" y="106"/>
                          <a:pt x="116" y="106"/>
                        </a:cubicBezTo>
                        <a:cubicBezTo>
                          <a:pt x="113" y="96"/>
                          <a:pt x="113" y="96"/>
                          <a:pt x="113" y="96"/>
                        </a:cubicBezTo>
                        <a:cubicBezTo>
                          <a:pt x="115" y="80"/>
                          <a:pt x="115" y="80"/>
                          <a:pt x="115" y="80"/>
                        </a:cubicBezTo>
                        <a:cubicBezTo>
                          <a:pt x="102" y="62"/>
                          <a:pt x="102" y="62"/>
                          <a:pt x="102" y="62"/>
                        </a:cubicBezTo>
                        <a:cubicBezTo>
                          <a:pt x="111" y="52"/>
                          <a:pt x="111" y="52"/>
                          <a:pt x="111" y="52"/>
                        </a:cubicBezTo>
                        <a:cubicBezTo>
                          <a:pt x="106" y="41"/>
                          <a:pt x="106" y="41"/>
                          <a:pt x="106" y="41"/>
                        </a:cubicBezTo>
                        <a:cubicBezTo>
                          <a:pt x="95" y="35"/>
                          <a:pt x="95" y="35"/>
                          <a:pt x="95" y="35"/>
                        </a:cubicBezTo>
                        <a:cubicBezTo>
                          <a:pt x="95" y="28"/>
                          <a:pt x="95" y="28"/>
                          <a:pt x="95" y="28"/>
                        </a:cubicBezTo>
                        <a:cubicBezTo>
                          <a:pt x="103" y="18"/>
                          <a:pt x="103" y="18"/>
                          <a:pt x="103" y="18"/>
                        </a:cubicBezTo>
                        <a:cubicBezTo>
                          <a:pt x="102" y="6"/>
                          <a:pt x="102" y="6"/>
                          <a:pt x="102" y="6"/>
                        </a:cubicBezTo>
                        <a:cubicBezTo>
                          <a:pt x="91" y="0"/>
                          <a:pt x="91" y="0"/>
                          <a:pt x="91" y="0"/>
                        </a:cubicBezTo>
                        <a:cubicBezTo>
                          <a:pt x="80" y="0"/>
                          <a:pt x="80" y="0"/>
                          <a:pt x="80" y="0"/>
                        </a:cubicBezTo>
                        <a:cubicBezTo>
                          <a:pt x="68" y="6"/>
                          <a:pt x="68" y="6"/>
                          <a:pt x="68" y="6"/>
                        </a:cubicBezTo>
                        <a:cubicBezTo>
                          <a:pt x="67" y="20"/>
                          <a:pt x="67" y="20"/>
                          <a:pt x="67" y="20"/>
                        </a:cubicBezTo>
                        <a:cubicBezTo>
                          <a:pt x="58" y="27"/>
                          <a:pt x="58" y="27"/>
                          <a:pt x="58" y="27"/>
                        </a:cubicBezTo>
                        <a:cubicBezTo>
                          <a:pt x="55" y="27"/>
                          <a:pt x="55" y="27"/>
                          <a:pt x="55" y="27"/>
                        </a:cubicBezTo>
                        <a:cubicBezTo>
                          <a:pt x="49" y="24"/>
                          <a:pt x="49" y="24"/>
                          <a:pt x="49" y="24"/>
                        </a:cubicBezTo>
                        <a:cubicBezTo>
                          <a:pt x="42" y="24"/>
                          <a:pt x="42" y="24"/>
                          <a:pt x="42" y="24"/>
                        </a:cubicBezTo>
                        <a:cubicBezTo>
                          <a:pt x="34" y="28"/>
                          <a:pt x="34" y="28"/>
                          <a:pt x="34" y="28"/>
                        </a:cubicBezTo>
                        <a:cubicBezTo>
                          <a:pt x="25" y="26"/>
                          <a:pt x="25" y="26"/>
                          <a:pt x="25" y="26"/>
                        </a:cubicBezTo>
                        <a:cubicBezTo>
                          <a:pt x="13" y="16"/>
                          <a:pt x="13" y="16"/>
                          <a:pt x="13" y="16"/>
                        </a:cubicBezTo>
                        <a:cubicBezTo>
                          <a:pt x="6" y="15"/>
                          <a:pt x="6" y="15"/>
                          <a:pt x="6" y="15"/>
                        </a:cubicBezTo>
                        <a:cubicBezTo>
                          <a:pt x="0" y="19"/>
                          <a:pt x="0" y="19"/>
                          <a:pt x="0" y="19"/>
                        </a:cubicBezTo>
                        <a:cubicBezTo>
                          <a:pt x="2" y="26"/>
                          <a:pt x="2" y="26"/>
                          <a:pt x="2" y="26"/>
                        </a:cubicBezTo>
                        <a:cubicBezTo>
                          <a:pt x="11" y="31"/>
                          <a:pt x="11" y="31"/>
                          <a:pt x="11" y="31"/>
                        </a:cubicBezTo>
                        <a:cubicBezTo>
                          <a:pt x="19" y="32"/>
                          <a:pt x="19" y="32"/>
                          <a:pt x="19" y="32"/>
                        </a:cubicBezTo>
                        <a:cubicBezTo>
                          <a:pt x="37" y="44"/>
                          <a:pt x="37" y="44"/>
                          <a:pt x="37" y="44"/>
                        </a:cubicBezTo>
                        <a:cubicBezTo>
                          <a:pt x="32" y="53"/>
                          <a:pt x="32" y="53"/>
                          <a:pt x="32" y="53"/>
                        </a:cubicBezTo>
                        <a:cubicBezTo>
                          <a:pt x="40" y="58"/>
                          <a:pt x="40" y="58"/>
                          <a:pt x="40" y="58"/>
                        </a:cubicBezTo>
                        <a:cubicBezTo>
                          <a:pt x="41" y="68"/>
                          <a:pt x="41" y="68"/>
                          <a:pt x="41" y="68"/>
                        </a:cubicBezTo>
                        <a:cubicBezTo>
                          <a:pt x="40" y="80"/>
                          <a:pt x="40" y="80"/>
                          <a:pt x="40" y="80"/>
                        </a:cubicBezTo>
                        <a:cubicBezTo>
                          <a:pt x="42" y="91"/>
                          <a:pt x="42" y="91"/>
                          <a:pt x="42" y="91"/>
                        </a:cubicBezTo>
                        <a:cubicBezTo>
                          <a:pt x="50" y="93"/>
                          <a:pt x="50" y="93"/>
                          <a:pt x="50" y="93"/>
                        </a:cubicBezTo>
                        <a:cubicBezTo>
                          <a:pt x="61" y="104"/>
                          <a:pt x="61" y="104"/>
                          <a:pt x="61" y="104"/>
                        </a:cubicBezTo>
                        <a:cubicBezTo>
                          <a:pt x="60" y="109"/>
                          <a:pt x="60" y="109"/>
                          <a:pt x="60" y="109"/>
                        </a:cubicBezTo>
                        <a:cubicBezTo>
                          <a:pt x="61" y="114"/>
                          <a:pt x="61" y="114"/>
                          <a:pt x="61" y="114"/>
                        </a:cubicBezTo>
                        <a:cubicBezTo>
                          <a:pt x="57" y="120"/>
                          <a:pt x="57" y="120"/>
                          <a:pt x="57" y="120"/>
                        </a:cubicBezTo>
                        <a:cubicBezTo>
                          <a:pt x="52" y="120"/>
                          <a:pt x="52" y="120"/>
                          <a:pt x="52" y="120"/>
                        </a:cubicBezTo>
                        <a:cubicBezTo>
                          <a:pt x="47" y="136"/>
                          <a:pt x="47" y="136"/>
                          <a:pt x="47" y="136"/>
                        </a:cubicBezTo>
                        <a:cubicBezTo>
                          <a:pt x="40" y="145"/>
                          <a:pt x="40" y="145"/>
                          <a:pt x="40" y="145"/>
                        </a:cubicBezTo>
                        <a:cubicBezTo>
                          <a:pt x="34" y="147"/>
                          <a:pt x="34" y="147"/>
                          <a:pt x="34" y="147"/>
                        </a:cubicBezTo>
                        <a:cubicBezTo>
                          <a:pt x="31" y="155"/>
                          <a:pt x="31" y="155"/>
                          <a:pt x="31" y="155"/>
                        </a:cubicBezTo>
                        <a:cubicBezTo>
                          <a:pt x="27" y="156"/>
                          <a:pt x="27" y="156"/>
                          <a:pt x="27" y="156"/>
                        </a:cubicBezTo>
                        <a:cubicBezTo>
                          <a:pt x="22" y="161"/>
                          <a:pt x="22" y="161"/>
                          <a:pt x="22" y="161"/>
                        </a:cubicBezTo>
                        <a:cubicBezTo>
                          <a:pt x="19" y="168"/>
                          <a:pt x="19" y="168"/>
                          <a:pt x="19" y="168"/>
                        </a:cubicBezTo>
                        <a:cubicBezTo>
                          <a:pt x="14" y="169"/>
                          <a:pt x="14" y="169"/>
                          <a:pt x="14" y="169"/>
                        </a:cubicBezTo>
                        <a:cubicBezTo>
                          <a:pt x="13" y="175"/>
                          <a:pt x="13" y="175"/>
                          <a:pt x="13" y="175"/>
                        </a:cubicBezTo>
                        <a:cubicBezTo>
                          <a:pt x="6" y="182"/>
                          <a:pt x="6" y="182"/>
                          <a:pt x="6" y="182"/>
                        </a:cubicBezTo>
                        <a:cubicBezTo>
                          <a:pt x="6" y="182"/>
                          <a:pt x="6" y="191"/>
                          <a:pt x="7" y="194"/>
                        </a:cubicBezTo>
                        <a:cubicBezTo>
                          <a:pt x="7" y="197"/>
                          <a:pt x="10" y="209"/>
                          <a:pt x="10" y="209"/>
                        </a:cubicBezTo>
                        <a:cubicBezTo>
                          <a:pt x="13" y="219"/>
                          <a:pt x="13" y="219"/>
                          <a:pt x="13" y="219"/>
                        </a:cubicBezTo>
                        <a:cubicBezTo>
                          <a:pt x="10" y="222"/>
                          <a:pt x="10" y="222"/>
                          <a:pt x="10" y="222"/>
                        </a:cubicBezTo>
                        <a:cubicBezTo>
                          <a:pt x="12" y="242"/>
                          <a:pt x="12" y="242"/>
                          <a:pt x="12" y="242"/>
                        </a:cubicBezTo>
                        <a:cubicBezTo>
                          <a:pt x="18" y="243"/>
                          <a:pt x="18" y="243"/>
                          <a:pt x="18" y="243"/>
                        </a:cubicBezTo>
                        <a:cubicBezTo>
                          <a:pt x="21" y="248"/>
                          <a:pt x="21" y="248"/>
                          <a:pt x="21" y="248"/>
                        </a:cubicBezTo>
                        <a:cubicBezTo>
                          <a:pt x="28" y="248"/>
                          <a:pt x="28" y="248"/>
                          <a:pt x="28" y="248"/>
                        </a:cubicBezTo>
                        <a:cubicBezTo>
                          <a:pt x="29" y="255"/>
                          <a:pt x="29" y="255"/>
                          <a:pt x="29" y="255"/>
                        </a:cubicBezTo>
                        <a:cubicBezTo>
                          <a:pt x="33" y="256"/>
                          <a:pt x="33" y="256"/>
                          <a:pt x="33" y="256"/>
                        </a:cubicBezTo>
                        <a:cubicBezTo>
                          <a:pt x="40" y="254"/>
                          <a:pt x="40" y="254"/>
                          <a:pt x="40" y="254"/>
                        </a:cubicBezTo>
                        <a:cubicBezTo>
                          <a:pt x="43" y="251"/>
                          <a:pt x="43" y="251"/>
                          <a:pt x="43" y="251"/>
                        </a:cubicBezTo>
                        <a:cubicBezTo>
                          <a:pt x="48" y="252"/>
                          <a:pt x="48" y="252"/>
                          <a:pt x="48" y="252"/>
                        </a:cubicBezTo>
                        <a:cubicBezTo>
                          <a:pt x="55" y="248"/>
                          <a:pt x="55" y="248"/>
                          <a:pt x="55" y="248"/>
                        </a:cubicBezTo>
                        <a:cubicBezTo>
                          <a:pt x="64" y="248"/>
                          <a:pt x="64" y="248"/>
                          <a:pt x="64" y="248"/>
                        </a:cubicBezTo>
                        <a:cubicBezTo>
                          <a:pt x="66" y="244"/>
                          <a:pt x="66" y="244"/>
                          <a:pt x="66" y="244"/>
                        </a:cubicBezTo>
                        <a:cubicBezTo>
                          <a:pt x="78" y="242"/>
                          <a:pt x="78" y="242"/>
                          <a:pt x="78" y="242"/>
                        </a:cubicBezTo>
                        <a:cubicBezTo>
                          <a:pt x="81" y="239"/>
                          <a:pt x="81" y="239"/>
                          <a:pt x="81" y="239"/>
                        </a:cubicBezTo>
                        <a:cubicBezTo>
                          <a:pt x="87" y="242"/>
                          <a:pt x="87" y="242"/>
                          <a:pt x="87" y="242"/>
                        </a:cubicBezTo>
                        <a:cubicBezTo>
                          <a:pt x="97" y="236"/>
                          <a:pt x="97" y="236"/>
                          <a:pt x="97" y="236"/>
                        </a:cubicBezTo>
                        <a:cubicBezTo>
                          <a:pt x="100" y="223"/>
                          <a:pt x="100" y="223"/>
                          <a:pt x="100" y="223"/>
                        </a:cubicBezTo>
                        <a:lnTo>
                          <a:pt x="114" y="204"/>
                        </a:lnTo>
                        <a:close/>
                        <a:moveTo>
                          <a:pt x="41" y="216"/>
                        </a:moveTo>
                        <a:cubicBezTo>
                          <a:pt x="41" y="218"/>
                          <a:pt x="45" y="219"/>
                          <a:pt x="43" y="222"/>
                        </a:cubicBezTo>
                        <a:cubicBezTo>
                          <a:pt x="39" y="222"/>
                          <a:pt x="36" y="218"/>
                          <a:pt x="30" y="219"/>
                        </a:cubicBezTo>
                        <a:cubicBezTo>
                          <a:pt x="29" y="216"/>
                          <a:pt x="32" y="213"/>
                          <a:pt x="34" y="212"/>
                        </a:cubicBezTo>
                        <a:cubicBezTo>
                          <a:pt x="34" y="209"/>
                          <a:pt x="34" y="204"/>
                          <a:pt x="37" y="201"/>
                        </a:cubicBezTo>
                        <a:cubicBezTo>
                          <a:pt x="38" y="201"/>
                          <a:pt x="39" y="199"/>
                          <a:pt x="41" y="200"/>
                        </a:cubicBezTo>
                        <a:cubicBezTo>
                          <a:pt x="41" y="203"/>
                          <a:pt x="37" y="203"/>
                          <a:pt x="37" y="206"/>
                        </a:cubicBezTo>
                        <a:cubicBezTo>
                          <a:pt x="37" y="208"/>
                          <a:pt x="37" y="210"/>
                          <a:pt x="39" y="211"/>
                        </a:cubicBezTo>
                        <a:cubicBezTo>
                          <a:pt x="41" y="210"/>
                          <a:pt x="43" y="209"/>
                          <a:pt x="45" y="209"/>
                        </a:cubicBezTo>
                        <a:cubicBezTo>
                          <a:pt x="47" y="212"/>
                          <a:pt x="41" y="212"/>
                          <a:pt x="41" y="216"/>
                        </a:cubicBezTo>
                        <a:close/>
                        <a:moveTo>
                          <a:pt x="57" y="221"/>
                        </a:moveTo>
                        <a:cubicBezTo>
                          <a:pt x="56" y="219"/>
                          <a:pt x="53" y="218"/>
                          <a:pt x="53" y="215"/>
                        </a:cubicBezTo>
                        <a:cubicBezTo>
                          <a:pt x="52" y="209"/>
                          <a:pt x="57" y="206"/>
                          <a:pt x="56" y="200"/>
                        </a:cubicBezTo>
                        <a:cubicBezTo>
                          <a:pt x="60" y="199"/>
                          <a:pt x="57" y="191"/>
                          <a:pt x="62" y="196"/>
                        </a:cubicBezTo>
                        <a:cubicBezTo>
                          <a:pt x="58" y="200"/>
                          <a:pt x="58" y="208"/>
                          <a:pt x="57" y="214"/>
                        </a:cubicBezTo>
                        <a:cubicBezTo>
                          <a:pt x="58" y="220"/>
                          <a:pt x="65" y="217"/>
                          <a:pt x="68" y="220"/>
                        </a:cubicBezTo>
                        <a:cubicBezTo>
                          <a:pt x="66" y="224"/>
                          <a:pt x="60" y="221"/>
                          <a:pt x="57" y="221"/>
                        </a:cubicBezTo>
                        <a:close/>
                        <a:moveTo>
                          <a:pt x="114" y="193"/>
                        </a:moveTo>
                        <a:cubicBezTo>
                          <a:pt x="113" y="195"/>
                          <a:pt x="113" y="198"/>
                          <a:pt x="111" y="197"/>
                        </a:cubicBezTo>
                        <a:cubicBezTo>
                          <a:pt x="107" y="197"/>
                          <a:pt x="106" y="192"/>
                          <a:pt x="105" y="189"/>
                        </a:cubicBezTo>
                        <a:cubicBezTo>
                          <a:pt x="105" y="188"/>
                          <a:pt x="106" y="187"/>
                          <a:pt x="107" y="187"/>
                        </a:cubicBezTo>
                        <a:cubicBezTo>
                          <a:pt x="110" y="188"/>
                          <a:pt x="106" y="193"/>
                          <a:pt x="110" y="195"/>
                        </a:cubicBezTo>
                        <a:cubicBezTo>
                          <a:pt x="114" y="194"/>
                          <a:pt x="109" y="191"/>
                          <a:pt x="110" y="188"/>
                        </a:cubicBezTo>
                        <a:cubicBezTo>
                          <a:pt x="111" y="187"/>
                          <a:pt x="107" y="185"/>
                          <a:pt x="110" y="184"/>
                        </a:cubicBezTo>
                        <a:cubicBezTo>
                          <a:pt x="114" y="185"/>
                          <a:pt x="111" y="191"/>
                          <a:pt x="114" y="193"/>
                        </a:cubicBezTo>
                        <a:close/>
                        <a:moveTo>
                          <a:pt x="107" y="160"/>
                        </a:moveTo>
                        <a:cubicBezTo>
                          <a:pt x="109" y="161"/>
                          <a:pt x="112" y="162"/>
                          <a:pt x="112" y="165"/>
                        </a:cubicBezTo>
                        <a:cubicBezTo>
                          <a:pt x="112" y="167"/>
                          <a:pt x="111" y="168"/>
                          <a:pt x="110" y="167"/>
                        </a:cubicBezTo>
                        <a:cubicBezTo>
                          <a:pt x="106" y="167"/>
                          <a:pt x="104" y="164"/>
                          <a:pt x="102" y="162"/>
                        </a:cubicBezTo>
                        <a:cubicBezTo>
                          <a:pt x="102" y="159"/>
                          <a:pt x="106" y="160"/>
                          <a:pt x="107" y="160"/>
                        </a:cubicBezTo>
                        <a:close/>
                        <a:moveTo>
                          <a:pt x="94" y="188"/>
                        </a:moveTo>
                        <a:cubicBezTo>
                          <a:pt x="88" y="187"/>
                          <a:pt x="90" y="174"/>
                          <a:pt x="85" y="183"/>
                        </a:cubicBezTo>
                        <a:cubicBezTo>
                          <a:pt x="82" y="182"/>
                          <a:pt x="84" y="180"/>
                          <a:pt x="84" y="178"/>
                        </a:cubicBezTo>
                        <a:cubicBezTo>
                          <a:pt x="85" y="176"/>
                          <a:pt x="85" y="176"/>
                          <a:pt x="85" y="176"/>
                        </a:cubicBezTo>
                        <a:cubicBezTo>
                          <a:pt x="87" y="176"/>
                          <a:pt x="87" y="176"/>
                          <a:pt x="87" y="176"/>
                        </a:cubicBezTo>
                        <a:cubicBezTo>
                          <a:pt x="91" y="178"/>
                          <a:pt x="95" y="181"/>
                          <a:pt x="95" y="186"/>
                        </a:cubicBezTo>
                        <a:cubicBezTo>
                          <a:pt x="96" y="187"/>
                          <a:pt x="94" y="187"/>
                          <a:pt x="94" y="188"/>
                        </a:cubicBezTo>
                        <a:close/>
                        <a:moveTo>
                          <a:pt x="88" y="17"/>
                        </a:moveTo>
                        <a:cubicBezTo>
                          <a:pt x="89" y="17"/>
                          <a:pt x="90" y="15"/>
                          <a:pt x="92" y="15"/>
                        </a:cubicBezTo>
                        <a:cubicBezTo>
                          <a:pt x="93" y="17"/>
                          <a:pt x="97" y="21"/>
                          <a:pt x="92" y="22"/>
                        </a:cubicBezTo>
                        <a:cubicBezTo>
                          <a:pt x="88" y="23"/>
                          <a:pt x="86" y="27"/>
                          <a:pt x="81" y="25"/>
                        </a:cubicBezTo>
                        <a:cubicBezTo>
                          <a:pt x="80" y="24"/>
                          <a:pt x="78" y="23"/>
                          <a:pt x="79" y="22"/>
                        </a:cubicBezTo>
                        <a:cubicBezTo>
                          <a:pt x="82" y="20"/>
                          <a:pt x="86" y="19"/>
                          <a:pt x="88" y="17"/>
                        </a:cubicBezTo>
                        <a:close/>
                        <a:moveTo>
                          <a:pt x="80" y="39"/>
                        </a:moveTo>
                        <a:cubicBezTo>
                          <a:pt x="83" y="40"/>
                          <a:pt x="88" y="38"/>
                          <a:pt x="89" y="40"/>
                        </a:cubicBezTo>
                        <a:cubicBezTo>
                          <a:pt x="88" y="42"/>
                          <a:pt x="86" y="43"/>
                          <a:pt x="84" y="43"/>
                        </a:cubicBezTo>
                        <a:cubicBezTo>
                          <a:pt x="81" y="44"/>
                          <a:pt x="79" y="42"/>
                          <a:pt x="78" y="40"/>
                        </a:cubicBezTo>
                        <a:cubicBezTo>
                          <a:pt x="77" y="40"/>
                          <a:pt x="79" y="38"/>
                          <a:pt x="80" y="39"/>
                        </a:cubicBezTo>
                        <a:close/>
                        <a:moveTo>
                          <a:pt x="77" y="137"/>
                        </a:moveTo>
                        <a:cubicBezTo>
                          <a:pt x="74" y="134"/>
                          <a:pt x="71" y="129"/>
                          <a:pt x="74" y="127"/>
                        </a:cubicBezTo>
                        <a:cubicBezTo>
                          <a:pt x="76" y="127"/>
                          <a:pt x="75" y="131"/>
                          <a:pt x="78" y="129"/>
                        </a:cubicBezTo>
                        <a:cubicBezTo>
                          <a:pt x="78" y="135"/>
                          <a:pt x="86" y="130"/>
                          <a:pt x="83" y="135"/>
                        </a:cubicBezTo>
                        <a:cubicBezTo>
                          <a:pt x="81" y="137"/>
                          <a:pt x="79" y="138"/>
                          <a:pt x="77" y="137"/>
                        </a:cubicBezTo>
                        <a:close/>
                        <a:moveTo>
                          <a:pt x="78" y="169"/>
                        </a:moveTo>
                        <a:cubicBezTo>
                          <a:pt x="78" y="167"/>
                          <a:pt x="77" y="165"/>
                          <a:pt x="79" y="164"/>
                        </a:cubicBezTo>
                        <a:cubicBezTo>
                          <a:pt x="81" y="166"/>
                          <a:pt x="80" y="169"/>
                          <a:pt x="82" y="171"/>
                        </a:cubicBezTo>
                        <a:cubicBezTo>
                          <a:pt x="83" y="172"/>
                          <a:pt x="88" y="168"/>
                          <a:pt x="88" y="172"/>
                        </a:cubicBezTo>
                        <a:cubicBezTo>
                          <a:pt x="88" y="173"/>
                          <a:pt x="87" y="174"/>
                          <a:pt x="86" y="175"/>
                        </a:cubicBezTo>
                        <a:cubicBezTo>
                          <a:pt x="84" y="175"/>
                          <a:pt x="84" y="175"/>
                          <a:pt x="84" y="175"/>
                        </a:cubicBezTo>
                        <a:cubicBezTo>
                          <a:pt x="81" y="174"/>
                          <a:pt x="78" y="172"/>
                          <a:pt x="78" y="169"/>
                        </a:cubicBezTo>
                        <a:close/>
                        <a:moveTo>
                          <a:pt x="97" y="218"/>
                        </a:moveTo>
                        <a:cubicBezTo>
                          <a:pt x="95" y="220"/>
                          <a:pt x="91" y="221"/>
                          <a:pt x="88" y="220"/>
                        </a:cubicBezTo>
                        <a:cubicBezTo>
                          <a:pt x="85" y="217"/>
                          <a:pt x="78" y="216"/>
                          <a:pt x="82" y="210"/>
                        </a:cubicBezTo>
                        <a:cubicBezTo>
                          <a:pt x="84" y="209"/>
                          <a:pt x="84" y="209"/>
                          <a:pt x="84" y="209"/>
                        </a:cubicBezTo>
                        <a:cubicBezTo>
                          <a:pt x="86" y="210"/>
                          <a:pt x="88" y="209"/>
                          <a:pt x="89" y="211"/>
                        </a:cubicBezTo>
                        <a:cubicBezTo>
                          <a:pt x="92" y="210"/>
                          <a:pt x="93" y="205"/>
                          <a:pt x="96" y="206"/>
                        </a:cubicBezTo>
                        <a:cubicBezTo>
                          <a:pt x="97" y="210"/>
                          <a:pt x="99" y="214"/>
                          <a:pt x="97" y="218"/>
                        </a:cubicBezTo>
                        <a:close/>
                        <a:moveTo>
                          <a:pt x="97" y="202"/>
                        </a:moveTo>
                        <a:cubicBezTo>
                          <a:pt x="95" y="200"/>
                          <a:pt x="92" y="198"/>
                          <a:pt x="91" y="195"/>
                        </a:cubicBezTo>
                        <a:cubicBezTo>
                          <a:pt x="91" y="193"/>
                          <a:pt x="91" y="192"/>
                          <a:pt x="92" y="190"/>
                        </a:cubicBezTo>
                        <a:cubicBezTo>
                          <a:pt x="93" y="190"/>
                          <a:pt x="94" y="191"/>
                          <a:pt x="94" y="191"/>
                        </a:cubicBezTo>
                        <a:cubicBezTo>
                          <a:pt x="93" y="193"/>
                          <a:pt x="93" y="195"/>
                          <a:pt x="95" y="196"/>
                        </a:cubicBezTo>
                        <a:cubicBezTo>
                          <a:pt x="97" y="197"/>
                          <a:pt x="100" y="199"/>
                          <a:pt x="101" y="202"/>
                        </a:cubicBezTo>
                        <a:cubicBezTo>
                          <a:pt x="103" y="203"/>
                          <a:pt x="105" y="197"/>
                          <a:pt x="107" y="202"/>
                        </a:cubicBezTo>
                        <a:cubicBezTo>
                          <a:pt x="106" y="205"/>
                          <a:pt x="106" y="210"/>
                          <a:pt x="102" y="211"/>
                        </a:cubicBezTo>
                        <a:cubicBezTo>
                          <a:pt x="98" y="211"/>
                          <a:pt x="99" y="205"/>
                          <a:pt x="97" y="202"/>
                        </a:cubicBez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4" name="Freeform 39"/>
                  <p:cNvSpPr>
                    <a:spLocks noChangeAspect="1" noEditPoints="1"/>
                  </p:cNvSpPr>
                  <p:nvPr/>
                </p:nvSpPr>
                <p:spPr bwMode="gray">
                  <a:xfrm>
                    <a:off x="2941" y="-68"/>
                    <a:ext cx="534" cy="351"/>
                  </a:xfrm>
                  <a:custGeom>
                    <a:avLst/>
                    <a:gdLst>
                      <a:gd name="T0" fmla="*/ 8 w 71"/>
                      <a:gd name="T1" fmla="*/ 24 h 46"/>
                      <a:gd name="T2" fmla="*/ 0 w 71"/>
                      <a:gd name="T3" fmla="*/ 29 h 46"/>
                      <a:gd name="T4" fmla="*/ 2 w 71"/>
                      <a:gd name="T5" fmla="*/ 38 h 46"/>
                      <a:gd name="T6" fmla="*/ 6 w 71"/>
                      <a:gd name="T7" fmla="*/ 38 h 46"/>
                      <a:gd name="T8" fmla="*/ 8 w 71"/>
                      <a:gd name="T9" fmla="*/ 34 h 46"/>
                      <a:gd name="T10" fmla="*/ 17 w 71"/>
                      <a:gd name="T11" fmla="*/ 29 h 46"/>
                      <a:gd name="T12" fmla="*/ 15 w 71"/>
                      <a:gd name="T13" fmla="*/ 26 h 46"/>
                      <a:gd name="T14" fmla="*/ 8 w 71"/>
                      <a:gd name="T15" fmla="*/ 24 h 46"/>
                      <a:gd name="T16" fmla="*/ 12 w 71"/>
                      <a:gd name="T17" fmla="*/ 16 h 46"/>
                      <a:gd name="T18" fmla="*/ 11 w 71"/>
                      <a:gd name="T19" fmla="*/ 13 h 46"/>
                      <a:gd name="T20" fmla="*/ 8 w 71"/>
                      <a:gd name="T21" fmla="*/ 13 h 46"/>
                      <a:gd name="T22" fmla="*/ 3 w 71"/>
                      <a:gd name="T23" fmla="*/ 15 h 46"/>
                      <a:gd name="T24" fmla="*/ 6 w 71"/>
                      <a:gd name="T25" fmla="*/ 19 h 46"/>
                      <a:gd name="T26" fmla="*/ 12 w 71"/>
                      <a:gd name="T27" fmla="*/ 16 h 46"/>
                      <a:gd name="T28" fmla="*/ 66 w 71"/>
                      <a:gd name="T29" fmla="*/ 33 h 46"/>
                      <a:gd name="T30" fmla="*/ 66 w 71"/>
                      <a:gd name="T31" fmla="*/ 11 h 46"/>
                      <a:gd name="T32" fmla="*/ 69 w 71"/>
                      <a:gd name="T33" fmla="*/ 9 h 46"/>
                      <a:gd name="T34" fmla="*/ 70 w 71"/>
                      <a:gd name="T35" fmla="*/ 4 h 46"/>
                      <a:gd name="T36" fmla="*/ 54 w 71"/>
                      <a:gd name="T37" fmla="*/ 1 h 46"/>
                      <a:gd name="T38" fmla="*/ 49 w 71"/>
                      <a:gd name="T39" fmla="*/ 0 h 46"/>
                      <a:gd name="T40" fmla="*/ 42 w 71"/>
                      <a:gd name="T41" fmla="*/ 4 h 46"/>
                      <a:gd name="T42" fmla="*/ 32 w 71"/>
                      <a:gd name="T43" fmla="*/ 2 h 46"/>
                      <a:gd name="T44" fmla="*/ 18 w 71"/>
                      <a:gd name="T45" fmla="*/ 14 h 46"/>
                      <a:gd name="T46" fmla="*/ 17 w 71"/>
                      <a:gd name="T47" fmla="*/ 16 h 46"/>
                      <a:gd name="T48" fmla="*/ 23 w 71"/>
                      <a:gd name="T49" fmla="*/ 20 h 46"/>
                      <a:gd name="T50" fmla="*/ 22 w 71"/>
                      <a:gd name="T51" fmla="*/ 31 h 46"/>
                      <a:gd name="T52" fmla="*/ 28 w 71"/>
                      <a:gd name="T53" fmla="*/ 33 h 46"/>
                      <a:gd name="T54" fmla="*/ 31 w 71"/>
                      <a:gd name="T55" fmla="*/ 38 h 46"/>
                      <a:gd name="T56" fmla="*/ 39 w 71"/>
                      <a:gd name="T57" fmla="*/ 37 h 46"/>
                      <a:gd name="T58" fmla="*/ 46 w 71"/>
                      <a:gd name="T59" fmla="*/ 37 h 46"/>
                      <a:gd name="T60" fmla="*/ 50 w 71"/>
                      <a:gd name="T61" fmla="*/ 43 h 46"/>
                      <a:gd name="T62" fmla="*/ 57 w 71"/>
                      <a:gd name="T63" fmla="*/ 46 h 46"/>
                      <a:gd name="T64" fmla="*/ 71 w 71"/>
                      <a:gd name="T65" fmla="*/ 45 h 46"/>
                      <a:gd name="T66" fmla="*/ 71 w 71"/>
                      <a:gd name="T67" fmla="*/ 35 h 46"/>
                      <a:gd name="T68" fmla="*/ 66 w 71"/>
                      <a:gd name="T69"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46">
                        <a:moveTo>
                          <a:pt x="8" y="24"/>
                        </a:moveTo>
                        <a:cubicBezTo>
                          <a:pt x="0" y="29"/>
                          <a:pt x="0" y="29"/>
                          <a:pt x="0" y="29"/>
                        </a:cubicBezTo>
                        <a:cubicBezTo>
                          <a:pt x="2" y="38"/>
                          <a:pt x="2" y="38"/>
                          <a:pt x="2" y="38"/>
                        </a:cubicBezTo>
                        <a:cubicBezTo>
                          <a:pt x="6" y="38"/>
                          <a:pt x="6" y="38"/>
                          <a:pt x="6" y="38"/>
                        </a:cubicBezTo>
                        <a:cubicBezTo>
                          <a:pt x="8" y="34"/>
                          <a:pt x="8" y="34"/>
                          <a:pt x="8" y="34"/>
                        </a:cubicBezTo>
                        <a:cubicBezTo>
                          <a:pt x="17" y="29"/>
                          <a:pt x="17" y="29"/>
                          <a:pt x="17" y="29"/>
                        </a:cubicBezTo>
                        <a:cubicBezTo>
                          <a:pt x="15" y="26"/>
                          <a:pt x="15" y="26"/>
                          <a:pt x="15" y="26"/>
                        </a:cubicBezTo>
                        <a:lnTo>
                          <a:pt x="8" y="24"/>
                        </a:lnTo>
                        <a:close/>
                        <a:moveTo>
                          <a:pt x="12" y="16"/>
                        </a:moveTo>
                        <a:cubicBezTo>
                          <a:pt x="11" y="13"/>
                          <a:pt x="11" y="13"/>
                          <a:pt x="11" y="13"/>
                        </a:cubicBezTo>
                        <a:cubicBezTo>
                          <a:pt x="8" y="13"/>
                          <a:pt x="8" y="13"/>
                          <a:pt x="8" y="13"/>
                        </a:cubicBezTo>
                        <a:cubicBezTo>
                          <a:pt x="3" y="15"/>
                          <a:pt x="3" y="15"/>
                          <a:pt x="3" y="15"/>
                        </a:cubicBezTo>
                        <a:cubicBezTo>
                          <a:pt x="6" y="19"/>
                          <a:pt x="6" y="19"/>
                          <a:pt x="6" y="19"/>
                        </a:cubicBezTo>
                        <a:lnTo>
                          <a:pt x="12" y="16"/>
                        </a:lnTo>
                        <a:close/>
                        <a:moveTo>
                          <a:pt x="66" y="33"/>
                        </a:moveTo>
                        <a:cubicBezTo>
                          <a:pt x="61" y="26"/>
                          <a:pt x="66" y="19"/>
                          <a:pt x="66" y="11"/>
                        </a:cubicBezTo>
                        <a:cubicBezTo>
                          <a:pt x="66" y="10"/>
                          <a:pt x="68" y="9"/>
                          <a:pt x="69" y="9"/>
                        </a:cubicBezTo>
                        <a:cubicBezTo>
                          <a:pt x="70" y="4"/>
                          <a:pt x="70" y="4"/>
                          <a:pt x="70" y="4"/>
                        </a:cubicBezTo>
                        <a:cubicBezTo>
                          <a:pt x="54" y="1"/>
                          <a:pt x="54" y="1"/>
                          <a:pt x="54" y="1"/>
                        </a:cubicBezTo>
                        <a:cubicBezTo>
                          <a:pt x="49" y="0"/>
                          <a:pt x="49" y="0"/>
                          <a:pt x="49" y="0"/>
                        </a:cubicBezTo>
                        <a:cubicBezTo>
                          <a:pt x="42" y="4"/>
                          <a:pt x="42" y="4"/>
                          <a:pt x="42" y="4"/>
                        </a:cubicBezTo>
                        <a:cubicBezTo>
                          <a:pt x="32" y="2"/>
                          <a:pt x="32" y="2"/>
                          <a:pt x="32" y="2"/>
                        </a:cubicBezTo>
                        <a:cubicBezTo>
                          <a:pt x="18" y="14"/>
                          <a:pt x="18" y="14"/>
                          <a:pt x="18" y="14"/>
                        </a:cubicBezTo>
                        <a:cubicBezTo>
                          <a:pt x="17" y="16"/>
                          <a:pt x="17" y="16"/>
                          <a:pt x="17" y="16"/>
                        </a:cubicBezTo>
                        <a:cubicBezTo>
                          <a:pt x="23" y="20"/>
                          <a:pt x="23" y="20"/>
                          <a:pt x="23" y="20"/>
                        </a:cubicBezTo>
                        <a:cubicBezTo>
                          <a:pt x="22" y="31"/>
                          <a:pt x="22" y="31"/>
                          <a:pt x="22" y="31"/>
                        </a:cubicBezTo>
                        <a:cubicBezTo>
                          <a:pt x="28" y="33"/>
                          <a:pt x="28" y="33"/>
                          <a:pt x="28" y="33"/>
                        </a:cubicBezTo>
                        <a:cubicBezTo>
                          <a:pt x="31" y="38"/>
                          <a:pt x="31" y="38"/>
                          <a:pt x="31" y="38"/>
                        </a:cubicBezTo>
                        <a:cubicBezTo>
                          <a:pt x="39" y="37"/>
                          <a:pt x="39" y="37"/>
                          <a:pt x="39" y="37"/>
                        </a:cubicBezTo>
                        <a:cubicBezTo>
                          <a:pt x="46" y="37"/>
                          <a:pt x="46" y="37"/>
                          <a:pt x="46" y="37"/>
                        </a:cubicBezTo>
                        <a:cubicBezTo>
                          <a:pt x="50" y="43"/>
                          <a:pt x="50" y="43"/>
                          <a:pt x="50" y="43"/>
                        </a:cubicBezTo>
                        <a:cubicBezTo>
                          <a:pt x="57" y="46"/>
                          <a:pt x="57" y="46"/>
                          <a:pt x="57" y="46"/>
                        </a:cubicBezTo>
                        <a:cubicBezTo>
                          <a:pt x="71" y="45"/>
                          <a:pt x="71" y="45"/>
                          <a:pt x="71" y="45"/>
                        </a:cubicBezTo>
                        <a:cubicBezTo>
                          <a:pt x="71" y="35"/>
                          <a:pt x="71" y="35"/>
                          <a:pt x="71" y="35"/>
                        </a:cubicBezTo>
                        <a:cubicBezTo>
                          <a:pt x="69" y="37"/>
                          <a:pt x="67" y="34"/>
                          <a:pt x="66" y="33"/>
                        </a:cubicBez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5" name="Freeform 40"/>
                  <p:cNvSpPr>
                    <a:spLocks noChangeAspect="1"/>
                  </p:cNvSpPr>
                  <p:nvPr/>
                </p:nvSpPr>
                <p:spPr bwMode="gray">
                  <a:xfrm>
                    <a:off x="2825" y="214"/>
                    <a:ext cx="680" cy="430"/>
                  </a:xfrm>
                  <a:custGeom>
                    <a:avLst/>
                    <a:gdLst>
                      <a:gd name="T0" fmla="*/ 47 w 111"/>
                      <a:gd name="T1" fmla="*/ 46 h 70"/>
                      <a:gd name="T2" fmla="*/ 75 w 111"/>
                      <a:gd name="T3" fmla="*/ 52 h 70"/>
                      <a:gd name="T4" fmla="*/ 89 w 111"/>
                      <a:gd name="T5" fmla="*/ 70 h 70"/>
                      <a:gd name="T6" fmla="*/ 97 w 111"/>
                      <a:gd name="T7" fmla="*/ 70 h 70"/>
                      <a:gd name="T8" fmla="*/ 111 w 111"/>
                      <a:gd name="T9" fmla="*/ 55 h 70"/>
                      <a:gd name="T10" fmla="*/ 111 w 111"/>
                      <a:gd name="T11" fmla="*/ 34 h 70"/>
                      <a:gd name="T12" fmla="*/ 105 w 111"/>
                      <a:gd name="T13" fmla="*/ 25 h 70"/>
                      <a:gd name="T14" fmla="*/ 106 w 111"/>
                      <a:gd name="T15" fmla="*/ 10 h 70"/>
                      <a:gd name="T16" fmla="*/ 89 w 111"/>
                      <a:gd name="T17" fmla="*/ 11 h 70"/>
                      <a:gd name="T18" fmla="*/ 80 w 111"/>
                      <a:gd name="T19" fmla="*/ 7 h 70"/>
                      <a:gd name="T20" fmla="*/ 75 w 111"/>
                      <a:gd name="T21" fmla="*/ 0 h 70"/>
                      <a:gd name="T22" fmla="*/ 67 w 111"/>
                      <a:gd name="T23" fmla="*/ 0 h 70"/>
                      <a:gd name="T24" fmla="*/ 57 w 111"/>
                      <a:gd name="T25" fmla="*/ 1 h 70"/>
                      <a:gd name="T26" fmla="*/ 57 w 111"/>
                      <a:gd name="T27" fmla="*/ 3 h 70"/>
                      <a:gd name="T28" fmla="*/ 58 w 111"/>
                      <a:gd name="T29" fmla="*/ 11 h 70"/>
                      <a:gd name="T30" fmla="*/ 54 w 111"/>
                      <a:gd name="T31" fmla="*/ 29 h 70"/>
                      <a:gd name="T32" fmla="*/ 45 w 111"/>
                      <a:gd name="T33" fmla="*/ 30 h 70"/>
                      <a:gd name="T34" fmla="*/ 35 w 111"/>
                      <a:gd name="T35" fmla="*/ 18 h 70"/>
                      <a:gd name="T36" fmla="*/ 30 w 111"/>
                      <a:gd name="T37" fmla="*/ 8 h 70"/>
                      <a:gd name="T38" fmla="*/ 20 w 111"/>
                      <a:gd name="T39" fmla="*/ 13 h 70"/>
                      <a:gd name="T40" fmla="*/ 10 w 111"/>
                      <a:gd name="T41" fmla="*/ 16 h 70"/>
                      <a:gd name="T42" fmla="*/ 10 w 111"/>
                      <a:gd name="T43" fmla="*/ 32 h 70"/>
                      <a:gd name="T44" fmla="*/ 3 w 111"/>
                      <a:gd name="T45" fmla="*/ 40 h 70"/>
                      <a:gd name="T46" fmla="*/ 0 w 111"/>
                      <a:gd name="T47" fmla="*/ 48 h 70"/>
                      <a:gd name="T48" fmla="*/ 5 w 111"/>
                      <a:gd name="T49" fmla="*/ 55 h 70"/>
                      <a:gd name="T50" fmla="*/ 13 w 111"/>
                      <a:gd name="T51" fmla="*/ 46 h 70"/>
                      <a:gd name="T52" fmla="*/ 47 w 111"/>
                      <a:gd name="T53" fmla="*/ 46 h 70"/>
                      <a:gd name="T54" fmla="*/ 47 w 111"/>
                      <a:gd name="T5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1" h="70">
                        <a:moveTo>
                          <a:pt x="47" y="46"/>
                        </a:moveTo>
                        <a:lnTo>
                          <a:pt x="75" y="52"/>
                        </a:lnTo>
                        <a:lnTo>
                          <a:pt x="89" y="70"/>
                        </a:lnTo>
                        <a:lnTo>
                          <a:pt x="97" y="70"/>
                        </a:lnTo>
                        <a:lnTo>
                          <a:pt x="111" y="55"/>
                        </a:lnTo>
                        <a:lnTo>
                          <a:pt x="111" y="34"/>
                        </a:lnTo>
                        <a:lnTo>
                          <a:pt x="105" y="25"/>
                        </a:lnTo>
                        <a:lnTo>
                          <a:pt x="106" y="10"/>
                        </a:lnTo>
                        <a:lnTo>
                          <a:pt x="89" y="11"/>
                        </a:lnTo>
                        <a:lnTo>
                          <a:pt x="80" y="7"/>
                        </a:lnTo>
                        <a:lnTo>
                          <a:pt x="75" y="0"/>
                        </a:lnTo>
                        <a:lnTo>
                          <a:pt x="67" y="0"/>
                        </a:lnTo>
                        <a:lnTo>
                          <a:pt x="57" y="1"/>
                        </a:lnTo>
                        <a:lnTo>
                          <a:pt x="57" y="3"/>
                        </a:lnTo>
                        <a:lnTo>
                          <a:pt x="58" y="11"/>
                        </a:lnTo>
                        <a:lnTo>
                          <a:pt x="54" y="29"/>
                        </a:lnTo>
                        <a:lnTo>
                          <a:pt x="45" y="30"/>
                        </a:lnTo>
                        <a:lnTo>
                          <a:pt x="35" y="18"/>
                        </a:lnTo>
                        <a:lnTo>
                          <a:pt x="30" y="8"/>
                        </a:lnTo>
                        <a:lnTo>
                          <a:pt x="20" y="13"/>
                        </a:lnTo>
                        <a:lnTo>
                          <a:pt x="10" y="16"/>
                        </a:lnTo>
                        <a:lnTo>
                          <a:pt x="10" y="32"/>
                        </a:lnTo>
                        <a:lnTo>
                          <a:pt x="3" y="40"/>
                        </a:lnTo>
                        <a:lnTo>
                          <a:pt x="0" y="48"/>
                        </a:lnTo>
                        <a:lnTo>
                          <a:pt x="5" y="55"/>
                        </a:lnTo>
                        <a:lnTo>
                          <a:pt x="13" y="46"/>
                        </a:lnTo>
                        <a:lnTo>
                          <a:pt x="47" y="46"/>
                        </a:lnTo>
                        <a:lnTo>
                          <a:pt x="47" y="46"/>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6" name="Freeform 41"/>
                  <p:cNvSpPr>
                    <a:spLocks noChangeAspect="1"/>
                  </p:cNvSpPr>
                  <p:nvPr/>
                </p:nvSpPr>
                <p:spPr bwMode="gray">
                  <a:xfrm>
                    <a:off x="2212" y="760"/>
                    <a:ext cx="957" cy="885"/>
                  </a:xfrm>
                  <a:custGeom>
                    <a:avLst/>
                    <a:gdLst>
                      <a:gd name="T0" fmla="*/ 156 w 156"/>
                      <a:gd name="T1" fmla="*/ 108 h 144"/>
                      <a:gd name="T2" fmla="*/ 153 w 156"/>
                      <a:gd name="T3" fmla="*/ 89 h 144"/>
                      <a:gd name="T4" fmla="*/ 151 w 156"/>
                      <a:gd name="T5" fmla="*/ 75 h 144"/>
                      <a:gd name="T6" fmla="*/ 140 w 156"/>
                      <a:gd name="T7" fmla="*/ 64 h 144"/>
                      <a:gd name="T8" fmla="*/ 151 w 156"/>
                      <a:gd name="T9" fmla="*/ 52 h 144"/>
                      <a:gd name="T10" fmla="*/ 143 w 156"/>
                      <a:gd name="T11" fmla="*/ 35 h 144"/>
                      <a:gd name="T12" fmla="*/ 143 w 156"/>
                      <a:gd name="T13" fmla="*/ 19 h 144"/>
                      <a:gd name="T14" fmla="*/ 140 w 156"/>
                      <a:gd name="T15" fmla="*/ 12 h 144"/>
                      <a:gd name="T16" fmla="*/ 133 w 156"/>
                      <a:gd name="T17" fmla="*/ 14 h 144"/>
                      <a:gd name="T18" fmla="*/ 111 w 156"/>
                      <a:gd name="T19" fmla="*/ 15 h 144"/>
                      <a:gd name="T20" fmla="*/ 98 w 156"/>
                      <a:gd name="T21" fmla="*/ 12 h 144"/>
                      <a:gd name="T22" fmla="*/ 89 w 156"/>
                      <a:gd name="T23" fmla="*/ 11 h 144"/>
                      <a:gd name="T24" fmla="*/ 86 w 156"/>
                      <a:gd name="T25" fmla="*/ 10 h 144"/>
                      <a:gd name="T26" fmla="*/ 77 w 156"/>
                      <a:gd name="T27" fmla="*/ 16 h 144"/>
                      <a:gd name="T28" fmla="*/ 72 w 156"/>
                      <a:gd name="T29" fmla="*/ 15 h 144"/>
                      <a:gd name="T30" fmla="*/ 67 w 156"/>
                      <a:gd name="T31" fmla="*/ 14 h 144"/>
                      <a:gd name="T32" fmla="*/ 66 w 156"/>
                      <a:gd name="T33" fmla="*/ 4 h 144"/>
                      <a:gd name="T34" fmla="*/ 50 w 156"/>
                      <a:gd name="T35" fmla="*/ 0 h 144"/>
                      <a:gd name="T36" fmla="*/ 44 w 156"/>
                      <a:gd name="T37" fmla="*/ 6 h 144"/>
                      <a:gd name="T38" fmla="*/ 33 w 156"/>
                      <a:gd name="T39" fmla="*/ 10 h 144"/>
                      <a:gd name="T40" fmla="*/ 21 w 156"/>
                      <a:gd name="T41" fmla="*/ 20 h 144"/>
                      <a:gd name="T42" fmla="*/ 10 w 156"/>
                      <a:gd name="T43" fmla="*/ 21 h 144"/>
                      <a:gd name="T44" fmla="*/ 0 w 156"/>
                      <a:gd name="T45" fmla="*/ 26 h 144"/>
                      <a:gd name="T46" fmla="*/ 2 w 156"/>
                      <a:gd name="T47" fmla="*/ 38 h 144"/>
                      <a:gd name="T48" fmla="*/ 1 w 156"/>
                      <a:gd name="T49" fmla="*/ 57 h 144"/>
                      <a:gd name="T50" fmla="*/ 13 w 156"/>
                      <a:gd name="T51" fmla="*/ 97 h 144"/>
                      <a:gd name="T52" fmla="*/ 23 w 156"/>
                      <a:gd name="T53" fmla="*/ 100 h 144"/>
                      <a:gd name="T54" fmla="*/ 33 w 156"/>
                      <a:gd name="T55" fmla="*/ 115 h 144"/>
                      <a:gd name="T56" fmla="*/ 44 w 156"/>
                      <a:gd name="T57" fmla="*/ 113 h 144"/>
                      <a:gd name="T58" fmla="*/ 67 w 156"/>
                      <a:gd name="T59" fmla="*/ 134 h 144"/>
                      <a:gd name="T60" fmla="*/ 75 w 156"/>
                      <a:gd name="T61" fmla="*/ 134 h 144"/>
                      <a:gd name="T62" fmla="*/ 87 w 156"/>
                      <a:gd name="T63" fmla="*/ 140 h 144"/>
                      <a:gd name="T64" fmla="*/ 118 w 156"/>
                      <a:gd name="T65" fmla="*/ 135 h 144"/>
                      <a:gd name="T66" fmla="*/ 127 w 156"/>
                      <a:gd name="T67" fmla="*/ 144 h 144"/>
                      <a:gd name="T68" fmla="*/ 135 w 156"/>
                      <a:gd name="T69" fmla="*/ 138 h 144"/>
                      <a:gd name="T70" fmla="*/ 133 w 156"/>
                      <a:gd name="T71" fmla="*/ 131 h 144"/>
                      <a:gd name="T72" fmla="*/ 156 w 156"/>
                      <a:gd name="T73" fmla="*/ 108 h 144"/>
                      <a:gd name="T74" fmla="*/ 156 w 156"/>
                      <a:gd name="T75"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44">
                        <a:moveTo>
                          <a:pt x="156" y="108"/>
                        </a:moveTo>
                        <a:lnTo>
                          <a:pt x="153" y="89"/>
                        </a:lnTo>
                        <a:lnTo>
                          <a:pt x="151" y="75"/>
                        </a:lnTo>
                        <a:lnTo>
                          <a:pt x="140" y="64"/>
                        </a:lnTo>
                        <a:lnTo>
                          <a:pt x="151" y="52"/>
                        </a:lnTo>
                        <a:lnTo>
                          <a:pt x="143" y="35"/>
                        </a:lnTo>
                        <a:lnTo>
                          <a:pt x="143" y="19"/>
                        </a:lnTo>
                        <a:lnTo>
                          <a:pt x="140" y="12"/>
                        </a:lnTo>
                        <a:lnTo>
                          <a:pt x="133" y="14"/>
                        </a:lnTo>
                        <a:lnTo>
                          <a:pt x="111" y="15"/>
                        </a:lnTo>
                        <a:lnTo>
                          <a:pt x="98" y="12"/>
                        </a:lnTo>
                        <a:lnTo>
                          <a:pt x="89" y="11"/>
                        </a:lnTo>
                        <a:lnTo>
                          <a:pt x="86" y="10"/>
                        </a:lnTo>
                        <a:lnTo>
                          <a:pt x="77" y="16"/>
                        </a:lnTo>
                        <a:lnTo>
                          <a:pt x="72" y="15"/>
                        </a:lnTo>
                        <a:lnTo>
                          <a:pt x="67" y="14"/>
                        </a:lnTo>
                        <a:lnTo>
                          <a:pt x="66" y="4"/>
                        </a:lnTo>
                        <a:lnTo>
                          <a:pt x="50" y="0"/>
                        </a:lnTo>
                        <a:lnTo>
                          <a:pt x="44" y="6"/>
                        </a:lnTo>
                        <a:lnTo>
                          <a:pt x="33" y="10"/>
                        </a:lnTo>
                        <a:lnTo>
                          <a:pt x="21" y="20"/>
                        </a:lnTo>
                        <a:lnTo>
                          <a:pt x="10" y="21"/>
                        </a:lnTo>
                        <a:lnTo>
                          <a:pt x="0" y="26"/>
                        </a:lnTo>
                        <a:lnTo>
                          <a:pt x="2" y="38"/>
                        </a:lnTo>
                        <a:lnTo>
                          <a:pt x="1" y="57"/>
                        </a:lnTo>
                        <a:lnTo>
                          <a:pt x="13" y="97"/>
                        </a:lnTo>
                        <a:lnTo>
                          <a:pt x="23" y="100"/>
                        </a:lnTo>
                        <a:lnTo>
                          <a:pt x="33" y="115"/>
                        </a:lnTo>
                        <a:lnTo>
                          <a:pt x="44" y="113"/>
                        </a:lnTo>
                        <a:lnTo>
                          <a:pt x="67" y="134"/>
                        </a:lnTo>
                        <a:lnTo>
                          <a:pt x="75" y="134"/>
                        </a:lnTo>
                        <a:lnTo>
                          <a:pt x="87" y="140"/>
                        </a:lnTo>
                        <a:lnTo>
                          <a:pt x="118" y="135"/>
                        </a:lnTo>
                        <a:lnTo>
                          <a:pt x="127" y="144"/>
                        </a:lnTo>
                        <a:lnTo>
                          <a:pt x="135" y="138"/>
                        </a:lnTo>
                        <a:lnTo>
                          <a:pt x="133" y="131"/>
                        </a:lnTo>
                        <a:lnTo>
                          <a:pt x="156" y="108"/>
                        </a:lnTo>
                        <a:lnTo>
                          <a:pt x="156" y="108"/>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7" name="Freeform 42"/>
                  <p:cNvSpPr>
                    <a:spLocks noChangeAspect="1"/>
                  </p:cNvSpPr>
                  <p:nvPr/>
                </p:nvSpPr>
                <p:spPr bwMode="gray">
                  <a:xfrm>
                    <a:off x="-5" y="2619"/>
                    <a:ext cx="275" cy="635"/>
                  </a:xfrm>
                  <a:custGeom>
                    <a:avLst/>
                    <a:gdLst>
                      <a:gd name="T0" fmla="*/ 39 w 45"/>
                      <a:gd name="T1" fmla="*/ 0 h 104"/>
                      <a:gd name="T2" fmla="*/ 33 w 45"/>
                      <a:gd name="T3" fmla="*/ 4 h 104"/>
                      <a:gd name="T4" fmla="*/ 18 w 45"/>
                      <a:gd name="T5" fmla="*/ 5 h 104"/>
                      <a:gd name="T6" fmla="*/ 10 w 45"/>
                      <a:gd name="T7" fmla="*/ 1 h 104"/>
                      <a:gd name="T8" fmla="*/ 7 w 45"/>
                      <a:gd name="T9" fmla="*/ 7 h 104"/>
                      <a:gd name="T10" fmla="*/ 10 w 45"/>
                      <a:gd name="T11" fmla="*/ 16 h 104"/>
                      <a:gd name="T12" fmla="*/ 12 w 45"/>
                      <a:gd name="T13" fmla="*/ 26 h 104"/>
                      <a:gd name="T14" fmla="*/ 10 w 45"/>
                      <a:gd name="T15" fmla="*/ 41 h 104"/>
                      <a:gd name="T16" fmla="*/ 6 w 45"/>
                      <a:gd name="T17" fmla="*/ 44 h 104"/>
                      <a:gd name="T18" fmla="*/ 5 w 45"/>
                      <a:gd name="T19" fmla="*/ 52 h 104"/>
                      <a:gd name="T20" fmla="*/ 0 w 45"/>
                      <a:gd name="T21" fmla="*/ 57 h 104"/>
                      <a:gd name="T22" fmla="*/ 1 w 45"/>
                      <a:gd name="T23" fmla="*/ 72 h 104"/>
                      <a:gd name="T24" fmla="*/ 6 w 45"/>
                      <a:gd name="T25" fmla="*/ 72 h 104"/>
                      <a:gd name="T26" fmla="*/ 7 w 45"/>
                      <a:gd name="T27" fmla="*/ 79 h 104"/>
                      <a:gd name="T28" fmla="*/ 7 w 45"/>
                      <a:gd name="T29" fmla="*/ 93 h 104"/>
                      <a:gd name="T30" fmla="*/ 6 w 45"/>
                      <a:gd name="T31" fmla="*/ 102 h 104"/>
                      <a:gd name="T32" fmla="*/ 14 w 45"/>
                      <a:gd name="T33" fmla="*/ 102 h 104"/>
                      <a:gd name="T34" fmla="*/ 22 w 45"/>
                      <a:gd name="T35" fmla="*/ 104 h 104"/>
                      <a:gd name="T36" fmla="*/ 29 w 45"/>
                      <a:gd name="T37" fmla="*/ 99 h 104"/>
                      <a:gd name="T38" fmla="*/ 29 w 45"/>
                      <a:gd name="T39" fmla="*/ 91 h 104"/>
                      <a:gd name="T40" fmla="*/ 35 w 45"/>
                      <a:gd name="T41" fmla="*/ 82 h 104"/>
                      <a:gd name="T42" fmla="*/ 38 w 45"/>
                      <a:gd name="T43" fmla="*/ 65 h 104"/>
                      <a:gd name="T44" fmla="*/ 33 w 45"/>
                      <a:gd name="T45" fmla="*/ 50 h 104"/>
                      <a:gd name="T46" fmla="*/ 34 w 45"/>
                      <a:gd name="T47" fmla="*/ 49 h 104"/>
                      <a:gd name="T48" fmla="*/ 38 w 45"/>
                      <a:gd name="T49" fmla="*/ 44 h 104"/>
                      <a:gd name="T50" fmla="*/ 39 w 45"/>
                      <a:gd name="T51" fmla="*/ 28 h 104"/>
                      <a:gd name="T52" fmla="*/ 43 w 45"/>
                      <a:gd name="T53" fmla="*/ 22 h 104"/>
                      <a:gd name="T54" fmla="*/ 45 w 45"/>
                      <a:gd name="T55" fmla="*/ 9 h 104"/>
                      <a:gd name="T56" fmla="*/ 39 w 45"/>
                      <a:gd name="T57" fmla="*/ 0 h 104"/>
                      <a:gd name="T58" fmla="*/ 39 w 45"/>
                      <a:gd name="T5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104">
                        <a:moveTo>
                          <a:pt x="39" y="0"/>
                        </a:moveTo>
                        <a:lnTo>
                          <a:pt x="33" y="4"/>
                        </a:lnTo>
                        <a:lnTo>
                          <a:pt x="18" y="5"/>
                        </a:lnTo>
                        <a:lnTo>
                          <a:pt x="10" y="1"/>
                        </a:lnTo>
                        <a:lnTo>
                          <a:pt x="7" y="7"/>
                        </a:lnTo>
                        <a:lnTo>
                          <a:pt x="10" y="16"/>
                        </a:lnTo>
                        <a:lnTo>
                          <a:pt x="12" y="26"/>
                        </a:lnTo>
                        <a:lnTo>
                          <a:pt x="10" y="41"/>
                        </a:lnTo>
                        <a:lnTo>
                          <a:pt x="6" y="44"/>
                        </a:lnTo>
                        <a:lnTo>
                          <a:pt x="5" y="52"/>
                        </a:lnTo>
                        <a:lnTo>
                          <a:pt x="0" y="57"/>
                        </a:lnTo>
                        <a:lnTo>
                          <a:pt x="1" y="72"/>
                        </a:lnTo>
                        <a:lnTo>
                          <a:pt x="6" y="72"/>
                        </a:lnTo>
                        <a:lnTo>
                          <a:pt x="7" y="79"/>
                        </a:lnTo>
                        <a:lnTo>
                          <a:pt x="7" y="93"/>
                        </a:lnTo>
                        <a:lnTo>
                          <a:pt x="6" y="102"/>
                        </a:lnTo>
                        <a:lnTo>
                          <a:pt x="14" y="102"/>
                        </a:lnTo>
                        <a:lnTo>
                          <a:pt x="22" y="104"/>
                        </a:lnTo>
                        <a:lnTo>
                          <a:pt x="29" y="99"/>
                        </a:lnTo>
                        <a:lnTo>
                          <a:pt x="29" y="91"/>
                        </a:lnTo>
                        <a:lnTo>
                          <a:pt x="35" y="82"/>
                        </a:lnTo>
                        <a:lnTo>
                          <a:pt x="38" y="65"/>
                        </a:lnTo>
                        <a:lnTo>
                          <a:pt x="33" y="50"/>
                        </a:lnTo>
                        <a:lnTo>
                          <a:pt x="34" y="49"/>
                        </a:lnTo>
                        <a:lnTo>
                          <a:pt x="38" y="44"/>
                        </a:lnTo>
                        <a:lnTo>
                          <a:pt x="39" y="28"/>
                        </a:lnTo>
                        <a:lnTo>
                          <a:pt x="43" y="22"/>
                        </a:lnTo>
                        <a:lnTo>
                          <a:pt x="45" y="9"/>
                        </a:lnTo>
                        <a:lnTo>
                          <a:pt x="39" y="0"/>
                        </a:lnTo>
                        <a:lnTo>
                          <a:pt x="39" y="0"/>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8" name="Freeform 43"/>
                  <p:cNvSpPr>
                    <a:spLocks noChangeAspect="1" noEditPoints="1"/>
                  </p:cNvSpPr>
                  <p:nvPr/>
                </p:nvSpPr>
                <p:spPr bwMode="gray">
                  <a:xfrm>
                    <a:off x="0" y="2389"/>
                    <a:ext cx="1261" cy="964"/>
                  </a:xfrm>
                  <a:custGeom>
                    <a:avLst/>
                    <a:gdLst>
                      <a:gd name="T0" fmla="*/ 162 w 206"/>
                      <a:gd name="T1" fmla="*/ 102 h 157"/>
                      <a:gd name="T2" fmla="*/ 170 w 206"/>
                      <a:gd name="T3" fmla="*/ 97 h 157"/>
                      <a:gd name="T4" fmla="*/ 162 w 206"/>
                      <a:gd name="T5" fmla="*/ 100 h 157"/>
                      <a:gd name="T6" fmla="*/ 179 w 206"/>
                      <a:gd name="T7" fmla="*/ 86 h 157"/>
                      <a:gd name="T8" fmla="*/ 182 w 206"/>
                      <a:gd name="T9" fmla="*/ 96 h 157"/>
                      <a:gd name="T10" fmla="*/ 192 w 206"/>
                      <a:gd name="T11" fmla="*/ 89 h 157"/>
                      <a:gd name="T12" fmla="*/ 179 w 206"/>
                      <a:gd name="T13" fmla="*/ 86 h 157"/>
                      <a:gd name="T14" fmla="*/ 202 w 206"/>
                      <a:gd name="T15" fmla="*/ 76 h 157"/>
                      <a:gd name="T16" fmla="*/ 198 w 206"/>
                      <a:gd name="T17" fmla="*/ 81 h 157"/>
                      <a:gd name="T18" fmla="*/ 206 w 206"/>
                      <a:gd name="T19" fmla="*/ 78 h 157"/>
                      <a:gd name="T20" fmla="*/ 202 w 206"/>
                      <a:gd name="T21" fmla="*/ 76 h 157"/>
                      <a:gd name="T22" fmla="*/ 189 w 206"/>
                      <a:gd name="T23" fmla="*/ 35 h 157"/>
                      <a:gd name="T24" fmla="*/ 170 w 206"/>
                      <a:gd name="T25" fmla="*/ 26 h 157"/>
                      <a:gd name="T26" fmla="*/ 159 w 206"/>
                      <a:gd name="T27" fmla="*/ 21 h 157"/>
                      <a:gd name="T28" fmla="*/ 135 w 206"/>
                      <a:gd name="T29" fmla="*/ 18 h 157"/>
                      <a:gd name="T30" fmla="*/ 119 w 206"/>
                      <a:gd name="T31" fmla="*/ 9 h 157"/>
                      <a:gd name="T32" fmla="*/ 86 w 206"/>
                      <a:gd name="T33" fmla="*/ 5 h 157"/>
                      <a:gd name="T34" fmla="*/ 59 w 206"/>
                      <a:gd name="T35" fmla="*/ 2 h 157"/>
                      <a:gd name="T36" fmla="*/ 47 w 206"/>
                      <a:gd name="T37" fmla="*/ 5 h 157"/>
                      <a:gd name="T38" fmla="*/ 24 w 206"/>
                      <a:gd name="T39" fmla="*/ 0 h 157"/>
                      <a:gd name="T40" fmla="*/ 13 w 206"/>
                      <a:gd name="T41" fmla="*/ 8 h 157"/>
                      <a:gd name="T42" fmla="*/ 0 w 206"/>
                      <a:gd name="T43" fmla="*/ 19 h 157"/>
                      <a:gd name="T44" fmla="*/ 9 w 206"/>
                      <a:gd name="T45" fmla="*/ 38 h 157"/>
                      <a:gd name="T46" fmla="*/ 32 w 206"/>
                      <a:gd name="T47" fmla="*/ 41 h 157"/>
                      <a:gd name="T48" fmla="*/ 44 w 206"/>
                      <a:gd name="T49" fmla="*/ 46 h 157"/>
                      <a:gd name="T50" fmla="*/ 38 w 206"/>
                      <a:gd name="T51" fmla="*/ 65 h 157"/>
                      <a:gd name="T52" fmla="*/ 33 w 206"/>
                      <a:gd name="T53" fmla="*/ 86 h 157"/>
                      <a:gd name="T54" fmla="*/ 37 w 206"/>
                      <a:gd name="T55" fmla="*/ 102 h 157"/>
                      <a:gd name="T56" fmla="*/ 28 w 206"/>
                      <a:gd name="T57" fmla="*/ 128 h 157"/>
                      <a:gd name="T58" fmla="*/ 32 w 206"/>
                      <a:gd name="T59" fmla="*/ 136 h 157"/>
                      <a:gd name="T60" fmla="*/ 43 w 206"/>
                      <a:gd name="T61" fmla="*/ 150 h 157"/>
                      <a:gd name="T62" fmla="*/ 53 w 206"/>
                      <a:gd name="T63" fmla="*/ 156 h 157"/>
                      <a:gd name="T64" fmla="*/ 69 w 206"/>
                      <a:gd name="T65" fmla="*/ 149 h 157"/>
                      <a:gd name="T66" fmla="*/ 92 w 206"/>
                      <a:gd name="T67" fmla="*/ 146 h 157"/>
                      <a:gd name="T68" fmla="*/ 110 w 206"/>
                      <a:gd name="T69" fmla="*/ 143 h 157"/>
                      <a:gd name="T70" fmla="*/ 119 w 206"/>
                      <a:gd name="T71" fmla="*/ 135 h 157"/>
                      <a:gd name="T72" fmla="*/ 133 w 206"/>
                      <a:gd name="T73" fmla="*/ 125 h 157"/>
                      <a:gd name="T74" fmla="*/ 143 w 206"/>
                      <a:gd name="T75" fmla="*/ 106 h 157"/>
                      <a:gd name="T76" fmla="*/ 143 w 206"/>
                      <a:gd name="T77" fmla="*/ 75 h 157"/>
                      <a:gd name="T78" fmla="*/ 152 w 206"/>
                      <a:gd name="T79" fmla="*/ 62 h 157"/>
                      <a:gd name="T80" fmla="*/ 169 w 206"/>
                      <a:gd name="T81" fmla="*/ 53 h 157"/>
                      <a:gd name="T82" fmla="*/ 184 w 206"/>
                      <a:gd name="T83" fmla="*/ 4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6" h="157">
                        <a:moveTo>
                          <a:pt x="162" y="100"/>
                        </a:moveTo>
                        <a:lnTo>
                          <a:pt x="162" y="102"/>
                        </a:lnTo>
                        <a:lnTo>
                          <a:pt x="168" y="101"/>
                        </a:lnTo>
                        <a:lnTo>
                          <a:pt x="170" y="97"/>
                        </a:lnTo>
                        <a:lnTo>
                          <a:pt x="167" y="96"/>
                        </a:lnTo>
                        <a:lnTo>
                          <a:pt x="162" y="100"/>
                        </a:lnTo>
                        <a:lnTo>
                          <a:pt x="162" y="100"/>
                        </a:lnTo>
                        <a:close/>
                        <a:moveTo>
                          <a:pt x="179" y="86"/>
                        </a:moveTo>
                        <a:lnTo>
                          <a:pt x="179" y="94"/>
                        </a:lnTo>
                        <a:lnTo>
                          <a:pt x="182" y="96"/>
                        </a:lnTo>
                        <a:lnTo>
                          <a:pt x="190" y="92"/>
                        </a:lnTo>
                        <a:lnTo>
                          <a:pt x="192" y="89"/>
                        </a:lnTo>
                        <a:lnTo>
                          <a:pt x="189" y="85"/>
                        </a:lnTo>
                        <a:lnTo>
                          <a:pt x="179" y="86"/>
                        </a:lnTo>
                        <a:lnTo>
                          <a:pt x="179" y="86"/>
                        </a:lnTo>
                        <a:close/>
                        <a:moveTo>
                          <a:pt x="202" y="76"/>
                        </a:moveTo>
                        <a:lnTo>
                          <a:pt x="198" y="79"/>
                        </a:lnTo>
                        <a:lnTo>
                          <a:pt x="198" y="81"/>
                        </a:lnTo>
                        <a:lnTo>
                          <a:pt x="206" y="83"/>
                        </a:lnTo>
                        <a:lnTo>
                          <a:pt x="206" y="78"/>
                        </a:lnTo>
                        <a:lnTo>
                          <a:pt x="202" y="76"/>
                        </a:lnTo>
                        <a:lnTo>
                          <a:pt x="202" y="76"/>
                        </a:lnTo>
                        <a:close/>
                        <a:moveTo>
                          <a:pt x="184" y="47"/>
                        </a:moveTo>
                        <a:lnTo>
                          <a:pt x="189" y="35"/>
                        </a:lnTo>
                        <a:lnTo>
                          <a:pt x="187" y="26"/>
                        </a:lnTo>
                        <a:lnTo>
                          <a:pt x="170" y="26"/>
                        </a:lnTo>
                        <a:lnTo>
                          <a:pt x="167" y="24"/>
                        </a:lnTo>
                        <a:lnTo>
                          <a:pt x="159" y="21"/>
                        </a:lnTo>
                        <a:lnTo>
                          <a:pt x="140" y="22"/>
                        </a:lnTo>
                        <a:lnTo>
                          <a:pt x="135" y="18"/>
                        </a:lnTo>
                        <a:lnTo>
                          <a:pt x="131" y="18"/>
                        </a:lnTo>
                        <a:lnTo>
                          <a:pt x="119" y="9"/>
                        </a:lnTo>
                        <a:lnTo>
                          <a:pt x="102" y="9"/>
                        </a:lnTo>
                        <a:lnTo>
                          <a:pt x="86" y="5"/>
                        </a:lnTo>
                        <a:lnTo>
                          <a:pt x="75" y="8"/>
                        </a:lnTo>
                        <a:lnTo>
                          <a:pt x="59" y="2"/>
                        </a:lnTo>
                        <a:lnTo>
                          <a:pt x="51" y="4"/>
                        </a:lnTo>
                        <a:lnTo>
                          <a:pt x="47" y="5"/>
                        </a:lnTo>
                        <a:lnTo>
                          <a:pt x="28" y="4"/>
                        </a:lnTo>
                        <a:lnTo>
                          <a:pt x="24" y="0"/>
                        </a:lnTo>
                        <a:lnTo>
                          <a:pt x="17" y="0"/>
                        </a:lnTo>
                        <a:lnTo>
                          <a:pt x="13" y="8"/>
                        </a:lnTo>
                        <a:lnTo>
                          <a:pt x="5" y="11"/>
                        </a:lnTo>
                        <a:lnTo>
                          <a:pt x="0" y="19"/>
                        </a:lnTo>
                        <a:lnTo>
                          <a:pt x="9" y="31"/>
                        </a:lnTo>
                        <a:lnTo>
                          <a:pt x="9" y="38"/>
                        </a:lnTo>
                        <a:lnTo>
                          <a:pt x="17" y="42"/>
                        </a:lnTo>
                        <a:lnTo>
                          <a:pt x="32" y="41"/>
                        </a:lnTo>
                        <a:lnTo>
                          <a:pt x="38" y="37"/>
                        </a:lnTo>
                        <a:lnTo>
                          <a:pt x="44" y="46"/>
                        </a:lnTo>
                        <a:lnTo>
                          <a:pt x="42" y="59"/>
                        </a:lnTo>
                        <a:lnTo>
                          <a:pt x="38" y="65"/>
                        </a:lnTo>
                        <a:lnTo>
                          <a:pt x="37" y="81"/>
                        </a:lnTo>
                        <a:lnTo>
                          <a:pt x="33" y="86"/>
                        </a:lnTo>
                        <a:lnTo>
                          <a:pt x="32" y="87"/>
                        </a:lnTo>
                        <a:lnTo>
                          <a:pt x="37" y="102"/>
                        </a:lnTo>
                        <a:lnTo>
                          <a:pt x="34" y="119"/>
                        </a:lnTo>
                        <a:lnTo>
                          <a:pt x="28" y="128"/>
                        </a:lnTo>
                        <a:lnTo>
                          <a:pt x="28" y="136"/>
                        </a:lnTo>
                        <a:lnTo>
                          <a:pt x="32" y="136"/>
                        </a:lnTo>
                        <a:lnTo>
                          <a:pt x="38" y="138"/>
                        </a:lnTo>
                        <a:lnTo>
                          <a:pt x="43" y="150"/>
                        </a:lnTo>
                        <a:lnTo>
                          <a:pt x="50" y="154"/>
                        </a:lnTo>
                        <a:lnTo>
                          <a:pt x="53" y="156"/>
                        </a:lnTo>
                        <a:lnTo>
                          <a:pt x="59" y="157"/>
                        </a:lnTo>
                        <a:lnTo>
                          <a:pt x="69" y="149"/>
                        </a:lnTo>
                        <a:lnTo>
                          <a:pt x="83" y="145"/>
                        </a:lnTo>
                        <a:lnTo>
                          <a:pt x="92" y="146"/>
                        </a:lnTo>
                        <a:lnTo>
                          <a:pt x="100" y="150"/>
                        </a:lnTo>
                        <a:lnTo>
                          <a:pt x="110" y="143"/>
                        </a:lnTo>
                        <a:lnTo>
                          <a:pt x="113" y="138"/>
                        </a:lnTo>
                        <a:lnTo>
                          <a:pt x="119" y="135"/>
                        </a:lnTo>
                        <a:lnTo>
                          <a:pt x="124" y="129"/>
                        </a:lnTo>
                        <a:lnTo>
                          <a:pt x="133" y="125"/>
                        </a:lnTo>
                        <a:lnTo>
                          <a:pt x="136" y="116"/>
                        </a:lnTo>
                        <a:lnTo>
                          <a:pt x="143" y="106"/>
                        </a:lnTo>
                        <a:lnTo>
                          <a:pt x="142" y="90"/>
                        </a:lnTo>
                        <a:lnTo>
                          <a:pt x="143" y="75"/>
                        </a:lnTo>
                        <a:lnTo>
                          <a:pt x="151" y="67"/>
                        </a:lnTo>
                        <a:lnTo>
                          <a:pt x="152" y="62"/>
                        </a:lnTo>
                        <a:lnTo>
                          <a:pt x="160" y="53"/>
                        </a:lnTo>
                        <a:lnTo>
                          <a:pt x="169" y="53"/>
                        </a:lnTo>
                        <a:lnTo>
                          <a:pt x="184" y="47"/>
                        </a:lnTo>
                        <a:lnTo>
                          <a:pt x="184" y="47"/>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59" name="Freeform 44"/>
                  <p:cNvSpPr>
                    <a:spLocks noChangeAspect="1" noEditPoints="1"/>
                  </p:cNvSpPr>
                  <p:nvPr/>
                </p:nvSpPr>
                <p:spPr bwMode="gray">
                  <a:xfrm>
                    <a:off x="435" y="1381"/>
                    <a:ext cx="1330" cy="1290"/>
                  </a:xfrm>
                  <a:custGeom>
                    <a:avLst/>
                    <a:gdLst>
                      <a:gd name="T0" fmla="*/ 175 w 176"/>
                      <a:gd name="T1" fmla="*/ 146 h 172"/>
                      <a:gd name="T2" fmla="*/ 173 w 176"/>
                      <a:gd name="T3" fmla="*/ 150 h 172"/>
                      <a:gd name="T4" fmla="*/ 166 w 176"/>
                      <a:gd name="T5" fmla="*/ 158 h 172"/>
                      <a:gd name="T6" fmla="*/ 170 w 176"/>
                      <a:gd name="T7" fmla="*/ 172 h 172"/>
                      <a:gd name="T8" fmla="*/ 176 w 176"/>
                      <a:gd name="T9" fmla="*/ 155 h 172"/>
                      <a:gd name="T10" fmla="*/ 137 w 176"/>
                      <a:gd name="T11" fmla="*/ 79 h 172"/>
                      <a:gd name="T12" fmla="*/ 141 w 176"/>
                      <a:gd name="T13" fmla="*/ 72 h 172"/>
                      <a:gd name="T14" fmla="*/ 151 w 176"/>
                      <a:gd name="T15" fmla="*/ 68 h 172"/>
                      <a:gd name="T16" fmla="*/ 153 w 176"/>
                      <a:gd name="T17" fmla="*/ 60 h 172"/>
                      <a:gd name="T18" fmla="*/ 162 w 176"/>
                      <a:gd name="T19" fmla="*/ 35 h 172"/>
                      <a:gd name="T20" fmla="*/ 140 w 176"/>
                      <a:gd name="T21" fmla="*/ 32 h 172"/>
                      <a:gd name="T22" fmla="*/ 122 w 176"/>
                      <a:gd name="T23" fmla="*/ 23 h 172"/>
                      <a:gd name="T24" fmla="*/ 109 w 176"/>
                      <a:gd name="T25" fmla="*/ 17 h 172"/>
                      <a:gd name="T26" fmla="*/ 88 w 176"/>
                      <a:gd name="T27" fmla="*/ 0 h 172"/>
                      <a:gd name="T28" fmla="*/ 74 w 176"/>
                      <a:gd name="T29" fmla="*/ 17 h 172"/>
                      <a:gd name="T30" fmla="*/ 56 w 176"/>
                      <a:gd name="T31" fmla="*/ 29 h 172"/>
                      <a:gd name="T32" fmla="*/ 46 w 176"/>
                      <a:gd name="T33" fmla="*/ 32 h 172"/>
                      <a:gd name="T34" fmla="*/ 34 w 176"/>
                      <a:gd name="T35" fmla="*/ 27 h 172"/>
                      <a:gd name="T36" fmla="*/ 38 w 176"/>
                      <a:gd name="T37" fmla="*/ 39 h 172"/>
                      <a:gd name="T38" fmla="*/ 37 w 176"/>
                      <a:gd name="T39" fmla="*/ 48 h 172"/>
                      <a:gd name="T40" fmla="*/ 28 w 176"/>
                      <a:gd name="T41" fmla="*/ 48 h 172"/>
                      <a:gd name="T42" fmla="*/ 15 w 176"/>
                      <a:gd name="T43" fmla="*/ 44 h 172"/>
                      <a:gd name="T44" fmla="*/ 2 w 176"/>
                      <a:gd name="T45" fmla="*/ 48 h 172"/>
                      <a:gd name="T46" fmla="*/ 4 w 176"/>
                      <a:gd name="T47" fmla="*/ 56 h 172"/>
                      <a:gd name="T48" fmla="*/ 8 w 176"/>
                      <a:gd name="T49" fmla="*/ 63 h 172"/>
                      <a:gd name="T50" fmla="*/ 22 w 176"/>
                      <a:gd name="T51" fmla="*/ 66 h 172"/>
                      <a:gd name="T52" fmla="*/ 29 w 176"/>
                      <a:gd name="T53" fmla="*/ 69 h 172"/>
                      <a:gd name="T54" fmla="*/ 32 w 176"/>
                      <a:gd name="T55" fmla="*/ 81 h 172"/>
                      <a:gd name="T56" fmla="*/ 44 w 176"/>
                      <a:gd name="T57" fmla="*/ 95 h 172"/>
                      <a:gd name="T58" fmla="*/ 43 w 176"/>
                      <a:gd name="T59" fmla="*/ 105 h 172"/>
                      <a:gd name="T60" fmla="*/ 48 w 176"/>
                      <a:gd name="T61" fmla="*/ 113 h 172"/>
                      <a:gd name="T62" fmla="*/ 45 w 176"/>
                      <a:gd name="T63" fmla="*/ 114 h 172"/>
                      <a:gd name="T64" fmla="*/ 43 w 176"/>
                      <a:gd name="T65" fmla="*/ 133 h 172"/>
                      <a:gd name="T66" fmla="*/ 49 w 176"/>
                      <a:gd name="T67" fmla="*/ 149 h 172"/>
                      <a:gd name="T68" fmla="*/ 56 w 176"/>
                      <a:gd name="T69" fmla="*/ 153 h 172"/>
                      <a:gd name="T70" fmla="*/ 73 w 176"/>
                      <a:gd name="T71" fmla="*/ 150 h 172"/>
                      <a:gd name="T72" fmla="*/ 77 w 176"/>
                      <a:gd name="T73" fmla="*/ 151 h 172"/>
                      <a:gd name="T74" fmla="*/ 81 w 176"/>
                      <a:gd name="T75" fmla="*/ 156 h 172"/>
                      <a:gd name="T76" fmla="*/ 98 w 176"/>
                      <a:gd name="T77" fmla="*/ 145 h 172"/>
                      <a:gd name="T78" fmla="*/ 117 w 176"/>
                      <a:gd name="T79" fmla="*/ 144 h 172"/>
                      <a:gd name="T80" fmla="*/ 130 w 176"/>
                      <a:gd name="T81" fmla="*/ 145 h 172"/>
                      <a:gd name="T82" fmla="*/ 143 w 176"/>
                      <a:gd name="T83" fmla="*/ 139 h 172"/>
                      <a:gd name="T84" fmla="*/ 157 w 176"/>
                      <a:gd name="T85" fmla="*/ 133 h 172"/>
                      <a:gd name="T86" fmla="*/ 145 w 176"/>
                      <a:gd name="T87" fmla="*/ 125 h 172"/>
                      <a:gd name="T88" fmla="*/ 140 w 176"/>
                      <a:gd name="T89" fmla="*/ 98 h 172"/>
                      <a:gd name="T90" fmla="*/ 137 w 176"/>
                      <a:gd name="T91" fmla="*/ 91 h 172"/>
                      <a:gd name="T92" fmla="*/ 130 w 176"/>
                      <a:gd name="T93" fmla="*/ 91 h 172"/>
                      <a:gd name="T94" fmla="*/ 137 w 176"/>
                      <a:gd name="T95"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72">
                        <a:moveTo>
                          <a:pt x="175" y="150"/>
                        </a:moveTo>
                        <a:cubicBezTo>
                          <a:pt x="175" y="146"/>
                          <a:pt x="175" y="146"/>
                          <a:pt x="175" y="146"/>
                        </a:cubicBezTo>
                        <a:cubicBezTo>
                          <a:pt x="173" y="145"/>
                          <a:pt x="173" y="145"/>
                          <a:pt x="173" y="145"/>
                        </a:cubicBezTo>
                        <a:cubicBezTo>
                          <a:pt x="173" y="150"/>
                          <a:pt x="173" y="150"/>
                          <a:pt x="173" y="150"/>
                        </a:cubicBezTo>
                        <a:cubicBezTo>
                          <a:pt x="167" y="154"/>
                          <a:pt x="167" y="154"/>
                          <a:pt x="167" y="154"/>
                        </a:cubicBezTo>
                        <a:cubicBezTo>
                          <a:pt x="166" y="158"/>
                          <a:pt x="166" y="158"/>
                          <a:pt x="166" y="158"/>
                        </a:cubicBezTo>
                        <a:cubicBezTo>
                          <a:pt x="166" y="168"/>
                          <a:pt x="166" y="168"/>
                          <a:pt x="166" y="168"/>
                        </a:cubicBezTo>
                        <a:cubicBezTo>
                          <a:pt x="170" y="172"/>
                          <a:pt x="170" y="172"/>
                          <a:pt x="170" y="172"/>
                        </a:cubicBezTo>
                        <a:cubicBezTo>
                          <a:pt x="173" y="170"/>
                          <a:pt x="173" y="170"/>
                          <a:pt x="173" y="170"/>
                        </a:cubicBezTo>
                        <a:cubicBezTo>
                          <a:pt x="176" y="155"/>
                          <a:pt x="176" y="155"/>
                          <a:pt x="176" y="155"/>
                        </a:cubicBezTo>
                        <a:lnTo>
                          <a:pt x="175" y="150"/>
                        </a:lnTo>
                        <a:close/>
                        <a:moveTo>
                          <a:pt x="137" y="79"/>
                        </a:moveTo>
                        <a:cubicBezTo>
                          <a:pt x="141" y="77"/>
                          <a:pt x="141" y="77"/>
                          <a:pt x="141" y="77"/>
                        </a:cubicBezTo>
                        <a:cubicBezTo>
                          <a:pt x="141" y="72"/>
                          <a:pt x="141" y="72"/>
                          <a:pt x="141" y="72"/>
                        </a:cubicBezTo>
                        <a:cubicBezTo>
                          <a:pt x="144" y="67"/>
                          <a:pt x="144" y="67"/>
                          <a:pt x="144" y="67"/>
                        </a:cubicBezTo>
                        <a:cubicBezTo>
                          <a:pt x="151" y="68"/>
                          <a:pt x="151" y="68"/>
                          <a:pt x="151" y="68"/>
                        </a:cubicBezTo>
                        <a:cubicBezTo>
                          <a:pt x="152" y="64"/>
                          <a:pt x="152" y="64"/>
                          <a:pt x="152" y="64"/>
                        </a:cubicBezTo>
                        <a:cubicBezTo>
                          <a:pt x="152" y="63"/>
                          <a:pt x="153" y="62"/>
                          <a:pt x="153" y="60"/>
                        </a:cubicBezTo>
                        <a:cubicBezTo>
                          <a:pt x="156" y="51"/>
                          <a:pt x="156" y="51"/>
                          <a:pt x="156" y="51"/>
                        </a:cubicBezTo>
                        <a:cubicBezTo>
                          <a:pt x="162" y="35"/>
                          <a:pt x="162" y="35"/>
                          <a:pt x="162" y="35"/>
                        </a:cubicBezTo>
                        <a:cubicBezTo>
                          <a:pt x="152" y="32"/>
                          <a:pt x="152" y="32"/>
                          <a:pt x="152" y="32"/>
                        </a:cubicBezTo>
                        <a:cubicBezTo>
                          <a:pt x="140" y="32"/>
                          <a:pt x="140" y="32"/>
                          <a:pt x="140" y="32"/>
                        </a:cubicBezTo>
                        <a:cubicBezTo>
                          <a:pt x="132" y="30"/>
                          <a:pt x="132" y="30"/>
                          <a:pt x="132" y="30"/>
                        </a:cubicBezTo>
                        <a:cubicBezTo>
                          <a:pt x="122" y="23"/>
                          <a:pt x="122" y="23"/>
                          <a:pt x="122" y="23"/>
                        </a:cubicBezTo>
                        <a:cubicBezTo>
                          <a:pt x="114" y="19"/>
                          <a:pt x="114" y="19"/>
                          <a:pt x="114" y="19"/>
                        </a:cubicBezTo>
                        <a:cubicBezTo>
                          <a:pt x="109" y="17"/>
                          <a:pt x="109" y="17"/>
                          <a:pt x="109" y="17"/>
                        </a:cubicBezTo>
                        <a:cubicBezTo>
                          <a:pt x="97" y="9"/>
                          <a:pt x="97" y="9"/>
                          <a:pt x="97" y="9"/>
                        </a:cubicBezTo>
                        <a:cubicBezTo>
                          <a:pt x="88" y="0"/>
                          <a:pt x="88" y="0"/>
                          <a:pt x="88" y="0"/>
                        </a:cubicBezTo>
                        <a:cubicBezTo>
                          <a:pt x="78" y="2"/>
                          <a:pt x="78" y="2"/>
                          <a:pt x="78" y="2"/>
                        </a:cubicBezTo>
                        <a:cubicBezTo>
                          <a:pt x="74" y="17"/>
                          <a:pt x="74" y="17"/>
                          <a:pt x="74" y="17"/>
                        </a:cubicBezTo>
                        <a:cubicBezTo>
                          <a:pt x="63" y="25"/>
                          <a:pt x="63" y="25"/>
                          <a:pt x="63" y="25"/>
                        </a:cubicBezTo>
                        <a:cubicBezTo>
                          <a:pt x="56" y="29"/>
                          <a:pt x="56" y="29"/>
                          <a:pt x="56" y="29"/>
                        </a:cubicBezTo>
                        <a:cubicBezTo>
                          <a:pt x="56" y="32"/>
                          <a:pt x="56" y="32"/>
                          <a:pt x="56" y="32"/>
                        </a:cubicBezTo>
                        <a:cubicBezTo>
                          <a:pt x="46" y="32"/>
                          <a:pt x="46" y="32"/>
                          <a:pt x="46" y="32"/>
                        </a:cubicBezTo>
                        <a:cubicBezTo>
                          <a:pt x="42" y="27"/>
                          <a:pt x="42" y="27"/>
                          <a:pt x="42" y="27"/>
                        </a:cubicBezTo>
                        <a:cubicBezTo>
                          <a:pt x="34" y="27"/>
                          <a:pt x="34" y="27"/>
                          <a:pt x="34" y="27"/>
                        </a:cubicBezTo>
                        <a:cubicBezTo>
                          <a:pt x="34" y="31"/>
                          <a:pt x="34" y="31"/>
                          <a:pt x="34" y="31"/>
                        </a:cubicBezTo>
                        <a:cubicBezTo>
                          <a:pt x="38" y="39"/>
                          <a:pt x="38" y="39"/>
                          <a:pt x="38" y="39"/>
                        </a:cubicBezTo>
                        <a:cubicBezTo>
                          <a:pt x="41" y="44"/>
                          <a:pt x="41" y="44"/>
                          <a:pt x="41" y="44"/>
                        </a:cubicBezTo>
                        <a:cubicBezTo>
                          <a:pt x="37" y="48"/>
                          <a:pt x="37" y="48"/>
                          <a:pt x="37" y="48"/>
                        </a:cubicBezTo>
                        <a:cubicBezTo>
                          <a:pt x="32" y="47"/>
                          <a:pt x="32" y="47"/>
                          <a:pt x="32" y="47"/>
                        </a:cubicBezTo>
                        <a:cubicBezTo>
                          <a:pt x="28" y="48"/>
                          <a:pt x="28" y="48"/>
                          <a:pt x="28" y="48"/>
                        </a:cubicBezTo>
                        <a:cubicBezTo>
                          <a:pt x="19" y="44"/>
                          <a:pt x="19" y="44"/>
                          <a:pt x="19" y="44"/>
                        </a:cubicBezTo>
                        <a:cubicBezTo>
                          <a:pt x="15" y="44"/>
                          <a:pt x="15" y="44"/>
                          <a:pt x="15" y="44"/>
                        </a:cubicBezTo>
                        <a:cubicBezTo>
                          <a:pt x="10" y="48"/>
                          <a:pt x="10" y="48"/>
                          <a:pt x="10" y="48"/>
                        </a:cubicBezTo>
                        <a:cubicBezTo>
                          <a:pt x="2" y="48"/>
                          <a:pt x="2" y="48"/>
                          <a:pt x="2" y="48"/>
                        </a:cubicBezTo>
                        <a:cubicBezTo>
                          <a:pt x="0" y="53"/>
                          <a:pt x="0" y="53"/>
                          <a:pt x="0" y="53"/>
                        </a:cubicBezTo>
                        <a:cubicBezTo>
                          <a:pt x="4" y="56"/>
                          <a:pt x="4" y="56"/>
                          <a:pt x="4" y="56"/>
                        </a:cubicBezTo>
                        <a:cubicBezTo>
                          <a:pt x="2" y="59"/>
                          <a:pt x="2" y="59"/>
                          <a:pt x="2" y="59"/>
                        </a:cubicBezTo>
                        <a:cubicBezTo>
                          <a:pt x="8" y="63"/>
                          <a:pt x="8" y="63"/>
                          <a:pt x="8" y="63"/>
                        </a:cubicBezTo>
                        <a:cubicBezTo>
                          <a:pt x="16" y="65"/>
                          <a:pt x="16" y="65"/>
                          <a:pt x="16" y="65"/>
                        </a:cubicBezTo>
                        <a:cubicBezTo>
                          <a:pt x="22" y="66"/>
                          <a:pt x="22" y="66"/>
                          <a:pt x="22" y="66"/>
                        </a:cubicBezTo>
                        <a:cubicBezTo>
                          <a:pt x="24" y="69"/>
                          <a:pt x="24" y="69"/>
                          <a:pt x="24" y="69"/>
                        </a:cubicBezTo>
                        <a:cubicBezTo>
                          <a:pt x="29" y="69"/>
                          <a:pt x="29" y="69"/>
                          <a:pt x="29" y="69"/>
                        </a:cubicBezTo>
                        <a:cubicBezTo>
                          <a:pt x="34" y="75"/>
                          <a:pt x="34" y="75"/>
                          <a:pt x="34" y="75"/>
                        </a:cubicBezTo>
                        <a:cubicBezTo>
                          <a:pt x="32" y="81"/>
                          <a:pt x="32" y="81"/>
                          <a:pt x="32" y="81"/>
                        </a:cubicBezTo>
                        <a:cubicBezTo>
                          <a:pt x="44" y="90"/>
                          <a:pt x="44" y="90"/>
                          <a:pt x="44" y="90"/>
                        </a:cubicBezTo>
                        <a:cubicBezTo>
                          <a:pt x="44" y="95"/>
                          <a:pt x="44" y="95"/>
                          <a:pt x="44" y="95"/>
                        </a:cubicBezTo>
                        <a:cubicBezTo>
                          <a:pt x="42" y="96"/>
                          <a:pt x="42" y="96"/>
                          <a:pt x="42" y="96"/>
                        </a:cubicBezTo>
                        <a:cubicBezTo>
                          <a:pt x="43" y="105"/>
                          <a:pt x="43" y="105"/>
                          <a:pt x="43" y="105"/>
                        </a:cubicBezTo>
                        <a:cubicBezTo>
                          <a:pt x="44" y="111"/>
                          <a:pt x="44" y="111"/>
                          <a:pt x="44" y="111"/>
                        </a:cubicBezTo>
                        <a:cubicBezTo>
                          <a:pt x="48" y="113"/>
                          <a:pt x="48" y="113"/>
                          <a:pt x="48" y="113"/>
                        </a:cubicBezTo>
                        <a:cubicBezTo>
                          <a:pt x="50" y="118"/>
                          <a:pt x="50" y="118"/>
                          <a:pt x="50" y="118"/>
                        </a:cubicBezTo>
                        <a:cubicBezTo>
                          <a:pt x="45" y="114"/>
                          <a:pt x="45" y="114"/>
                          <a:pt x="45" y="114"/>
                        </a:cubicBezTo>
                        <a:cubicBezTo>
                          <a:pt x="45" y="123"/>
                          <a:pt x="45" y="123"/>
                          <a:pt x="45" y="123"/>
                        </a:cubicBezTo>
                        <a:cubicBezTo>
                          <a:pt x="43" y="133"/>
                          <a:pt x="43" y="133"/>
                          <a:pt x="43" y="133"/>
                        </a:cubicBezTo>
                        <a:cubicBezTo>
                          <a:pt x="39" y="142"/>
                          <a:pt x="39" y="142"/>
                          <a:pt x="39" y="142"/>
                        </a:cubicBezTo>
                        <a:cubicBezTo>
                          <a:pt x="49" y="149"/>
                          <a:pt x="49" y="149"/>
                          <a:pt x="49" y="149"/>
                        </a:cubicBezTo>
                        <a:cubicBezTo>
                          <a:pt x="52" y="149"/>
                          <a:pt x="52" y="149"/>
                          <a:pt x="52" y="149"/>
                        </a:cubicBezTo>
                        <a:cubicBezTo>
                          <a:pt x="56" y="153"/>
                          <a:pt x="56" y="153"/>
                          <a:pt x="56" y="153"/>
                        </a:cubicBezTo>
                        <a:cubicBezTo>
                          <a:pt x="72" y="152"/>
                          <a:pt x="72" y="152"/>
                          <a:pt x="72" y="152"/>
                        </a:cubicBezTo>
                        <a:cubicBezTo>
                          <a:pt x="73" y="150"/>
                          <a:pt x="73" y="150"/>
                          <a:pt x="73" y="150"/>
                        </a:cubicBezTo>
                        <a:cubicBezTo>
                          <a:pt x="76" y="149"/>
                          <a:pt x="76" y="149"/>
                          <a:pt x="76" y="149"/>
                        </a:cubicBezTo>
                        <a:cubicBezTo>
                          <a:pt x="77" y="151"/>
                          <a:pt x="77" y="151"/>
                          <a:pt x="77" y="151"/>
                        </a:cubicBezTo>
                        <a:cubicBezTo>
                          <a:pt x="76" y="153"/>
                          <a:pt x="76" y="153"/>
                          <a:pt x="76" y="153"/>
                        </a:cubicBezTo>
                        <a:cubicBezTo>
                          <a:pt x="81" y="156"/>
                          <a:pt x="81" y="156"/>
                          <a:pt x="81" y="156"/>
                        </a:cubicBezTo>
                        <a:cubicBezTo>
                          <a:pt x="95" y="156"/>
                          <a:pt x="95" y="156"/>
                          <a:pt x="95" y="156"/>
                        </a:cubicBezTo>
                        <a:cubicBezTo>
                          <a:pt x="98" y="145"/>
                          <a:pt x="98" y="145"/>
                          <a:pt x="98" y="145"/>
                        </a:cubicBezTo>
                        <a:cubicBezTo>
                          <a:pt x="107" y="139"/>
                          <a:pt x="107" y="139"/>
                          <a:pt x="107" y="139"/>
                        </a:cubicBezTo>
                        <a:cubicBezTo>
                          <a:pt x="117" y="144"/>
                          <a:pt x="117" y="144"/>
                          <a:pt x="117" y="144"/>
                        </a:cubicBezTo>
                        <a:cubicBezTo>
                          <a:pt x="124" y="143"/>
                          <a:pt x="124" y="143"/>
                          <a:pt x="124" y="143"/>
                        </a:cubicBezTo>
                        <a:cubicBezTo>
                          <a:pt x="130" y="145"/>
                          <a:pt x="130" y="145"/>
                          <a:pt x="130" y="145"/>
                        </a:cubicBezTo>
                        <a:cubicBezTo>
                          <a:pt x="137" y="143"/>
                          <a:pt x="137" y="143"/>
                          <a:pt x="137" y="143"/>
                        </a:cubicBezTo>
                        <a:cubicBezTo>
                          <a:pt x="143" y="139"/>
                          <a:pt x="143" y="139"/>
                          <a:pt x="143" y="139"/>
                        </a:cubicBezTo>
                        <a:cubicBezTo>
                          <a:pt x="149" y="138"/>
                          <a:pt x="149" y="138"/>
                          <a:pt x="149" y="138"/>
                        </a:cubicBezTo>
                        <a:cubicBezTo>
                          <a:pt x="157" y="133"/>
                          <a:pt x="157" y="133"/>
                          <a:pt x="157" y="133"/>
                        </a:cubicBezTo>
                        <a:cubicBezTo>
                          <a:pt x="151" y="127"/>
                          <a:pt x="151" y="127"/>
                          <a:pt x="151" y="127"/>
                        </a:cubicBezTo>
                        <a:cubicBezTo>
                          <a:pt x="145" y="125"/>
                          <a:pt x="145" y="125"/>
                          <a:pt x="145" y="125"/>
                        </a:cubicBezTo>
                        <a:cubicBezTo>
                          <a:pt x="142" y="112"/>
                          <a:pt x="142" y="112"/>
                          <a:pt x="142" y="112"/>
                        </a:cubicBezTo>
                        <a:cubicBezTo>
                          <a:pt x="140" y="98"/>
                          <a:pt x="140" y="98"/>
                          <a:pt x="140" y="98"/>
                        </a:cubicBezTo>
                        <a:cubicBezTo>
                          <a:pt x="142" y="92"/>
                          <a:pt x="142" y="92"/>
                          <a:pt x="142" y="92"/>
                        </a:cubicBezTo>
                        <a:cubicBezTo>
                          <a:pt x="137" y="91"/>
                          <a:pt x="137" y="91"/>
                          <a:pt x="137" y="91"/>
                        </a:cubicBezTo>
                        <a:cubicBezTo>
                          <a:pt x="132" y="94"/>
                          <a:pt x="132" y="94"/>
                          <a:pt x="132" y="94"/>
                        </a:cubicBezTo>
                        <a:cubicBezTo>
                          <a:pt x="130" y="91"/>
                          <a:pt x="130" y="91"/>
                          <a:pt x="130" y="91"/>
                        </a:cubicBezTo>
                        <a:cubicBezTo>
                          <a:pt x="134" y="85"/>
                          <a:pt x="134" y="85"/>
                          <a:pt x="134" y="85"/>
                        </a:cubicBezTo>
                        <a:lnTo>
                          <a:pt x="137" y="79"/>
                        </a:lnTo>
                        <a:close/>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160" name="Freeform 45"/>
                  <p:cNvSpPr>
                    <a:spLocks noChangeAspect="1"/>
                  </p:cNvSpPr>
                  <p:nvPr/>
                </p:nvSpPr>
                <p:spPr bwMode="gray">
                  <a:xfrm>
                    <a:off x="3905" y="3444"/>
                    <a:ext cx="143" cy="64"/>
                  </a:xfrm>
                  <a:custGeom>
                    <a:avLst/>
                    <a:gdLst>
                      <a:gd name="T0" fmla="*/ 0 w 58"/>
                      <a:gd name="T1" fmla="*/ 22 h 26"/>
                      <a:gd name="T2" fmla="*/ 6 w 58"/>
                      <a:gd name="T3" fmla="*/ 4 h 26"/>
                      <a:gd name="T4" fmla="*/ 28 w 58"/>
                      <a:gd name="T5" fmla="*/ 4 h 26"/>
                      <a:gd name="T6" fmla="*/ 58 w 58"/>
                      <a:gd name="T7" fmla="*/ 0 h 26"/>
                      <a:gd name="T8" fmla="*/ 40 w 58"/>
                      <a:gd name="T9" fmla="*/ 20 h 26"/>
                      <a:gd name="T10" fmla="*/ 22 w 58"/>
                      <a:gd name="T11" fmla="*/ 26 h 26"/>
                    </a:gdLst>
                    <a:ahLst/>
                    <a:cxnLst>
                      <a:cxn ang="0">
                        <a:pos x="T0" y="T1"/>
                      </a:cxn>
                      <a:cxn ang="0">
                        <a:pos x="T2" y="T3"/>
                      </a:cxn>
                      <a:cxn ang="0">
                        <a:pos x="T4" y="T5"/>
                      </a:cxn>
                      <a:cxn ang="0">
                        <a:pos x="T6" y="T7"/>
                      </a:cxn>
                      <a:cxn ang="0">
                        <a:pos x="T8" y="T9"/>
                      </a:cxn>
                      <a:cxn ang="0">
                        <a:pos x="T10" y="T11"/>
                      </a:cxn>
                    </a:cxnLst>
                    <a:rect l="0" t="0" r="r" b="b"/>
                    <a:pathLst>
                      <a:path w="58" h="26">
                        <a:moveTo>
                          <a:pt x="0" y="22"/>
                        </a:moveTo>
                        <a:lnTo>
                          <a:pt x="6" y="4"/>
                        </a:lnTo>
                        <a:lnTo>
                          <a:pt x="28" y="4"/>
                        </a:lnTo>
                        <a:lnTo>
                          <a:pt x="58" y="0"/>
                        </a:lnTo>
                        <a:lnTo>
                          <a:pt x="40" y="20"/>
                        </a:lnTo>
                        <a:lnTo>
                          <a:pt x="22" y="26"/>
                        </a:lnTo>
                      </a:path>
                    </a:pathLst>
                  </a:custGeom>
                  <a:solidFill>
                    <a:schemeClr val="tx2">
                      <a:alpha val="50000"/>
                    </a:schemeClr>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grpSp>
          </p:grpSp>
          <p:grpSp>
            <p:nvGrpSpPr>
              <p:cNvPr id="74" name="Group 46"/>
              <p:cNvGrpSpPr>
                <a:grpSpLocks noChangeAspect="1"/>
              </p:cNvGrpSpPr>
              <p:nvPr/>
            </p:nvGrpSpPr>
            <p:grpSpPr bwMode="auto">
              <a:xfrm>
                <a:off x="2115" y="665"/>
                <a:ext cx="4160" cy="4029"/>
                <a:chOff x="10682" y="-1280"/>
                <a:chExt cx="6821" cy="6607"/>
              </a:xfrm>
            </p:grpSpPr>
            <p:grpSp>
              <p:nvGrpSpPr>
                <p:cNvPr id="75" name="Group 47"/>
                <p:cNvGrpSpPr>
                  <a:grpSpLocks noChangeAspect="1"/>
                </p:cNvGrpSpPr>
                <p:nvPr/>
              </p:nvGrpSpPr>
              <p:grpSpPr bwMode="auto">
                <a:xfrm>
                  <a:off x="11638" y="-1280"/>
                  <a:ext cx="5865" cy="6607"/>
                  <a:chOff x="1330" y="-3357"/>
                  <a:chExt cx="7819" cy="8808"/>
                </a:xfrm>
              </p:grpSpPr>
              <p:sp>
                <p:nvSpPr>
                  <p:cNvPr id="91" name="Freeform 48"/>
                  <p:cNvSpPr>
                    <a:spLocks noChangeAspect="1" noEditPoints="1"/>
                  </p:cNvSpPr>
                  <p:nvPr/>
                </p:nvSpPr>
                <p:spPr bwMode="gray">
                  <a:xfrm>
                    <a:off x="1330" y="-2243"/>
                    <a:ext cx="2444" cy="2502"/>
                  </a:xfrm>
                  <a:custGeom>
                    <a:avLst/>
                    <a:gdLst>
                      <a:gd name="T0" fmla="*/ 251 w 325"/>
                      <a:gd name="T1" fmla="*/ 1 h 333"/>
                      <a:gd name="T2" fmla="*/ 238 w 325"/>
                      <a:gd name="T3" fmla="*/ 2 h 333"/>
                      <a:gd name="T4" fmla="*/ 241 w 325"/>
                      <a:gd name="T5" fmla="*/ 11 h 333"/>
                      <a:gd name="T6" fmla="*/ 232 w 325"/>
                      <a:gd name="T7" fmla="*/ 14 h 333"/>
                      <a:gd name="T8" fmla="*/ 227 w 325"/>
                      <a:gd name="T9" fmla="*/ 17 h 333"/>
                      <a:gd name="T10" fmla="*/ 229 w 325"/>
                      <a:gd name="T11" fmla="*/ 7 h 333"/>
                      <a:gd name="T12" fmla="*/ 199 w 325"/>
                      <a:gd name="T13" fmla="*/ 22 h 333"/>
                      <a:gd name="T14" fmla="*/ 187 w 325"/>
                      <a:gd name="T15" fmla="*/ 24 h 333"/>
                      <a:gd name="T16" fmla="*/ 180 w 325"/>
                      <a:gd name="T17" fmla="*/ 20 h 333"/>
                      <a:gd name="T18" fmla="*/ 181 w 325"/>
                      <a:gd name="T19" fmla="*/ 25 h 333"/>
                      <a:gd name="T20" fmla="*/ 174 w 325"/>
                      <a:gd name="T21" fmla="*/ 32 h 333"/>
                      <a:gd name="T22" fmla="*/ 155 w 325"/>
                      <a:gd name="T23" fmla="*/ 46 h 333"/>
                      <a:gd name="T24" fmla="*/ 150 w 325"/>
                      <a:gd name="T25" fmla="*/ 47 h 333"/>
                      <a:gd name="T26" fmla="*/ 128 w 325"/>
                      <a:gd name="T27" fmla="*/ 48 h 333"/>
                      <a:gd name="T28" fmla="*/ 130 w 325"/>
                      <a:gd name="T29" fmla="*/ 61 h 333"/>
                      <a:gd name="T30" fmla="*/ 138 w 325"/>
                      <a:gd name="T31" fmla="*/ 53 h 333"/>
                      <a:gd name="T32" fmla="*/ 126 w 325"/>
                      <a:gd name="T33" fmla="*/ 54 h 333"/>
                      <a:gd name="T34" fmla="*/ 125 w 325"/>
                      <a:gd name="T35" fmla="*/ 61 h 333"/>
                      <a:gd name="T36" fmla="*/ 99 w 325"/>
                      <a:gd name="T37" fmla="*/ 72 h 333"/>
                      <a:gd name="T38" fmla="*/ 309 w 325"/>
                      <a:gd name="T39" fmla="*/ 27 h 333"/>
                      <a:gd name="T40" fmla="*/ 298 w 325"/>
                      <a:gd name="T41" fmla="*/ 7 h 333"/>
                      <a:gd name="T42" fmla="*/ 280 w 325"/>
                      <a:gd name="T43" fmla="*/ 6 h 333"/>
                      <a:gd name="T44" fmla="*/ 262 w 325"/>
                      <a:gd name="T45" fmla="*/ 18 h 333"/>
                      <a:gd name="T46" fmla="*/ 252 w 325"/>
                      <a:gd name="T47" fmla="*/ 4 h 333"/>
                      <a:gd name="T48" fmla="*/ 238 w 325"/>
                      <a:gd name="T49" fmla="*/ 17 h 333"/>
                      <a:gd name="T50" fmla="*/ 211 w 325"/>
                      <a:gd name="T51" fmla="*/ 18 h 333"/>
                      <a:gd name="T52" fmla="*/ 209 w 325"/>
                      <a:gd name="T53" fmla="*/ 27 h 333"/>
                      <a:gd name="T54" fmla="*/ 190 w 325"/>
                      <a:gd name="T55" fmla="*/ 36 h 333"/>
                      <a:gd name="T56" fmla="*/ 183 w 325"/>
                      <a:gd name="T57" fmla="*/ 32 h 333"/>
                      <a:gd name="T58" fmla="*/ 173 w 325"/>
                      <a:gd name="T59" fmla="*/ 42 h 333"/>
                      <a:gd name="T60" fmla="*/ 155 w 325"/>
                      <a:gd name="T61" fmla="*/ 54 h 333"/>
                      <a:gd name="T62" fmla="*/ 144 w 325"/>
                      <a:gd name="T63" fmla="*/ 61 h 333"/>
                      <a:gd name="T64" fmla="*/ 134 w 325"/>
                      <a:gd name="T65" fmla="*/ 78 h 333"/>
                      <a:gd name="T66" fmla="*/ 119 w 325"/>
                      <a:gd name="T67" fmla="*/ 84 h 333"/>
                      <a:gd name="T68" fmla="*/ 111 w 325"/>
                      <a:gd name="T69" fmla="*/ 105 h 333"/>
                      <a:gd name="T70" fmla="*/ 92 w 325"/>
                      <a:gd name="T71" fmla="*/ 136 h 333"/>
                      <a:gd name="T72" fmla="*/ 59 w 325"/>
                      <a:gd name="T73" fmla="*/ 176 h 333"/>
                      <a:gd name="T74" fmla="*/ 38 w 325"/>
                      <a:gd name="T75" fmla="*/ 200 h 333"/>
                      <a:gd name="T76" fmla="*/ 24 w 325"/>
                      <a:gd name="T77" fmla="*/ 215 h 333"/>
                      <a:gd name="T78" fmla="*/ 2 w 325"/>
                      <a:gd name="T79" fmla="*/ 234 h 333"/>
                      <a:gd name="T80" fmla="*/ 20 w 325"/>
                      <a:gd name="T81" fmla="*/ 252 h 333"/>
                      <a:gd name="T82" fmla="*/ 14 w 325"/>
                      <a:gd name="T83" fmla="*/ 257 h 333"/>
                      <a:gd name="T84" fmla="*/ 4 w 325"/>
                      <a:gd name="T85" fmla="*/ 273 h 333"/>
                      <a:gd name="T86" fmla="*/ 12 w 325"/>
                      <a:gd name="T87" fmla="*/ 280 h 333"/>
                      <a:gd name="T88" fmla="*/ 11 w 325"/>
                      <a:gd name="T89" fmla="*/ 294 h 333"/>
                      <a:gd name="T90" fmla="*/ 9 w 325"/>
                      <a:gd name="T91" fmla="*/ 315 h 333"/>
                      <a:gd name="T92" fmla="*/ 20 w 325"/>
                      <a:gd name="T93" fmla="*/ 327 h 333"/>
                      <a:gd name="T94" fmla="*/ 53 w 325"/>
                      <a:gd name="T95" fmla="*/ 307 h 333"/>
                      <a:gd name="T96" fmla="*/ 72 w 325"/>
                      <a:gd name="T97" fmla="*/ 290 h 333"/>
                      <a:gd name="T98" fmla="*/ 86 w 325"/>
                      <a:gd name="T99" fmla="*/ 309 h 333"/>
                      <a:gd name="T100" fmla="*/ 92 w 325"/>
                      <a:gd name="T101" fmla="*/ 254 h 333"/>
                      <a:gd name="T102" fmla="*/ 98 w 325"/>
                      <a:gd name="T103" fmla="*/ 173 h 333"/>
                      <a:gd name="T104" fmla="*/ 118 w 325"/>
                      <a:gd name="T105" fmla="*/ 112 h 333"/>
                      <a:gd name="T106" fmla="*/ 150 w 325"/>
                      <a:gd name="T107" fmla="*/ 72 h 333"/>
                      <a:gd name="T108" fmla="*/ 189 w 325"/>
                      <a:gd name="T109" fmla="*/ 55 h 333"/>
                      <a:gd name="T110" fmla="*/ 232 w 325"/>
                      <a:gd name="T111" fmla="*/ 53 h 333"/>
                      <a:gd name="T112" fmla="*/ 266 w 325"/>
                      <a:gd name="T113" fmla="*/ 31 h 333"/>
                      <a:gd name="T114" fmla="*/ 308 w 325"/>
                      <a:gd name="T115" fmla="*/ 37 h 333"/>
                      <a:gd name="T116" fmla="*/ 71 w 325"/>
                      <a:gd name="T117" fmla="*/ 172 h 333"/>
                      <a:gd name="T118" fmla="*/ 77 w 325"/>
                      <a:gd name="T119" fmla="*/ 267 h 333"/>
                      <a:gd name="T120" fmla="*/ 83 w 325"/>
                      <a:gd name="T121" fmla="*/ 214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333">
                        <a:moveTo>
                          <a:pt x="264" y="3"/>
                        </a:moveTo>
                        <a:cubicBezTo>
                          <a:pt x="262" y="0"/>
                          <a:pt x="262" y="0"/>
                          <a:pt x="262" y="0"/>
                        </a:cubicBezTo>
                        <a:cubicBezTo>
                          <a:pt x="257" y="1"/>
                          <a:pt x="257" y="1"/>
                          <a:pt x="257" y="1"/>
                        </a:cubicBezTo>
                        <a:cubicBezTo>
                          <a:pt x="259" y="3"/>
                          <a:pt x="259" y="3"/>
                          <a:pt x="259" y="3"/>
                        </a:cubicBezTo>
                        <a:lnTo>
                          <a:pt x="264" y="3"/>
                        </a:lnTo>
                        <a:close/>
                        <a:moveTo>
                          <a:pt x="251" y="1"/>
                        </a:moveTo>
                        <a:cubicBezTo>
                          <a:pt x="246" y="3"/>
                          <a:pt x="246" y="3"/>
                          <a:pt x="246" y="3"/>
                        </a:cubicBezTo>
                        <a:cubicBezTo>
                          <a:pt x="253" y="3"/>
                          <a:pt x="253" y="3"/>
                          <a:pt x="253" y="3"/>
                        </a:cubicBezTo>
                        <a:lnTo>
                          <a:pt x="251" y="1"/>
                        </a:lnTo>
                        <a:close/>
                        <a:moveTo>
                          <a:pt x="242" y="3"/>
                        </a:moveTo>
                        <a:cubicBezTo>
                          <a:pt x="241" y="2"/>
                          <a:pt x="241" y="2"/>
                          <a:pt x="241" y="2"/>
                        </a:cubicBezTo>
                        <a:cubicBezTo>
                          <a:pt x="238" y="2"/>
                          <a:pt x="238" y="2"/>
                          <a:pt x="238" y="2"/>
                        </a:cubicBezTo>
                        <a:cubicBezTo>
                          <a:pt x="235" y="4"/>
                          <a:pt x="235" y="4"/>
                          <a:pt x="235" y="4"/>
                        </a:cubicBezTo>
                        <a:cubicBezTo>
                          <a:pt x="239" y="6"/>
                          <a:pt x="239" y="6"/>
                          <a:pt x="239" y="6"/>
                        </a:cubicBezTo>
                        <a:lnTo>
                          <a:pt x="242" y="3"/>
                        </a:lnTo>
                        <a:close/>
                        <a:moveTo>
                          <a:pt x="238" y="10"/>
                        </a:moveTo>
                        <a:cubicBezTo>
                          <a:pt x="239" y="11"/>
                          <a:pt x="239" y="11"/>
                          <a:pt x="239" y="11"/>
                        </a:cubicBezTo>
                        <a:cubicBezTo>
                          <a:pt x="241" y="11"/>
                          <a:pt x="241" y="11"/>
                          <a:pt x="241" y="11"/>
                        </a:cubicBezTo>
                        <a:cubicBezTo>
                          <a:pt x="243" y="10"/>
                          <a:pt x="243" y="10"/>
                          <a:pt x="243" y="10"/>
                        </a:cubicBezTo>
                        <a:cubicBezTo>
                          <a:pt x="240" y="9"/>
                          <a:pt x="240" y="9"/>
                          <a:pt x="240" y="9"/>
                        </a:cubicBezTo>
                        <a:lnTo>
                          <a:pt x="238" y="10"/>
                        </a:lnTo>
                        <a:close/>
                        <a:moveTo>
                          <a:pt x="237" y="15"/>
                        </a:moveTo>
                        <a:cubicBezTo>
                          <a:pt x="235" y="13"/>
                          <a:pt x="235" y="13"/>
                          <a:pt x="235" y="13"/>
                        </a:cubicBezTo>
                        <a:cubicBezTo>
                          <a:pt x="232" y="14"/>
                          <a:pt x="232" y="14"/>
                          <a:pt x="232" y="14"/>
                        </a:cubicBezTo>
                        <a:cubicBezTo>
                          <a:pt x="232" y="15"/>
                          <a:pt x="232" y="15"/>
                          <a:pt x="232" y="15"/>
                        </a:cubicBezTo>
                        <a:cubicBezTo>
                          <a:pt x="234" y="16"/>
                          <a:pt x="234" y="16"/>
                          <a:pt x="234" y="16"/>
                        </a:cubicBezTo>
                        <a:lnTo>
                          <a:pt x="237" y="15"/>
                        </a:lnTo>
                        <a:close/>
                        <a:moveTo>
                          <a:pt x="225" y="20"/>
                        </a:moveTo>
                        <a:cubicBezTo>
                          <a:pt x="227" y="19"/>
                          <a:pt x="227" y="19"/>
                          <a:pt x="227" y="19"/>
                        </a:cubicBezTo>
                        <a:cubicBezTo>
                          <a:pt x="227" y="17"/>
                          <a:pt x="227" y="17"/>
                          <a:pt x="227" y="17"/>
                        </a:cubicBezTo>
                        <a:cubicBezTo>
                          <a:pt x="225" y="16"/>
                          <a:pt x="225" y="16"/>
                          <a:pt x="225" y="16"/>
                        </a:cubicBezTo>
                        <a:cubicBezTo>
                          <a:pt x="223" y="18"/>
                          <a:pt x="223" y="18"/>
                          <a:pt x="223" y="18"/>
                        </a:cubicBezTo>
                        <a:lnTo>
                          <a:pt x="225" y="20"/>
                        </a:lnTo>
                        <a:close/>
                        <a:moveTo>
                          <a:pt x="217" y="15"/>
                        </a:moveTo>
                        <a:cubicBezTo>
                          <a:pt x="228" y="11"/>
                          <a:pt x="228" y="11"/>
                          <a:pt x="228" y="11"/>
                        </a:cubicBezTo>
                        <a:cubicBezTo>
                          <a:pt x="229" y="7"/>
                          <a:pt x="229" y="7"/>
                          <a:pt x="229" y="7"/>
                        </a:cubicBezTo>
                        <a:cubicBezTo>
                          <a:pt x="225" y="8"/>
                          <a:pt x="225" y="8"/>
                          <a:pt x="225" y="8"/>
                        </a:cubicBezTo>
                        <a:cubicBezTo>
                          <a:pt x="220" y="11"/>
                          <a:pt x="220" y="11"/>
                          <a:pt x="220" y="11"/>
                        </a:cubicBezTo>
                        <a:cubicBezTo>
                          <a:pt x="212" y="12"/>
                          <a:pt x="212" y="12"/>
                          <a:pt x="212" y="12"/>
                        </a:cubicBezTo>
                        <a:cubicBezTo>
                          <a:pt x="214" y="14"/>
                          <a:pt x="214" y="14"/>
                          <a:pt x="214" y="14"/>
                        </a:cubicBezTo>
                        <a:lnTo>
                          <a:pt x="217" y="15"/>
                        </a:lnTo>
                        <a:close/>
                        <a:moveTo>
                          <a:pt x="199" y="22"/>
                        </a:moveTo>
                        <a:cubicBezTo>
                          <a:pt x="198" y="20"/>
                          <a:pt x="198" y="20"/>
                          <a:pt x="198" y="20"/>
                        </a:cubicBezTo>
                        <a:cubicBezTo>
                          <a:pt x="194" y="23"/>
                          <a:pt x="194" y="23"/>
                          <a:pt x="194" y="23"/>
                        </a:cubicBezTo>
                        <a:cubicBezTo>
                          <a:pt x="193" y="24"/>
                          <a:pt x="193" y="24"/>
                          <a:pt x="193" y="24"/>
                        </a:cubicBezTo>
                        <a:cubicBezTo>
                          <a:pt x="197" y="25"/>
                          <a:pt x="197" y="25"/>
                          <a:pt x="197" y="25"/>
                        </a:cubicBezTo>
                        <a:lnTo>
                          <a:pt x="199" y="22"/>
                        </a:lnTo>
                        <a:close/>
                        <a:moveTo>
                          <a:pt x="187" y="24"/>
                        </a:moveTo>
                        <a:cubicBezTo>
                          <a:pt x="187" y="21"/>
                          <a:pt x="187" y="21"/>
                          <a:pt x="187" y="21"/>
                        </a:cubicBezTo>
                        <a:cubicBezTo>
                          <a:pt x="186" y="20"/>
                          <a:pt x="186" y="20"/>
                          <a:pt x="186" y="20"/>
                        </a:cubicBezTo>
                        <a:cubicBezTo>
                          <a:pt x="183" y="22"/>
                          <a:pt x="183" y="22"/>
                          <a:pt x="183" y="22"/>
                        </a:cubicBezTo>
                        <a:cubicBezTo>
                          <a:pt x="184" y="25"/>
                          <a:pt x="184" y="25"/>
                          <a:pt x="184" y="25"/>
                        </a:cubicBezTo>
                        <a:lnTo>
                          <a:pt x="187" y="24"/>
                        </a:lnTo>
                        <a:close/>
                        <a:moveTo>
                          <a:pt x="180" y="20"/>
                        </a:moveTo>
                        <a:cubicBezTo>
                          <a:pt x="174" y="21"/>
                          <a:pt x="174" y="21"/>
                          <a:pt x="174" y="21"/>
                        </a:cubicBezTo>
                        <a:cubicBezTo>
                          <a:pt x="174" y="23"/>
                          <a:pt x="174" y="23"/>
                          <a:pt x="174" y="23"/>
                        </a:cubicBezTo>
                        <a:cubicBezTo>
                          <a:pt x="181" y="23"/>
                          <a:pt x="181" y="23"/>
                          <a:pt x="181" y="23"/>
                        </a:cubicBezTo>
                        <a:lnTo>
                          <a:pt x="180" y="20"/>
                        </a:lnTo>
                        <a:close/>
                        <a:moveTo>
                          <a:pt x="182" y="29"/>
                        </a:moveTo>
                        <a:cubicBezTo>
                          <a:pt x="181" y="25"/>
                          <a:pt x="181" y="25"/>
                          <a:pt x="181" y="25"/>
                        </a:cubicBezTo>
                        <a:cubicBezTo>
                          <a:pt x="174" y="25"/>
                          <a:pt x="174" y="25"/>
                          <a:pt x="174" y="25"/>
                        </a:cubicBezTo>
                        <a:cubicBezTo>
                          <a:pt x="172" y="28"/>
                          <a:pt x="172" y="28"/>
                          <a:pt x="172" y="28"/>
                        </a:cubicBezTo>
                        <a:cubicBezTo>
                          <a:pt x="173" y="29"/>
                          <a:pt x="173" y="29"/>
                          <a:pt x="173" y="29"/>
                        </a:cubicBezTo>
                        <a:lnTo>
                          <a:pt x="182" y="29"/>
                        </a:lnTo>
                        <a:close/>
                        <a:moveTo>
                          <a:pt x="174" y="34"/>
                        </a:moveTo>
                        <a:cubicBezTo>
                          <a:pt x="174" y="32"/>
                          <a:pt x="174" y="32"/>
                          <a:pt x="174" y="32"/>
                        </a:cubicBezTo>
                        <a:cubicBezTo>
                          <a:pt x="169" y="31"/>
                          <a:pt x="169" y="31"/>
                          <a:pt x="169" y="31"/>
                        </a:cubicBezTo>
                        <a:cubicBezTo>
                          <a:pt x="164" y="33"/>
                          <a:pt x="164" y="33"/>
                          <a:pt x="164" y="33"/>
                        </a:cubicBezTo>
                        <a:cubicBezTo>
                          <a:pt x="161" y="36"/>
                          <a:pt x="161" y="36"/>
                          <a:pt x="161" y="36"/>
                        </a:cubicBezTo>
                        <a:cubicBezTo>
                          <a:pt x="169" y="37"/>
                          <a:pt x="169" y="37"/>
                          <a:pt x="169" y="37"/>
                        </a:cubicBezTo>
                        <a:lnTo>
                          <a:pt x="174" y="34"/>
                        </a:lnTo>
                        <a:close/>
                        <a:moveTo>
                          <a:pt x="155" y="46"/>
                        </a:moveTo>
                        <a:cubicBezTo>
                          <a:pt x="158" y="42"/>
                          <a:pt x="158" y="42"/>
                          <a:pt x="158" y="42"/>
                        </a:cubicBezTo>
                        <a:cubicBezTo>
                          <a:pt x="162" y="39"/>
                          <a:pt x="162" y="39"/>
                          <a:pt x="162" y="39"/>
                        </a:cubicBezTo>
                        <a:cubicBezTo>
                          <a:pt x="157" y="38"/>
                          <a:pt x="157" y="38"/>
                          <a:pt x="157" y="38"/>
                        </a:cubicBezTo>
                        <a:cubicBezTo>
                          <a:pt x="149" y="41"/>
                          <a:pt x="149" y="41"/>
                          <a:pt x="149" y="41"/>
                        </a:cubicBezTo>
                        <a:cubicBezTo>
                          <a:pt x="147" y="46"/>
                          <a:pt x="147" y="46"/>
                          <a:pt x="147" y="46"/>
                        </a:cubicBezTo>
                        <a:cubicBezTo>
                          <a:pt x="150" y="47"/>
                          <a:pt x="150" y="47"/>
                          <a:pt x="150" y="47"/>
                        </a:cubicBezTo>
                        <a:lnTo>
                          <a:pt x="155" y="46"/>
                        </a:lnTo>
                        <a:close/>
                        <a:moveTo>
                          <a:pt x="136" y="48"/>
                        </a:moveTo>
                        <a:cubicBezTo>
                          <a:pt x="143" y="42"/>
                          <a:pt x="143" y="42"/>
                          <a:pt x="143" y="42"/>
                        </a:cubicBezTo>
                        <a:cubicBezTo>
                          <a:pt x="138" y="43"/>
                          <a:pt x="138" y="43"/>
                          <a:pt x="138" y="43"/>
                        </a:cubicBezTo>
                        <a:cubicBezTo>
                          <a:pt x="131" y="46"/>
                          <a:pt x="131" y="46"/>
                          <a:pt x="131" y="46"/>
                        </a:cubicBezTo>
                        <a:cubicBezTo>
                          <a:pt x="128" y="48"/>
                          <a:pt x="128" y="48"/>
                          <a:pt x="128" y="48"/>
                        </a:cubicBezTo>
                        <a:cubicBezTo>
                          <a:pt x="132" y="49"/>
                          <a:pt x="132" y="49"/>
                          <a:pt x="132" y="49"/>
                        </a:cubicBezTo>
                        <a:lnTo>
                          <a:pt x="136" y="48"/>
                        </a:lnTo>
                        <a:close/>
                        <a:moveTo>
                          <a:pt x="138" y="53"/>
                        </a:moveTo>
                        <a:cubicBezTo>
                          <a:pt x="134" y="52"/>
                          <a:pt x="134" y="52"/>
                          <a:pt x="134" y="52"/>
                        </a:cubicBezTo>
                        <a:cubicBezTo>
                          <a:pt x="133" y="57"/>
                          <a:pt x="133" y="57"/>
                          <a:pt x="133" y="57"/>
                        </a:cubicBezTo>
                        <a:cubicBezTo>
                          <a:pt x="130" y="61"/>
                          <a:pt x="130" y="61"/>
                          <a:pt x="130" y="61"/>
                        </a:cubicBezTo>
                        <a:cubicBezTo>
                          <a:pt x="132" y="63"/>
                          <a:pt x="132" y="63"/>
                          <a:pt x="132" y="63"/>
                        </a:cubicBezTo>
                        <a:cubicBezTo>
                          <a:pt x="137" y="61"/>
                          <a:pt x="137" y="61"/>
                          <a:pt x="137" y="61"/>
                        </a:cubicBezTo>
                        <a:cubicBezTo>
                          <a:pt x="141" y="56"/>
                          <a:pt x="141" y="56"/>
                          <a:pt x="141" y="56"/>
                        </a:cubicBezTo>
                        <a:cubicBezTo>
                          <a:pt x="146" y="53"/>
                          <a:pt x="146" y="53"/>
                          <a:pt x="146" y="53"/>
                        </a:cubicBezTo>
                        <a:cubicBezTo>
                          <a:pt x="143" y="52"/>
                          <a:pt x="143" y="52"/>
                          <a:pt x="143" y="52"/>
                        </a:cubicBezTo>
                        <a:lnTo>
                          <a:pt x="138" y="53"/>
                        </a:lnTo>
                        <a:close/>
                        <a:moveTo>
                          <a:pt x="126" y="54"/>
                        </a:moveTo>
                        <a:cubicBezTo>
                          <a:pt x="126" y="52"/>
                          <a:pt x="126" y="52"/>
                          <a:pt x="126" y="52"/>
                        </a:cubicBezTo>
                        <a:cubicBezTo>
                          <a:pt x="121" y="52"/>
                          <a:pt x="121" y="52"/>
                          <a:pt x="121" y="52"/>
                        </a:cubicBezTo>
                        <a:cubicBezTo>
                          <a:pt x="119" y="54"/>
                          <a:pt x="119" y="54"/>
                          <a:pt x="119" y="54"/>
                        </a:cubicBezTo>
                        <a:cubicBezTo>
                          <a:pt x="121" y="55"/>
                          <a:pt x="121" y="55"/>
                          <a:pt x="121" y="55"/>
                        </a:cubicBezTo>
                        <a:lnTo>
                          <a:pt x="126" y="54"/>
                        </a:lnTo>
                        <a:close/>
                        <a:moveTo>
                          <a:pt x="125" y="61"/>
                        </a:moveTo>
                        <a:cubicBezTo>
                          <a:pt x="125" y="60"/>
                          <a:pt x="125" y="60"/>
                          <a:pt x="125" y="60"/>
                        </a:cubicBezTo>
                        <a:cubicBezTo>
                          <a:pt x="122" y="60"/>
                          <a:pt x="122" y="60"/>
                          <a:pt x="122" y="60"/>
                        </a:cubicBezTo>
                        <a:cubicBezTo>
                          <a:pt x="119" y="62"/>
                          <a:pt x="119" y="62"/>
                          <a:pt x="119" y="62"/>
                        </a:cubicBezTo>
                        <a:cubicBezTo>
                          <a:pt x="120" y="64"/>
                          <a:pt x="120" y="64"/>
                          <a:pt x="120" y="64"/>
                        </a:cubicBezTo>
                        <a:lnTo>
                          <a:pt x="125" y="61"/>
                        </a:lnTo>
                        <a:close/>
                        <a:moveTo>
                          <a:pt x="107" y="67"/>
                        </a:moveTo>
                        <a:cubicBezTo>
                          <a:pt x="112" y="65"/>
                          <a:pt x="112" y="65"/>
                          <a:pt x="112" y="65"/>
                        </a:cubicBezTo>
                        <a:cubicBezTo>
                          <a:pt x="111" y="64"/>
                          <a:pt x="111" y="64"/>
                          <a:pt x="111" y="64"/>
                        </a:cubicBezTo>
                        <a:cubicBezTo>
                          <a:pt x="107" y="64"/>
                          <a:pt x="107" y="64"/>
                          <a:pt x="107" y="64"/>
                        </a:cubicBezTo>
                        <a:cubicBezTo>
                          <a:pt x="99" y="68"/>
                          <a:pt x="99" y="68"/>
                          <a:pt x="99" y="68"/>
                        </a:cubicBezTo>
                        <a:cubicBezTo>
                          <a:pt x="99" y="72"/>
                          <a:pt x="99" y="72"/>
                          <a:pt x="99" y="72"/>
                        </a:cubicBezTo>
                        <a:cubicBezTo>
                          <a:pt x="101" y="70"/>
                          <a:pt x="101" y="70"/>
                          <a:pt x="101" y="70"/>
                        </a:cubicBezTo>
                        <a:lnTo>
                          <a:pt x="107" y="67"/>
                        </a:lnTo>
                        <a:close/>
                        <a:moveTo>
                          <a:pt x="320" y="28"/>
                        </a:moveTo>
                        <a:cubicBezTo>
                          <a:pt x="313" y="31"/>
                          <a:pt x="313" y="31"/>
                          <a:pt x="313" y="31"/>
                        </a:cubicBezTo>
                        <a:cubicBezTo>
                          <a:pt x="309" y="30"/>
                          <a:pt x="309" y="30"/>
                          <a:pt x="309" y="30"/>
                        </a:cubicBezTo>
                        <a:cubicBezTo>
                          <a:pt x="309" y="27"/>
                          <a:pt x="309" y="27"/>
                          <a:pt x="309" y="27"/>
                        </a:cubicBezTo>
                        <a:cubicBezTo>
                          <a:pt x="298" y="23"/>
                          <a:pt x="298" y="23"/>
                          <a:pt x="298" y="23"/>
                        </a:cubicBezTo>
                        <a:cubicBezTo>
                          <a:pt x="299" y="21"/>
                          <a:pt x="299" y="21"/>
                          <a:pt x="299" y="21"/>
                        </a:cubicBezTo>
                        <a:cubicBezTo>
                          <a:pt x="313" y="23"/>
                          <a:pt x="313" y="23"/>
                          <a:pt x="313" y="23"/>
                        </a:cubicBezTo>
                        <a:cubicBezTo>
                          <a:pt x="322" y="17"/>
                          <a:pt x="322" y="17"/>
                          <a:pt x="322" y="17"/>
                        </a:cubicBezTo>
                        <a:cubicBezTo>
                          <a:pt x="304" y="6"/>
                          <a:pt x="304" y="6"/>
                          <a:pt x="304" y="6"/>
                        </a:cubicBezTo>
                        <a:cubicBezTo>
                          <a:pt x="298" y="7"/>
                          <a:pt x="298" y="7"/>
                          <a:pt x="298" y="7"/>
                        </a:cubicBezTo>
                        <a:cubicBezTo>
                          <a:pt x="294" y="12"/>
                          <a:pt x="294" y="12"/>
                          <a:pt x="294" y="12"/>
                        </a:cubicBezTo>
                        <a:cubicBezTo>
                          <a:pt x="289" y="9"/>
                          <a:pt x="289" y="9"/>
                          <a:pt x="289" y="9"/>
                        </a:cubicBezTo>
                        <a:cubicBezTo>
                          <a:pt x="295" y="6"/>
                          <a:pt x="295" y="6"/>
                          <a:pt x="295" y="6"/>
                        </a:cubicBezTo>
                        <a:cubicBezTo>
                          <a:pt x="289" y="2"/>
                          <a:pt x="289" y="2"/>
                          <a:pt x="289" y="2"/>
                        </a:cubicBezTo>
                        <a:cubicBezTo>
                          <a:pt x="278" y="1"/>
                          <a:pt x="278" y="1"/>
                          <a:pt x="278" y="1"/>
                        </a:cubicBezTo>
                        <a:cubicBezTo>
                          <a:pt x="280" y="6"/>
                          <a:pt x="280" y="6"/>
                          <a:pt x="280" y="6"/>
                        </a:cubicBezTo>
                        <a:cubicBezTo>
                          <a:pt x="275" y="12"/>
                          <a:pt x="275" y="12"/>
                          <a:pt x="275" y="12"/>
                        </a:cubicBezTo>
                        <a:cubicBezTo>
                          <a:pt x="272" y="10"/>
                          <a:pt x="272" y="10"/>
                          <a:pt x="272" y="10"/>
                        </a:cubicBezTo>
                        <a:cubicBezTo>
                          <a:pt x="275" y="6"/>
                          <a:pt x="275" y="6"/>
                          <a:pt x="275" y="6"/>
                        </a:cubicBezTo>
                        <a:cubicBezTo>
                          <a:pt x="269" y="6"/>
                          <a:pt x="269" y="6"/>
                          <a:pt x="269" y="6"/>
                        </a:cubicBezTo>
                        <a:cubicBezTo>
                          <a:pt x="264" y="13"/>
                          <a:pt x="264" y="13"/>
                          <a:pt x="264" y="13"/>
                        </a:cubicBezTo>
                        <a:cubicBezTo>
                          <a:pt x="262" y="18"/>
                          <a:pt x="262" y="18"/>
                          <a:pt x="262" y="18"/>
                        </a:cubicBezTo>
                        <a:cubicBezTo>
                          <a:pt x="252" y="23"/>
                          <a:pt x="252" y="23"/>
                          <a:pt x="252" y="23"/>
                        </a:cubicBezTo>
                        <a:cubicBezTo>
                          <a:pt x="253" y="15"/>
                          <a:pt x="253" y="15"/>
                          <a:pt x="253" y="15"/>
                        </a:cubicBezTo>
                        <a:cubicBezTo>
                          <a:pt x="258" y="11"/>
                          <a:pt x="258" y="11"/>
                          <a:pt x="258" y="11"/>
                        </a:cubicBezTo>
                        <a:cubicBezTo>
                          <a:pt x="263" y="7"/>
                          <a:pt x="263" y="7"/>
                          <a:pt x="263" y="7"/>
                        </a:cubicBezTo>
                        <a:cubicBezTo>
                          <a:pt x="262" y="5"/>
                          <a:pt x="262" y="5"/>
                          <a:pt x="262" y="5"/>
                        </a:cubicBezTo>
                        <a:cubicBezTo>
                          <a:pt x="252" y="4"/>
                          <a:pt x="252" y="4"/>
                          <a:pt x="252" y="4"/>
                        </a:cubicBezTo>
                        <a:cubicBezTo>
                          <a:pt x="248" y="5"/>
                          <a:pt x="248" y="5"/>
                          <a:pt x="248" y="5"/>
                        </a:cubicBezTo>
                        <a:cubicBezTo>
                          <a:pt x="246" y="7"/>
                          <a:pt x="246" y="7"/>
                          <a:pt x="246" y="7"/>
                        </a:cubicBezTo>
                        <a:cubicBezTo>
                          <a:pt x="250" y="11"/>
                          <a:pt x="250" y="11"/>
                          <a:pt x="250" y="11"/>
                        </a:cubicBezTo>
                        <a:cubicBezTo>
                          <a:pt x="246" y="12"/>
                          <a:pt x="246" y="12"/>
                          <a:pt x="246" y="12"/>
                        </a:cubicBezTo>
                        <a:cubicBezTo>
                          <a:pt x="244" y="16"/>
                          <a:pt x="244" y="16"/>
                          <a:pt x="244" y="16"/>
                        </a:cubicBezTo>
                        <a:cubicBezTo>
                          <a:pt x="238" y="17"/>
                          <a:pt x="238" y="17"/>
                          <a:pt x="238" y="17"/>
                        </a:cubicBezTo>
                        <a:cubicBezTo>
                          <a:pt x="233" y="21"/>
                          <a:pt x="233" y="21"/>
                          <a:pt x="233" y="21"/>
                        </a:cubicBezTo>
                        <a:cubicBezTo>
                          <a:pt x="235" y="26"/>
                          <a:pt x="235" y="26"/>
                          <a:pt x="235" y="26"/>
                        </a:cubicBezTo>
                        <a:cubicBezTo>
                          <a:pt x="226" y="26"/>
                          <a:pt x="226" y="26"/>
                          <a:pt x="226" y="26"/>
                        </a:cubicBezTo>
                        <a:cubicBezTo>
                          <a:pt x="225" y="24"/>
                          <a:pt x="225" y="24"/>
                          <a:pt x="225" y="24"/>
                        </a:cubicBezTo>
                        <a:cubicBezTo>
                          <a:pt x="218" y="19"/>
                          <a:pt x="218" y="19"/>
                          <a:pt x="218" y="19"/>
                        </a:cubicBezTo>
                        <a:cubicBezTo>
                          <a:pt x="211" y="18"/>
                          <a:pt x="211" y="18"/>
                          <a:pt x="211" y="18"/>
                        </a:cubicBezTo>
                        <a:cubicBezTo>
                          <a:pt x="207" y="19"/>
                          <a:pt x="207" y="19"/>
                          <a:pt x="207" y="19"/>
                        </a:cubicBezTo>
                        <a:cubicBezTo>
                          <a:pt x="205" y="22"/>
                          <a:pt x="205" y="22"/>
                          <a:pt x="205" y="22"/>
                        </a:cubicBezTo>
                        <a:cubicBezTo>
                          <a:pt x="216" y="26"/>
                          <a:pt x="216" y="26"/>
                          <a:pt x="216" y="26"/>
                        </a:cubicBezTo>
                        <a:cubicBezTo>
                          <a:pt x="215" y="29"/>
                          <a:pt x="215" y="29"/>
                          <a:pt x="215" y="29"/>
                        </a:cubicBezTo>
                        <a:cubicBezTo>
                          <a:pt x="211" y="29"/>
                          <a:pt x="211" y="29"/>
                          <a:pt x="211" y="29"/>
                        </a:cubicBezTo>
                        <a:cubicBezTo>
                          <a:pt x="209" y="27"/>
                          <a:pt x="209" y="27"/>
                          <a:pt x="209" y="27"/>
                        </a:cubicBezTo>
                        <a:cubicBezTo>
                          <a:pt x="202" y="28"/>
                          <a:pt x="202" y="28"/>
                          <a:pt x="202" y="28"/>
                        </a:cubicBezTo>
                        <a:cubicBezTo>
                          <a:pt x="198" y="30"/>
                          <a:pt x="198" y="30"/>
                          <a:pt x="198" y="30"/>
                        </a:cubicBezTo>
                        <a:cubicBezTo>
                          <a:pt x="198" y="36"/>
                          <a:pt x="198" y="36"/>
                          <a:pt x="198" y="36"/>
                        </a:cubicBezTo>
                        <a:cubicBezTo>
                          <a:pt x="195" y="39"/>
                          <a:pt x="195" y="39"/>
                          <a:pt x="195" y="39"/>
                        </a:cubicBezTo>
                        <a:cubicBezTo>
                          <a:pt x="191" y="39"/>
                          <a:pt x="191" y="39"/>
                          <a:pt x="191" y="39"/>
                        </a:cubicBezTo>
                        <a:cubicBezTo>
                          <a:pt x="190" y="36"/>
                          <a:pt x="190" y="36"/>
                          <a:pt x="190" y="36"/>
                        </a:cubicBezTo>
                        <a:cubicBezTo>
                          <a:pt x="192" y="31"/>
                          <a:pt x="192" y="31"/>
                          <a:pt x="192" y="31"/>
                        </a:cubicBezTo>
                        <a:cubicBezTo>
                          <a:pt x="194" y="28"/>
                          <a:pt x="194" y="28"/>
                          <a:pt x="194" y="28"/>
                        </a:cubicBezTo>
                        <a:cubicBezTo>
                          <a:pt x="190" y="27"/>
                          <a:pt x="190" y="27"/>
                          <a:pt x="190" y="27"/>
                        </a:cubicBezTo>
                        <a:cubicBezTo>
                          <a:pt x="187" y="29"/>
                          <a:pt x="187" y="29"/>
                          <a:pt x="187" y="29"/>
                        </a:cubicBezTo>
                        <a:cubicBezTo>
                          <a:pt x="184" y="35"/>
                          <a:pt x="184" y="35"/>
                          <a:pt x="184" y="35"/>
                        </a:cubicBezTo>
                        <a:cubicBezTo>
                          <a:pt x="183" y="32"/>
                          <a:pt x="183" y="32"/>
                          <a:pt x="183" y="32"/>
                        </a:cubicBezTo>
                        <a:cubicBezTo>
                          <a:pt x="179" y="32"/>
                          <a:pt x="179" y="32"/>
                          <a:pt x="179" y="32"/>
                        </a:cubicBezTo>
                        <a:cubicBezTo>
                          <a:pt x="177" y="35"/>
                          <a:pt x="177" y="35"/>
                          <a:pt x="177" y="35"/>
                        </a:cubicBezTo>
                        <a:cubicBezTo>
                          <a:pt x="181" y="39"/>
                          <a:pt x="181" y="39"/>
                          <a:pt x="181" y="39"/>
                        </a:cubicBezTo>
                        <a:cubicBezTo>
                          <a:pt x="179" y="40"/>
                          <a:pt x="179" y="40"/>
                          <a:pt x="179" y="40"/>
                        </a:cubicBezTo>
                        <a:cubicBezTo>
                          <a:pt x="174" y="38"/>
                          <a:pt x="174" y="38"/>
                          <a:pt x="174" y="38"/>
                        </a:cubicBezTo>
                        <a:cubicBezTo>
                          <a:pt x="173" y="42"/>
                          <a:pt x="173" y="42"/>
                          <a:pt x="173" y="42"/>
                        </a:cubicBezTo>
                        <a:cubicBezTo>
                          <a:pt x="170" y="44"/>
                          <a:pt x="170" y="44"/>
                          <a:pt x="170" y="44"/>
                        </a:cubicBezTo>
                        <a:cubicBezTo>
                          <a:pt x="168" y="41"/>
                          <a:pt x="168" y="41"/>
                          <a:pt x="168" y="41"/>
                        </a:cubicBezTo>
                        <a:cubicBezTo>
                          <a:pt x="162" y="43"/>
                          <a:pt x="162" y="43"/>
                          <a:pt x="162" y="43"/>
                        </a:cubicBezTo>
                        <a:cubicBezTo>
                          <a:pt x="158" y="48"/>
                          <a:pt x="158" y="48"/>
                          <a:pt x="158" y="48"/>
                        </a:cubicBezTo>
                        <a:cubicBezTo>
                          <a:pt x="159" y="51"/>
                          <a:pt x="159" y="51"/>
                          <a:pt x="159" y="51"/>
                        </a:cubicBezTo>
                        <a:cubicBezTo>
                          <a:pt x="155" y="54"/>
                          <a:pt x="155" y="54"/>
                          <a:pt x="155" y="54"/>
                        </a:cubicBezTo>
                        <a:cubicBezTo>
                          <a:pt x="147" y="54"/>
                          <a:pt x="147" y="54"/>
                          <a:pt x="147" y="54"/>
                        </a:cubicBezTo>
                        <a:cubicBezTo>
                          <a:pt x="142" y="59"/>
                          <a:pt x="142" y="59"/>
                          <a:pt x="142" y="59"/>
                        </a:cubicBezTo>
                        <a:cubicBezTo>
                          <a:pt x="149" y="58"/>
                          <a:pt x="149" y="58"/>
                          <a:pt x="149" y="58"/>
                        </a:cubicBezTo>
                        <a:cubicBezTo>
                          <a:pt x="154" y="58"/>
                          <a:pt x="154" y="58"/>
                          <a:pt x="154" y="58"/>
                        </a:cubicBezTo>
                        <a:cubicBezTo>
                          <a:pt x="153" y="61"/>
                          <a:pt x="153" y="61"/>
                          <a:pt x="153" y="61"/>
                        </a:cubicBezTo>
                        <a:cubicBezTo>
                          <a:pt x="144" y="61"/>
                          <a:pt x="144" y="61"/>
                          <a:pt x="144" y="61"/>
                        </a:cubicBezTo>
                        <a:cubicBezTo>
                          <a:pt x="144" y="67"/>
                          <a:pt x="144" y="67"/>
                          <a:pt x="144" y="67"/>
                        </a:cubicBezTo>
                        <a:cubicBezTo>
                          <a:pt x="140" y="69"/>
                          <a:pt x="140" y="69"/>
                          <a:pt x="140" y="69"/>
                        </a:cubicBezTo>
                        <a:cubicBezTo>
                          <a:pt x="137" y="65"/>
                          <a:pt x="137" y="65"/>
                          <a:pt x="137" y="65"/>
                        </a:cubicBezTo>
                        <a:cubicBezTo>
                          <a:pt x="126" y="75"/>
                          <a:pt x="126" y="75"/>
                          <a:pt x="126" y="75"/>
                        </a:cubicBezTo>
                        <a:cubicBezTo>
                          <a:pt x="135" y="75"/>
                          <a:pt x="135" y="75"/>
                          <a:pt x="135" y="75"/>
                        </a:cubicBezTo>
                        <a:cubicBezTo>
                          <a:pt x="134" y="78"/>
                          <a:pt x="134" y="78"/>
                          <a:pt x="134" y="78"/>
                        </a:cubicBezTo>
                        <a:cubicBezTo>
                          <a:pt x="128" y="78"/>
                          <a:pt x="128" y="78"/>
                          <a:pt x="128" y="78"/>
                        </a:cubicBezTo>
                        <a:cubicBezTo>
                          <a:pt x="123" y="79"/>
                          <a:pt x="123" y="79"/>
                          <a:pt x="123" y="79"/>
                        </a:cubicBezTo>
                        <a:cubicBezTo>
                          <a:pt x="123" y="81"/>
                          <a:pt x="123" y="81"/>
                          <a:pt x="123" y="81"/>
                        </a:cubicBezTo>
                        <a:cubicBezTo>
                          <a:pt x="129" y="81"/>
                          <a:pt x="129" y="81"/>
                          <a:pt x="129" y="81"/>
                        </a:cubicBezTo>
                        <a:cubicBezTo>
                          <a:pt x="124" y="85"/>
                          <a:pt x="124" y="85"/>
                          <a:pt x="124" y="85"/>
                        </a:cubicBezTo>
                        <a:cubicBezTo>
                          <a:pt x="119" y="84"/>
                          <a:pt x="119" y="84"/>
                          <a:pt x="119" y="84"/>
                        </a:cubicBezTo>
                        <a:cubicBezTo>
                          <a:pt x="113" y="88"/>
                          <a:pt x="113" y="88"/>
                          <a:pt x="113" y="88"/>
                        </a:cubicBezTo>
                        <a:cubicBezTo>
                          <a:pt x="105" y="96"/>
                          <a:pt x="105" y="96"/>
                          <a:pt x="105" y="96"/>
                        </a:cubicBezTo>
                        <a:cubicBezTo>
                          <a:pt x="101" y="98"/>
                          <a:pt x="101" y="98"/>
                          <a:pt x="101" y="98"/>
                        </a:cubicBezTo>
                        <a:cubicBezTo>
                          <a:pt x="101" y="104"/>
                          <a:pt x="101" y="104"/>
                          <a:pt x="101" y="104"/>
                        </a:cubicBezTo>
                        <a:cubicBezTo>
                          <a:pt x="108" y="102"/>
                          <a:pt x="108" y="102"/>
                          <a:pt x="108" y="102"/>
                        </a:cubicBezTo>
                        <a:cubicBezTo>
                          <a:pt x="111" y="105"/>
                          <a:pt x="111" y="105"/>
                          <a:pt x="111" y="105"/>
                        </a:cubicBezTo>
                        <a:cubicBezTo>
                          <a:pt x="107" y="109"/>
                          <a:pt x="107" y="109"/>
                          <a:pt x="107" y="109"/>
                        </a:cubicBezTo>
                        <a:cubicBezTo>
                          <a:pt x="99" y="110"/>
                          <a:pt x="99" y="110"/>
                          <a:pt x="99" y="110"/>
                        </a:cubicBezTo>
                        <a:cubicBezTo>
                          <a:pt x="98" y="118"/>
                          <a:pt x="98" y="118"/>
                          <a:pt x="98" y="118"/>
                        </a:cubicBezTo>
                        <a:cubicBezTo>
                          <a:pt x="95" y="128"/>
                          <a:pt x="95" y="128"/>
                          <a:pt x="95" y="128"/>
                        </a:cubicBezTo>
                        <a:cubicBezTo>
                          <a:pt x="92" y="133"/>
                          <a:pt x="92" y="133"/>
                          <a:pt x="92" y="133"/>
                        </a:cubicBezTo>
                        <a:cubicBezTo>
                          <a:pt x="92" y="136"/>
                          <a:pt x="92" y="136"/>
                          <a:pt x="92" y="136"/>
                        </a:cubicBezTo>
                        <a:cubicBezTo>
                          <a:pt x="96" y="135"/>
                          <a:pt x="96" y="135"/>
                          <a:pt x="96" y="135"/>
                        </a:cubicBezTo>
                        <a:cubicBezTo>
                          <a:pt x="93" y="140"/>
                          <a:pt x="93" y="140"/>
                          <a:pt x="93" y="140"/>
                        </a:cubicBezTo>
                        <a:cubicBezTo>
                          <a:pt x="87" y="141"/>
                          <a:pt x="87" y="141"/>
                          <a:pt x="87" y="141"/>
                        </a:cubicBezTo>
                        <a:cubicBezTo>
                          <a:pt x="76" y="155"/>
                          <a:pt x="76" y="155"/>
                          <a:pt x="76" y="155"/>
                        </a:cubicBezTo>
                        <a:cubicBezTo>
                          <a:pt x="76" y="160"/>
                          <a:pt x="76" y="160"/>
                          <a:pt x="76" y="160"/>
                        </a:cubicBezTo>
                        <a:cubicBezTo>
                          <a:pt x="59" y="176"/>
                          <a:pt x="59" y="176"/>
                          <a:pt x="59" y="176"/>
                        </a:cubicBezTo>
                        <a:cubicBezTo>
                          <a:pt x="56" y="186"/>
                          <a:pt x="56" y="186"/>
                          <a:pt x="56" y="186"/>
                        </a:cubicBezTo>
                        <a:cubicBezTo>
                          <a:pt x="53" y="189"/>
                          <a:pt x="53" y="189"/>
                          <a:pt x="53" y="189"/>
                        </a:cubicBezTo>
                        <a:cubicBezTo>
                          <a:pt x="51" y="192"/>
                          <a:pt x="51" y="192"/>
                          <a:pt x="51" y="192"/>
                        </a:cubicBezTo>
                        <a:cubicBezTo>
                          <a:pt x="47" y="191"/>
                          <a:pt x="47" y="191"/>
                          <a:pt x="47" y="191"/>
                        </a:cubicBezTo>
                        <a:cubicBezTo>
                          <a:pt x="39" y="196"/>
                          <a:pt x="39" y="196"/>
                          <a:pt x="39" y="196"/>
                        </a:cubicBezTo>
                        <a:cubicBezTo>
                          <a:pt x="38" y="200"/>
                          <a:pt x="38" y="200"/>
                          <a:pt x="38" y="200"/>
                        </a:cubicBezTo>
                        <a:cubicBezTo>
                          <a:pt x="32" y="200"/>
                          <a:pt x="32" y="200"/>
                          <a:pt x="32" y="200"/>
                        </a:cubicBezTo>
                        <a:cubicBezTo>
                          <a:pt x="26" y="204"/>
                          <a:pt x="26" y="204"/>
                          <a:pt x="26" y="204"/>
                        </a:cubicBezTo>
                        <a:cubicBezTo>
                          <a:pt x="26" y="209"/>
                          <a:pt x="26" y="209"/>
                          <a:pt x="26" y="209"/>
                        </a:cubicBezTo>
                        <a:cubicBezTo>
                          <a:pt x="21" y="210"/>
                          <a:pt x="21" y="210"/>
                          <a:pt x="21" y="210"/>
                        </a:cubicBezTo>
                        <a:cubicBezTo>
                          <a:pt x="20" y="213"/>
                          <a:pt x="20" y="213"/>
                          <a:pt x="20" y="213"/>
                        </a:cubicBezTo>
                        <a:cubicBezTo>
                          <a:pt x="24" y="215"/>
                          <a:pt x="24" y="215"/>
                          <a:pt x="24" y="215"/>
                        </a:cubicBezTo>
                        <a:cubicBezTo>
                          <a:pt x="24" y="218"/>
                          <a:pt x="24" y="218"/>
                          <a:pt x="24" y="218"/>
                        </a:cubicBezTo>
                        <a:cubicBezTo>
                          <a:pt x="14" y="218"/>
                          <a:pt x="14" y="218"/>
                          <a:pt x="14" y="218"/>
                        </a:cubicBezTo>
                        <a:cubicBezTo>
                          <a:pt x="9" y="225"/>
                          <a:pt x="9" y="225"/>
                          <a:pt x="9" y="225"/>
                        </a:cubicBezTo>
                        <a:cubicBezTo>
                          <a:pt x="5" y="226"/>
                          <a:pt x="5" y="226"/>
                          <a:pt x="5" y="226"/>
                        </a:cubicBezTo>
                        <a:cubicBezTo>
                          <a:pt x="2" y="230"/>
                          <a:pt x="2" y="230"/>
                          <a:pt x="2" y="230"/>
                        </a:cubicBezTo>
                        <a:cubicBezTo>
                          <a:pt x="2" y="234"/>
                          <a:pt x="2" y="234"/>
                          <a:pt x="2" y="234"/>
                        </a:cubicBezTo>
                        <a:cubicBezTo>
                          <a:pt x="0" y="236"/>
                          <a:pt x="0" y="236"/>
                          <a:pt x="0" y="236"/>
                        </a:cubicBezTo>
                        <a:cubicBezTo>
                          <a:pt x="1" y="244"/>
                          <a:pt x="1" y="244"/>
                          <a:pt x="1" y="244"/>
                        </a:cubicBezTo>
                        <a:cubicBezTo>
                          <a:pt x="0" y="253"/>
                          <a:pt x="0" y="253"/>
                          <a:pt x="0" y="253"/>
                        </a:cubicBezTo>
                        <a:cubicBezTo>
                          <a:pt x="6" y="254"/>
                          <a:pt x="6" y="254"/>
                          <a:pt x="6" y="254"/>
                        </a:cubicBezTo>
                        <a:cubicBezTo>
                          <a:pt x="9" y="252"/>
                          <a:pt x="9" y="252"/>
                          <a:pt x="9" y="252"/>
                        </a:cubicBezTo>
                        <a:cubicBezTo>
                          <a:pt x="20" y="252"/>
                          <a:pt x="20" y="252"/>
                          <a:pt x="20" y="252"/>
                        </a:cubicBezTo>
                        <a:cubicBezTo>
                          <a:pt x="24" y="250"/>
                          <a:pt x="24" y="250"/>
                          <a:pt x="24" y="250"/>
                        </a:cubicBezTo>
                        <a:cubicBezTo>
                          <a:pt x="29" y="249"/>
                          <a:pt x="29" y="249"/>
                          <a:pt x="29" y="249"/>
                        </a:cubicBezTo>
                        <a:cubicBezTo>
                          <a:pt x="29" y="252"/>
                          <a:pt x="29" y="252"/>
                          <a:pt x="29" y="252"/>
                        </a:cubicBezTo>
                        <a:cubicBezTo>
                          <a:pt x="23" y="254"/>
                          <a:pt x="23" y="254"/>
                          <a:pt x="23" y="254"/>
                        </a:cubicBezTo>
                        <a:cubicBezTo>
                          <a:pt x="19" y="255"/>
                          <a:pt x="19" y="255"/>
                          <a:pt x="19" y="255"/>
                        </a:cubicBezTo>
                        <a:cubicBezTo>
                          <a:pt x="14" y="257"/>
                          <a:pt x="14" y="257"/>
                          <a:pt x="14" y="257"/>
                        </a:cubicBezTo>
                        <a:cubicBezTo>
                          <a:pt x="10" y="256"/>
                          <a:pt x="10" y="256"/>
                          <a:pt x="10" y="256"/>
                        </a:cubicBezTo>
                        <a:cubicBezTo>
                          <a:pt x="2" y="258"/>
                          <a:pt x="2" y="258"/>
                          <a:pt x="2" y="258"/>
                        </a:cubicBezTo>
                        <a:cubicBezTo>
                          <a:pt x="3" y="263"/>
                          <a:pt x="3" y="263"/>
                          <a:pt x="3" y="263"/>
                        </a:cubicBezTo>
                        <a:cubicBezTo>
                          <a:pt x="6" y="265"/>
                          <a:pt x="6" y="265"/>
                          <a:pt x="6" y="265"/>
                        </a:cubicBezTo>
                        <a:cubicBezTo>
                          <a:pt x="8" y="268"/>
                          <a:pt x="8" y="268"/>
                          <a:pt x="8" y="268"/>
                        </a:cubicBezTo>
                        <a:cubicBezTo>
                          <a:pt x="4" y="273"/>
                          <a:pt x="4" y="273"/>
                          <a:pt x="4" y="273"/>
                        </a:cubicBezTo>
                        <a:cubicBezTo>
                          <a:pt x="7" y="275"/>
                          <a:pt x="7" y="275"/>
                          <a:pt x="7" y="275"/>
                        </a:cubicBezTo>
                        <a:cubicBezTo>
                          <a:pt x="12" y="275"/>
                          <a:pt x="12" y="275"/>
                          <a:pt x="12" y="275"/>
                        </a:cubicBezTo>
                        <a:cubicBezTo>
                          <a:pt x="17" y="269"/>
                          <a:pt x="17" y="269"/>
                          <a:pt x="17" y="269"/>
                        </a:cubicBezTo>
                        <a:cubicBezTo>
                          <a:pt x="20" y="268"/>
                          <a:pt x="20" y="268"/>
                          <a:pt x="20" y="268"/>
                        </a:cubicBezTo>
                        <a:cubicBezTo>
                          <a:pt x="19" y="273"/>
                          <a:pt x="19" y="273"/>
                          <a:pt x="19" y="273"/>
                        </a:cubicBezTo>
                        <a:cubicBezTo>
                          <a:pt x="12" y="280"/>
                          <a:pt x="12" y="280"/>
                          <a:pt x="12" y="280"/>
                        </a:cubicBezTo>
                        <a:cubicBezTo>
                          <a:pt x="11" y="286"/>
                          <a:pt x="11" y="286"/>
                          <a:pt x="11" y="286"/>
                        </a:cubicBezTo>
                        <a:cubicBezTo>
                          <a:pt x="5" y="288"/>
                          <a:pt x="5" y="288"/>
                          <a:pt x="5" y="288"/>
                        </a:cubicBezTo>
                        <a:cubicBezTo>
                          <a:pt x="3" y="292"/>
                          <a:pt x="3" y="292"/>
                          <a:pt x="3" y="292"/>
                        </a:cubicBezTo>
                        <a:cubicBezTo>
                          <a:pt x="4" y="298"/>
                          <a:pt x="4" y="298"/>
                          <a:pt x="4" y="298"/>
                        </a:cubicBezTo>
                        <a:cubicBezTo>
                          <a:pt x="9" y="297"/>
                          <a:pt x="9" y="297"/>
                          <a:pt x="9" y="297"/>
                        </a:cubicBezTo>
                        <a:cubicBezTo>
                          <a:pt x="11" y="294"/>
                          <a:pt x="11" y="294"/>
                          <a:pt x="11" y="294"/>
                        </a:cubicBezTo>
                        <a:cubicBezTo>
                          <a:pt x="15" y="294"/>
                          <a:pt x="15" y="294"/>
                          <a:pt x="15" y="294"/>
                        </a:cubicBezTo>
                        <a:cubicBezTo>
                          <a:pt x="12" y="299"/>
                          <a:pt x="12" y="299"/>
                          <a:pt x="12" y="299"/>
                        </a:cubicBezTo>
                        <a:cubicBezTo>
                          <a:pt x="12" y="304"/>
                          <a:pt x="12" y="304"/>
                          <a:pt x="12" y="304"/>
                        </a:cubicBezTo>
                        <a:cubicBezTo>
                          <a:pt x="6" y="306"/>
                          <a:pt x="6" y="306"/>
                          <a:pt x="6" y="306"/>
                        </a:cubicBezTo>
                        <a:cubicBezTo>
                          <a:pt x="5" y="310"/>
                          <a:pt x="5" y="310"/>
                          <a:pt x="5" y="310"/>
                        </a:cubicBezTo>
                        <a:cubicBezTo>
                          <a:pt x="9" y="315"/>
                          <a:pt x="9" y="315"/>
                          <a:pt x="9" y="315"/>
                        </a:cubicBezTo>
                        <a:cubicBezTo>
                          <a:pt x="12" y="316"/>
                          <a:pt x="12" y="316"/>
                          <a:pt x="12" y="316"/>
                        </a:cubicBezTo>
                        <a:cubicBezTo>
                          <a:pt x="12" y="322"/>
                          <a:pt x="12" y="322"/>
                          <a:pt x="12" y="322"/>
                        </a:cubicBezTo>
                        <a:cubicBezTo>
                          <a:pt x="18" y="322"/>
                          <a:pt x="18" y="322"/>
                          <a:pt x="18" y="322"/>
                        </a:cubicBezTo>
                        <a:cubicBezTo>
                          <a:pt x="20" y="320"/>
                          <a:pt x="20" y="320"/>
                          <a:pt x="20" y="320"/>
                        </a:cubicBezTo>
                        <a:cubicBezTo>
                          <a:pt x="24" y="321"/>
                          <a:pt x="24" y="321"/>
                          <a:pt x="24" y="321"/>
                        </a:cubicBezTo>
                        <a:cubicBezTo>
                          <a:pt x="20" y="327"/>
                          <a:pt x="20" y="327"/>
                          <a:pt x="20" y="327"/>
                        </a:cubicBezTo>
                        <a:cubicBezTo>
                          <a:pt x="24" y="333"/>
                          <a:pt x="24" y="333"/>
                          <a:pt x="24" y="333"/>
                        </a:cubicBezTo>
                        <a:cubicBezTo>
                          <a:pt x="32" y="330"/>
                          <a:pt x="32" y="330"/>
                          <a:pt x="32" y="330"/>
                        </a:cubicBezTo>
                        <a:cubicBezTo>
                          <a:pt x="39" y="325"/>
                          <a:pt x="39" y="325"/>
                          <a:pt x="39" y="325"/>
                        </a:cubicBezTo>
                        <a:cubicBezTo>
                          <a:pt x="45" y="322"/>
                          <a:pt x="45" y="322"/>
                          <a:pt x="45" y="322"/>
                        </a:cubicBezTo>
                        <a:cubicBezTo>
                          <a:pt x="53" y="310"/>
                          <a:pt x="53" y="310"/>
                          <a:pt x="53" y="310"/>
                        </a:cubicBezTo>
                        <a:cubicBezTo>
                          <a:pt x="53" y="307"/>
                          <a:pt x="53" y="307"/>
                          <a:pt x="53" y="307"/>
                        </a:cubicBezTo>
                        <a:cubicBezTo>
                          <a:pt x="58" y="303"/>
                          <a:pt x="58" y="303"/>
                          <a:pt x="58" y="303"/>
                        </a:cubicBezTo>
                        <a:cubicBezTo>
                          <a:pt x="57" y="306"/>
                          <a:pt x="57" y="306"/>
                          <a:pt x="57" y="306"/>
                        </a:cubicBezTo>
                        <a:cubicBezTo>
                          <a:pt x="63" y="305"/>
                          <a:pt x="63" y="305"/>
                          <a:pt x="63" y="305"/>
                        </a:cubicBezTo>
                        <a:cubicBezTo>
                          <a:pt x="69" y="300"/>
                          <a:pt x="69" y="300"/>
                          <a:pt x="69" y="300"/>
                        </a:cubicBezTo>
                        <a:cubicBezTo>
                          <a:pt x="69" y="293"/>
                          <a:pt x="69" y="293"/>
                          <a:pt x="69" y="293"/>
                        </a:cubicBezTo>
                        <a:cubicBezTo>
                          <a:pt x="72" y="290"/>
                          <a:pt x="72" y="290"/>
                          <a:pt x="72" y="290"/>
                        </a:cubicBezTo>
                        <a:cubicBezTo>
                          <a:pt x="75" y="292"/>
                          <a:pt x="75" y="292"/>
                          <a:pt x="75" y="292"/>
                        </a:cubicBezTo>
                        <a:cubicBezTo>
                          <a:pt x="74" y="299"/>
                          <a:pt x="74" y="299"/>
                          <a:pt x="74" y="299"/>
                        </a:cubicBezTo>
                        <a:cubicBezTo>
                          <a:pt x="80" y="305"/>
                          <a:pt x="80" y="305"/>
                          <a:pt x="80" y="305"/>
                        </a:cubicBezTo>
                        <a:cubicBezTo>
                          <a:pt x="80" y="313"/>
                          <a:pt x="80" y="313"/>
                          <a:pt x="80" y="313"/>
                        </a:cubicBezTo>
                        <a:cubicBezTo>
                          <a:pt x="83" y="321"/>
                          <a:pt x="83" y="321"/>
                          <a:pt x="83" y="321"/>
                        </a:cubicBezTo>
                        <a:cubicBezTo>
                          <a:pt x="86" y="309"/>
                          <a:pt x="86" y="309"/>
                          <a:pt x="86" y="309"/>
                        </a:cubicBezTo>
                        <a:cubicBezTo>
                          <a:pt x="87" y="303"/>
                          <a:pt x="87" y="303"/>
                          <a:pt x="87" y="303"/>
                        </a:cubicBezTo>
                        <a:cubicBezTo>
                          <a:pt x="90" y="279"/>
                          <a:pt x="90" y="279"/>
                          <a:pt x="90" y="279"/>
                        </a:cubicBezTo>
                        <a:cubicBezTo>
                          <a:pt x="94" y="274"/>
                          <a:pt x="94" y="274"/>
                          <a:pt x="94" y="274"/>
                        </a:cubicBezTo>
                        <a:cubicBezTo>
                          <a:pt x="96" y="265"/>
                          <a:pt x="96" y="265"/>
                          <a:pt x="96" y="265"/>
                        </a:cubicBezTo>
                        <a:cubicBezTo>
                          <a:pt x="91" y="258"/>
                          <a:pt x="91" y="258"/>
                          <a:pt x="91" y="258"/>
                        </a:cubicBezTo>
                        <a:cubicBezTo>
                          <a:pt x="92" y="254"/>
                          <a:pt x="92" y="254"/>
                          <a:pt x="92" y="254"/>
                        </a:cubicBezTo>
                        <a:cubicBezTo>
                          <a:pt x="99" y="251"/>
                          <a:pt x="99" y="251"/>
                          <a:pt x="99" y="251"/>
                        </a:cubicBezTo>
                        <a:cubicBezTo>
                          <a:pt x="99" y="240"/>
                          <a:pt x="99" y="240"/>
                          <a:pt x="99" y="240"/>
                        </a:cubicBezTo>
                        <a:cubicBezTo>
                          <a:pt x="93" y="233"/>
                          <a:pt x="93" y="233"/>
                          <a:pt x="93" y="233"/>
                        </a:cubicBezTo>
                        <a:cubicBezTo>
                          <a:pt x="91" y="202"/>
                          <a:pt x="91" y="202"/>
                          <a:pt x="91" y="202"/>
                        </a:cubicBezTo>
                        <a:cubicBezTo>
                          <a:pt x="91" y="180"/>
                          <a:pt x="91" y="180"/>
                          <a:pt x="91" y="180"/>
                        </a:cubicBezTo>
                        <a:cubicBezTo>
                          <a:pt x="98" y="173"/>
                          <a:pt x="98" y="173"/>
                          <a:pt x="98" y="173"/>
                        </a:cubicBezTo>
                        <a:cubicBezTo>
                          <a:pt x="110" y="175"/>
                          <a:pt x="110" y="175"/>
                          <a:pt x="110" y="175"/>
                        </a:cubicBezTo>
                        <a:cubicBezTo>
                          <a:pt x="118" y="167"/>
                          <a:pt x="118" y="167"/>
                          <a:pt x="118" y="167"/>
                        </a:cubicBezTo>
                        <a:cubicBezTo>
                          <a:pt x="110" y="157"/>
                          <a:pt x="110" y="157"/>
                          <a:pt x="110" y="157"/>
                        </a:cubicBezTo>
                        <a:cubicBezTo>
                          <a:pt x="119" y="144"/>
                          <a:pt x="119" y="144"/>
                          <a:pt x="119" y="144"/>
                        </a:cubicBezTo>
                        <a:cubicBezTo>
                          <a:pt x="121" y="120"/>
                          <a:pt x="121" y="120"/>
                          <a:pt x="121" y="120"/>
                        </a:cubicBezTo>
                        <a:cubicBezTo>
                          <a:pt x="118" y="112"/>
                          <a:pt x="118" y="112"/>
                          <a:pt x="118" y="112"/>
                        </a:cubicBezTo>
                        <a:cubicBezTo>
                          <a:pt x="122" y="105"/>
                          <a:pt x="122" y="105"/>
                          <a:pt x="122" y="105"/>
                        </a:cubicBezTo>
                        <a:cubicBezTo>
                          <a:pt x="129" y="102"/>
                          <a:pt x="129" y="102"/>
                          <a:pt x="129" y="102"/>
                        </a:cubicBezTo>
                        <a:cubicBezTo>
                          <a:pt x="144" y="88"/>
                          <a:pt x="144" y="88"/>
                          <a:pt x="144" y="88"/>
                        </a:cubicBezTo>
                        <a:cubicBezTo>
                          <a:pt x="145" y="82"/>
                          <a:pt x="145" y="82"/>
                          <a:pt x="145" y="82"/>
                        </a:cubicBezTo>
                        <a:cubicBezTo>
                          <a:pt x="140" y="80"/>
                          <a:pt x="140" y="80"/>
                          <a:pt x="140" y="80"/>
                        </a:cubicBezTo>
                        <a:cubicBezTo>
                          <a:pt x="150" y="72"/>
                          <a:pt x="150" y="72"/>
                          <a:pt x="150" y="72"/>
                        </a:cubicBezTo>
                        <a:cubicBezTo>
                          <a:pt x="154" y="66"/>
                          <a:pt x="154" y="66"/>
                          <a:pt x="154" y="66"/>
                        </a:cubicBezTo>
                        <a:cubicBezTo>
                          <a:pt x="164" y="63"/>
                          <a:pt x="164" y="63"/>
                          <a:pt x="164" y="63"/>
                        </a:cubicBezTo>
                        <a:cubicBezTo>
                          <a:pt x="167" y="55"/>
                          <a:pt x="167" y="55"/>
                          <a:pt x="167" y="55"/>
                        </a:cubicBezTo>
                        <a:cubicBezTo>
                          <a:pt x="174" y="55"/>
                          <a:pt x="174" y="55"/>
                          <a:pt x="174" y="55"/>
                        </a:cubicBezTo>
                        <a:cubicBezTo>
                          <a:pt x="181" y="56"/>
                          <a:pt x="181" y="56"/>
                          <a:pt x="181" y="56"/>
                        </a:cubicBezTo>
                        <a:cubicBezTo>
                          <a:pt x="189" y="55"/>
                          <a:pt x="189" y="55"/>
                          <a:pt x="189" y="55"/>
                        </a:cubicBezTo>
                        <a:cubicBezTo>
                          <a:pt x="191" y="45"/>
                          <a:pt x="191" y="45"/>
                          <a:pt x="191" y="45"/>
                        </a:cubicBezTo>
                        <a:cubicBezTo>
                          <a:pt x="198" y="44"/>
                          <a:pt x="198" y="44"/>
                          <a:pt x="198" y="44"/>
                        </a:cubicBezTo>
                        <a:cubicBezTo>
                          <a:pt x="204" y="40"/>
                          <a:pt x="204" y="40"/>
                          <a:pt x="204" y="40"/>
                        </a:cubicBezTo>
                        <a:cubicBezTo>
                          <a:pt x="211" y="41"/>
                          <a:pt x="211" y="41"/>
                          <a:pt x="211" y="41"/>
                        </a:cubicBezTo>
                        <a:cubicBezTo>
                          <a:pt x="223" y="51"/>
                          <a:pt x="223" y="51"/>
                          <a:pt x="223" y="51"/>
                        </a:cubicBezTo>
                        <a:cubicBezTo>
                          <a:pt x="232" y="53"/>
                          <a:pt x="232" y="53"/>
                          <a:pt x="232" y="53"/>
                        </a:cubicBezTo>
                        <a:cubicBezTo>
                          <a:pt x="240" y="49"/>
                          <a:pt x="240" y="49"/>
                          <a:pt x="240" y="49"/>
                        </a:cubicBezTo>
                        <a:cubicBezTo>
                          <a:pt x="247" y="49"/>
                          <a:pt x="247" y="49"/>
                          <a:pt x="247" y="49"/>
                        </a:cubicBezTo>
                        <a:cubicBezTo>
                          <a:pt x="253" y="52"/>
                          <a:pt x="253" y="52"/>
                          <a:pt x="253" y="52"/>
                        </a:cubicBezTo>
                        <a:cubicBezTo>
                          <a:pt x="256" y="52"/>
                          <a:pt x="256" y="52"/>
                          <a:pt x="256" y="52"/>
                        </a:cubicBezTo>
                        <a:cubicBezTo>
                          <a:pt x="265" y="45"/>
                          <a:pt x="265" y="45"/>
                          <a:pt x="265" y="45"/>
                        </a:cubicBezTo>
                        <a:cubicBezTo>
                          <a:pt x="266" y="31"/>
                          <a:pt x="266" y="31"/>
                          <a:pt x="266" y="31"/>
                        </a:cubicBezTo>
                        <a:cubicBezTo>
                          <a:pt x="278" y="25"/>
                          <a:pt x="278" y="25"/>
                          <a:pt x="278" y="25"/>
                        </a:cubicBezTo>
                        <a:cubicBezTo>
                          <a:pt x="289" y="25"/>
                          <a:pt x="289" y="25"/>
                          <a:pt x="289" y="25"/>
                        </a:cubicBezTo>
                        <a:cubicBezTo>
                          <a:pt x="300" y="31"/>
                          <a:pt x="300" y="31"/>
                          <a:pt x="300" y="31"/>
                        </a:cubicBezTo>
                        <a:cubicBezTo>
                          <a:pt x="301" y="43"/>
                          <a:pt x="301" y="43"/>
                          <a:pt x="301" y="43"/>
                        </a:cubicBezTo>
                        <a:cubicBezTo>
                          <a:pt x="307" y="40"/>
                          <a:pt x="307" y="40"/>
                          <a:pt x="307" y="40"/>
                        </a:cubicBezTo>
                        <a:cubicBezTo>
                          <a:pt x="308" y="37"/>
                          <a:pt x="308" y="37"/>
                          <a:pt x="308" y="37"/>
                        </a:cubicBezTo>
                        <a:cubicBezTo>
                          <a:pt x="325" y="31"/>
                          <a:pt x="325" y="31"/>
                          <a:pt x="325" y="31"/>
                        </a:cubicBezTo>
                        <a:lnTo>
                          <a:pt x="320" y="28"/>
                        </a:lnTo>
                        <a:close/>
                        <a:moveTo>
                          <a:pt x="60" y="182"/>
                        </a:moveTo>
                        <a:cubicBezTo>
                          <a:pt x="60" y="180"/>
                          <a:pt x="62" y="181"/>
                          <a:pt x="63" y="181"/>
                        </a:cubicBezTo>
                        <a:cubicBezTo>
                          <a:pt x="64" y="181"/>
                          <a:pt x="64" y="183"/>
                          <a:pt x="66" y="182"/>
                        </a:cubicBezTo>
                        <a:cubicBezTo>
                          <a:pt x="68" y="179"/>
                          <a:pt x="67" y="175"/>
                          <a:pt x="71" y="172"/>
                        </a:cubicBezTo>
                        <a:cubicBezTo>
                          <a:pt x="72" y="171"/>
                          <a:pt x="74" y="172"/>
                          <a:pt x="76" y="172"/>
                        </a:cubicBezTo>
                        <a:cubicBezTo>
                          <a:pt x="77" y="173"/>
                          <a:pt x="76" y="175"/>
                          <a:pt x="77" y="176"/>
                        </a:cubicBezTo>
                        <a:cubicBezTo>
                          <a:pt x="74" y="179"/>
                          <a:pt x="71" y="174"/>
                          <a:pt x="70" y="179"/>
                        </a:cubicBezTo>
                        <a:cubicBezTo>
                          <a:pt x="69" y="181"/>
                          <a:pt x="69" y="184"/>
                          <a:pt x="67" y="185"/>
                        </a:cubicBezTo>
                        <a:cubicBezTo>
                          <a:pt x="64" y="186"/>
                          <a:pt x="61" y="185"/>
                          <a:pt x="60" y="182"/>
                        </a:cubicBezTo>
                        <a:close/>
                        <a:moveTo>
                          <a:pt x="77" y="267"/>
                        </a:moveTo>
                        <a:cubicBezTo>
                          <a:pt x="76" y="268"/>
                          <a:pt x="75" y="268"/>
                          <a:pt x="74" y="268"/>
                        </a:cubicBezTo>
                        <a:cubicBezTo>
                          <a:pt x="72" y="262"/>
                          <a:pt x="65" y="258"/>
                          <a:pt x="65" y="252"/>
                        </a:cubicBezTo>
                        <a:cubicBezTo>
                          <a:pt x="66" y="251"/>
                          <a:pt x="66" y="251"/>
                          <a:pt x="66" y="251"/>
                        </a:cubicBezTo>
                        <a:cubicBezTo>
                          <a:pt x="70" y="257"/>
                          <a:pt x="80" y="259"/>
                          <a:pt x="77" y="267"/>
                        </a:cubicBezTo>
                        <a:close/>
                        <a:moveTo>
                          <a:pt x="84" y="225"/>
                        </a:moveTo>
                        <a:cubicBezTo>
                          <a:pt x="81" y="223"/>
                          <a:pt x="81" y="217"/>
                          <a:pt x="83" y="214"/>
                        </a:cubicBezTo>
                        <a:cubicBezTo>
                          <a:pt x="85" y="214"/>
                          <a:pt x="85" y="217"/>
                          <a:pt x="86" y="219"/>
                        </a:cubicBezTo>
                        <a:cubicBezTo>
                          <a:pt x="84" y="221"/>
                          <a:pt x="87" y="224"/>
                          <a:pt x="84" y="225"/>
                        </a:cubicBezTo>
                        <a:close/>
                      </a:path>
                    </a:pathLst>
                  </a:custGeom>
                  <a:noFill/>
                  <a:ln>
                    <a:noFill/>
                  </a:ln>
                  <a:effectLst/>
                  <a:extLst>
                    <a:ext uri="{909E8E84-426E-40DD-AFC4-6F175D3DCCD1}">
                      <a14:hiddenFill xmlns:a14="http://schemas.microsoft.com/office/drawing/2010/main">
                        <a:solidFill>
                          <a:schemeClr val="tx2">
                            <a:alpha val="50000"/>
                          </a:schemeClr>
                        </a:solidFill>
                      </a14:hiddenFill>
                    </a:ext>
                    <a:ext uri="{91240B29-F687-4F45-9708-019B960494DF}">
                      <a14:hiddenLine xmlns:a14="http://schemas.microsoft.com/office/drawing/2010/main" w="3175" cap="flat" cmpd="sng">
                        <a:solidFill>
                          <a:schemeClr val="bg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nvGrpSpPr>
                  <p:cNvPr id="92" name="Group 49"/>
                  <p:cNvGrpSpPr>
                    <a:grpSpLocks noChangeAspect="1"/>
                  </p:cNvGrpSpPr>
                  <p:nvPr/>
                </p:nvGrpSpPr>
                <p:grpSpPr bwMode="auto">
                  <a:xfrm>
                    <a:off x="3327" y="-3357"/>
                    <a:ext cx="5822" cy="8808"/>
                    <a:chOff x="3327" y="-3357"/>
                    <a:chExt cx="5822" cy="8808"/>
                  </a:xfrm>
                </p:grpSpPr>
                <p:sp>
                  <p:nvSpPr>
                    <p:cNvPr id="93" name="Freeform 50"/>
                    <p:cNvSpPr>
                      <a:spLocks noChangeAspect="1" noEditPoints="1"/>
                    </p:cNvSpPr>
                    <p:nvPr/>
                  </p:nvSpPr>
                  <p:spPr bwMode="gray">
                    <a:xfrm>
                      <a:off x="3458" y="-3357"/>
                      <a:ext cx="3936" cy="6047"/>
                    </a:xfrm>
                    <a:custGeom>
                      <a:avLst/>
                      <a:gdLst>
                        <a:gd name="T0" fmla="*/ 523 w 523"/>
                        <a:gd name="T1" fmla="*/ 9 h 805"/>
                        <a:gd name="T2" fmla="*/ 436 w 523"/>
                        <a:gd name="T3" fmla="*/ 17 h 805"/>
                        <a:gd name="T4" fmla="*/ 390 w 523"/>
                        <a:gd name="T5" fmla="*/ 28 h 805"/>
                        <a:gd name="T6" fmla="*/ 349 w 523"/>
                        <a:gd name="T7" fmla="*/ 43 h 805"/>
                        <a:gd name="T8" fmla="*/ 349 w 523"/>
                        <a:gd name="T9" fmla="*/ 65 h 805"/>
                        <a:gd name="T10" fmla="*/ 334 w 523"/>
                        <a:gd name="T11" fmla="*/ 83 h 805"/>
                        <a:gd name="T12" fmla="*/ 365 w 523"/>
                        <a:gd name="T13" fmla="*/ 94 h 805"/>
                        <a:gd name="T14" fmla="*/ 408 w 523"/>
                        <a:gd name="T15" fmla="*/ 57 h 805"/>
                        <a:gd name="T16" fmla="*/ 453 w 523"/>
                        <a:gd name="T17" fmla="*/ 30 h 805"/>
                        <a:gd name="T18" fmla="*/ 308 w 523"/>
                        <a:gd name="T19" fmla="*/ 140 h 805"/>
                        <a:gd name="T20" fmla="*/ 349 w 523"/>
                        <a:gd name="T21" fmla="*/ 163 h 805"/>
                        <a:gd name="T22" fmla="*/ 362 w 523"/>
                        <a:gd name="T23" fmla="*/ 100 h 805"/>
                        <a:gd name="T24" fmla="*/ 311 w 523"/>
                        <a:gd name="T25" fmla="*/ 123 h 805"/>
                        <a:gd name="T26" fmla="*/ 313 w 523"/>
                        <a:gd name="T27" fmla="*/ 142 h 805"/>
                        <a:gd name="T28" fmla="*/ 255 w 523"/>
                        <a:gd name="T29" fmla="*/ 200 h 805"/>
                        <a:gd name="T30" fmla="*/ 417 w 523"/>
                        <a:gd name="T31" fmla="*/ 199 h 805"/>
                        <a:gd name="T32" fmla="*/ 375 w 523"/>
                        <a:gd name="T33" fmla="*/ 200 h 805"/>
                        <a:gd name="T34" fmla="*/ 335 w 523"/>
                        <a:gd name="T35" fmla="*/ 209 h 805"/>
                        <a:gd name="T36" fmla="*/ 311 w 523"/>
                        <a:gd name="T37" fmla="*/ 202 h 805"/>
                        <a:gd name="T38" fmla="*/ 264 w 523"/>
                        <a:gd name="T39" fmla="*/ 218 h 805"/>
                        <a:gd name="T40" fmla="*/ 224 w 523"/>
                        <a:gd name="T41" fmla="*/ 234 h 805"/>
                        <a:gd name="T42" fmla="*/ 200 w 523"/>
                        <a:gd name="T43" fmla="*/ 201 h 805"/>
                        <a:gd name="T44" fmla="*/ 211 w 523"/>
                        <a:gd name="T45" fmla="*/ 235 h 805"/>
                        <a:gd name="T46" fmla="*/ 155 w 523"/>
                        <a:gd name="T47" fmla="*/ 300 h 805"/>
                        <a:gd name="T48" fmla="*/ 129 w 523"/>
                        <a:gd name="T49" fmla="*/ 315 h 805"/>
                        <a:gd name="T50" fmla="*/ 89 w 523"/>
                        <a:gd name="T51" fmla="*/ 271 h 805"/>
                        <a:gd name="T52" fmla="*/ 109 w 523"/>
                        <a:gd name="T53" fmla="*/ 251 h 805"/>
                        <a:gd name="T54" fmla="*/ 146 w 523"/>
                        <a:gd name="T55" fmla="*/ 211 h 805"/>
                        <a:gd name="T56" fmla="*/ 57 w 523"/>
                        <a:gd name="T57" fmla="*/ 182 h 805"/>
                        <a:gd name="T58" fmla="*/ 24 w 523"/>
                        <a:gd name="T59" fmla="*/ 188 h 805"/>
                        <a:gd name="T60" fmla="*/ 28 w 523"/>
                        <a:gd name="T61" fmla="*/ 269 h 805"/>
                        <a:gd name="T62" fmla="*/ 33 w 523"/>
                        <a:gd name="T63" fmla="*/ 334 h 805"/>
                        <a:gd name="T64" fmla="*/ 26 w 523"/>
                        <a:gd name="T65" fmla="*/ 421 h 805"/>
                        <a:gd name="T66" fmla="*/ 0 w 523"/>
                        <a:gd name="T67" fmla="*/ 447 h 805"/>
                        <a:gd name="T68" fmla="*/ 14 w 523"/>
                        <a:gd name="T69" fmla="*/ 520 h 805"/>
                        <a:gd name="T70" fmla="*/ 62 w 523"/>
                        <a:gd name="T71" fmla="*/ 577 h 805"/>
                        <a:gd name="T72" fmla="*/ 61 w 523"/>
                        <a:gd name="T73" fmla="*/ 600 h 805"/>
                        <a:gd name="T74" fmla="*/ 138 w 523"/>
                        <a:gd name="T75" fmla="*/ 645 h 805"/>
                        <a:gd name="T76" fmla="*/ 137 w 523"/>
                        <a:gd name="T77" fmla="*/ 704 h 805"/>
                        <a:gd name="T78" fmla="*/ 115 w 523"/>
                        <a:gd name="T79" fmla="*/ 733 h 805"/>
                        <a:gd name="T80" fmla="*/ 168 w 523"/>
                        <a:gd name="T81" fmla="*/ 771 h 805"/>
                        <a:gd name="T82" fmla="*/ 262 w 523"/>
                        <a:gd name="T83" fmla="*/ 803 h 805"/>
                        <a:gd name="T84" fmla="*/ 272 w 523"/>
                        <a:gd name="T85" fmla="*/ 715 h 805"/>
                        <a:gd name="T86" fmla="*/ 266 w 523"/>
                        <a:gd name="T87" fmla="*/ 638 h 805"/>
                        <a:gd name="T88" fmla="*/ 337 w 523"/>
                        <a:gd name="T89" fmla="*/ 627 h 805"/>
                        <a:gd name="T90" fmla="*/ 408 w 523"/>
                        <a:gd name="T91" fmla="*/ 627 h 805"/>
                        <a:gd name="T92" fmla="*/ 396 w 523"/>
                        <a:gd name="T93" fmla="*/ 540 h 805"/>
                        <a:gd name="T94" fmla="*/ 409 w 523"/>
                        <a:gd name="T95" fmla="*/ 388 h 805"/>
                        <a:gd name="T96" fmla="*/ 462 w 523"/>
                        <a:gd name="T97" fmla="*/ 255 h 805"/>
                        <a:gd name="T98" fmla="*/ 82 w 523"/>
                        <a:gd name="T99" fmla="*/ 219 h 805"/>
                        <a:gd name="T100" fmla="*/ 37 w 523"/>
                        <a:gd name="T101" fmla="*/ 250 h 805"/>
                        <a:gd name="T102" fmla="*/ 33 w 523"/>
                        <a:gd name="T103" fmla="*/ 285 h 805"/>
                        <a:gd name="T104" fmla="*/ 65 w 523"/>
                        <a:gd name="T105" fmla="*/ 421 h 805"/>
                        <a:gd name="T106" fmla="*/ 76 w 523"/>
                        <a:gd name="T107" fmla="*/ 338 h 805"/>
                        <a:gd name="T108" fmla="*/ 85 w 523"/>
                        <a:gd name="T109" fmla="*/ 331 h 805"/>
                        <a:gd name="T110" fmla="*/ 87 w 523"/>
                        <a:gd name="T111" fmla="*/ 357 h 805"/>
                        <a:gd name="T112" fmla="*/ 142 w 523"/>
                        <a:gd name="T113" fmla="*/ 467 h 805"/>
                        <a:gd name="T114" fmla="*/ 131 w 523"/>
                        <a:gd name="T115" fmla="*/ 451 h 805"/>
                        <a:gd name="T116" fmla="*/ 343 w 523"/>
                        <a:gd name="T117" fmla="*/ 487 h 805"/>
                        <a:gd name="T118" fmla="*/ 360 w 523"/>
                        <a:gd name="T119" fmla="*/ 444 h 805"/>
                        <a:gd name="T120" fmla="*/ 370 w 523"/>
                        <a:gd name="T121" fmla="*/ 46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3" h="805">
                          <a:moveTo>
                            <a:pt x="409" y="179"/>
                          </a:moveTo>
                          <a:cubicBezTo>
                            <a:pt x="410" y="174"/>
                            <a:pt x="410" y="174"/>
                            <a:pt x="410" y="174"/>
                          </a:cubicBezTo>
                          <a:cubicBezTo>
                            <a:pt x="396" y="167"/>
                            <a:pt x="396" y="167"/>
                            <a:pt x="396" y="167"/>
                          </a:cubicBezTo>
                          <a:cubicBezTo>
                            <a:pt x="390" y="169"/>
                            <a:pt x="390" y="169"/>
                            <a:pt x="390" y="169"/>
                          </a:cubicBezTo>
                          <a:cubicBezTo>
                            <a:pt x="393" y="174"/>
                            <a:pt x="393" y="174"/>
                            <a:pt x="393" y="174"/>
                          </a:cubicBezTo>
                          <a:cubicBezTo>
                            <a:pt x="405" y="179"/>
                            <a:pt x="405" y="179"/>
                            <a:pt x="405" y="179"/>
                          </a:cubicBezTo>
                          <a:lnTo>
                            <a:pt x="409" y="179"/>
                          </a:lnTo>
                          <a:close/>
                          <a:moveTo>
                            <a:pt x="523" y="9"/>
                          </a:moveTo>
                          <a:cubicBezTo>
                            <a:pt x="521" y="3"/>
                            <a:pt x="521" y="3"/>
                            <a:pt x="521" y="3"/>
                          </a:cubicBezTo>
                          <a:cubicBezTo>
                            <a:pt x="505" y="0"/>
                            <a:pt x="505" y="0"/>
                            <a:pt x="505" y="0"/>
                          </a:cubicBezTo>
                          <a:cubicBezTo>
                            <a:pt x="494" y="3"/>
                            <a:pt x="494" y="3"/>
                            <a:pt x="494" y="3"/>
                          </a:cubicBezTo>
                          <a:cubicBezTo>
                            <a:pt x="484" y="4"/>
                            <a:pt x="484" y="4"/>
                            <a:pt x="484" y="4"/>
                          </a:cubicBezTo>
                          <a:cubicBezTo>
                            <a:pt x="482" y="10"/>
                            <a:pt x="482" y="10"/>
                            <a:pt x="482" y="10"/>
                          </a:cubicBezTo>
                          <a:cubicBezTo>
                            <a:pt x="451" y="16"/>
                            <a:pt x="451" y="16"/>
                            <a:pt x="451" y="16"/>
                          </a:cubicBezTo>
                          <a:cubicBezTo>
                            <a:pt x="437" y="19"/>
                            <a:pt x="437" y="19"/>
                            <a:pt x="437" y="19"/>
                          </a:cubicBezTo>
                          <a:cubicBezTo>
                            <a:pt x="436" y="17"/>
                            <a:pt x="436" y="17"/>
                            <a:pt x="436" y="17"/>
                          </a:cubicBezTo>
                          <a:cubicBezTo>
                            <a:pt x="422" y="17"/>
                            <a:pt x="422" y="17"/>
                            <a:pt x="422" y="17"/>
                          </a:cubicBezTo>
                          <a:cubicBezTo>
                            <a:pt x="418" y="20"/>
                            <a:pt x="418" y="20"/>
                            <a:pt x="418" y="20"/>
                          </a:cubicBezTo>
                          <a:cubicBezTo>
                            <a:pt x="424" y="23"/>
                            <a:pt x="424" y="23"/>
                            <a:pt x="424" y="23"/>
                          </a:cubicBezTo>
                          <a:cubicBezTo>
                            <a:pt x="416" y="24"/>
                            <a:pt x="416" y="24"/>
                            <a:pt x="416" y="24"/>
                          </a:cubicBezTo>
                          <a:cubicBezTo>
                            <a:pt x="416" y="21"/>
                            <a:pt x="416" y="21"/>
                            <a:pt x="416" y="21"/>
                          </a:cubicBezTo>
                          <a:cubicBezTo>
                            <a:pt x="408" y="22"/>
                            <a:pt x="408" y="22"/>
                            <a:pt x="408" y="22"/>
                          </a:cubicBezTo>
                          <a:cubicBezTo>
                            <a:pt x="401" y="26"/>
                            <a:pt x="401" y="26"/>
                            <a:pt x="401" y="26"/>
                          </a:cubicBezTo>
                          <a:cubicBezTo>
                            <a:pt x="390" y="28"/>
                            <a:pt x="390" y="28"/>
                            <a:pt x="390" y="28"/>
                          </a:cubicBezTo>
                          <a:cubicBezTo>
                            <a:pt x="390" y="31"/>
                            <a:pt x="390" y="31"/>
                            <a:pt x="390" y="31"/>
                          </a:cubicBezTo>
                          <a:cubicBezTo>
                            <a:pt x="385" y="31"/>
                            <a:pt x="385" y="31"/>
                            <a:pt x="385" y="31"/>
                          </a:cubicBezTo>
                          <a:cubicBezTo>
                            <a:pt x="381" y="38"/>
                            <a:pt x="381" y="38"/>
                            <a:pt x="381" y="38"/>
                          </a:cubicBezTo>
                          <a:cubicBezTo>
                            <a:pt x="370" y="38"/>
                            <a:pt x="370" y="38"/>
                            <a:pt x="370" y="38"/>
                          </a:cubicBezTo>
                          <a:cubicBezTo>
                            <a:pt x="370" y="40"/>
                            <a:pt x="370" y="40"/>
                            <a:pt x="370" y="40"/>
                          </a:cubicBezTo>
                          <a:cubicBezTo>
                            <a:pt x="362" y="43"/>
                            <a:pt x="362" y="43"/>
                            <a:pt x="362" y="43"/>
                          </a:cubicBezTo>
                          <a:cubicBezTo>
                            <a:pt x="355" y="42"/>
                            <a:pt x="355" y="42"/>
                            <a:pt x="355" y="42"/>
                          </a:cubicBezTo>
                          <a:cubicBezTo>
                            <a:pt x="349" y="43"/>
                            <a:pt x="349" y="43"/>
                            <a:pt x="349" y="43"/>
                          </a:cubicBezTo>
                          <a:cubicBezTo>
                            <a:pt x="353" y="45"/>
                            <a:pt x="353" y="45"/>
                            <a:pt x="353" y="45"/>
                          </a:cubicBezTo>
                          <a:cubicBezTo>
                            <a:pt x="354" y="51"/>
                            <a:pt x="354" y="51"/>
                            <a:pt x="354" y="51"/>
                          </a:cubicBezTo>
                          <a:cubicBezTo>
                            <a:pt x="361" y="53"/>
                            <a:pt x="361" y="53"/>
                            <a:pt x="361" y="53"/>
                          </a:cubicBezTo>
                          <a:cubicBezTo>
                            <a:pt x="357" y="55"/>
                            <a:pt x="357" y="55"/>
                            <a:pt x="357" y="55"/>
                          </a:cubicBezTo>
                          <a:cubicBezTo>
                            <a:pt x="354" y="57"/>
                            <a:pt x="354" y="57"/>
                            <a:pt x="354" y="57"/>
                          </a:cubicBezTo>
                          <a:cubicBezTo>
                            <a:pt x="359" y="60"/>
                            <a:pt x="359" y="60"/>
                            <a:pt x="359" y="60"/>
                          </a:cubicBezTo>
                          <a:cubicBezTo>
                            <a:pt x="351" y="61"/>
                            <a:pt x="351" y="61"/>
                            <a:pt x="351" y="61"/>
                          </a:cubicBezTo>
                          <a:cubicBezTo>
                            <a:pt x="349" y="65"/>
                            <a:pt x="349" y="65"/>
                            <a:pt x="349" y="65"/>
                          </a:cubicBezTo>
                          <a:cubicBezTo>
                            <a:pt x="355" y="70"/>
                            <a:pt x="355" y="70"/>
                            <a:pt x="355" y="70"/>
                          </a:cubicBezTo>
                          <a:cubicBezTo>
                            <a:pt x="355" y="70"/>
                            <a:pt x="353" y="72"/>
                            <a:pt x="350" y="71"/>
                          </a:cubicBezTo>
                          <a:cubicBezTo>
                            <a:pt x="347" y="70"/>
                            <a:pt x="343" y="69"/>
                            <a:pt x="343" y="69"/>
                          </a:cubicBezTo>
                          <a:cubicBezTo>
                            <a:pt x="339" y="71"/>
                            <a:pt x="339" y="71"/>
                            <a:pt x="339" y="71"/>
                          </a:cubicBezTo>
                          <a:cubicBezTo>
                            <a:pt x="337" y="76"/>
                            <a:pt x="337" y="76"/>
                            <a:pt x="337" y="76"/>
                          </a:cubicBezTo>
                          <a:cubicBezTo>
                            <a:pt x="329" y="76"/>
                            <a:pt x="329" y="76"/>
                            <a:pt x="329" y="76"/>
                          </a:cubicBezTo>
                          <a:cubicBezTo>
                            <a:pt x="326" y="79"/>
                            <a:pt x="326" y="79"/>
                            <a:pt x="326" y="79"/>
                          </a:cubicBezTo>
                          <a:cubicBezTo>
                            <a:pt x="334" y="83"/>
                            <a:pt x="334" y="83"/>
                            <a:pt x="334" y="83"/>
                          </a:cubicBezTo>
                          <a:cubicBezTo>
                            <a:pt x="348" y="80"/>
                            <a:pt x="348" y="80"/>
                            <a:pt x="348" y="80"/>
                          </a:cubicBezTo>
                          <a:cubicBezTo>
                            <a:pt x="349" y="82"/>
                            <a:pt x="349" y="82"/>
                            <a:pt x="349" y="82"/>
                          </a:cubicBezTo>
                          <a:cubicBezTo>
                            <a:pt x="342" y="84"/>
                            <a:pt x="342" y="84"/>
                            <a:pt x="342" y="84"/>
                          </a:cubicBezTo>
                          <a:cubicBezTo>
                            <a:pt x="337" y="87"/>
                            <a:pt x="337" y="87"/>
                            <a:pt x="337" y="87"/>
                          </a:cubicBezTo>
                          <a:cubicBezTo>
                            <a:pt x="338" y="91"/>
                            <a:pt x="338" y="91"/>
                            <a:pt x="338" y="91"/>
                          </a:cubicBezTo>
                          <a:cubicBezTo>
                            <a:pt x="353" y="90"/>
                            <a:pt x="353" y="90"/>
                            <a:pt x="353" y="90"/>
                          </a:cubicBezTo>
                          <a:cubicBezTo>
                            <a:pt x="355" y="92"/>
                            <a:pt x="355" y="92"/>
                            <a:pt x="355" y="92"/>
                          </a:cubicBezTo>
                          <a:cubicBezTo>
                            <a:pt x="365" y="94"/>
                            <a:pt x="365" y="94"/>
                            <a:pt x="365" y="94"/>
                          </a:cubicBezTo>
                          <a:cubicBezTo>
                            <a:pt x="378" y="80"/>
                            <a:pt x="378" y="80"/>
                            <a:pt x="378" y="80"/>
                          </a:cubicBezTo>
                          <a:cubicBezTo>
                            <a:pt x="379" y="71"/>
                            <a:pt x="379" y="71"/>
                            <a:pt x="379" y="71"/>
                          </a:cubicBezTo>
                          <a:cubicBezTo>
                            <a:pt x="384" y="71"/>
                            <a:pt x="384" y="71"/>
                            <a:pt x="384" y="71"/>
                          </a:cubicBezTo>
                          <a:cubicBezTo>
                            <a:pt x="389" y="67"/>
                            <a:pt x="389" y="67"/>
                            <a:pt x="389" y="67"/>
                          </a:cubicBezTo>
                          <a:cubicBezTo>
                            <a:pt x="389" y="61"/>
                            <a:pt x="389" y="61"/>
                            <a:pt x="389" y="61"/>
                          </a:cubicBezTo>
                          <a:cubicBezTo>
                            <a:pt x="394" y="61"/>
                            <a:pt x="394" y="61"/>
                            <a:pt x="394" y="61"/>
                          </a:cubicBezTo>
                          <a:cubicBezTo>
                            <a:pt x="396" y="57"/>
                            <a:pt x="396" y="57"/>
                            <a:pt x="396" y="57"/>
                          </a:cubicBezTo>
                          <a:cubicBezTo>
                            <a:pt x="408" y="57"/>
                            <a:pt x="408" y="57"/>
                            <a:pt x="408" y="57"/>
                          </a:cubicBezTo>
                          <a:cubicBezTo>
                            <a:pt x="408" y="52"/>
                            <a:pt x="408" y="52"/>
                            <a:pt x="408" y="52"/>
                          </a:cubicBezTo>
                          <a:cubicBezTo>
                            <a:pt x="414" y="51"/>
                            <a:pt x="414" y="51"/>
                            <a:pt x="414" y="51"/>
                          </a:cubicBezTo>
                          <a:cubicBezTo>
                            <a:pt x="414" y="46"/>
                            <a:pt x="414" y="46"/>
                            <a:pt x="414" y="46"/>
                          </a:cubicBezTo>
                          <a:cubicBezTo>
                            <a:pt x="429" y="41"/>
                            <a:pt x="429" y="41"/>
                            <a:pt x="429" y="41"/>
                          </a:cubicBezTo>
                          <a:cubicBezTo>
                            <a:pt x="435" y="37"/>
                            <a:pt x="435" y="37"/>
                            <a:pt x="435" y="37"/>
                          </a:cubicBezTo>
                          <a:cubicBezTo>
                            <a:pt x="441" y="35"/>
                            <a:pt x="441" y="35"/>
                            <a:pt x="441" y="35"/>
                          </a:cubicBezTo>
                          <a:cubicBezTo>
                            <a:pt x="452" y="33"/>
                            <a:pt x="452" y="33"/>
                            <a:pt x="452" y="33"/>
                          </a:cubicBezTo>
                          <a:cubicBezTo>
                            <a:pt x="453" y="30"/>
                            <a:pt x="453" y="30"/>
                            <a:pt x="453" y="30"/>
                          </a:cubicBezTo>
                          <a:cubicBezTo>
                            <a:pt x="467" y="28"/>
                            <a:pt x="467" y="28"/>
                            <a:pt x="467" y="28"/>
                          </a:cubicBezTo>
                          <a:cubicBezTo>
                            <a:pt x="472" y="26"/>
                            <a:pt x="472" y="26"/>
                            <a:pt x="472" y="26"/>
                          </a:cubicBezTo>
                          <a:cubicBezTo>
                            <a:pt x="489" y="24"/>
                            <a:pt x="489" y="24"/>
                            <a:pt x="489" y="24"/>
                          </a:cubicBezTo>
                          <a:cubicBezTo>
                            <a:pt x="506" y="19"/>
                            <a:pt x="506" y="19"/>
                            <a:pt x="506" y="19"/>
                          </a:cubicBezTo>
                          <a:cubicBezTo>
                            <a:pt x="518" y="17"/>
                            <a:pt x="518" y="17"/>
                            <a:pt x="518" y="17"/>
                          </a:cubicBezTo>
                          <a:cubicBezTo>
                            <a:pt x="517" y="13"/>
                            <a:pt x="517" y="13"/>
                            <a:pt x="517" y="13"/>
                          </a:cubicBezTo>
                          <a:lnTo>
                            <a:pt x="523" y="9"/>
                          </a:lnTo>
                          <a:close/>
                          <a:moveTo>
                            <a:pt x="308" y="140"/>
                          </a:moveTo>
                          <a:cubicBezTo>
                            <a:pt x="313" y="136"/>
                            <a:pt x="313" y="136"/>
                            <a:pt x="313" y="136"/>
                          </a:cubicBezTo>
                          <a:cubicBezTo>
                            <a:pt x="314" y="140"/>
                            <a:pt x="314" y="140"/>
                            <a:pt x="314" y="140"/>
                          </a:cubicBezTo>
                          <a:cubicBezTo>
                            <a:pt x="323" y="142"/>
                            <a:pt x="323" y="142"/>
                            <a:pt x="323" y="142"/>
                          </a:cubicBezTo>
                          <a:cubicBezTo>
                            <a:pt x="331" y="144"/>
                            <a:pt x="331" y="144"/>
                            <a:pt x="331" y="144"/>
                          </a:cubicBezTo>
                          <a:cubicBezTo>
                            <a:pt x="326" y="151"/>
                            <a:pt x="326" y="151"/>
                            <a:pt x="326" y="151"/>
                          </a:cubicBezTo>
                          <a:cubicBezTo>
                            <a:pt x="327" y="157"/>
                            <a:pt x="327" y="157"/>
                            <a:pt x="327" y="157"/>
                          </a:cubicBezTo>
                          <a:cubicBezTo>
                            <a:pt x="337" y="158"/>
                            <a:pt x="337" y="158"/>
                            <a:pt x="337" y="158"/>
                          </a:cubicBezTo>
                          <a:cubicBezTo>
                            <a:pt x="349" y="163"/>
                            <a:pt x="349" y="163"/>
                            <a:pt x="349" y="163"/>
                          </a:cubicBezTo>
                          <a:cubicBezTo>
                            <a:pt x="363" y="160"/>
                            <a:pt x="363" y="160"/>
                            <a:pt x="363" y="160"/>
                          </a:cubicBezTo>
                          <a:cubicBezTo>
                            <a:pt x="372" y="159"/>
                            <a:pt x="372" y="159"/>
                            <a:pt x="372" y="159"/>
                          </a:cubicBezTo>
                          <a:cubicBezTo>
                            <a:pt x="374" y="154"/>
                            <a:pt x="374" y="154"/>
                            <a:pt x="374" y="154"/>
                          </a:cubicBezTo>
                          <a:cubicBezTo>
                            <a:pt x="352" y="140"/>
                            <a:pt x="352" y="140"/>
                            <a:pt x="352" y="140"/>
                          </a:cubicBezTo>
                          <a:cubicBezTo>
                            <a:pt x="348" y="132"/>
                            <a:pt x="348" y="132"/>
                            <a:pt x="348" y="132"/>
                          </a:cubicBezTo>
                          <a:cubicBezTo>
                            <a:pt x="349" y="112"/>
                            <a:pt x="349" y="112"/>
                            <a:pt x="349" y="112"/>
                          </a:cubicBezTo>
                          <a:cubicBezTo>
                            <a:pt x="356" y="111"/>
                            <a:pt x="356" y="111"/>
                            <a:pt x="356" y="111"/>
                          </a:cubicBezTo>
                          <a:cubicBezTo>
                            <a:pt x="362" y="100"/>
                            <a:pt x="362" y="100"/>
                            <a:pt x="362" y="100"/>
                          </a:cubicBezTo>
                          <a:cubicBezTo>
                            <a:pt x="351" y="94"/>
                            <a:pt x="351" y="94"/>
                            <a:pt x="351" y="94"/>
                          </a:cubicBezTo>
                          <a:cubicBezTo>
                            <a:pt x="325" y="95"/>
                            <a:pt x="325" y="95"/>
                            <a:pt x="325" y="95"/>
                          </a:cubicBezTo>
                          <a:cubicBezTo>
                            <a:pt x="320" y="103"/>
                            <a:pt x="320" y="103"/>
                            <a:pt x="320" y="103"/>
                          </a:cubicBezTo>
                          <a:cubicBezTo>
                            <a:pt x="316" y="104"/>
                            <a:pt x="316" y="104"/>
                            <a:pt x="316" y="104"/>
                          </a:cubicBezTo>
                          <a:cubicBezTo>
                            <a:pt x="312" y="108"/>
                            <a:pt x="312" y="108"/>
                            <a:pt x="312" y="108"/>
                          </a:cubicBezTo>
                          <a:cubicBezTo>
                            <a:pt x="317" y="112"/>
                            <a:pt x="317" y="112"/>
                            <a:pt x="317" y="112"/>
                          </a:cubicBezTo>
                          <a:cubicBezTo>
                            <a:pt x="316" y="119"/>
                            <a:pt x="316" y="119"/>
                            <a:pt x="316" y="119"/>
                          </a:cubicBezTo>
                          <a:cubicBezTo>
                            <a:pt x="311" y="123"/>
                            <a:pt x="311" y="123"/>
                            <a:pt x="311" y="123"/>
                          </a:cubicBezTo>
                          <a:cubicBezTo>
                            <a:pt x="303" y="124"/>
                            <a:pt x="303" y="124"/>
                            <a:pt x="303" y="124"/>
                          </a:cubicBezTo>
                          <a:cubicBezTo>
                            <a:pt x="300" y="134"/>
                            <a:pt x="300" y="134"/>
                            <a:pt x="300" y="134"/>
                          </a:cubicBezTo>
                          <a:cubicBezTo>
                            <a:pt x="302" y="138"/>
                            <a:pt x="302" y="138"/>
                            <a:pt x="302" y="138"/>
                          </a:cubicBezTo>
                          <a:lnTo>
                            <a:pt x="308" y="140"/>
                          </a:lnTo>
                          <a:close/>
                          <a:moveTo>
                            <a:pt x="308" y="143"/>
                          </a:moveTo>
                          <a:cubicBezTo>
                            <a:pt x="321" y="150"/>
                            <a:pt x="321" y="150"/>
                            <a:pt x="321" y="150"/>
                          </a:cubicBezTo>
                          <a:cubicBezTo>
                            <a:pt x="322" y="147"/>
                            <a:pt x="322" y="147"/>
                            <a:pt x="322" y="147"/>
                          </a:cubicBezTo>
                          <a:cubicBezTo>
                            <a:pt x="313" y="142"/>
                            <a:pt x="313" y="142"/>
                            <a:pt x="313" y="142"/>
                          </a:cubicBezTo>
                          <a:lnTo>
                            <a:pt x="308" y="143"/>
                          </a:lnTo>
                          <a:close/>
                          <a:moveTo>
                            <a:pt x="282" y="198"/>
                          </a:moveTo>
                          <a:cubicBezTo>
                            <a:pt x="283" y="192"/>
                            <a:pt x="283" y="192"/>
                            <a:pt x="283" y="192"/>
                          </a:cubicBezTo>
                          <a:cubicBezTo>
                            <a:pt x="275" y="190"/>
                            <a:pt x="275" y="190"/>
                            <a:pt x="275" y="190"/>
                          </a:cubicBezTo>
                          <a:cubicBezTo>
                            <a:pt x="270" y="185"/>
                            <a:pt x="270" y="185"/>
                            <a:pt x="270" y="185"/>
                          </a:cubicBezTo>
                          <a:cubicBezTo>
                            <a:pt x="259" y="186"/>
                            <a:pt x="259" y="186"/>
                            <a:pt x="259" y="186"/>
                          </a:cubicBezTo>
                          <a:cubicBezTo>
                            <a:pt x="256" y="195"/>
                            <a:pt x="256" y="195"/>
                            <a:pt x="256" y="195"/>
                          </a:cubicBezTo>
                          <a:cubicBezTo>
                            <a:pt x="255" y="200"/>
                            <a:pt x="255" y="200"/>
                            <a:pt x="255" y="200"/>
                          </a:cubicBezTo>
                          <a:cubicBezTo>
                            <a:pt x="271" y="202"/>
                            <a:pt x="271" y="202"/>
                            <a:pt x="271" y="202"/>
                          </a:cubicBezTo>
                          <a:lnTo>
                            <a:pt x="282" y="198"/>
                          </a:lnTo>
                          <a:close/>
                          <a:moveTo>
                            <a:pt x="464" y="201"/>
                          </a:moveTo>
                          <a:cubicBezTo>
                            <a:pt x="456" y="182"/>
                            <a:pt x="456" y="182"/>
                            <a:pt x="456" y="182"/>
                          </a:cubicBezTo>
                          <a:cubicBezTo>
                            <a:pt x="421" y="178"/>
                            <a:pt x="421" y="178"/>
                            <a:pt x="421" y="178"/>
                          </a:cubicBezTo>
                          <a:cubicBezTo>
                            <a:pt x="412" y="184"/>
                            <a:pt x="412" y="184"/>
                            <a:pt x="412" y="184"/>
                          </a:cubicBezTo>
                          <a:cubicBezTo>
                            <a:pt x="417" y="189"/>
                            <a:pt x="417" y="189"/>
                            <a:pt x="417" y="189"/>
                          </a:cubicBezTo>
                          <a:cubicBezTo>
                            <a:pt x="417" y="199"/>
                            <a:pt x="417" y="199"/>
                            <a:pt x="417" y="199"/>
                          </a:cubicBezTo>
                          <a:cubicBezTo>
                            <a:pt x="406" y="201"/>
                            <a:pt x="406" y="201"/>
                            <a:pt x="406" y="201"/>
                          </a:cubicBezTo>
                          <a:cubicBezTo>
                            <a:pt x="407" y="205"/>
                            <a:pt x="407" y="205"/>
                            <a:pt x="407" y="205"/>
                          </a:cubicBezTo>
                          <a:cubicBezTo>
                            <a:pt x="401" y="207"/>
                            <a:pt x="401" y="207"/>
                            <a:pt x="401" y="207"/>
                          </a:cubicBezTo>
                          <a:cubicBezTo>
                            <a:pt x="396" y="204"/>
                            <a:pt x="396" y="204"/>
                            <a:pt x="396" y="204"/>
                          </a:cubicBezTo>
                          <a:cubicBezTo>
                            <a:pt x="397" y="198"/>
                            <a:pt x="397" y="198"/>
                            <a:pt x="397" y="198"/>
                          </a:cubicBezTo>
                          <a:cubicBezTo>
                            <a:pt x="390" y="195"/>
                            <a:pt x="390" y="195"/>
                            <a:pt x="390" y="195"/>
                          </a:cubicBezTo>
                          <a:cubicBezTo>
                            <a:pt x="382" y="200"/>
                            <a:pt x="382" y="200"/>
                            <a:pt x="382" y="200"/>
                          </a:cubicBezTo>
                          <a:cubicBezTo>
                            <a:pt x="375" y="200"/>
                            <a:pt x="375" y="200"/>
                            <a:pt x="375" y="200"/>
                          </a:cubicBezTo>
                          <a:cubicBezTo>
                            <a:pt x="368" y="204"/>
                            <a:pt x="368" y="204"/>
                            <a:pt x="368" y="204"/>
                          </a:cubicBezTo>
                          <a:cubicBezTo>
                            <a:pt x="358" y="204"/>
                            <a:pt x="358" y="204"/>
                            <a:pt x="358" y="204"/>
                          </a:cubicBezTo>
                          <a:cubicBezTo>
                            <a:pt x="357" y="203"/>
                            <a:pt x="357" y="203"/>
                            <a:pt x="357" y="203"/>
                          </a:cubicBezTo>
                          <a:cubicBezTo>
                            <a:pt x="350" y="203"/>
                            <a:pt x="350" y="203"/>
                            <a:pt x="350" y="203"/>
                          </a:cubicBezTo>
                          <a:cubicBezTo>
                            <a:pt x="344" y="207"/>
                            <a:pt x="344" y="207"/>
                            <a:pt x="344" y="207"/>
                          </a:cubicBezTo>
                          <a:cubicBezTo>
                            <a:pt x="345" y="211"/>
                            <a:pt x="345" y="211"/>
                            <a:pt x="345" y="211"/>
                          </a:cubicBezTo>
                          <a:cubicBezTo>
                            <a:pt x="337" y="211"/>
                            <a:pt x="337" y="211"/>
                            <a:pt x="337" y="211"/>
                          </a:cubicBezTo>
                          <a:cubicBezTo>
                            <a:pt x="335" y="209"/>
                            <a:pt x="335" y="209"/>
                            <a:pt x="335" y="209"/>
                          </a:cubicBezTo>
                          <a:cubicBezTo>
                            <a:pt x="328" y="212"/>
                            <a:pt x="328" y="212"/>
                            <a:pt x="328" y="212"/>
                          </a:cubicBezTo>
                          <a:cubicBezTo>
                            <a:pt x="324" y="209"/>
                            <a:pt x="324" y="209"/>
                            <a:pt x="324" y="209"/>
                          </a:cubicBezTo>
                          <a:cubicBezTo>
                            <a:pt x="331" y="204"/>
                            <a:pt x="331" y="204"/>
                            <a:pt x="331" y="204"/>
                          </a:cubicBezTo>
                          <a:cubicBezTo>
                            <a:pt x="328" y="200"/>
                            <a:pt x="328" y="200"/>
                            <a:pt x="328" y="200"/>
                          </a:cubicBezTo>
                          <a:cubicBezTo>
                            <a:pt x="333" y="196"/>
                            <a:pt x="333" y="196"/>
                            <a:pt x="333" y="196"/>
                          </a:cubicBezTo>
                          <a:cubicBezTo>
                            <a:pt x="324" y="197"/>
                            <a:pt x="324" y="197"/>
                            <a:pt x="324" y="197"/>
                          </a:cubicBezTo>
                          <a:cubicBezTo>
                            <a:pt x="317" y="201"/>
                            <a:pt x="317" y="201"/>
                            <a:pt x="317" y="201"/>
                          </a:cubicBezTo>
                          <a:cubicBezTo>
                            <a:pt x="311" y="202"/>
                            <a:pt x="311" y="202"/>
                            <a:pt x="311" y="202"/>
                          </a:cubicBezTo>
                          <a:cubicBezTo>
                            <a:pt x="312" y="206"/>
                            <a:pt x="312" y="206"/>
                            <a:pt x="312" y="206"/>
                          </a:cubicBezTo>
                          <a:cubicBezTo>
                            <a:pt x="307" y="208"/>
                            <a:pt x="307" y="208"/>
                            <a:pt x="307" y="208"/>
                          </a:cubicBezTo>
                          <a:cubicBezTo>
                            <a:pt x="306" y="205"/>
                            <a:pt x="306" y="205"/>
                            <a:pt x="306" y="205"/>
                          </a:cubicBezTo>
                          <a:cubicBezTo>
                            <a:pt x="301" y="204"/>
                            <a:pt x="301" y="204"/>
                            <a:pt x="301" y="204"/>
                          </a:cubicBezTo>
                          <a:cubicBezTo>
                            <a:pt x="289" y="207"/>
                            <a:pt x="289" y="207"/>
                            <a:pt x="289" y="207"/>
                          </a:cubicBezTo>
                          <a:cubicBezTo>
                            <a:pt x="282" y="213"/>
                            <a:pt x="282" y="213"/>
                            <a:pt x="282" y="213"/>
                          </a:cubicBezTo>
                          <a:cubicBezTo>
                            <a:pt x="274" y="218"/>
                            <a:pt x="274" y="218"/>
                            <a:pt x="274" y="218"/>
                          </a:cubicBezTo>
                          <a:cubicBezTo>
                            <a:pt x="264" y="218"/>
                            <a:pt x="264" y="218"/>
                            <a:pt x="264" y="218"/>
                          </a:cubicBezTo>
                          <a:cubicBezTo>
                            <a:pt x="264" y="223"/>
                            <a:pt x="264" y="223"/>
                            <a:pt x="264" y="223"/>
                          </a:cubicBezTo>
                          <a:cubicBezTo>
                            <a:pt x="260" y="223"/>
                            <a:pt x="260" y="223"/>
                            <a:pt x="260" y="223"/>
                          </a:cubicBezTo>
                          <a:cubicBezTo>
                            <a:pt x="255" y="220"/>
                            <a:pt x="255" y="220"/>
                            <a:pt x="255" y="220"/>
                          </a:cubicBezTo>
                          <a:cubicBezTo>
                            <a:pt x="251" y="221"/>
                            <a:pt x="251" y="221"/>
                            <a:pt x="251" y="221"/>
                          </a:cubicBezTo>
                          <a:cubicBezTo>
                            <a:pt x="252" y="227"/>
                            <a:pt x="252" y="227"/>
                            <a:pt x="252" y="227"/>
                          </a:cubicBezTo>
                          <a:cubicBezTo>
                            <a:pt x="251" y="234"/>
                            <a:pt x="251" y="234"/>
                            <a:pt x="251" y="234"/>
                          </a:cubicBezTo>
                          <a:cubicBezTo>
                            <a:pt x="239" y="238"/>
                            <a:pt x="239" y="238"/>
                            <a:pt x="239" y="238"/>
                          </a:cubicBezTo>
                          <a:cubicBezTo>
                            <a:pt x="224" y="234"/>
                            <a:pt x="224" y="234"/>
                            <a:pt x="224" y="234"/>
                          </a:cubicBezTo>
                          <a:cubicBezTo>
                            <a:pt x="223" y="230"/>
                            <a:pt x="223" y="230"/>
                            <a:pt x="223" y="230"/>
                          </a:cubicBezTo>
                          <a:cubicBezTo>
                            <a:pt x="216" y="226"/>
                            <a:pt x="216" y="226"/>
                            <a:pt x="216" y="226"/>
                          </a:cubicBezTo>
                          <a:cubicBezTo>
                            <a:pt x="221" y="223"/>
                            <a:pt x="221" y="223"/>
                            <a:pt x="221" y="223"/>
                          </a:cubicBezTo>
                          <a:cubicBezTo>
                            <a:pt x="222" y="220"/>
                            <a:pt x="222" y="220"/>
                            <a:pt x="222" y="220"/>
                          </a:cubicBezTo>
                          <a:cubicBezTo>
                            <a:pt x="239" y="217"/>
                            <a:pt x="239" y="217"/>
                            <a:pt x="239" y="217"/>
                          </a:cubicBezTo>
                          <a:cubicBezTo>
                            <a:pt x="231" y="208"/>
                            <a:pt x="231" y="208"/>
                            <a:pt x="231" y="208"/>
                          </a:cubicBezTo>
                          <a:cubicBezTo>
                            <a:pt x="216" y="203"/>
                            <a:pt x="216" y="203"/>
                            <a:pt x="216" y="203"/>
                          </a:cubicBezTo>
                          <a:cubicBezTo>
                            <a:pt x="200" y="201"/>
                            <a:pt x="200" y="201"/>
                            <a:pt x="200" y="201"/>
                          </a:cubicBezTo>
                          <a:cubicBezTo>
                            <a:pt x="194" y="202"/>
                            <a:pt x="194" y="202"/>
                            <a:pt x="194" y="202"/>
                          </a:cubicBezTo>
                          <a:cubicBezTo>
                            <a:pt x="194" y="205"/>
                            <a:pt x="194" y="205"/>
                            <a:pt x="194" y="205"/>
                          </a:cubicBezTo>
                          <a:cubicBezTo>
                            <a:pt x="202" y="209"/>
                            <a:pt x="202" y="209"/>
                            <a:pt x="202" y="209"/>
                          </a:cubicBezTo>
                          <a:cubicBezTo>
                            <a:pt x="206" y="213"/>
                            <a:pt x="206" y="213"/>
                            <a:pt x="206" y="213"/>
                          </a:cubicBezTo>
                          <a:cubicBezTo>
                            <a:pt x="206" y="223"/>
                            <a:pt x="206" y="223"/>
                            <a:pt x="206" y="223"/>
                          </a:cubicBezTo>
                          <a:cubicBezTo>
                            <a:pt x="202" y="226"/>
                            <a:pt x="202" y="226"/>
                            <a:pt x="202" y="226"/>
                          </a:cubicBezTo>
                          <a:cubicBezTo>
                            <a:pt x="202" y="230"/>
                            <a:pt x="202" y="230"/>
                            <a:pt x="202" y="230"/>
                          </a:cubicBezTo>
                          <a:cubicBezTo>
                            <a:pt x="211" y="235"/>
                            <a:pt x="211" y="235"/>
                            <a:pt x="211" y="235"/>
                          </a:cubicBezTo>
                          <a:cubicBezTo>
                            <a:pt x="204" y="255"/>
                            <a:pt x="204" y="255"/>
                            <a:pt x="204" y="255"/>
                          </a:cubicBezTo>
                          <a:cubicBezTo>
                            <a:pt x="189" y="245"/>
                            <a:pt x="189" y="245"/>
                            <a:pt x="189" y="245"/>
                          </a:cubicBezTo>
                          <a:cubicBezTo>
                            <a:pt x="176" y="244"/>
                            <a:pt x="176" y="244"/>
                            <a:pt x="176" y="244"/>
                          </a:cubicBezTo>
                          <a:cubicBezTo>
                            <a:pt x="176" y="253"/>
                            <a:pt x="176" y="253"/>
                            <a:pt x="176" y="253"/>
                          </a:cubicBezTo>
                          <a:cubicBezTo>
                            <a:pt x="165" y="260"/>
                            <a:pt x="165" y="260"/>
                            <a:pt x="165" y="260"/>
                          </a:cubicBezTo>
                          <a:cubicBezTo>
                            <a:pt x="149" y="273"/>
                            <a:pt x="149" y="273"/>
                            <a:pt x="149" y="273"/>
                          </a:cubicBezTo>
                          <a:cubicBezTo>
                            <a:pt x="158" y="293"/>
                            <a:pt x="158" y="293"/>
                            <a:pt x="158" y="293"/>
                          </a:cubicBezTo>
                          <a:cubicBezTo>
                            <a:pt x="155" y="300"/>
                            <a:pt x="155" y="300"/>
                            <a:pt x="155" y="300"/>
                          </a:cubicBezTo>
                          <a:cubicBezTo>
                            <a:pt x="141" y="301"/>
                            <a:pt x="141" y="301"/>
                            <a:pt x="141" y="301"/>
                          </a:cubicBezTo>
                          <a:cubicBezTo>
                            <a:pt x="123" y="293"/>
                            <a:pt x="123" y="293"/>
                            <a:pt x="123" y="293"/>
                          </a:cubicBezTo>
                          <a:cubicBezTo>
                            <a:pt x="119" y="286"/>
                            <a:pt x="119" y="286"/>
                            <a:pt x="119" y="286"/>
                          </a:cubicBezTo>
                          <a:cubicBezTo>
                            <a:pt x="113" y="285"/>
                            <a:pt x="113" y="285"/>
                            <a:pt x="113" y="285"/>
                          </a:cubicBezTo>
                          <a:cubicBezTo>
                            <a:pt x="109" y="296"/>
                            <a:pt x="109" y="296"/>
                            <a:pt x="109" y="296"/>
                          </a:cubicBezTo>
                          <a:cubicBezTo>
                            <a:pt x="118" y="308"/>
                            <a:pt x="118" y="308"/>
                            <a:pt x="118" y="308"/>
                          </a:cubicBezTo>
                          <a:cubicBezTo>
                            <a:pt x="123" y="310"/>
                            <a:pt x="123" y="310"/>
                            <a:pt x="123" y="310"/>
                          </a:cubicBezTo>
                          <a:cubicBezTo>
                            <a:pt x="129" y="315"/>
                            <a:pt x="129" y="315"/>
                            <a:pt x="129" y="315"/>
                          </a:cubicBezTo>
                          <a:cubicBezTo>
                            <a:pt x="126" y="320"/>
                            <a:pt x="126" y="320"/>
                            <a:pt x="126" y="320"/>
                          </a:cubicBezTo>
                          <a:cubicBezTo>
                            <a:pt x="110" y="322"/>
                            <a:pt x="110" y="322"/>
                            <a:pt x="110" y="322"/>
                          </a:cubicBezTo>
                          <a:cubicBezTo>
                            <a:pt x="98" y="309"/>
                            <a:pt x="98" y="309"/>
                            <a:pt x="98" y="309"/>
                          </a:cubicBezTo>
                          <a:cubicBezTo>
                            <a:pt x="88" y="312"/>
                            <a:pt x="88" y="312"/>
                            <a:pt x="88" y="312"/>
                          </a:cubicBezTo>
                          <a:cubicBezTo>
                            <a:pt x="87" y="305"/>
                            <a:pt x="87" y="305"/>
                            <a:pt x="87" y="305"/>
                          </a:cubicBezTo>
                          <a:cubicBezTo>
                            <a:pt x="89" y="289"/>
                            <a:pt x="89" y="289"/>
                            <a:pt x="89" y="289"/>
                          </a:cubicBezTo>
                          <a:cubicBezTo>
                            <a:pt x="82" y="281"/>
                            <a:pt x="82" y="281"/>
                            <a:pt x="82" y="281"/>
                          </a:cubicBezTo>
                          <a:cubicBezTo>
                            <a:pt x="89" y="271"/>
                            <a:pt x="89" y="271"/>
                            <a:pt x="89" y="271"/>
                          </a:cubicBezTo>
                          <a:cubicBezTo>
                            <a:pt x="87" y="262"/>
                            <a:pt x="87" y="262"/>
                            <a:pt x="87" y="262"/>
                          </a:cubicBezTo>
                          <a:cubicBezTo>
                            <a:pt x="73" y="247"/>
                            <a:pt x="73" y="247"/>
                            <a:pt x="73" y="247"/>
                          </a:cubicBezTo>
                          <a:cubicBezTo>
                            <a:pt x="57" y="237"/>
                            <a:pt x="57" y="237"/>
                            <a:pt x="57" y="237"/>
                          </a:cubicBezTo>
                          <a:cubicBezTo>
                            <a:pt x="58" y="231"/>
                            <a:pt x="58" y="231"/>
                            <a:pt x="58" y="231"/>
                          </a:cubicBezTo>
                          <a:cubicBezTo>
                            <a:pt x="73" y="240"/>
                            <a:pt x="73" y="240"/>
                            <a:pt x="73" y="240"/>
                          </a:cubicBezTo>
                          <a:cubicBezTo>
                            <a:pt x="81" y="240"/>
                            <a:pt x="81" y="240"/>
                            <a:pt x="81" y="240"/>
                          </a:cubicBezTo>
                          <a:cubicBezTo>
                            <a:pt x="93" y="245"/>
                            <a:pt x="93" y="245"/>
                            <a:pt x="93" y="245"/>
                          </a:cubicBezTo>
                          <a:cubicBezTo>
                            <a:pt x="109" y="251"/>
                            <a:pt x="109" y="251"/>
                            <a:pt x="109" y="251"/>
                          </a:cubicBezTo>
                          <a:cubicBezTo>
                            <a:pt x="127" y="257"/>
                            <a:pt x="127" y="257"/>
                            <a:pt x="127" y="257"/>
                          </a:cubicBezTo>
                          <a:cubicBezTo>
                            <a:pt x="142" y="258"/>
                            <a:pt x="142" y="258"/>
                            <a:pt x="142" y="258"/>
                          </a:cubicBezTo>
                          <a:cubicBezTo>
                            <a:pt x="168" y="240"/>
                            <a:pt x="168" y="240"/>
                            <a:pt x="168" y="240"/>
                          </a:cubicBezTo>
                          <a:cubicBezTo>
                            <a:pt x="168" y="223"/>
                            <a:pt x="168" y="223"/>
                            <a:pt x="168" y="223"/>
                          </a:cubicBezTo>
                          <a:cubicBezTo>
                            <a:pt x="163" y="219"/>
                            <a:pt x="163" y="219"/>
                            <a:pt x="163" y="219"/>
                          </a:cubicBezTo>
                          <a:cubicBezTo>
                            <a:pt x="156" y="215"/>
                            <a:pt x="156" y="215"/>
                            <a:pt x="156" y="215"/>
                          </a:cubicBezTo>
                          <a:cubicBezTo>
                            <a:pt x="150" y="215"/>
                            <a:pt x="150" y="215"/>
                            <a:pt x="150" y="215"/>
                          </a:cubicBezTo>
                          <a:cubicBezTo>
                            <a:pt x="146" y="211"/>
                            <a:pt x="146" y="211"/>
                            <a:pt x="146" y="211"/>
                          </a:cubicBezTo>
                          <a:cubicBezTo>
                            <a:pt x="139" y="208"/>
                            <a:pt x="139" y="208"/>
                            <a:pt x="139" y="208"/>
                          </a:cubicBezTo>
                          <a:cubicBezTo>
                            <a:pt x="123" y="203"/>
                            <a:pt x="123" y="203"/>
                            <a:pt x="123" y="203"/>
                          </a:cubicBezTo>
                          <a:cubicBezTo>
                            <a:pt x="105" y="193"/>
                            <a:pt x="105" y="193"/>
                            <a:pt x="105" y="193"/>
                          </a:cubicBezTo>
                          <a:cubicBezTo>
                            <a:pt x="86" y="188"/>
                            <a:pt x="86" y="188"/>
                            <a:pt x="86" y="188"/>
                          </a:cubicBezTo>
                          <a:cubicBezTo>
                            <a:pt x="74" y="190"/>
                            <a:pt x="74" y="190"/>
                            <a:pt x="74" y="190"/>
                          </a:cubicBezTo>
                          <a:cubicBezTo>
                            <a:pt x="68" y="187"/>
                            <a:pt x="68" y="187"/>
                            <a:pt x="68" y="187"/>
                          </a:cubicBezTo>
                          <a:cubicBezTo>
                            <a:pt x="60" y="186"/>
                            <a:pt x="60" y="186"/>
                            <a:pt x="60" y="186"/>
                          </a:cubicBezTo>
                          <a:cubicBezTo>
                            <a:pt x="57" y="182"/>
                            <a:pt x="57" y="182"/>
                            <a:pt x="57" y="182"/>
                          </a:cubicBezTo>
                          <a:cubicBezTo>
                            <a:pt x="66" y="181"/>
                            <a:pt x="66" y="181"/>
                            <a:pt x="66" y="181"/>
                          </a:cubicBezTo>
                          <a:cubicBezTo>
                            <a:pt x="66" y="178"/>
                            <a:pt x="66" y="178"/>
                            <a:pt x="66" y="178"/>
                          </a:cubicBezTo>
                          <a:cubicBezTo>
                            <a:pt x="56" y="175"/>
                            <a:pt x="56" y="175"/>
                            <a:pt x="56" y="175"/>
                          </a:cubicBezTo>
                          <a:cubicBezTo>
                            <a:pt x="49" y="175"/>
                            <a:pt x="49" y="175"/>
                            <a:pt x="49" y="175"/>
                          </a:cubicBezTo>
                          <a:cubicBezTo>
                            <a:pt x="49" y="179"/>
                            <a:pt x="49" y="179"/>
                            <a:pt x="49" y="179"/>
                          </a:cubicBezTo>
                          <a:cubicBezTo>
                            <a:pt x="42" y="179"/>
                            <a:pt x="42" y="179"/>
                            <a:pt x="42" y="179"/>
                          </a:cubicBezTo>
                          <a:cubicBezTo>
                            <a:pt x="25" y="185"/>
                            <a:pt x="25" y="185"/>
                            <a:pt x="25" y="185"/>
                          </a:cubicBezTo>
                          <a:cubicBezTo>
                            <a:pt x="24" y="188"/>
                            <a:pt x="24" y="188"/>
                            <a:pt x="24" y="188"/>
                          </a:cubicBezTo>
                          <a:cubicBezTo>
                            <a:pt x="18" y="191"/>
                            <a:pt x="18" y="191"/>
                            <a:pt x="18" y="191"/>
                          </a:cubicBezTo>
                          <a:cubicBezTo>
                            <a:pt x="10" y="201"/>
                            <a:pt x="10" y="201"/>
                            <a:pt x="10" y="201"/>
                          </a:cubicBezTo>
                          <a:cubicBezTo>
                            <a:pt x="10" y="208"/>
                            <a:pt x="10" y="208"/>
                            <a:pt x="10" y="208"/>
                          </a:cubicBezTo>
                          <a:cubicBezTo>
                            <a:pt x="21" y="214"/>
                            <a:pt x="21" y="214"/>
                            <a:pt x="21" y="214"/>
                          </a:cubicBezTo>
                          <a:cubicBezTo>
                            <a:pt x="26" y="225"/>
                            <a:pt x="26" y="225"/>
                            <a:pt x="26" y="225"/>
                          </a:cubicBezTo>
                          <a:cubicBezTo>
                            <a:pt x="17" y="235"/>
                            <a:pt x="17" y="235"/>
                            <a:pt x="17" y="235"/>
                          </a:cubicBezTo>
                          <a:cubicBezTo>
                            <a:pt x="30" y="253"/>
                            <a:pt x="30" y="253"/>
                            <a:pt x="30" y="253"/>
                          </a:cubicBezTo>
                          <a:cubicBezTo>
                            <a:pt x="28" y="269"/>
                            <a:pt x="28" y="269"/>
                            <a:pt x="28" y="269"/>
                          </a:cubicBezTo>
                          <a:cubicBezTo>
                            <a:pt x="31" y="279"/>
                            <a:pt x="31" y="279"/>
                            <a:pt x="31" y="279"/>
                          </a:cubicBezTo>
                          <a:cubicBezTo>
                            <a:pt x="27" y="290"/>
                            <a:pt x="27" y="290"/>
                            <a:pt x="27" y="290"/>
                          </a:cubicBezTo>
                          <a:cubicBezTo>
                            <a:pt x="33" y="295"/>
                            <a:pt x="33" y="295"/>
                            <a:pt x="33" y="295"/>
                          </a:cubicBezTo>
                          <a:cubicBezTo>
                            <a:pt x="30" y="301"/>
                            <a:pt x="30" y="301"/>
                            <a:pt x="30" y="301"/>
                          </a:cubicBezTo>
                          <a:cubicBezTo>
                            <a:pt x="35" y="311"/>
                            <a:pt x="35" y="311"/>
                            <a:pt x="35" y="311"/>
                          </a:cubicBezTo>
                          <a:cubicBezTo>
                            <a:pt x="35" y="319"/>
                            <a:pt x="35" y="319"/>
                            <a:pt x="35" y="319"/>
                          </a:cubicBezTo>
                          <a:cubicBezTo>
                            <a:pt x="31" y="327"/>
                            <a:pt x="31" y="327"/>
                            <a:pt x="31" y="327"/>
                          </a:cubicBezTo>
                          <a:cubicBezTo>
                            <a:pt x="33" y="334"/>
                            <a:pt x="33" y="334"/>
                            <a:pt x="33" y="334"/>
                          </a:cubicBezTo>
                          <a:cubicBezTo>
                            <a:pt x="42" y="337"/>
                            <a:pt x="42" y="337"/>
                            <a:pt x="42" y="337"/>
                          </a:cubicBezTo>
                          <a:cubicBezTo>
                            <a:pt x="51" y="351"/>
                            <a:pt x="51" y="351"/>
                            <a:pt x="51" y="351"/>
                          </a:cubicBezTo>
                          <a:cubicBezTo>
                            <a:pt x="29" y="377"/>
                            <a:pt x="29" y="377"/>
                            <a:pt x="29" y="377"/>
                          </a:cubicBezTo>
                          <a:cubicBezTo>
                            <a:pt x="15" y="396"/>
                            <a:pt x="15" y="396"/>
                            <a:pt x="15" y="396"/>
                          </a:cubicBezTo>
                          <a:cubicBezTo>
                            <a:pt x="12" y="409"/>
                            <a:pt x="12" y="409"/>
                            <a:pt x="12" y="409"/>
                          </a:cubicBezTo>
                          <a:cubicBezTo>
                            <a:pt x="11" y="418"/>
                            <a:pt x="11" y="418"/>
                            <a:pt x="11" y="418"/>
                          </a:cubicBezTo>
                          <a:cubicBezTo>
                            <a:pt x="17" y="421"/>
                            <a:pt x="17" y="421"/>
                            <a:pt x="17" y="421"/>
                          </a:cubicBezTo>
                          <a:cubicBezTo>
                            <a:pt x="26" y="421"/>
                            <a:pt x="26" y="421"/>
                            <a:pt x="26" y="421"/>
                          </a:cubicBezTo>
                          <a:cubicBezTo>
                            <a:pt x="32" y="422"/>
                            <a:pt x="32" y="422"/>
                            <a:pt x="32" y="422"/>
                          </a:cubicBezTo>
                          <a:cubicBezTo>
                            <a:pt x="30" y="430"/>
                            <a:pt x="30" y="430"/>
                            <a:pt x="30" y="430"/>
                          </a:cubicBezTo>
                          <a:cubicBezTo>
                            <a:pt x="17" y="429"/>
                            <a:pt x="17" y="429"/>
                            <a:pt x="17" y="429"/>
                          </a:cubicBezTo>
                          <a:cubicBezTo>
                            <a:pt x="15" y="432"/>
                            <a:pt x="15" y="432"/>
                            <a:pt x="15" y="432"/>
                          </a:cubicBezTo>
                          <a:cubicBezTo>
                            <a:pt x="7" y="432"/>
                            <a:pt x="7" y="432"/>
                            <a:pt x="7" y="432"/>
                          </a:cubicBezTo>
                          <a:cubicBezTo>
                            <a:pt x="8" y="436"/>
                            <a:pt x="8" y="436"/>
                            <a:pt x="8" y="436"/>
                          </a:cubicBezTo>
                          <a:cubicBezTo>
                            <a:pt x="1" y="442"/>
                            <a:pt x="1" y="442"/>
                            <a:pt x="1" y="442"/>
                          </a:cubicBezTo>
                          <a:cubicBezTo>
                            <a:pt x="0" y="447"/>
                            <a:pt x="0" y="447"/>
                            <a:pt x="0" y="447"/>
                          </a:cubicBezTo>
                          <a:cubicBezTo>
                            <a:pt x="1" y="447"/>
                            <a:pt x="2" y="447"/>
                            <a:pt x="2" y="448"/>
                          </a:cubicBezTo>
                          <a:cubicBezTo>
                            <a:pt x="3" y="458"/>
                            <a:pt x="0" y="466"/>
                            <a:pt x="7" y="474"/>
                          </a:cubicBezTo>
                          <a:cubicBezTo>
                            <a:pt x="4" y="475"/>
                            <a:pt x="4" y="476"/>
                            <a:pt x="2" y="473"/>
                          </a:cubicBezTo>
                          <a:cubicBezTo>
                            <a:pt x="2" y="483"/>
                            <a:pt x="2" y="483"/>
                            <a:pt x="2" y="483"/>
                          </a:cubicBezTo>
                          <a:cubicBezTo>
                            <a:pt x="1" y="496"/>
                            <a:pt x="1" y="496"/>
                            <a:pt x="1" y="496"/>
                          </a:cubicBezTo>
                          <a:cubicBezTo>
                            <a:pt x="6" y="503"/>
                            <a:pt x="6" y="503"/>
                            <a:pt x="6" y="503"/>
                          </a:cubicBezTo>
                          <a:cubicBezTo>
                            <a:pt x="6" y="520"/>
                            <a:pt x="6" y="520"/>
                            <a:pt x="6" y="520"/>
                          </a:cubicBezTo>
                          <a:cubicBezTo>
                            <a:pt x="14" y="520"/>
                            <a:pt x="14" y="520"/>
                            <a:pt x="14" y="520"/>
                          </a:cubicBezTo>
                          <a:cubicBezTo>
                            <a:pt x="21" y="527"/>
                            <a:pt x="21" y="527"/>
                            <a:pt x="21" y="527"/>
                          </a:cubicBezTo>
                          <a:cubicBezTo>
                            <a:pt x="27" y="525"/>
                            <a:pt x="27" y="525"/>
                            <a:pt x="27" y="525"/>
                          </a:cubicBezTo>
                          <a:cubicBezTo>
                            <a:pt x="36" y="526"/>
                            <a:pt x="36" y="526"/>
                            <a:pt x="36" y="526"/>
                          </a:cubicBezTo>
                          <a:cubicBezTo>
                            <a:pt x="41" y="533"/>
                            <a:pt x="41" y="533"/>
                            <a:pt x="41" y="533"/>
                          </a:cubicBezTo>
                          <a:cubicBezTo>
                            <a:pt x="42" y="547"/>
                            <a:pt x="42" y="547"/>
                            <a:pt x="42" y="547"/>
                          </a:cubicBezTo>
                          <a:cubicBezTo>
                            <a:pt x="42" y="553"/>
                            <a:pt x="42" y="553"/>
                            <a:pt x="42" y="553"/>
                          </a:cubicBezTo>
                          <a:cubicBezTo>
                            <a:pt x="49" y="564"/>
                            <a:pt x="49" y="564"/>
                            <a:pt x="49" y="564"/>
                          </a:cubicBezTo>
                          <a:cubicBezTo>
                            <a:pt x="62" y="577"/>
                            <a:pt x="62" y="577"/>
                            <a:pt x="62" y="577"/>
                          </a:cubicBezTo>
                          <a:cubicBezTo>
                            <a:pt x="59" y="586"/>
                            <a:pt x="59" y="586"/>
                            <a:pt x="59" y="586"/>
                          </a:cubicBezTo>
                          <a:cubicBezTo>
                            <a:pt x="54" y="586"/>
                            <a:pt x="54" y="586"/>
                            <a:pt x="54" y="586"/>
                          </a:cubicBezTo>
                          <a:cubicBezTo>
                            <a:pt x="49" y="582"/>
                            <a:pt x="49" y="582"/>
                            <a:pt x="49" y="582"/>
                          </a:cubicBezTo>
                          <a:cubicBezTo>
                            <a:pt x="42" y="582"/>
                            <a:pt x="42" y="582"/>
                            <a:pt x="42" y="582"/>
                          </a:cubicBezTo>
                          <a:cubicBezTo>
                            <a:pt x="44" y="591"/>
                            <a:pt x="44" y="591"/>
                            <a:pt x="44" y="591"/>
                          </a:cubicBezTo>
                          <a:cubicBezTo>
                            <a:pt x="50" y="596"/>
                            <a:pt x="50" y="596"/>
                            <a:pt x="50" y="596"/>
                          </a:cubicBezTo>
                          <a:cubicBezTo>
                            <a:pt x="52" y="605"/>
                            <a:pt x="52" y="605"/>
                            <a:pt x="52" y="605"/>
                          </a:cubicBezTo>
                          <a:cubicBezTo>
                            <a:pt x="61" y="600"/>
                            <a:pt x="61" y="600"/>
                            <a:pt x="61" y="600"/>
                          </a:cubicBezTo>
                          <a:cubicBezTo>
                            <a:pt x="78" y="602"/>
                            <a:pt x="78" y="602"/>
                            <a:pt x="78" y="602"/>
                          </a:cubicBezTo>
                          <a:cubicBezTo>
                            <a:pt x="84" y="623"/>
                            <a:pt x="84" y="623"/>
                            <a:pt x="84" y="623"/>
                          </a:cubicBezTo>
                          <a:cubicBezTo>
                            <a:pt x="93" y="625"/>
                            <a:pt x="93" y="625"/>
                            <a:pt x="93" y="625"/>
                          </a:cubicBezTo>
                          <a:cubicBezTo>
                            <a:pt x="94" y="632"/>
                            <a:pt x="94" y="632"/>
                            <a:pt x="94" y="632"/>
                          </a:cubicBezTo>
                          <a:cubicBezTo>
                            <a:pt x="99" y="638"/>
                            <a:pt x="99" y="638"/>
                            <a:pt x="99" y="638"/>
                          </a:cubicBezTo>
                          <a:cubicBezTo>
                            <a:pt x="120" y="637"/>
                            <a:pt x="120" y="637"/>
                            <a:pt x="120" y="637"/>
                          </a:cubicBezTo>
                          <a:cubicBezTo>
                            <a:pt x="130" y="645"/>
                            <a:pt x="130" y="645"/>
                            <a:pt x="130" y="645"/>
                          </a:cubicBezTo>
                          <a:cubicBezTo>
                            <a:pt x="138" y="645"/>
                            <a:pt x="138" y="645"/>
                            <a:pt x="138" y="645"/>
                          </a:cubicBezTo>
                          <a:cubicBezTo>
                            <a:pt x="145" y="652"/>
                            <a:pt x="145" y="652"/>
                            <a:pt x="145" y="652"/>
                          </a:cubicBezTo>
                          <a:cubicBezTo>
                            <a:pt x="156" y="662"/>
                            <a:pt x="156" y="662"/>
                            <a:pt x="156" y="662"/>
                          </a:cubicBezTo>
                          <a:cubicBezTo>
                            <a:pt x="149" y="671"/>
                            <a:pt x="149" y="671"/>
                            <a:pt x="149" y="671"/>
                          </a:cubicBezTo>
                          <a:cubicBezTo>
                            <a:pt x="147" y="686"/>
                            <a:pt x="147" y="686"/>
                            <a:pt x="147" y="686"/>
                          </a:cubicBezTo>
                          <a:cubicBezTo>
                            <a:pt x="141" y="685"/>
                            <a:pt x="141" y="685"/>
                            <a:pt x="141" y="685"/>
                          </a:cubicBezTo>
                          <a:cubicBezTo>
                            <a:pt x="132" y="694"/>
                            <a:pt x="132" y="694"/>
                            <a:pt x="132" y="694"/>
                          </a:cubicBezTo>
                          <a:cubicBezTo>
                            <a:pt x="125" y="708"/>
                            <a:pt x="125" y="708"/>
                            <a:pt x="125" y="708"/>
                          </a:cubicBezTo>
                          <a:cubicBezTo>
                            <a:pt x="137" y="704"/>
                            <a:pt x="137" y="704"/>
                            <a:pt x="137" y="704"/>
                          </a:cubicBezTo>
                          <a:cubicBezTo>
                            <a:pt x="139" y="706"/>
                            <a:pt x="139" y="706"/>
                            <a:pt x="139" y="706"/>
                          </a:cubicBezTo>
                          <a:cubicBezTo>
                            <a:pt x="139" y="706"/>
                            <a:pt x="139" y="706"/>
                            <a:pt x="139" y="706"/>
                          </a:cubicBezTo>
                          <a:cubicBezTo>
                            <a:pt x="127" y="712"/>
                            <a:pt x="127" y="712"/>
                            <a:pt x="127" y="712"/>
                          </a:cubicBezTo>
                          <a:cubicBezTo>
                            <a:pt x="131" y="720"/>
                            <a:pt x="131" y="720"/>
                            <a:pt x="131" y="720"/>
                          </a:cubicBezTo>
                          <a:cubicBezTo>
                            <a:pt x="130" y="723"/>
                            <a:pt x="130" y="723"/>
                            <a:pt x="130" y="723"/>
                          </a:cubicBezTo>
                          <a:cubicBezTo>
                            <a:pt x="123" y="730"/>
                            <a:pt x="123" y="730"/>
                            <a:pt x="123" y="730"/>
                          </a:cubicBezTo>
                          <a:cubicBezTo>
                            <a:pt x="123" y="733"/>
                            <a:pt x="123" y="733"/>
                            <a:pt x="123" y="733"/>
                          </a:cubicBezTo>
                          <a:cubicBezTo>
                            <a:pt x="115" y="733"/>
                            <a:pt x="115" y="733"/>
                            <a:pt x="115" y="733"/>
                          </a:cubicBezTo>
                          <a:cubicBezTo>
                            <a:pt x="116" y="738"/>
                            <a:pt x="116" y="738"/>
                            <a:pt x="116" y="738"/>
                          </a:cubicBezTo>
                          <a:cubicBezTo>
                            <a:pt x="119" y="742"/>
                            <a:pt x="119" y="742"/>
                            <a:pt x="119" y="742"/>
                          </a:cubicBezTo>
                          <a:cubicBezTo>
                            <a:pt x="123" y="744"/>
                            <a:pt x="123" y="744"/>
                            <a:pt x="123" y="744"/>
                          </a:cubicBezTo>
                          <a:cubicBezTo>
                            <a:pt x="128" y="749"/>
                            <a:pt x="128" y="749"/>
                            <a:pt x="128" y="749"/>
                          </a:cubicBezTo>
                          <a:cubicBezTo>
                            <a:pt x="134" y="749"/>
                            <a:pt x="134" y="749"/>
                            <a:pt x="134" y="749"/>
                          </a:cubicBezTo>
                          <a:cubicBezTo>
                            <a:pt x="145" y="762"/>
                            <a:pt x="145" y="762"/>
                            <a:pt x="145" y="762"/>
                          </a:cubicBezTo>
                          <a:cubicBezTo>
                            <a:pt x="152" y="767"/>
                            <a:pt x="152" y="767"/>
                            <a:pt x="152" y="767"/>
                          </a:cubicBezTo>
                          <a:cubicBezTo>
                            <a:pt x="168" y="771"/>
                            <a:pt x="168" y="771"/>
                            <a:pt x="168" y="771"/>
                          </a:cubicBezTo>
                          <a:cubicBezTo>
                            <a:pt x="187" y="774"/>
                            <a:pt x="187" y="774"/>
                            <a:pt x="187" y="774"/>
                          </a:cubicBezTo>
                          <a:cubicBezTo>
                            <a:pt x="193" y="772"/>
                            <a:pt x="193" y="772"/>
                            <a:pt x="193" y="772"/>
                          </a:cubicBezTo>
                          <a:cubicBezTo>
                            <a:pt x="211" y="780"/>
                            <a:pt x="211" y="780"/>
                            <a:pt x="211" y="780"/>
                          </a:cubicBezTo>
                          <a:cubicBezTo>
                            <a:pt x="228" y="790"/>
                            <a:pt x="228" y="790"/>
                            <a:pt x="228" y="790"/>
                          </a:cubicBezTo>
                          <a:cubicBezTo>
                            <a:pt x="231" y="790"/>
                            <a:pt x="231" y="790"/>
                            <a:pt x="231" y="790"/>
                          </a:cubicBezTo>
                          <a:cubicBezTo>
                            <a:pt x="238" y="797"/>
                            <a:pt x="238" y="797"/>
                            <a:pt x="238" y="797"/>
                          </a:cubicBezTo>
                          <a:cubicBezTo>
                            <a:pt x="254" y="805"/>
                            <a:pt x="254" y="805"/>
                            <a:pt x="254" y="805"/>
                          </a:cubicBezTo>
                          <a:cubicBezTo>
                            <a:pt x="262" y="803"/>
                            <a:pt x="262" y="803"/>
                            <a:pt x="262" y="803"/>
                          </a:cubicBezTo>
                          <a:cubicBezTo>
                            <a:pt x="262" y="793"/>
                            <a:pt x="262" y="793"/>
                            <a:pt x="262" y="793"/>
                          </a:cubicBezTo>
                          <a:cubicBezTo>
                            <a:pt x="260" y="791"/>
                            <a:pt x="259" y="789"/>
                            <a:pt x="258" y="787"/>
                          </a:cubicBezTo>
                          <a:cubicBezTo>
                            <a:pt x="250" y="779"/>
                            <a:pt x="250" y="770"/>
                            <a:pt x="250" y="760"/>
                          </a:cubicBezTo>
                          <a:cubicBezTo>
                            <a:pt x="245" y="755"/>
                            <a:pt x="240" y="750"/>
                            <a:pt x="240" y="743"/>
                          </a:cubicBezTo>
                          <a:cubicBezTo>
                            <a:pt x="244" y="741"/>
                            <a:pt x="244" y="741"/>
                            <a:pt x="244" y="741"/>
                          </a:cubicBezTo>
                          <a:cubicBezTo>
                            <a:pt x="245" y="736"/>
                            <a:pt x="248" y="732"/>
                            <a:pt x="250" y="727"/>
                          </a:cubicBezTo>
                          <a:cubicBezTo>
                            <a:pt x="258" y="727"/>
                            <a:pt x="263" y="721"/>
                            <a:pt x="268" y="717"/>
                          </a:cubicBezTo>
                          <a:cubicBezTo>
                            <a:pt x="270" y="717"/>
                            <a:pt x="270" y="716"/>
                            <a:pt x="272" y="715"/>
                          </a:cubicBezTo>
                          <a:cubicBezTo>
                            <a:pt x="265" y="712"/>
                            <a:pt x="265" y="712"/>
                            <a:pt x="265" y="712"/>
                          </a:cubicBezTo>
                          <a:cubicBezTo>
                            <a:pt x="268" y="699"/>
                            <a:pt x="268" y="699"/>
                            <a:pt x="268" y="699"/>
                          </a:cubicBezTo>
                          <a:cubicBezTo>
                            <a:pt x="260" y="689"/>
                            <a:pt x="260" y="689"/>
                            <a:pt x="260" y="689"/>
                          </a:cubicBezTo>
                          <a:cubicBezTo>
                            <a:pt x="243" y="686"/>
                            <a:pt x="243" y="686"/>
                            <a:pt x="243" y="686"/>
                          </a:cubicBezTo>
                          <a:cubicBezTo>
                            <a:pt x="247" y="635"/>
                            <a:pt x="247" y="635"/>
                            <a:pt x="247" y="635"/>
                          </a:cubicBezTo>
                          <a:cubicBezTo>
                            <a:pt x="254" y="633"/>
                            <a:pt x="254" y="633"/>
                            <a:pt x="254" y="633"/>
                          </a:cubicBezTo>
                          <a:cubicBezTo>
                            <a:pt x="258" y="639"/>
                            <a:pt x="258" y="639"/>
                            <a:pt x="258" y="639"/>
                          </a:cubicBezTo>
                          <a:cubicBezTo>
                            <a:pt x="266" y="638"/>
                            <a:pt x="266" y="638"/>
                            <a:pt x="266" y="638"/>
                          </a:cubicBezTo>
                          <a:cubicBezTo>
                            <a:pt x="266" y="625"/>
                            <a:pt x="266" y="625"/>
                            <a:pt x="266" y="625"/>
                          </a:cubicBezTo>
                          <a:cubicBezTo>
                            <a:pt x="293" y="607"/>
                            <a:pt x="293" y="607"/>
                            <a:pt x="293" y="607"/>
                          </a:cubicBezTo>
                          <a:cubicBezTo>
                            <a:pt x="300" y="614"/>
                            <a:pt x="300" y="614"/>
                            <a:pt x="300" y="614"/>
                          </a:cubicBezTo>
                          <a:cubicBezTo>
                            <a:pt x="312" y="614"/>
                            <a:pt x="312" y="614"/>
                            <a:pt x="312" y="614"/>
                          </a:cubicBezTo>
                          <a:cubicBezTo>
                            <a:pt x="316" y="617"/>
                            <a:pt x="316" y="617"/>
                            <a:pt x="316" y="617"/>
                          </a:cubicBezTo>
                          <a:cubicBezTo>
                            <a:pt x="318" y="618"/>
                            <a:pt x="318" y="618"/>
                            <a:pt x="318" y="618"/>
                          </a:cubicBezTo>
                          <a:cubicBezTo>
                            <a:pt x="329" y="618"/>
                            <a:pt x="329" y="618"/>
                            <a:pt x="329" y="618"/>
                          </a:cubicBezTo>
                          <a:cubicBezTo>
                            <a:pt x="337" y="627"/>
                            <a:pt x="337" y="627"/>
                            <a:pt x="337" y="627"/>
                          </a:cubicBezTo>
                          <a:cubicBezTo>
                            <a:pt x="344" y="627"/>
                            <a:pt x="344" y="627"/>
                            <a:pt x="344" y="627"/>
                          </a:cubicBezTo>
                          <a:cubicBezTo>
                            <a:pt x="349" y="632"/>
                            <a:pt x="349" y="632"/>
                            <a:pt x="349" y="632"/>
                          </a:cubicBezTo>
                          <a:cubicBezTo>
                            <a:pt x="354" y="632"/>
                            <a:pt x="354" y="632"/>
                            <a:pt x="354" y="632"/>
                          </a:cubicBezTo>
                          <a:cubicBezTo>
                            <a:pt x="361" y="625"/>
                            <a:pt x="361" y="625"/>
                            <a:pt x="361" y="625"/>
                          </a:cubicBezTo>
                          <a:cubicBezTo>
                            <a:pt x="383" y="625"/>
                            <a:pt x="383" y="625"/>
                            <a:pt x="383" y="625"/>
                          </a:cubicBezTo>
                          <a:cubicBezTo>
                            <a:pt x="390" y="630"/>
                            <a:pt x="390" y="630"/>
                            <a:pt x="390" y="630"/>
                          </a:cubicBezTo>
                          <a:cubicBezTo>
                            <a:pt x="407" y="634"/>
                            <a:pt x="407" y="634"/>
                            <a:pt x="407" y="634"/>
                          </a:cubicBezTo>
                          <a:cubicBezTo>
                            <a:pt x="408" y="627"/>
                            <a:pt x="408" y="627"/>
                            <a:pt x="408" y="627"/>
                          </a:cubicBezTo>
                          <a:cubicBezTo>
                            <a:pt x="394" y="613"/>
                            <a:pt x="394" y="613"/>
                            <a:pt x="394" y="613"/>
                          </a:cubicBezTo>
                          <a:cubicBezTo>
                            <a:pt x="393" y="612"/>
                            <a:pt x="393" y="612"/>
                            <a:pt x="393" y="612"/>
                          </a:cubicBezTo>
                          <a:cubicBezTo>
                            <a:pt x="374" y="593"/>
                            <a:pt x="374" y="593"/>
                            <a:pt x="374" y="593"/>
                          </a:cubicBezTo>
                          <a:cubicBezTo>
                            <a:pt x="375" y="586"/>
                            <a:pt x="375" y="586"/>
                            <a:pt x="375" y="586"/>
                          </a:cubicBezTo>
                          <a:cubicBezTo>
                            <a:pt x="377" y="577"/>
                            <a:pt x="377" y="577"/>
                            <a:pt x="377" y="577"/>
                          </a:cubicBezTo>
                          <a:cubicBezTo>
                            <a:pt x="379" y="574"/>
                            <a:pt x="379" y="574"/>
                            <a:pt x="379" y="574"/>
                          </a:cubicBezTo>
                          <a:cubicBezTo>
                            <a:pt x="382" y="568"/>
                            <a:pt x="382" y="568"/>
                            <a:pt x="382" y="568"/>
                          </a:cubicBezTo>
                          <a:cubicBezTo>
                            <a:pt x="396" y="540"/>
                            <a:pt x="396" y="540"/>
                            <a:pt x="396" y="540"/>
                          </a:cubicBezTo>
                          <a:cubicBezTo>
                            <a:pt x="385" y="530"/>
                            <a:pt x="385" y="530"/>
                            <a:pt x="385" y="530"/>
                          </a:cubicBezTo>
                          <a:cubicBezTo>
                            <a:pt x="391" y="515"/>
                            <a:pt x="391" y="515"/>
                            <a:pt x="391" y="515"/>
                          </a:cubicBezTo>
                          <a:cubicBezTo>
                            <a:pt x="403" y="508"/>
                            <a:pt x="403" y="508"/>
                            <a:pt x="403" y="508"/>
                          </a:cubicBezTo>
                          <a:cubicBezTo>
                            <a:pt x="408" y="488"/>
                            <a:pt x="408" y="488"/>
                            <a:pt x="408" y="488"/>
                          </a:cubicBezTo>
                          <a:cubicBezTo>
                            <a:pt x="407" y="458"/>
                            <a:pt x="407" y="458"/>
                            <a:pt x="407" y="458"/>
                          </a:cubicBezTo>
                          <a:cubicBezTo>
                            <a:pt x="403" y="434"/>
                            <a:pt x="403" y="434"/>
                            <a:pt x="403" y="434"/>
                          </a:cubicBezTo>
                          <a:cubicBezTo>
                            <a:pt x="409" y="389"/>
                            <a:pt x="409" y="389"/>
                            <a:pt x="409" y="389"/>
                          </a:cubicBezTo>
                          <a:cubicBezTo>
                            <a:pt x="409" y="388"/>
                            <a:pt x="409" y="388"/>
                            <a:pt x="409" y="388"/>
                          </a:cubicBezTo>
                          <a:cubicBezTo>
                            <a:pt x="409" y="388"/>
                            <a:pt x="410" y="385"/>
                            <a:pt x="411" y="381"/>
                          </a:cubicBezTo>
                          <a:cubicBezTo>
                            <a:pt x="411" y="379"/>
                            <a:pt x="412" y="376"/>
                            <a:pt x="412" y="373"/>
                          </a:cubicBezTo>
                          <a:cubicBezTo>
                            <a:pt x="416" y="355"/>
                            <a:pt x="416" y="355"/>
                            <a:pt x="416" y="355"/>
                          </a:cubicBezTo>
                          <a:cubicBezTo>
                            <a:pt x="417" y="355"/>
                            <a:pt x="417" y="354"/>
                            <a:pt x="417" y="354"/>
                          </a:cubicBezTo>
                          <a:cubicBezTo>
                            <a:pt x="410" y="345"/>
                            <a:pt x="410" y="345"/>
                            <a:pt x="410" y="345"/>
                          </a:cubicBezTo>
                          <a:cubicBezTo>
                            <a:pt x="414" y="301"/>
                            <a:pt x="414" y="301"/>
                            <a:pt x="414" y="301"/>
                          </a:cubicBezTo>
                          <a:cubicBezTo>
                            <a:pt x="451" y="260"/>
                            <a:pt x="451" y="260"/>
                            <a:pt x="451" y="260"/>
                          </a:cubicBezTo>
                          <a:cubicBezTo>
                            <a:pt x="462" y="255"/>
                            <a:pt x="462" y="255"/>
                            <a:pt x="462" y="255"/>
                          </a:cubicBezTo>
                          <a:cubicBezTo>
                            <a:pt x="465" y="240"/>
                            <a:pt x="465" y="240"/>
                            <a:pt x="465" y="240"/>
                          </a:cubicBezTo>
                          <a:cubicBezTo>
                            <a:pt x="457" y="206"/>
                            <a:pt x="457" y="206"/>
                            <a:pt x="457" y="206"/>
                          </a:cubicBezTo>
                          <a:lnTo>
                            <a:pt x="464" y="201"/>
                          </a:lnTo>
                          <a:close/>
                          <a:moveTo>
                            <a:pt x="82" y="219"/>
                          </a:moveTo>
                          <a:cubicBezTo>
                            <a:pt x="84" y="219"/>
                            <a:pt x="84" y="220"/>
                            <a:pt x="84" y="221"/>
                          </a:cubicBezTo>
                          <a:cubicBezTo>
                            <a:pt x="84" y="222"/>
                            <a:pt x="84" y="223"/>
                            <a:pt x="83" y="223"/>
                          </a:cubicBezTo>
                          <a:cubicBezTo>
                            <a:pt x="81" y="223"/>
                            <a:pt x="81" y="221"/>
                            <a:pt x="80" y="221"/>
                          </a:cubicBezTo>
                          <a:cubicBezTo>
                            <a:pt x="80" y="220"/>
                            <a:pt x="81" y="220"/>
                            <a:pt x="82" y="219"/>
                          </a:cubicBezTo>
                          <a:close/>
                          <a:moveTo>
                            <a:pt x="62" y="220"/>
                          </a:moveTo>
                          <a:cubicBezTo>
                            <a:pt x="62" y="217"/>
                            <a:pt x="66" y="217"/>
                            <a:pt x="69" y="215"/>
                          </a:cubicBezTo>
                          <a:cubicBezTo>
                            <a:pt x="72" y="215"/>
                            <a:pt x="71" y="217"/>
                            <a:pt x="71" y="218"/>
                          </a:cubicBezTo>
                          <a:cubicBezTo>
                            <a:pt x="67" y="219"/>
                            <a:pt x="67" y="222"/>
                            <a:pt x="67" y="224"/>
                          </a:cubicBezTo>
                          <a:cubicBezTo>
                            <a:pt x="66" y="226"/>
                            <a:pt x="64" y="224"/>
                            <a:pt x="62" y="224"/>
                          </a:cubicBezTo>
                          <a:cubicBezTo>
                            <a:pt x="58" y="224"/>
                            <a:pt x="54" y="225"/>
                            <a:pt x="52" y="224"/>
                          </a:cubicBezTo>
                          <a:cubicBezTo>
                            <a:pt x="54" y="222"/>
                            <a:pt x="60" y="224"/>
                            <a:pt x="62" y="220"/>
                          </a:cubicBezTo>
                          <a:close/>
                          <a:moveTo>
                            <a:pt x="37" y="250"/>
                          </a:moveTo>
                          <a:cubicBezTo>
                            <a:pt x="41" y="251"/>
                            <a:pt x="43" y="255"/>
                            <a:pt x="44" y="259"/>
                          </a:cubicBezTo>
                          <a:cubicBezTo>
                            <a:pt x="44" y="261"/>
                            <a:pt x="41" y="261"/>
                            <a:pt x="40" y="260"/>
                          </a:cubicBezTo>
                          <a:cubicBezTo>
                            <a:pt x="38" y="260"/>
                            <a:pt x="36" y="257"/>
                            <a:pt x="36" y="255"/>
                          </a:cubicBezTo>
                          <a:cubicBezTo>
                            <a:pt x="36" y="253"/>
                            <a:pt x="35" y="250"/>
                            <a:pt x="37" y="250"/>
                          </a:cubicBezTo>
                          <a:close/>
                          <a:moveTo>
                            <a:pt x="50" y="292"/>
                          </a:moveTo>
                          <a:cubicBezTo>
                            <a:pt x="45" y="291"/>
                            <a:pt x="45" y="283"/>
                            <a:pt x="40" y="287"/>
                          </a:cubicBezTo>
                          <a:cubicBezTo>
                            <a:pt x="39" y="288"/>
                            <a:pt x="38" y="289"/>
                            <a:pt x="36" y="288"/>
                          </a:cubicBezTo>
                          <a:cubicBezTo>
                            <a:pt x="33" y="285"/>
                            <a:pt x="33" y="285"/>
                            <a:pt x="33" y="285"/>
                          </a:cubicBezTo>
                          <a:cubicBezTo>
                            <a:pt x="34" y="283"/>
                            <a:pt x="36" y="285"/>
                            <a:pt x="37" y="285"/>
                          </a:cubicBezTo>
                          <a:cubicBezTo>
                            <a:pt x="40" y="284"/>
                            <a:pt x="42" y="279"/>
                            <a:pt x="45" y="282"/>
                          </a:cubicBezTo>
                          <a:cubicBezTo>
                            <a:pt x="46" y="285"/>
                            <a:pt x="54" y="289"/>
                            <a:pt x="50" y="292"/>
                          </a:cubicBezTo>
                          <a:close/>
                          <a:moveTo>
                            <a:pt x="49" y="266"/>
                          </a:moveTo>
                          <a:cubicBezTo>
                            <a:pt x="49" y="265"/>
                            <a:pt x="48" y="261"/>
                            <a:pt x="51" y="262"/>
                          </a:cubicBezTo>
                          <a:cubicBezTo>
                            <a:pt x="57" y="261"/>
                            <a:pt x="58" y="268"/>
                            <a:pt x="61" y="272"/>
                          </a:cubicBezTo>
                          <a:cubicBezTo>
                            <a:pt x="56" y="273"/>
                            <a:pt x="53" y="268"/>
                            <a:pt x="49" y="266"/>
                          </a:cubicBezTo>
                          <a:close/>
                          <a:moveTo>
                            <a:pt x="65" y="421"/>
                          </a:moveTo>
                          <a:cubicBezTo>
                            <a:pt x="60" y="425"/>
                            <a:pt x="54" y="421"/>
                            <a:pt x="49" y="421"/>
                          </a:cubicBezTo>
                          <a:cubicBezTo>
                            <a:pt x="45" y="419"/>
                            <a:pt x="41" y="416"/>
                            <a:pt x="36" y="414"/>
                          </a:cubicBezTo>
                          <a:cubicBezTo>
                            <a:pt x="35" y="406"/>
                            <a:pt x="32" y="400"/>
                            <a:pt x="28" y="394"/>
                          </a:cubicBezTo>
                          <a:cubicBezTo>
                            <a:pt x="27" y="390"/>
                            <a:pt x="31" y="388"/>
                            <a:pt x="33" y="385"/>
                          </a:cubicBezTo>
                          <a:cubicBezTo>
                            <a:pt x="35" y="383"/>
                            <a:pt x="36" y="380"/>
                            <a:pt x="38" y="379"/>
                          </a:cubicBezTo>
                          <a:cubicBezTo>
                            <a:pt x="45" y="380"/>
                            <a:pt x="50" y="388"/>
                            <a:pt x="55" y="392"/>
                          </a:cubicBezTo>
                          <a:cubicBezTo>
                            <a:pt x="63" y="399"/>
                            <a:pt x="68" y="410"/>
                            <a:pt x="65" y="421"/>
                          </a:cubicBezTo>
                          <a:close/>
                          <a:moveTo>
                            <a:pt x="76" y="338"/>
                          </a:moveTo>
                          <a:cubicBezTo>
                            <a:pt x="73" y="339"/>
                            <a:pt x="71" y="337"/>
                            <a:pt x="70" y="334"/>
                          </a:cubicBezTo>
                          <a:cubicBezTo>
                            <a:pt x="70" y="332"/>
                            <a:pt x="71" y="330"/>
                            <a:pt x="72" y="330"/>
                          </a:cubicBezTo>
                          <a:cubicBezTo>
                            <a:pt x="75" y="330"/>
                            <a:pt x="78" y="329"/>
                            <a:pt x="78" y="332"/>
                          </a:cubicBezTo>
                          <a:cubicBezTo>
                            <a:pt x="79" y="334"/>
                            <a:pt x="78" y="337"/>
                            <a:pt x="76" y="338"/>
                          </a:cubicBezTo>
                          <a:close/>
                          <a:moveTo>
                            <a:pt x="87" y="324"/>
                          </a:moveTo>
                          <a:cubicBezTo>
                            <a:pt x="91" y="324"/>
                            <a:pt x="93" y="329"/>
                            <a:pt x="95" y="332"/>
                          </a:cubicBezTo>
                          <a:cubicBezTo>
                            <a:pt x="95" y="334"/>
                            <a:pt x="94" y="336"/>
                            <a:pt x="92" y="336"/>
                          </a:cubicBezTo>
                          <a:cubicBezTo>
                            <a:pt x="89" y="337"/>
                            <a:pt x="86" y="334"/>
                            <a:pt x="85" y="331"/>
                          </a:cubicBezTo>
                          <a:cubicBezTo>
                            <a:pt x="83" y="329"/>
                            <a:pt x="83" y="323"/>
                            <a:pt x="87" y="324"/>
                          </a:cubicBezTo>
                          <a:close/>
                          <a:moveTo>
                            <a:pt x="102" y="402"/>
                          </a:moveTo>
                          <a:cubicBezTo>
                            <a:pt x="96" y="402"/>
                            <a:pt x="101" y="397"/>
                            <a:pt x="98" y="395"/>
                          </a:cubicBezTo>
                          <a:cubicBezTo>
                            <a:pt x="97" y="386"/>
                            <a:pt x="84" y="384"/>
                            <a:pt x="82" y="375"/>
                          </a:cubicBezTo>
                          <a:cubicBezTo>
                            <a:pt x="84" y="374"/>
                            <a:pt x="84" y="374"/>
                            <a:pt x="84" y="374"/>
                          </a:cubicBezTo>
                          <a:cubicBezTo>
                            <a:pt x="82" y="372"/>
                            <a:pt x="78" y="369"/>
                            <a:pt x="80" y="366"/>
                          </a:cubicBezTo>
                          <a:cubicBezTo>
                            <a:pt x="83" y="365"/>
                            <a:pt x="83" y="368"/>
                            <a:pt x="85" y="367"/>
                          </a:cubicBezTo>
                          <a:cubicBezTo>
                            <a:pt x="87" y="364"/>
                            <a:pt x="82" y="358"/>
                            <a:pt x="87" y="357"/>
                          </a:cubicBezTo>
                          <a:cubicBezTo>
                            <a:pt x="89" y="361"/>
                            <a:pt x="89" y="366"/>
                            <a:pt x="94" y="368"/>
                          </a:cubicBezTo>
                          <a:cubicBezTo>
                            <a:pt x="96" y="366"/>
                            <a:pt x="99" y="363"/>
                            <a:pt x="96" y="361"/>
                          </a:cubicBezTo>
                          <a:cubicBezTo>
                            <a:pt x="92" y="357"/>
                            <a:pt x="86" y="355"/>
                            <a:pt x="85" y="349"/>
                          </a:cubicBezTo>
                          <a:cubicBezTo>
                            <a:pt x="90" y="347"/>
                            <a:pt x="91" y="353"/>
                            <a:pt x="94" y="355"/>
                          </a:cubicBezTo>
                          <a:cubicBezTo>
                            <a:pt x="108" y="361"/>
                            <a:pt x="98" y="378"/>
                            <a:pt x="109" y="386"/>
                          </a:cubicBezTo>
                          <a:cubicBezTo>
                            <a:pt x="110" y="392"/>
                            <a:pt x="107" y="398"/>
                            <a:pt x="102" y="402"/>
                          </a:cubicBezTo>
                          <a:close/>
                          <a:moveTo>
                            <a:pt x="142" y="467"/>
                          </a:moveTo>
                          <a:cubicBezTo>
                            <a:pt x="142" y="467"/>
                            <a:pt x="142" y="467"/>
                            <a:pt x="142" y="467"/>
                          </a:cubicBezTo>
                          <a:cubicBezTo>
                            <a:pt x="138" y="468"/>
                            <a:pt x="137" y="473"/>
                            <a:pt x="133" y="471"/>
                          </a:cubicBezTo>
                          <a:cubicBezTo>
                            <a:pt x="132" y="471"/>
                            <a:pt x="132" y="471"/>
                            <a:pt x="132" y="471"/>
                          </a:cubicBezTo>
                          <a:cubicBezTo>
                            <a:pt x="128" y="466"/>
                            <a:pt x="125" y="459"/>
                            <a:pt x="119" y="457"/>
                          </a:cubicBezTo>
                          <a:cubicBezTo>
                            <a:pt x="118" y="456"/>
                            <a:pt x="118" y="454"/>
                            <a:pt x="119" y="453"/>
                          </a:cubicBezTo>
                          <a:cubicBezTo>
                            <a:pt x="122" y="452"/>
                            <a:pt x="123" y="455"/>
                            <a:pt x="126" y="455"/>
                          </a:cubicBezTo>
                          <a:cubicBezTo>
                            <a:pt x="123" y="452"/>
                            <a:pt x="125" y="447"/>
                            <a:pt x="125" y="444"/>
                          </a:cubicBezTo>
                          <a:cubicBezTo>
                            <a:pt x="129" y="441"/>
                            <a:pt x="129" y="441"/>
                            <a:pt x="129" y="441"/>
                          </a:cubicBezTo>
                          <a:cubicBezTo>
                            <a:pt x="133" y="444"/>
                            <a:pt x="128" y="448"/>
                            <a:pt x="131" y="451"/>
                          </a:cubicBezTo>
                          <a:cubicBezTo>
                            <a:pt x="136" y="455"/>
                            <a:pt x="143" y="461"/>
                            <a:pt x="142" y="467"/>
                          </a:cubicBezTo>
                          <a:close/>
                          <a:moveTo>
                            <a:pt x="348" y="490"/>
                          </a:moveTo>
                          <a:cubicBezTo>
                            <a:pt x="346" y="490"/>
                            <a:pt x="346" y="490"/>
                            <a:pt x="346" y="490"/>
                          </a:cubicBezTo>
                          <a:cubicBezTo>
                            <a:pt x="345" y="492"/>
                            <a:pt x="346" y="497"/>
                            <a:pt x="342" y="496"/>
                          </a:cubicBezTo>
                          <a:cubicBezTo>
                            <a:pt x="339" y="493"/>
                            <a:pt x="339" y="498"/>
                            <a:pt x="337" y="499"/>
                          </a:cubicBezTo>
                          <a:cubicBezTo>
                            <a:pt x="335" y="499"/>
                            <a:pt x="332" y="503"/>
                            <a:pt x="330" y="501"/>
                          </a:cubicBezTo>
                          <a:cubicBezTo>
                            <a:pt x="330" y="497"/>
                            <a:pt x="337" y="498"/>
                            <a:pt x="336" y="494"/>
                          </a:cubicBezTo>
                          <a:cubicBezTo>
                            <a:pt x="338" y="489"/>
                            <a:pt x="344" y="494"/>
                            <a:pt x="343" y="487"/>
                          </a:cubicBezTo>
                          <a:cubicBezTo>
                            <a:pt x="345" y="486"/>
                            <a:pt x="347" y="486"/>
                            <a:pt x="348" y="486"/>
                          </a:cubicBezTo>
                          <a:cubicBezTo>
                            <a:pt x="350" y="484"/>
                            <a:pt x="346" y="477"/>
                            <a:pt x="350" y="477"/>
                          </a:cubicBezTo>
                          <a:cubicBezTo>
                            <a:pt x="350" y="481"/>
                            <a:pt x="355" y="488"/>
                            <a:pt x="348" y="490"/>
                          </a:cubicBezTo>
                          <a:close/>
                          <a:moveTo>
                            <a:pt x="359" y="464"/>
                          </a:moveTo>
                          <a:cubicBezTo>
                            <a:pt x="357" y="461"/>
                            <a:pt x="356" y="458"/>
                            <a:pt x="356" y="455"/>
                          </a:cubicBezTo>
                          <a:cubicBezTo>
                            <a:pt x="361" y="451"/>
                            <a:pt x="361" y="451"/>
                            <a:pt x="361" y="451"/>
                          </a:cubicBezTo>
                          <a:cubicBezTo>
                            <a:pt x="359" y="447"/>
                            <a:pt x="359" y="447"/>
                            <a:pt x="359" y="447"/>
                          </a:cubicBezTo>
                          <a:cubicBezTo>
                            <a:pt x="359" y="446"/>
                            <a:pt x="359" y="444"/>
                            <a:pt x="360" y="444"/>
                          </a:cubicBezTo>
                          <a:cubicBezTo>
                            <a:pt x="362" y="446"/>
                            <a:pt x="367" y="450"/>
                            <a:pt x="364" y="453"/>
                          </a:cubicBezTo>
                          <a:cubicBezTo>
                            <a:pt x="362" y="456"/>
                            <a:pt x="359" y="460"/>
                            <a:pt x="362" y="464"/>
                          </a:cubicBezTo>
                          <a:cubicBezTo>
                            <a:pt x="361" y="465"/>
                            <a:pt x="360" y="465"/>
                            <a:pt x="359" y="464"/>
                          </a:cubicBezTo>
                          <a:close/>
                          <a:moveTo>
                            <a:pt x="369" y="479"/>
                          </a:moveTo>
                          <a:cubicBezTo>
                            <a:pt x="366" y="479"/>
                            <a:pt x="368" y="474"/>
                            <a:pt x="366" y="473"/>
                          </a:cubicBezTo>
                          <a:cubicBezTo>
                            <a:pt x="364" y="471"/>
                            <a:pt x="360" y="470"/>
                            <a:pt x="362" y="466"/>
                          </a:cubicBezTo>
                          <a:cubicBezTo>
                            <a:pt x="363" y="466"/>
                            <a:pt x="364" y="466"/>
                            <a:pt x="364" y="467"/>
                          </a:cubicBezTo>
                          <a:cubicBezTo>
                            <a:pt x="370" y="468"/>
                            <a:pt x="370" y="468"/>
                            <a:pt x="370" y="468"/>
                          </a:cubicBezTo>
                          <a:cubicBezTo>
                            <a:pt x="370" y="471"/>
                            <a:pt x="371" y="477"/>
                            <a:pt x="369" y="479"/>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nvGrpSpPr>
                    <p:cNvPr id="94" name="Group 51"/>
                    <p:cNvGrpSpPr>
                      <a:grpSpLocks noChangeAspect="1"/>
                    </p:cNvGrpSpPr>
                    <p:nvPr/>
                  </p:nvGrpSpPr>
                  <p:grpSpPr bwMode="auto">
                    <a:xfrm>
                      <a:off x="5289" y="664"/>
                      <a:ext cx="3860" cy="2511"/>
                      <a:chOff x="5289" y="664"/>
                      <a:chExt cx="3860" cy="2511"/>
                    </a:xfrm>
                  </p:grpSpPr>
                  <p:sp>
                    <p:nvSpPr>
                      <p:cNvPr id="117" name="Freeform 52"/>
                      <p:cNvSpPr>
                        <a:spLocks noChangeAspect="1" noEditPoints="1"/>
                      </p:cNvSpPr>
                      <p:nvPr/>
                    </p:nvSpPr>
                    <p:spPr bwMode="gray">
                      <a:xfrm>
                        <a:off x="5289" y="664"/>
                        <a:ext cx="3860" cy="2056"/>
                      </a:xfrm>
                      <a:custGeom>
                        <a:avLst/>
                        <a:gdLst>
                          <a:gd name="T0" fmla="*/ 511 w 513"/>
                          <a:gd name="T1" fmla="*/ 121 h 274"/>
                          <a:gd name="T2" fmla="*/ 419 w 513"/>
                          <a:gd name="T3" fmla="*/ 91 h 274"/>
                          <a:gd name="T4" fmla="*/ 382 w 513"/>
                          <a:gd name="T5" fmla="*/ 43 h 274"/>
                          <a:gd name="T6" fmla="*/ 362 w 513"/>
                          <a:gd name="T7" fmla="*/ 19 h 274"/>
                          <a:gd name="T8" fmla="*/ 352 w 513"/>
                          <a:gd name="T9" fmla="*/ 34 h 274"/>
                          <a:gd name="T10" fmla="*/ 317 w 513"/>
                          <a:gd name="T11" fmla="*/ 19 h 274"/>
                          <a:gd name="T12" fmla="*/ 293 w 513"/>
                          <a:gd name="T13" fmla="*/ 2 h 274"/>
                          <a:gd name="T14" fmla="*/ 246 w 513"/>
                          <a:gd name="T15" fmla="*/ 13 h 274"/>
                          <a:gd name="T16" fmla="*/ 192 w 513"/>
                          <a:gd name="T17" fmla="*/ 33 h 274"/>
                          <a:gd name="T18" fmla="*/ 187 w 513"/>
                          <a:gd name="T19" fmla="*/ 45 h 274"/>
                          <a:gd name="T20" fmla="*/ 174 w 513"/>
                          <a:gd name="T21" fmla="*/ 57 h 274"/>
                          <a:gd name="T22" fmla="*/ 171 w 513"/>
                          <a:gd name="T23" fmla="*/ 69 h 274"/>
                          <a:gd name="T24" fmla="*/ 180 w 513"/>
                          <a:gd name="T25" fmla="*/ 94 h 274"/>
                          <a:gd name="T26" fmla="*/ 165 w 513"/>
                          <a:gd name="T27" fmla="*/ 92 h 274"/>
                          <a:gd name="T28" fmla="*/ 140 w 513"/>
                          <a:gd name="T29" fmla="*/ 90 h 274"/>
                          <a:gd name="T30" fmla="*/ 106 w 513"/>
                          <a:gd name="T31" fmla="*/ 97 h 274"/>
                          <a:gd name="T32" fmla="*/ 86 w 513"/>
                          <a:gd name="T33" fmla="*/ 83 h 274"/>
                          <a:gd name="T34" fmla="*/ 69 w 513"/>
                          <a:gd name="T35" fmla="*/ 79 h 274"/>
                          <a:gd name="T36" fmla="*/ 23 w 513"/>
                          <a:gd name="T37" fmla="*/ 90 h 274"/>
                          <a:gd name="T38" fmla="*/ 11 w 513"/>
                          <a:gd name="T39" fmla="*/ 98 h 274"/>
                          <a:gd name="T40" fmla="*/ 17 w 513"/>
                          <a:gd name="T41" fmla="*/ 154 h 274"/>
                          <a:gd name="T42" fmla="*/ 29 w 513"/>
                          <a:gd name="T43" fmla="*/ 180 h 274"/>
                          <a:gd name="T44" fmla="*/ 65 w 513"/>
                          <a:gd name="T45" fmla="*/ 167 h 274"/>
                          <a:gd name="T46" fmla="*/ 77 w 513"/>
                          <a:gd name="T47" fmla="*/ 198 h 274"/>
                          <a:gd name="T48" fmla="*/ 56 w 513"/>
                          <a:gd name="T49" fmla="*/ 212 h 274"/>
                          <a:gd name="T50" fmla="*/ 60 w 513"/>
                          <a:gd name="T51" fmla="*/ 238 h 274"/>
                          <a:gd name="T52" fmla="*/ 78 w 513"/>
                          <a:gd name="T53" fmla="*/ 249 h 274"/>
                          <a:gd name="T54" fmla="*/ 99 w 513"/>
                          <a:gd name="T55" fmla="*/ 260 h 274"/>
                          <a:gd name="T56" fmla="*/ 144 w 513"/>
                          <a:gd name="T57" fmla="*/ 193 h 274"/>
                          <a:gd name="T58" fmla="*/ 162 w 513"/>
                          <a:gd name="T59" fmla="*/ 179 h 274"/>
                          <a:gd name="T60" fmla="*/ 181 w 513"/>
                          <a:gd name="T61" fmla="*/ 181 h 274"/>
                          <a:gd name="T62" fmla="*/ 179 w 513"/>
                          <a:gd name="T63" fmla="*/ 215 h 274"/>
                          <a:gd name="T64" fmla="*/ 198 w 513"/>
                          <a:gd name="T65" fmla="*/ 226 h 274"/>
                          <a:gd name="T66" fmla="*/ 227 w 513"/>
                          <a:gd name="T67" fmla="*/ 233 h 274"/>
                          <a:gd name="T68" fmla="*/ 249 w 513"/>
                          <a:gd name="T69" fmla="*/ 266 h 274"/>
                          <a:gd name="T70" fmla="*/ 266 w 513"/>
                          <a:gd name="T71" fmla="*/ 273 h 274"/>
                          <a:gd name="T72" fmla="*/ 280 w 513"/>
                          <a:gd name="T73" fmla="*/ 260 h 274"/>
                          <a:gd name="T74" fmla="*/ 309 w 513"/>
                          <a:gd name="T75" fmla="*/ 242 h 274"/>
                          <a:gd name="T76" fmla="*/ 338 w 513"/>
                          <a:gd name="T77" fmla="*/ 245 h 274"/>
                          <a:gd name="T78" fmla="*/ 355 w 513"/>
                          <a:gd name="T79" fmla="*/ 233 h 274"/>
                          <a:gd name="T80" fmla="*/ 400 w 513"/>
                          <a:gd name="T81" fmla="*/ 238 h 274"/>
                          <a:gd name="T82" fmla="*/ 427 w 513"/>
                          <a:gd name="T83" fmla="*/ 235 h 274"/>
                          <a:gd name="T84" fmla="*/ 415 w 513"/>
                          <a:gd name="T85" fmla="*/ 205 h 274"/>
                          <a:gd name="T86" fmla="*/ 450 w 513"/>
                          <a:gd name="T87" fmla="*/ 201 h 274"/>
                          <a:gd name="T88" fmla="*/ 453 w 513"/>
                          <a:gd name="T89" fmla="*/ 198 h 274"/>
                          <a:gd name="T90" fmla="*/ 477 w 513"/>
                          <a:gd name="T91" fmla="*/ 166 h 274"/>
                          <a:gd name="T92" fmla="*/ 491 w 513"/>
                          <a:gd name="T93" fmla="*/ 151 h 274"/>
                          <a:gd name="T94" fmla="*/ 278 w 513"/>
                          <a:gd name="T95" fmla="*/ 109 h 274"/>
                          <a:gd name="T96" fmla="*/ 284 w 513"/>
                          <a:gd name="T97" fmla="*/ 96 h 274"/>
                          <a:gd name="T98" fmla="*/ 325 w 513"/>
                          <a:gd name="T99" fmla="*/ 45 h 274"/>
                          <a:gd name="T100" fmla="*/ 333 w 513"/>
                          <a:gd name="T101" fmla="*/ 48 h 274"/>
                          <a:gd name="T102" fmla="*/ 398 w 513"/>
                          <a:gd name="T103" fmla="*/ 221 h 274"/>
                          <a:gd name="T104" fmla="*/ 408 w 513"/>
                          <a:gd name="T105" fmla="*/ 177 h 274"/>
                          <a:gd name="T106" fmla="*/ 349 w 513"/>
                          <a:gd name="T107" fmla="*/ 192 h 274"/>
                          <a:gd name="T108" fmla="*/ 342 w 513"/>
                          <a:gd name="T109" fmla="*/ 201 h 274"/>
                          <a:gd name="T110" fmla="*/ 358 w 513"/>
                          <a:gd name="T111" fmla="*/ 171 h 274"/>
                          <a:gd name="T112" fmla="*/ 408 w 513"/>
                          <a:gd name="T113" fmla="*/ 177 h 274"/>
                          <a:gd name="T114" fmla="*/ 440 w 513"/>
                          <a:gd name="T115" fmla="*/ 177 h 274"/>
                          <a:gd name="T116" fmla="*/ 474 w 513"/>
                          <a:gd name="T117" fmla="*/ 151 h 274"/>
                          <a:gd name="T118" fmla="*/ 462 w 513"/>
                          <a:gd name="T119" fmla="*/ 138 h 274"/>
                          <a:gd name="T120" fmla="*/ 466 w 513"/>
                          <a:gd name="T121" fmla="*/ 118 h 274"/>
                          <a:gd name="T122" fmla="*/ 466 w 513"/>
                          <a:gd name="T123" fmla="*/ 135 h 274"/>
                          <a:gd name="T124" fmla="*/ 474 w 513"/>
                          <a:gd name="T125" fmla="*/ 151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3" h="274">
                            <a:moveTo>
                              <a:pt x="489" y="146"/>
                            </a:moveTo>
                            <a:cubicBezTo>
                              <a:pt x="513" y="127"/>
                              <a:pt x="513" y="127"/>
                              <a:pt x="513" y="127"/>
                            </a:cubicBezTo>
                            <a:cubicBezTo>
                              <a:pt x="511" y="121"/>
                              <a:pt x="511" y="121"/>
                              <a:pt x="511" y="121"/>
                            </a:cubicBezTo>
                            <a:cubicBezTo>
                              <a:pt x="486" y="114"/>
                              <a:pt x="486" y="114"/>
                              <a:pt x="486" y="114"/>
                            </a:cubicBezTo>
                            <a:cubicBezTo>
                              <a:pt x="466" y="91"/>
                              <a:pt x="466" y="91"/>
                              <a:pt x="466" y="91"/>
                            </a:cubicBezTo>
                            <a:cubicBezTo>
                              <a:pt x="419" y="91"/>
                              <a:pt x="419" y="91"/>
                              <a:pt x="419" y="91"/>
                            </a:cubicBezTo>
                            <a:cubicBezTo>
                              <a:pt x="407" y="70"/>
                              <a:pt x="407" y="70"/>
                              <a:pt x="407" y="70"/>
                            </a:cubicBezTo>
                            <a:cubicBezTo>
                              <a:pt x="401" y="55"/>
                              <a:pt x="401" y="55"/>
                              <a:pt x="401" y="55"/>
                            </a:cubicBezTo>
                            <a:cubicBezTo>
                              <a:pt x="382" y="43"/>
                              <a:pt x="382" y="43"/>
                              <a:pt x="382" y="43"/>
                            </a:cubicBezTo>
                            <a:cubicBezTo>
                              <a:pt x="378" y="29"/>
                              <a:pt x="378" y="29"/>
                              <a:pt x="378" y="29"/>
                            </a:cubicBezTo>
                            <a:cubicBezTo>
                              <a:pt x="378" y="20"/>
                              <a:pt x="378" y="20"/>
                              <a:pt x="378" y="20"/>
                            </a:cubicBezTo>
                            <a:cubicBezTo>
                              <a:pt x="362" y="19"/>
                              <a:pt x="362" y="19"/>
                              <a:pt x="362" y="19"/>
                            </a:cubicBezTo>
                            <a:cubicBezTo>
                              <a:pt x="357" y="24"/>
                              <a:pt x="357" y="24"/>
                              <a:pt x="357" y="24"/>
                            </a:cubicBezTo>
                            <a:cubicBezTo>
                              <a:pt x="355" y="26"/>
                              <a:pt x="355" y="26"/>
                              <a:pt x="355" y="26"/>
                            </a:cubicBezTo>
                            <a:cubicBezTo>
                              <a:pt x="352" y="34"/>
                              <a:pt x="352" y="34"/>
                              <a:pt x="352" y="34"/>
                            </a:cubicBezTo>
                            <a:cubicBezTo>
                              <a:pt x="336" y="37"/>
                              <a:pt x="336" y="37"/>
                              <a:pt x="336" y="37"/>
                            </a:cubicBezTo>
                            <a:cubicBezTo>
                              <a:pt x="335" y="26"/>
                              <a:pt x="335" y="26"/>
                              <a:pt x="335" y="26"/>
                            </a:cubicBezTo>
                            <a:cubicBezTo>
                              <a:pt x="317" y="19"/>
                              <a:pt x="317" y="19"/>
                              <a:pt x="317" y="19"/>
                            </a:cubicBezTo>
                            <a:cubicBezTo>
                              <a:pt x="308" y="21"/>
                              <a:pt x="308" y="21"/>
                              <a:pt x="308" y="21"/>
                            </a:cubicBezTo>
                            <a:cubicBezTo>
                              <a:pt x="302" y="5"/>
                              <a:pt x="302" y="5"/>
                              <a:pt x="302" y="5"/>
                            </a:cubicBezTo>
                            <a:cubicBezTo>
                              <a:pt x="293" y="2"/>
                              <a:pt x="293" y="2"/>
                              <a:pt x="293" y="2"/>
                            </a:cubicBezTo>
                            <a:cubicBezTo>
                              <a:pt x="276" y="0"/>
                              <a:pt x="276" y="0"/>
                              <a:pt x="276" y="0"/>
                            </a:cubicBezTo>
                            <a:cubicBezTo>
                              <a:pt x="260" y="2"/>
                              <a:pt x="260" y="2"/>
                              <a:pt x="260" y="2"/>
                            </a:cubicBezTo>
                            <a:cubicBezTo>
                              <a:pt x="246" y="13"/>
                              <a:pt x="246" y="13"/>
                              <a:pt x="246" y="13"/>
                            </a:cubicBezTo>
                            <a:cubicBezTo>
                              <a:pt x="216" y="26"/>
                              <a:pt x="216" y="26"/>
                              <a:pt x="216" y="26"/>
                            </a:cubicBezTo>
                            <a:cubicBezTo>
                              <a:pt x="211" y="28"/>
                              <a:pt x="211" y="28"/>
                              <a:pt x="211" y="28"/>
                            </a:cubicBezTo>
                            <a:cubicBezTo>
                              <a:pt x="192" y="33"/>
                              <a:pt x="192" y="33"/>
                              <a:pt x="192" y="33"/>
                            </a:cubicBezTo>
                            <a:cubicBezTo>
                              <a:pt x="175" y="36"/>
                              <a:pt x="175" y="36"/>
                              <a:pt x="175" y="36"/>
                            </a:cubicBezTo>
                            <a:cubicBezTo>
                              <a:pt x="175" y="46"/>
                              <a:pt x="175" y="46"/>
                              <a:pt x="175" y="46"/>
                            </a:cubicBezTo>
                            <a:cubicBezTo>
                              <a:pt x="187" y="45"/>
                              <a:pt x="187" y="45"/>
                              <a:pt x="187" y="45"/>
                            </a:cubicBezTo>
                            <a:cubicBezTo>
                              <a:pt x="187" y="48"/>
                              <a:pt x="187" y="48"/>
                              <a:pt x="187" y="48"/>
                            </a:cubicBezTo>
                            <a:cubicBezTo>
                              <a:pt x="176" y="52"/>
                              <a:pt x="176" y="52"/>
                              <a:pt x="176" y="52"/>
                            </a:cubicBezTo>
                            <a:cubicBezTo>
                              <a:pt x="174" y="57"/>
                              <a:pt x="174" y="57"/>
                              <a:pt x="174" y="57"/>
                            </a:cubicBezTo>
                            <a:cubicBezTo>
                              <a:pt x="180" y="62"/>
                              <a:pt x="180" y="62"/>
                              <a:pt x="180" y="62"/>
                            </a:cubicBezTo>
                            <a:cubicBezTo>
                              <a:pt x="178" y="67"/>
                              <a:pt x="178" y="67"/>
                              <a:pt x="178" y="67"/>
                            </a:cubicBezTo>
                            <a:cubicBezTo>
                              <a:pt x="171" y="69"/>
                              <a:pt x="171" y="69"/>
                              <a:pt x="171" y="69"/>
                            </a:cubicBezTo>
                            <a:cubicBezTo>
                              <a:pt x="170" y="78"/>
                              <a:pt x="170" y="78"/>
                              <a:pt x="170" y="78"/>
                            </a:cubicBezTo>
                            <a:cubicBezTo>
                              <a:pt x="179" y="84"/>
                              <a:pt x="179" y="84"/>
                              <a:pt x="179" y="84"/>
                            </a:cubicBezTo>
                            <a:cubicBezTo>
                              <a:pt x="180" y="94"/>
                              <a:pt x="180" y="94"/>
                              <a:pt x="180" y="94"/>
                            </a:cubicBezTo>
                            <a:cubicBezTo>
                              <a:pt x="174" y="99"/>
                              <a:pt x="174" y="99"/>
                              <a:pt x="174" y="99"/>
                            </a:cubicBezTo>
                            <a:cubicBezTo>
                              <a:pt x="168" y="91"/>
                              <a:pt x="168" y="91"/>
                              <a:pt x="168" y="91"/>
                            </a:cubicBezTo>
                            <a:cubicBezTo>
                              <a:pt x="165" y="92"/>
                              <a:pt x="165" y="92"/>
                              <a:pt x="165" y="92"/>
                            </a:cubicBezTo>
                            <a:cubicBezTo>
                              <a:pt x="164" y="99"/>
                              <a:pt x="164" y="99"/>
                              <a:pt x="164" y="99"/>
                            </a:cubicBezTo>
                            <a:cubicBezTo>
                              <a:pt x="147" y="95"/>
                              <a:pt x="147" y="95"/>
                              <a:pt x="147" y="95"/>
                            </a:cubicBezTo>
                            <a:cubicBezTo>
                              <a:pt x="140" y="90"/>
                              <a:pt x="140" y="90"/>
                              <a:pt x="140" y="90"/>
                            </a:cubicBezTo>
                            <a:cubicBezTo>
                              <a:pt x="118" y="90"/>
                              <a:pt x="118" y="90"/>
                              <a:pt x="118" y="90"/>
                            </a:cubicBezTo>
                            <a:cubicBezTo>
                              <a:pt x="111" y="97"/>
                              <a:pt x="111" y="97"/>
                              <a:pt x="111" y="97"/>
                            </a:cubicBezTo>
                            <a:cubicBezTo>
                              <a:pt x="106" y="97"/>
                              <a:pt x="106" y="97"/>
                              <a:pt x="106" y="97"/>
                            </a:cubicBezTo>
                            <a:cubicBezTo>
                              <a:pt x="101" y="92"/>
                              <a:pt x="101" y="92"/>
                              <a:pt x="101" y="92"/>
                            </a:cubicBezTo>
                            <a:cubicBezTo>
                              <a:pt x="94" y="92"/>
                              <a:pt x="94" y="92"/>
                              <a:pt x="94" y="92"/>
                            </a:cubicBezTo>
                            <a:cubicBezTo>
                              <a:pt x="86" y="83"/>
                              <a:pt x="86" y="83"/>
                              <a:pt x="86" y="83"/>
                            </a:cubicBezTo>
                            <a:cubicBezTo>
                              <a:pt x="75" y="83"/>
                              <a:pt x="75" y="83"/>
                              <a:pt x="75" y="83"/>
                            </a:cubicBezTo>
                            <a:cubicBezTo>
                              <a:pt x="73" y="82"/>
                              <a:pt x="73" y="82"/>
                              <a:pt x="73" y="82"/>
                            </a:cubicBezTo>
                            <a:cubicBezTo>
                              <a:pt x="69" y="79"/>
                              <a:pt x="69" y="79"/>
                              <a:pt x="69" y="79"/>
                            </a:cubicBezTo>
                            <a:cubicBezTo>
                              <a:pt x="57" y="79"/>
                              <a:pt x="57" y="79"/>
                              <a:pt x="57" y="79"/>
                            </a:cubicBezTo>
                            <a:cubicBezTo>
                              <a:pt x="50" y="72"/>
                              <a:pt x="50" y="72"/>
                              <a:pt x="50" y="72"/>
                            </a:cubicBezTo>
                            <a:cubicBezTo>
                              <a:pt x="23" y="90"/>
                              <a:pt x="23" y="90"/>
                              <a:pt x="23" y="90"/>
                            </a:cubicBezTo>
                            <a:cubicBezTo>
                              <a:pt x="23" y="103"/>
                              <a:pt x="23" y="103"/>
                              <a:pt x="23" y="103"/>
                            </a:cubicBezTo>
                            <a:cubicBezTo>
                              <a:pt x="15" y="104"/>
                              <a:pt x="15" y="104"/>
                              <a:pt x="15" y="104"/>
                            </a:cubicBezTo>
                            <a:cubicBezTo>
                              <a:pt x="11" y="98"/>
                              <a:pt x="11" y="98"/>
                              <a:pt x="11" y="98"/>
                            </a:cubicBezTo>
                            <a:cubicBezTo>
                              <a:pt x="4" y="100"/>
                              <a:pt x="4" y="100"/>
                              <a:pt x="4" y="100"/>
                            </a:cubicBezTo>
                            <a:cubicBezTo>
                              <a:pt x="0" y="151"/>
                              <a:pt x="0" y="151"/>
                              <a:pt x="0" y="151"/>
                            </a:cubicBezTo>
                            <a:cubicBezTo>
                              <a:pt x="17" y="154"/>
                              <a:pt x="17" y="154"/>
                              <a:pt x="17" y="154"/>
                            </a:cubicBezTo>
                            <a:cubicBezTo>
                              <a:pt x="25" y="164"/>
                              <a:pt x="25" y="164"/>
                              <a:pt x="25" y="164"/>
                            </a:cubicBezTo>
                            <a:cubicBezTo>
                              <a:pt x="22" y="177"/>
                              <a:pt x="22" y="177"/>
                              <a:pt x="22" y="177"/>
                            </a:cubicBezTo>
                            <a:cubicBezTo>
                              <a:pt x="29" y="180"/>
                              <a:pt x="29" y="180"/>
                              <a:pt x="29" y="180"/>
                            </a:cubicBezTo>
                            <a:cubicBezTo>
                              <a:pt x="35" y="179"/>
                              <a:pt x="38" y="178"/>
                              <a:pt x="45" y="175"/>
                            </a:cubicBezTo>
                            <a:cubicBezTo>
                              <a:pt x="51" y="176"/>
                              <a:pt x="46" y="165"/>
                              <a:pt x="62" y="167"/>
                            </a:cubicBezTo>
                            <a:cubicBezTo>
                              <a:pt x="63" y="167"/>
                              <a:pt x="64" y="167"/>
                              <a:pt x="65" y="167"/>
                            </a:cubicBezTo>
                            <a:cubicBezTo>
                              <a:pt x="68" y="175"/>
                              <a:pt x="78" y="166"/>
                              <a:pt x="80" y="175"/>
                            </a:cubicBezTo>
                            <a:cubicBezTo>
                              <a:pt x="83" y="179"/>
                              <a:pt x="78" y="182"/>
                              <a:pt x="79" y="186"/>
                            </a:cubicBezTo>
                            <a:cubicBezTo>
                              <a:pt x="78" y="190"/>
                              <a:pt x="80" y="196"/>
                              <a:pt x="77" y="198"/>
                            </a:cubicBezTo>
                            <a:cubicBezTo>
                              <a:pt x="69" y="198"/>
                              <a:pt x="62" y="199"/>
                              <a:pt x="56" y="202"/>
                            </a:cubicBezTo>
                            <a:cubicBezTo>
                              <a:pt x="55" y="205"/>
                              <a:pt x="54" y="207"/>
                              <a:pt x="55" y="209"/>
                            </a:cubicBezTo>
                            <a:cubicBezTo>
                              <a:pt x="56" y="210"/>
                              <a:pt x="57" y="211"/>
                              <a:pt x="56" y="212"/>
                            </a:cubicBezTo>
                            <a:cubicBezTo>
                              <a:pt x="52" y="216"/>
                              <a:pt x="49" y="209"/>
                              <a:pt x="44" y="209"/>
                            </a:cubicBezTo>
                            <a:cubicBezTo>
                              <a:pt x="43" y="216"/>
                              <a:pt x="51" y="220"/>
                              <a:pt x="54" y="225"/>
                            </a:cubicBezTo>
                            <a:cubicBezTo>
                              <a:pt x="56" y="230"/>
                              <a:pt x="56" y="235"/>
                              <a:pt x="60" y="238"/>
                            </a:cubicBezTo>
                            <a:cubicBezTo>
                              <a:pt x="66" y="236"/>
                              <a:pt x="68" y="243"/>
                              <a:pt x="73" y="243"/>
                            </a:cubicBezTo>
                            <a:cubicBezTo>
                              <a:pt x="75" y="246"/>
                              <a:pt x="74" y="250"/>
                              <a:pt x="73" y="253"/>
                            </a:cubicBezTo>
                            <a:cubicBezTo>
                              <a:pt x="78" y="249"/>
                              <a:pt x="78" y="249"/>
                              <a:pt x="78" y="249"/>
                            </a:cubicBezTo>
                            <a:cubicBezTo>
                              <a:pt x="84" y="248"/>
                              <a:pt x="84" y="248"/>
                              <a:pt x="84" y="248"/>
                            </a:cubicBezTo>
                            <a:cubicBezTo>
                              <a:pt x="91" y="252"/>
                              <a:pt x="91" y="252"/>
                              <a:pt x="91" y="252"/>
                            </a:cubicBezTo>
                            <a:cubicBezTo>
                              <a:pt x="99" y="260"/>
                              <a:pt x="99" y="260"/>
                              <a:pt x="99" y="260"/>
                            </a:cubicBezTo>
                            <a:cubicBezTo>
                              <a:pt x="111" y="258"/>
                              <a:pt x="111" y="258"/>
                              <a:pt x="111" y="258"/>
                            </a:cubicBezTo>
                            <a:cubicBezTo>
                              <a:pt x="109" y="212"/>
                              <a:pt x="109" y="212"/>
                              <a:pt x="109" y="212"/>
                            </a:cubicBezTo>
                            <a:cubicBezTo>
                              <a:pt x="144" y="193"/>
                              <a:pt x="144" y="193"/>
                              <a:pt x="144" y="193"/>
                            </a:cubicBezTo>
                            <a:cubicBezTo>
                              <a:pt x="145" y="190"/>
                              <a:pt x="145" y="190"/>
                              <a:pt x="145" y="190"/>
                            </a:cubicBezTo>
                            <a:cubicBezTo>
                              <a:pt x="148" y="187"/>
                              <a:pt x="152" y="185"/>
                              <a:pt x="157" y="186"/>
                            </a:cubicBezTo>
                            <a:cubicBezTo>
                              <a:pt x="158" y="183"/>
                              <a:pt x="158" y="178"/>
                              <a:pt x="162" y="179"/>
                            </a:cubicBezTo>
                            <a:cubicBezTo>
                              <a:pt x="166" y="179"/>
                              <a:pt x="167" y="174"/>
                              <a:pt x="170" y="172"/>
                            </a:cubicBezTo>
                            <a:cubicBezTo>
                              <a:pt x="175" y="171"/>
                              <a:pt x="182" y="170"/>
                              <a:pt x="186" y="173"/>
                            </a:cubicBezTo>
                            <a:cubicBezTo>
                              <a:pt x="186" y="177"/>
                              <a:pt x="182" y="178"/>
                              <a:pt x="181" y="181"/>
                            </a:cubicBezTo>
                            <a:cubicBezTo>
                              <a:pt x="175" y="190"/>
                              <a:pt x="185" y="196"/>
                              <a:pt x="189" y="202"/>
                            </a:cubicBezTo>
                            <a:cubicBezTo>
                              <a:pt x="190" y="206"/>
                              <a:pt x="186" y="209"/>
                              <a:pt x="183" y="211"/>
                            </a:cubicBezTo>
                            <a:cubicBezTo>
                              <a:pt x="181" y="212"/>
                              <a:pt x="180" y="213"/>
                              <a:pt x="179" y="215"/>
                            </a:cubicBezTo>
                            <a:cubicBezTo>
                              <a:pt x="180" y="216"/>
                              <a:pt x="180" y="216"/>
                              <a:pt x="180" y="216"/>
                            </a:cubicBezTo>
                            <a:cubicBezTo>
                              <a:pt x="190" y="227"/>
                              <a:pt x="190" y="227"/>
                              <a:pt x="190" y="227"/>
                            </a:cubicBezTo>
                            <a:cubicBezTo>
                              <a:pt x="198" y="226"/>
                              <a:pt x="198" y="226"/>
                              <a:pt x="198" y="226"/>
                            </a:cubicBezTo>
                            <a:cubicBezTo>
                              <a:pt x="211" y="227"/>
                              <a:pt x="211" y="227"/>
                              <a:pt x="211" y="227"/>
                            </a:cubicBezTo>
                            <a:cubicBezTo>
                              <a:pt x="217" y="227"/>
                              <a:pt x="217" y="227"/>
                              <a:pt x="217" y="227"/>
                            </a:cubicBezTo>
                            <a:cubicBezTo>
                              <a:pt x="227" y="233"/>
                              <a:pt x="227" y="233"/>
                              <a:pt x="227" y="233"/>
                            </a:cubicBezTo>
                            <a:cubicBezTo>
                              <a:pt x="233" y="246"/>
                              <a:pt x="233" y="246"/>
                              <a:pt x="233" y="246"/>
                            </a:cubicBezTo>
                            <a:cubicBezTo>
                              <a:pt x="241" y="244"/>
                              <a:pt x="241" y="244"/>
                              <a:pt x="241" y="244"/>
                            </a:cubicBezTo>
                            <a:cubicBezTo>
                              <a:pt x="249" y="266"/>
                              <a:pt x="249" y="266"/>
                              <a:pt x="249" y="266"/>
                            </a:cubicBezTo>
                            <a:cubicBezTo>
                              <a:pt x="254" y="266"/>
                              <a:pt x="254" y="266"/>
                              <a:pt x="254" y="266"/>
                            </a:cubicBezTo>
                            <a:cubicBezTo>
                              <a:pt x="261" y="274"/>
                              <a:pt x="261" y="274"/>
                              <a:pt x="261" y="274"/>
                            </a:cubicBezTo>
                            <a:cubicBezTo>
                              <a:pt x="266" y="273"/>
                              <a:pt x="266" y="273"/>
                              <a:pt x="266" y="273"/>
                            </a:cubicBezTo>
                            <a:cubicBezTo>
                              <a:pt x="272" y="269"/>
                              <a:pt x="272" y="269"/>
                              <a:pt x="272" y="269"/>
                            </a:cubicBezTo>
                            <a:cubicBezTo>
                              <a:pt x="278" y="267"/>
                              <a:pt x="278" y="267"/>
                              <a:pt x="278" y="267"/>
                            </a:cubicBezTo>
                            <a:cubicBezTo>
                              <a:pt x="280" y="260"/>
                              <a:pt x="280" y="260"/>
                              <a:pt x="280" y="260"/>
                            </a:cubicBezTo>
                            <a:cubicBezTo>
                              <a:pt x="288" y="251"/>
                              <a:pt x="288" y="251"/>
                              <a:pt x="288" y="251"/>
                            </a:cubicBezTo>
                            <a:cubicBezTo>
                              <a:pt x="304" y="248"/>
                              <a:pt x="304" y="248"/>
                              <a:pt x="304" y="248"/>
                            </a:cubicBezTo>
                            <a:cubicBezTo>
                              <a:pt x="309" y="242"/>
                              <a:pt x="309" y="242"/>
                              <a:pt x="309" y="242"/>
                            </a:cubicBezTo>
                            <a:cubicBezTo>
                              <a:pt x="318" y="242"/>
                              <a:pt x="318" y="242"/>
                              <a:pt x="318" y="242"/>
                            </a:cubicBezTo>
                            <a:cubicBezTo>
                              <a:pt x="324" y="247"/>
                              <a:pt x="324" y="247"/>
                              <a:pt x="324" y="247"/>
                            </a:cubicBezTo>
                            <a:cubicBezTo>
                              <a:pt x="338" y="245"/>
                              <a:pt x="338" y="245"/>
                              <a:pt x="338" y="245"/>
                            </a:cubicBezTo>
                            <a:cubicBezTo>
                              <a:pt x="335" y="237"/>
                              <a:pt x="335" y="237"/>
                              <a:pt x="335" y="237"/>
                            </a:cubicBezTo>
                            <a:cubicBezTo>
                              <a:pt x="349" y="230"/>
                              <a:pt x="349" y="230"/>
                              <a:pt x="349" y="230"/>
                            </a:cubicBezTo>
                            <a:cubicBezTo>
                              <a:pt x="355" y="233"/>
                              <a:pt x="355" y="233"/>
                              <a:pt x="355" y="233"/>
                            </a:cubicBezTo>
                            <a:cubicBezTo>
                              <a:pt x="361" y="240"/>
                              <a:pt x="361" y="240"/>
                              <a:pt x="361" y="240"/>
                            </a:cubicBezTo>
                            <a:cubicBezTo>
                              <a:pt x="379" y="234"/>
                              <a:pt x="379" y="234"/>
                              <a:pt x="379" y="234"/>
                            </a:cubicBezTo>
                            <a:cubicBezTo>
                              <a:pt x="400" y="238"/>
                              <a:pt x="400" y="238"/>
                              <a:pt x="400" y="238"/>
                            </a:cubicBezTo>
                            <a:cubicBezTo>
                              <a:pt x="416" y="243"/>
                              <a:pt x="416" y="243"/>
                              <a:pt x="416" y="243"/>
                            </a:cubicBezTo>
                            <a:cubicBezTo>
                              <a:pt x="423" y="248"/>
                              <a:pt x="423" y="248"/>
                              <a:pt x="423" y="248"/>
                            </a:cubicBezTo>
                            <a:cubicBezTo>
                              <a:pt x="427" y="235"/>
                              <a:pt x="427" y="235"/>
                              <a:pt x="427" y="235"/>
                            </a:cubicBezTo>
                            <a:cubicBezTo>
                              <a:pt x="424" y="227"/>
                              <a:pt x="424" y="227"/>
                              <a:pt x="424" y="227"/>
                            </a:cubicBezTo>
                            <a:cubicBezTo>
                              <a:pt x="424" y="214"/>
                              <a:pt x="424" y="214"/>
                              <a:pt x="424" y="214"/>
                            </a:cubicBezTo>
                            <a:cubicBezTo>
                              <a:pt x="415" y="205"/>
                              <a:pt x="415" y="205"/>
                              <a:pt x="415" y="205"/>
                            </a:cubicBezTo>
                            <a:cubicBezTo>
                              <a:pt x="441" y="196"/>
                              <a:pt x="441" y="196"/>
                              <a:pt x="441" y="196"/>
                            </a:cubicBezTo>
                            <a:cubicBezTo>
                              <a:pt x="447" y="204"/>
                              <a:pt x="447" y="204"/>
                              <a:pt x="447" y="204"/>
                            </a:cubicBezTo>
                            <a:cubicBezTo>
                              <a:pt x="450" y="201"/>
                              <a:pt x="450" y="201"/>
                              <a:pt x="450" y="201"/>
                            </a:cubicBezTo>
                            <a:cubicBezTo>
                              <a:pt x="449" y="200"/>
                              <a:pt x="449" y="200"/>
                              <a:pt x="449" y="199"/>
                            </a:cubicBezTo>
                            <a:cubicBezTo>
                              <a:pt x="449" y="198"/>
                              <a:pt x="450" y="197"/>
                              <a:pt x="450" y="196"/>
                            </a:cubicBezTo>
                            <a:cubicBezTo>
                              <a:pt x="452" y="196"/>
                              <a:pt x="452" y="197"/>
                              <a:pt x="453" y="198"/>
                            </a:cubicBezTo>
                            <a:cubicBezTo>
                              <a:pt x="451" y="190"/>
                              <a:pt x="451" y="190"/>
                              <a:pt x="451" y="190"/>
                            </a:cubicBezTo>
                            <a:cubicBezTo>
                              <a:pt x="461" y="167"/>
                              <a:pt x="461" y="167"/>
                              <a:pt x="461" y="167"/>
                            </a:cubicBezTo>
                            <a:cubicBezTo>
                              <a:pt x="477" y="166"/>
                              <a:pt x="477" y="166"/>
                              <a:pt x="477" y="166"/>
                            </a:cubicBezTo>
                            <a:cubicBezTo>
                              <a:pt x="487" y="171"/>
                              <a:pt x="487" y="171"/>
                              <a:pt x="487" y="171"/>
                            </a:cubicBezTo>
                            <a:cubicBezTo>
                              <a:pt x="494" y="163"/>
                              <a:pt x="494" y="163"/>
                              <a:pt x="494" y="163"/>
                            </a:cubicBezTo>
                            <a:cubicBezTo>
                              <a:pt x="491" y="151"/>
                              <a:pt x="491" y="151"/>
                              <a:pt x="491" y="151"/>
                            </a:cubicBezTo>
                            <a:lnTo>
                              <a:pt x="489" y="146"/>
                            </a:lnTo>
                            <a:close/>
                            <a:moveTo>
                              <a:pt x="287" y="104"/>
                            </a:moveTo>
                            <a:cubicBezTo>
                              <a:pt x="281" y="102"/>
                              <a:pt x="285" y="112"/>
                              <a:pt x="278" y="109"/>
                            </a:cubicBezTo>
                            <a:cubicBezTo>
                              <a:pt x="277" y="105"/>
                              <a:pt x="272" y="105"/>
                              <a:pt x="273" y="101"/>
                            </a:cubicBezTo>
                            <a:cubicBezTo>
                              <a:pt x="275" y="100"/>
                              <a:pt x="277" y="100"/>
                              <a:pt x="279" y="100"/>
                            </a:cubicBezTo>
                            <a:cubicBezTo>
                              <a:pt x="280" y="98"/>
                              <a:pt x="282" y="95"/>
                              <a:pt x="284" y="96"/>
                            </a:cubicBezTo>
                            <a:cubicBezTo>
                              <a:pt x="286" y="98"/>
                              <a:pt x="289" y="101"/>
                              <a:pt x="287" y="104"/>
                            </a:cubicBezTo>
                            <a:close/>
                            <a:moveTo>
                              <a:pt x="333" y="48"/>
                            </a:moveTo>
                            <a:cubicBezTo>
                              <a:pt x="330" y="49"/>
                              <a:pt x="327" y="46"/>
                              <a:pt x="325" y="45"/>
                            </a:cubicBezTo>
                            <a:cubicBezTo>
                              <a:pt x="324" y="41"/>
                              <a:pt x="327" y="41"/>
                              <a:pt x="328" y="40"/>
                            </a:cubicBezTo>
                            <a:cubicBezTo>
                              <a:pt x="331" y="40"/>
                              <a:pt x="334" y="40"/>
                              <a:pt x="336" y="42"/>
                            </a:cubicBezTo>
                            <a:cubicBezTo>
                              <a:pt x="337" y="44"/>
                              <a:pt x="335" y="47"/>
                              <a:pt x="333" y="48"/>
                            </a:cubicBezTo>
                            <a:close/>
                            <a:moveTo>
                              <a:pt x="391" y="226"/>
                            </a:moveTo>
                            <a:cubicBezTo>
                              <a:pt x="389" y="225"/>
                              <a:pt x="389" y="225"/>
                              <a:pt x="389" y="225"/>
                            </a:cubicBezTo>
                            <a:cubicBezTo>
                              <a:pt x="390" y="222"/>
                              <a:pt x="394" y="221"/>
                              <a:pt x="398" y="221"/>
                            </a:cubicBezTo>
                            <a:cubicBezTo>
                              <a:pt x="400" y="221"/>
                              <a:pt x="403" y="220"/>
                              <a:pt x="404" y="223"/>
                            </a:cubicBezTo>
                            <a:cubicBezTo>
                              <a:pt x="402" y="227"/>
                              <a:pt x="395" y="226"/>
                              <a:pt x="391" y="226"/>
                            </a:cubicBezTo>
                            <a:close/>
                            <a:moveTo>
                              <a:pt x="408" y="177"/>
                            </a:moveTo>
                            <a:cubicBezTo>
                              <a:pt x="398" y="184"/>
                              <a:pt x="386" y="175"/>
                              <a:pt x="377" y="177"/>
                            </a:cubicBezTo>
                            <a:cubicBezTo>
                              <a:pt x="369" y="177"/>
                              <a:pt x="361" y="179"/>
                              <a:pt x="354" y="181"/>
                            </a:cubicBezTo>
                            <a:cubicBezTo>
                              <a:pt x="351" y="184"/>
                              <a:pt x="350" y="189"/>
                              <a:pt x="349" y="192"/>
                            </a:cubicBezTo>
                            <a:cubicBezTo>
                              <a:pt x="350" y="197"/>
                              <a:pt x="357" y="198"/>
                              <a:pt x="360" y="202"/>
                            </a:cubicBezTo>
                            <a:cubicBezTo>
                              <a:pt x="360" y="205"/>
                              <a:pt x="357" y="204"/>
                              <a:pt x="355" y="203"/>
                            </a:cubicBezTo>
                            <a:cubicBezTo>
                              <a:pt x="351" y="202"/>
                              <a:pt x="347" y="202"/>
                              <a:pt x="342" y="201"/>
                            </a:cubicBezTo>
                            <a:cubicBezTo>
                              <a:pt x="342" y="195"/>
                              <a:pt x="332" y="192"/>
                              <a:pt x="336" y="186"/>
                            </a:cubicBezTo>
                            <a:cubicBezTo>
                              <a:pt x="341" y="180"/>
                              <a:pt x="341" y="180"/>
                              <a:pt x="341" y="180"/>
                            </a:cubicBezTo>
                            <a:cubicBezTo>
                              <a:pt x="342" y="172"/>
                              <a:pt x="351" y="172"/>
                              <a:pt x="358" y="171"/>
                            </a:cubicBezTo>
                            <a:cubicBezTo>
                              <a:pt x="369" y="172"/>
                              <a:pt x="382" y="173"/>
                              <a:pt x="393" y="173"/>
                            </a:cubicBezTo>
                            <a:cubicBezTo>
                              <a:pt x="398" y="172"/>
                              <a:pt x="403" y="169"/>
                              <a:pt x="408" y="173"/>
                            </a:cubicBezTo>
                            <a:cubicBezTo>
                              <a:pt x="408" y="174"/>
                              <a:pt x="408" y="175"/>
                              <a:pt x="408" y="177"/>
                            </a:cubicBezTo>
                            <a:close/>
                            <a:moveTo>
                              <a:pt x="443" y="185"/>
                            </a:moveTo>
                            <a:cubicBezTo>
                              <a:pt x="440" y="186"/>
                              <a:pt x="439" y="183"/>
                              <a:pt x="437" y="183"/>
                            </a:cubicBezTo>
                            <a:cubicBezTo>
                              <a:pt x="439" y="181"/>
                              <a:pt x="436" y="177"/>
                              <a:pt x="440" y="177"/>
                            </a:cubicBezTo>
                            <a:cubicBezTo>
                              <a:pt x="442" y="177"/>
                              <a:pt x="445" y="178"/>
                              <a:pt x="445" y="181"/>
                            </a:cubicBezTo>
                            <a:cubicBezTo>
                              <a:pt x="445" y="182"/>
                              <a:pt x="445" y="185"/>
                              <a:pt x="443" y="185"/>
                            </a:cubicBezTo>
                            <a:close/>
                            <a:moveTo>
                              <a:pt x="474" y="151"/>
                            </a:moveTo>
                            <a:cubicBezTo>
                              <a:pt x="469" y="156"/>
                              <a:pt x="464" y="149"/>
                              <a:pt x="460" y="148"/>
                            </a:cubicBezTo>
                            <a:cubicBezTo>
                              <a:pt x="459" y="146"/>
                              <a:pt x="455" y="145"/>
                              <a:pt x="457" y="143"/>
                            </a:cubicBezTo>
                            <a:cubicBezTo>
                              <a:pt x="458" y="141"/>
                              <a:pt x="463" y="141"/>
                              <a:pt x="462" y="138"/>
                            </a:cubicBezTo>
                            <a:cubicBezTo>
                              <a:pt x="460" y="136"/>
                              <a:pt x="456" y="134"/>
                              <a:pt x="458" y="131"/>
                            </a:cubicBezTo>
                            <a:cubicBezTo>
                              <a:pt x="461" y="129"/>
                              <a:pt x="463" y="127"/>
                              <a:pt x="467" y="126"/>
                            </a:cubicBezTo>
                            <a:cubicBezTo>
                              <a:pt x="467" y="124"/>
                              <a:pt x="465" y="121"/>
                              <a:pt x="466" y="118"/>
                            </a:cubicBezTo>
                            <a:cubicBezTo>
                              <a:pt x="466" y="118"/>
                              <a:pt x="466" y="117"/>
                              <a:pt x="467" y="117"/>
                            </a:cubicBezTo>
                            <a:cubicBezTo>
                              <a:pt x="469" y="121"/>
                              <a:pt x="472" y="123"/>
                              <a:pt x="473" y="127"/>
                            </a:cubicBezTo>
                            <a:cubicBezTo>
                              <a:pt x="472" y="132"/>
                              <a:pt x="462" y="129"/>
                              <a:pt x="466" y="135"/>
                            </a:cubicBezTo>
                            <a:cubicBezTo>
                              <a:pt x="469" y="136"/>
                              <a:pt x="468" y="139"/>
                              <a:pt x="468" y="141"/>
                            </a:cubicBezTo>
                            <a:cubicBezTo>
                              <a:pt x="470" y="145"/>
                              <a:pt x="475" y="146"/>
                              <a:pt x="474" y="150"/>
                            </a:cubicBezTo>
                            <a:cubicBezTo>
                              <a:pt x="474" y="151"/>
                              <a:pt x="474" y="151"/>
                              <a:pt x="474" y="151"/>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8" name="Freeform 53"/>
                      <p:cNvSpPr>
                        <a:spLocks noChangeAspect="1" noEditPoints="1"/>
                      </p:cNvSpPr>
                      <p:nvPr/>
                    </p:nvSpPr>
                    <p:spPr bwMode="gray">
                      <a:xfrm>
                        <a:off x="6104" y="2115"/>
                        <a:ext cx="1612" cy="1060"/>
                      </a:xfrm>
                      <a:custGeom>
                        <a:avLst/>
                        <a:gdLst>
                          <a:gd name="T0" fmla="*/ 47 w 214"/>
                          <a:gd name="T1" fmla="*/ 10 h 141"/>
                          <a:gd name="T2" fmla="*/ 46 w 214"/>
                          <a:gd name="T3" fmla="*/ 6 h 141"/>
                          <a:gd name="T4" fmla="*/ 39 w 214"/>
                          <a:gd name="T5" fmla="*/ 3 h 141"/>
                          <a:gd name="T6" fmla="*/ 45 w 214"/>
                          <a:gd name="T7" fmla="*/ 12 h 141"/>
                          <a:gd name="T8" fmla="*/ 43 w 214"/>
                          <a:gd name="T9" fmla="*/ 22 h 141"/>
                          <a:gd name="T10" fmla="*/ 36 w 214"/>
                          <a:gd name="T11" fmla="*/ 24 h 141"/>
                          <a:gd name="T12" fmla="*/ 64 w 214"/>
                          <a:gd name="T13" fmla="*/ 23 h 141"/>
                          <a:gd name="T14" fmla="*/ 54 w 214"/>
                          <a:gd name="T15" fmla="*/ 28 h 141"/>
                          <a:gd name="T16" fmla="*/ 204 w 214"/>
                          <a:gd name="T17" fmla="*/ 77 h 141"/>
                          <a:gd name="T18" fmla="*/ 189 w 214"/>
                          <a:gd name="T19" fmla="*/ 69 h 141"/>
                          <a:gd name="T20" fmla="*/ 185 w 214"/>
                          <a:gd name="T21" fmla="*/ 62 h 141"/>
                          <a:gd name="T22" fmla="*/ 195 w 214"/>
                          <a:gd name="T23" fmla="*/ 55 h 141"/>
                          <a:gd name="T24" fmla="*/ 171 w 214"/>
                          <a:gd name="T25" fmla="*/ 67 h 141"/>
                          <a:gd name="T26" fmla="*/ 163 w 214"/>
                          <a:gd name="T27" fmla="*/ 76 h 141"/>
                          <a:gd name="T28" fmla="*/ 152 w 214"/>
                          <a:gd name="T29" fmla="*/ 81 h 141"/>
                          <a:gd name="T30" fmla="*/ 140 w 214"/>
                          <a:gd name="T31" fmla="*/ 73 h 141"/>
                          <a:gd name="T32" fmla="*/ 124 w 214"/>
                          <a:gd name="T33" fmla="*/ 53 h 141"/>
                          <a:gd name="T34" fmla="*/ 108 w 214"/>
                          <a:gd name="T35" fmla="*/ 34 h 141"/>
                          <a:gd name="T36" fmla="*/ 89 w 214"/>
                          <a:gd name="T37" fmla="*/ 33 h 141"/>
                          <a:gd name="T38" fmla="*/ 71 w 214"/>
                          <a:gd name="T39" fmla="*/ 23 h 141"/>
                          <a:gd name="T40" fmla="*/ 65 w 214"/>
                          <a:gd name="T41" fmla="*/ 38 h 141"/>
                          <a:gd name="T42" fmla="*/ 35 w 214"/>
                          <a:gd name="T43" fmla="*/ 34 h 141"/>
                          <a:gd name="T44" fmla="*/ 35 w 214"/>
                          <a:gd name="T45" fmla="*/ 0 h 141"/>
                          <a:gd name="T46" fmla="*/ 2 w 214"/>
                          <a:gd name="T47" fmla="*/ 65 h 141"/>
                          <a:gd name="T48" fmla="*/ 27 w 214"/>
                          <a:gd name="T49" fmla="*/ 57 h 141"/>
                          <a:gd name="T50" fmla="*/ 38 w 214"/>
                          <a:gd name="T51" fmla="*/ 53 h 141"/>
                          <a:gd name="T52" fmla="*/ 43 w 214"/>
                          <a:gd name="T53" fmla="*/ 50 h 141"/>
                          <a:gd name="T54" fmla="*/ 54 w 214"/>
                          <a:gd name="T55" fmla="*/ 58 h 141"/>
                          <a:gd name="T56" fmla="*/ 54 w 214"/>
                          <a:gd name="T57" fmla="*/ 70 h 141"/>
                          <a:gd name="T58" fmla="*/ 80 w 214"/>
                          <a:gd name="T59" fmla="*/ 80 h 141"/>
                          <a:gd name="T60" fmla="*/ 92 w 214"/>
                          <a:gd name="T61" fmla="*/ 106 h 141"/>
                          <a:gd name="T62" fmla="*/ 114 w 214"/>
                          <a:gd name="T63" fmla="*/ 122 h 141"/>
                          <a:gd name="T64" fmla="*/ 134 w 214"/>
                          <a:gd name="T65" fmla="*/ 130 h 141"/>
                          <a:gd name="T66" fmla="*/ 157 w 214"/>
                          <a:gd name="T67" fmla="*/ 141 h 141"/>
                          <a:gd name="T68" fmla="*/ 160 w 214"/>
                          <a:gd name="T69" fmla="*/ 121 h 141"/>
                          <a:gd name="T70" fmla="*/ 152 w 214"/>
                          <a:gd name="T71" fmla="*/ 100 h 141"/>
                          <a:gd name="T72" fmla="*/ 172 w 214"/>
                          <a:gd name="T73" fmla="*/ 95 h 141"/>
                          <a:gd name="T74" fmla="*/ 187 w 214"/>
                          <a:gd name="T75" fmla="*/ 79 h 141"/>
                          <a:gd name="T76" fmla="*/ 190 w 214"/>
                          <a:gd name="T77" fmla="*/ 88 h 141"/>
                          <a:gd name="T78" fmla="*/ 202 w 214"/>
                          <a:gd name="T79" fmla="*/ 92 h 141"/>
                          <a:gd name="T80" fmla="*/ 214 w 214"/>
                          <a:gd name="T81" fmla="*/ 7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4" h="141">
                            <a:moveTo>
                              <a:pt x="45" y="12"/>
                            </a:moveTo>
                            <a:cubicBezTo>
                              <a:pt x="46" y="11"/>
                              <a:pt x="46" y="11"/>
                              <a:pt x="47" y="10"/>
                            </a:cubicBezTo>
                            <a:cubicBezTo>
                              <a:pt x="47" y="9"/>
                              <a:pt x="47" y="7"/>
                              <a:pt x="46" y="6"/>
                            </a:cubicBezTo>
                            <a:cubicBezTo>
                              <a:pt x="46" y="6"/>
                              <a:pt x="46" y="6"/>
                              <a:pt x="46" y="6"/>
                            </a:cubicBezTo>
                            <a:cubicBezTo>
                              <a:pt x="45" y="4"/>
                              <a:pt x="43" y="2"/>
                              <a:pt x="41" y="2"/>
                            </a:cubicBezTo>
                            <a:cubicBezTo>
                              <a:pt x="40" y="2"/>
                              <a:pt x="39" y="2"/>
                              <a:pt x="39" y="3"/>
                            </a:cubicBezTo>
                            <a:cubicBezTo>
                              <a:pt x="37" y="4"/>
                              <a:pt x="37" y="6"/>
                              <a:pt x="38" y="8"/>
                            </a:cubicBezTo>
                            <a:cubicBezTo>
                              <a:pt x="39" y="11"/>
                              <a:pt x="42" y="13"/>
                              <a:pt x="45" y="12"/>
                            </a:cubicBezTo>
                            <a:close/>
                            <a:moveTo>
                              <a:pt x="42" y="25"/>
                            </a:moveTo>
                            <a:cubicBezTo>
                              <a:pt x="43" y="24"/>
                              <a:pt x="43" y="23"/>
                              <a:pt x="43" y="22"/>
                            </a:cubicBezTo>
                            <a:cubicBezTo>
                              <a:pt x="41" y="22"/>
                              <a:pt x="40" y="20"/>
                              <a:pt x="38" y="21"/>
                            </a:cubicBezTo>
                            <a:cubicBezTo>
                              <a:pt x="37" y="22"/>
                              <a:pt x="35" y="23"/>
                              <a:pt x="36" y="24"/>
                            </a:cubicBezTo>
                            <a:cubicBezTo>
                              <a:pt x="38" y="26"/>
                              <a:pt x="40" y="25"/>
                              <a:pt x="42" y="25"/>
                            </a:cubicBezTo>
                            <a:close/>
                            <a:moveTo>
                              <a:pt x="64" y="23"/>
                            </a:moveTo>
                            <a:cubicBezTo>
                              <a:pt x="62" y="21"/>
                              <a:pt x="54" y="19"/>
                              <a:pt x="54" y="26"/>
                            </a:cubicBezTo>
                            <a:cubicBezTo>
                              <a:pt x="54" y="27"/>
                              <a:pt x="54" y="28"/>
                              <a:pt x="54" y="28"/>
                            </a:cubicBezTo>
                            <a:cubicBezTo>
                              <a:pt x="58" y="28"/>
                              <a:pt x="68" y="25"/>
                              <a:pt x="64" y="23"/>
                            </a:cubicBezTo>
                            <a:close/>
                            <a:moveTo>
                              <a:pt x="204" y="77"/>
                            </a:moveTo>
                            <a:cubicBezTo>
                              <a:pt x="201" y="70"/>
                              <a:pt x="201" y="70"/>
                              <a:pt x="201" y="70"/>
                            </a:cubicBezTo>
                            <a:cubicBezTo>
                              <a:pt x="189" y="69"/>
                              <a:pt x="189" y="69"/>
                              <a:pt x="189" y="69"/>
                            </a:cubicBezTo>
                            <a:cubicBezTo>
                              <a:pt x="179" y="67"/>
                              <a:pt x="179" y="67"/>
                              <a:pt x="179" y="67"/>
                            </a:cubicBezTo>
                            <a:cubicBezTo>
                              <a:pt x="185" y="62"/>
                              <a:pt x="185" y="62"/>
                              <a:pt x="185" y="62"/>
                            </a:cubicBezTo>
                            <a:cubicBezTo>
                              <a:pt x="192" y="62"/>
                              <a:pt x="192" y="62"/>
                              <a:pt x="192" y="62"/>
                            </a:cubicBezTo>
                            <a:cubicBezTo>
                              <a:pt x="195" y="55"/>
                              <a:pt x="195" y="55"/>
                              <a:pt x="195" y="55"/>
                            </a:cubicBezTo>
                            <a:cubicBezTo>
                              <a:pt x="179" y="58"/>
                              <a:pt x="179" y="58"/>
                              <a:pt x="179" y="58"/>
                            </a:cubicBezTo>
                            <a:cubicBezTo>
                              <a:pt x="171" y="67"/>
                              <a:pt x="171" y="67"/>
                              <a:pt x="171" y="67"/>
                            </a:cubicBezTo>
                            <a:cubicBezTo>
                              <a:pt x="169" y="74"/>
                              <a:pt x="169" y="74"/>
                              <a:pt x="169" y="74"/>
                            </a:cubicBezTo>
                            <a:cubicBezTo>
                              <a:pt x="163" y="76"/>
                              <a:pt x="163" y="76"/>
                              <a:pt x="163" y="76"/>
                            </a:cubicBezTo>
                            <a:cubicBezTo>
                              <a:pt x="157" y="80"/>
                              <a:pt x="157" y="80"/>
                              <a:pt x="157" y="80"/>
                            </a:cubicBezTo>
                            <a:cubicBezTo>
                              <a:pt x="152" y="81"/>
                              <a:pt x="152" y="81"/>
                              <a:pt x="152" y="81"/>
                            </a:cubicBezTo>
                            <a:cubicBezTo>
                              <a:pt x="145" y="73"/>
                              <a:pt x="145" y="73"/>
                              <a:pt x="145" y="73"/>
                            </a:cubicBezTo>
                            <a:cubicBezTo>
                              <a:pt x="140" y="73"/>
                              <a:pt x="140" y="73"/>
                              <a:pt x="140" y="73"/>
                            </a:cubicBezTo>
                            <a:cubicBezTo>
                              <a:pt x="132" y="51"/>
                              <a:pt x="132" y="51"/>
                              <a:pt x="132" y="51"/>
                            </a:cubicBezTo>
                            <a:cubicBezTo>
                              <a:pt x="124" y="53"/>
                              <a:pt x="124" y="53"/>
                              <a:pt x="124" y="53"/>
                            </a:cubicBezTo>
                            <a:cubicBezTo>
                              <a:pt x="118" y="40"/>
                              <a:pt x="118" y="40"/>
                              <a:pt x="118" y="40"/>
                            </a:cubicBezTo>
                            <a:cubicBezTo>
                              <a:pt x="108" y="34"/>
                              <a:pt x="108" y="34"/>
                              <a:pt x="108" y="34"/>
                            </a:cubicBezTo>
                            <a:cubicBezTo>
                              <a:pt x="102" y="34"/>
                              <a:pt x="102" y="34"/>
                              <a:pt x="102" y="34"/>
                            </a:cubicBezTo>
                            <a:cubicBezTo>
                              <a:pt x="89" y="33"/>
                              <a:pt x="89" y="33"/>
                              <a:pt x="89" y="33"/>
                            </a:cubicBezTo>
                            <a:cubicBezTo>
                              <a:pt x="81" y="34"/>
                              <a:pt x="81" y="34"/>
                              <a:pt x="81" y="34"/>
                            </a:cubicBezTo>
                            <a:cubicBezTo>
                              <a:pt x="71" y="23"/>
                              <a:pt x="71" y="23"/>
                              <a:pt x="71" y="23"/>
                            </a:cubicBezTo>
                            <a:cubicBezTo>
                              <a:pt x="70" y="22"/>
                              <a:pt x="70" y="22"/>
                              <a:pt x="70" y="22"/>
                            </a:cubicBezTo>
                            <a:cubicBezTo>
                              <a:pt x="68" y="27"/>
                              <a:pt x="69" y="34"/>
                              <a:pt x="65" y="38"/>
                            </a:cubicBezTo>
                            <a:cubicBezTo>
                              <a:pt x="58" y="40"/>
                              <a:pt x="50" y="41"/>
                              <a:pt x="45" y="35"/>
                            </a:cubicBezTo>
                            <a:cubicBezTo>
                              <a:pt x="41" y="34"/>
                              <a:pt x="37" y="37"/>
                              <a:pt x="35" y="34"/>
                            </a:cubicBezTo>
                            <a:cubicBezTo>
                              <a:pt x="30" y="27"/>
                              <a:pt x="34" y="18"/>
                              <a:pt x="32" y="10"/>
                            </a:cubicBezTo>
                            <a:cubicBezTo>
                              <a:pt x="35" y="0"/>
                              <a:pt x="35" y="0"/>
                              <a:pt x="35" y="0"/>
                            </a:cubicBezTo>
                            <a:cubicBezTo>
                              <a:pt x="0" y="19"/>
                              <a:pt x="0" y="19"/>
                              <a:pt x="0" y="19"/>
                            </a:cubicBezTo>
                            <a:cubicBezTo>
                              <a:pt x="2" y="65"/>
                              <a:pt x="2" y="65"/>
                              <a:pt x="2" y="65"/>
                            </a:cubicBezTo>
                            <a:cubicBezTo>
                              <a:pt x="23" y="70"/>
                              <a:pt x="23" y="70"/>
                              <a:pt x="23" y="70"/>
                            </a:cubicBezTo>
                            <a:cubicBezTo>
                              <a:pt x="27" y="57"/>
                              <a:pt x="27" y="57"/>
                              <a:pt x="27" y="57"/>
                            </a:cubicBezTo>
                            <a:cubicBezTo>
                              <a:pt x="34" y="53"/>
                              <a:pt x="34" y="53"/>
                              <a:pt x="34" y="53"/>
                            </a:cubicBezTo>
                            <a:cubicBezTo>
                              <a:pt x="38" y="53"/>
                              <a:pt x="38" y="53"/>
                              <a:pt x="38" y="53"/>
                            </a:cubicBezTo>
                            <a:cubicBezTo>
                              <a:pt x="39" y="50"/>
                              <a:pt x="39" y="50"/>
                              <a:pt x="39" y="50"/>
                            </a:cubicBezTo>
                            <a:cubicBezTo>
                              <a:pt x="43" y="50"/>
                              <a:pt x="43" y="50"/>
                              <a:pt x="43" y="50"/>
                            </a:cubicBezTo>
                            <a:cubicBezTo>
                              <a:pt x="51" y="54"/>
                              <a:pt x="51" y="54"/>
                              <a:pt x="51" y="54"/>
                            </a:cubicBezTo>
                            <a:cubicBezTo>
                              <a:pt x="54" y="58"/>
                              <a:pt x="54" y="58"/>
                              <a:pt x="54" y="58"/>
                            </a:cubicBezTo>
                            <a:cubicBezTo>
                              <a:pt x="56" y="65"/>
                              <a:pt x="56" y="65"/>
                              <a:pt x="56" y="65"/>
                            </a:cubicBezTo>
                            <a:cubicBezTo>
                              <a:pt x="54" y="70"/>
                              <a:pt x="54" y="70"/>
                              <a:pt x="54" y="70"/>
                            </a:cubicBezTo>
                            <a:cubicBezTo>
                              <a:pt x="71" y="77"/>
                              <a:pt x="71" y="77"/>
                              <a:pt x="71" y="77"/>
                            </a:cubicBezTo>
                            <a:cubicBezTo>
                              <a:pt x="80" y="80"/>
                              <a:pt x="80" y="80"/>
                              <a:pt x="80" y="80"/>
                            </a:cubicBezTo>
                            <a:cubicBezTo>
                              <a:pt x="87" y="89"/>
                              <a:pt x="87" y="89"/>
                              <a:pt x="87" y="89"/>
                            </a:cubicBezTo>
                            <a:cubicBezTo>
                              <a:pt x="92" y="106"/>
                              <a:pt x="92" y="106"/>
                              <a:pt x="92" y="106"/>
                            </a:cubicBezTo>
                            <a:cubicBezTo>
                              <a:pt x="102" y="118"/>
                              <a:pt x="102" y="118"/>
                              <a:pt x="102" y="118"/>
                            </a:cubicBezTo>
                            <a:cubicBezTo>
                              <a:pt x="114" y="122"/>
                              <a:pt x="114" y="122"/>
                              <a:pt x="114" y="122"/>
                            </a:cubicBezTo>
                            <a:cubicBezTo>
                              <a:pt x="125" y="128"/>
                              <a:pt x="125" y="128"/>
                              <a:pt x="125" y="128"/>
                            </a:cubicBezTo>
                            <a:cubicBezTo>
                              <a:pt x="134" y="130"/>
                              <a:pt x="134" y="130"/>
                              <a:pt x="134" y="130"/>
                            </a:cubicBezTo>
                            <a:cubicBezTo>
                              <a:pt x="138" y="137"/>
                              <a:pt x="138" y="137"/>
                              <a:pt x="138" y="137"/>
                            </a:cubicBezTo>
                            <a:cubicBezTo>
                              <a:pt x="157" y="141"/>
                              <a:pt x="157" y="141"/>
                              <a:pt x="157" y="141"/>
                            </a:cubicBezTo>
                            <a:cubicBezTo>
                              <a:pt x="157" y="130"/>
                              <a:pt x="157" y="130"/>
                              <a:pt x="157" y="130"/>
                            </a:cubicBezTo>
                            <a:cubicBezTo>
                              <a:pt x="160" y="121"/>
                              <a:pt x="160" y="121"/>
                              <a:pt x="160" y="121"/>
                            </a:cubicBezTo>
                            <a:cubicBezTo>
                              <a:pt x="156" y="115"/>
                              <a:pt x="156" y="115"/>
                              <a:pt x="156" y="115"/>
                            </a:cubicBezTo>
                            <a:cubicBezTo>
                              <a:pt x="152" y="100"/>
                              <a:pt x="152" y="100"/>
                              <a:pt x="152" y="100"/>
                            </a:cubicBezTo>
                            <a:cubicBezTo>
                              <a:pt x="162" y="98"/>
                              <a:pt x="162" y="98"/>
                              <a:pt x="162" y="98"/>
                            </a:cubicBezTo>
                            <a:cubicBezTo>
                              <a:pt x="172" y="95"/>
                              <a:pt x="172" y="95"/>
                              <a:pt x="172" y="95"/>
                            </a:cubicBezTo>
                            <a:cubicBezTo>
                              <a:pt x="173" y="83"/>
                              <a:pt x="173" y="83"/>
                              <a:pt x="173" y="83"/>
                            </a:cubicBezTo>
                            <a:cubicBezTo>
                              <a:pt x="187" y="79"/>
                              <a:pt x="187" y="79"/>
                              <a:pt x="187" y="79"/>
                            </a:cubicBezTo>
                            <a:cubicBezTo>
                              <a:pt x="196" y="82"/>
                              <a:pt x="196" y="82"/>
                              <a:pt x="196" y="82"/>
                            </a:cubicBezTo>
                            <a:cubicBezTo>
                              <a:pt x="190" y="88"/>
                              <a:pt x="190" y="88"/>
                              <a:pt x="190" y="88"/>
                            </a:cubicBezTo>
                            <a:cubicBezTo>
                              <a:pt x="189" y="95"/>
                              <a:pt x="189" y="95"/>
                              <a:pt x="189" y="95"/>
                            </a:cubicBezTo>
                            <a:cubicBezTo>
                              <a:pt x="202" y="92"/>
                              <a:pt x="202" y="92"/>
                              <a:pt x="202" y="92"/>
                            </a:cubicBezTo>
                            <a:cubicBezTo>
                              <a:pt x="214" y="85"/>
                              <a:pt x="214" y="85"/>
                              <a:pt x="214" y="85"/>
                            </a:cubicBezTo>
                            <a:cubicBezTo>
                              <a:pt x="214" y="78"/>
                              <a:pt x="214" y="78"/>
                              <a:pt x="214" y="78"/>
                            </a:cubicBezTo>
                            <a:lnTo>
                              <a:pt x="204" y="77"/>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nvGrpSpPr>
                    <p:cNvPr id="95" name="Group 54"/>
                    <p:cNvGrpSpPr>
                      <a:grpSpLocks noChangeAspect="1"/>
                    </p:cNvGrpSpPr>
                    <p:nvPr/>
                  </p:nvGrpSpPr>
                  <p:grpSpPr bwMode="auto">
                    <a:xfrm>
                      <a:off x="3327" y="2411"/>
                      <a:ext cx="3818" cy="3040"/>
                      <a:chOff x="3327" y="2411"/>
                      <a:chExt cx="3818" cy="3040"/>
                    </a:xfrm>
                  </p:grpSpPr>
                  <p:sp>
                    <p:nvSpPr>
                      <p:cNvPr id="96" name="Freeform 55"/>
                      <p:cNvSpPr>
                        <a:spLocks noChangeAspect="1"/>
                      </p:cNvSpPr>
                      <p:nvPr/>
                    </p:nvSpPr>
                    <p:spPr bwMode="gray">
                      <a:xfrm>
                        <a:off x="4913" y="2653"/>
                        <a:ext cx="381" cy="302"/>
                      </a:xfrm>
                      <a:custGeom>
                        <a:avLst/>
                        <a:gdLst>
                          <a:gd name="T0" fmla="*/ 41 w 62"/>
                          <a:gd name="T1" fmla="*/ 21 h 49"/>
                          <a:gd name="T2" fmla="*/ 35 w 62"/>
                          <a:gd name="T3" fmla="*/ 13 h 49"/>
                          <a:gd name="T4" fmla="*/ 19 w 62"/>
                          <a:gd name="T5" fmla="*/ 6 h 49"/>
                          <a:gd name="T6" fmla="*/ 0 w 62"/>
                          <a:gd name="T7" fmla="*/ 0 h 49"/>
                          <a:gd name="T8" fmla="*/ 11 w 62"/>
                          <a:gd name="T9" fmla="*/ 16 h 49"/>
                          <a:gd name="T10" fmla="*/ 13 w 62"/>
                          <a:gd name="T11" fmla="*/ 27 h 49"/>
                          <a:gd name="T12" fmla="*/ 22 w 62"/>
                          <a:gd name="T13" fmla="*/ 33 h 49"/>
                          <a:gd name="T14" fmla="*/ 25 w 62"/>
                          <a:gd name="T15" fmla="*/ 38 h 49"/>
                          <a:gd name="T16" fmla="*/ 34 w 62"/>
                          <a:gd name="T17" fmla="*/ 38 h 49"/>
                          <a:gd name="T18" fmla="*/ 52 w 62"/>
                          <a:gd name="T19" fmla="*/ 49 h 49"/>
                          <a:gd name="T20" fmla="*/ 62 w 62"/>
                          <a:gd name="T21" fmla="*/ 47 h 49"/>
                          <a:gd name="T22" fmla="*/ 46 w 62"/>
                          <a:gd name="T23" fmla="*/ 31 h 49"/>
                          <a:gd name="T24" fmla="*/ 41 w 62"/>
                          <a:gd name="T25" fmla="*/ 21 h 49"/>
                          <a:gd name="T26" fmla="*/ 41 w 62"/>
                          <a:gd name="T27"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49">
                            <a:moveTo>
                              <a:pt x="41" y="21"/>
                            </a:moveTo>
                            <a:lnTo>
                              <a:pt x="35" y="13"/>
                            </a:lnTo>
                            <a:lnTo>
                              <a:pt x="19" y="6"/>
                            </a:lnTo>
                            <a:lnTo>
                              <a:pt x="0" y="0"/>
                            </a:lnTo>
                            <a:lnTo>
                              <a:pt x="11" y="16"/>
                            </a:lnTo>
                            <a:lnTo>
                              <a:pt x="13" y="27"/>
                            </a:lnTo>
                            <a:lnTo>
                              <a:pt x="22" y="33"/>
                            </a:lnTo>
                            <a:lnTo>
                              <a:pt x="25" y="38"/>
                            </a:lnTo>
                            <a:lnTo>
                              <a:pt x="34" y="38"/>
                            </a:lnTo>
                            <a:lnTo>
                              <a:pt x="52" y="49"/>
                            </a:lnTo>
                            <a:lnTo>
                              <a:pt x="62" y="47"/>
                            </a:lnTo>
                            <a:lnTo>
                              <a:pt x="46" y="31"/>
                            </a:lnTo>
                            <a:lnTo>
                              <a:pt x="41" y="21"/>
                            </a:lnTo>
                            <a:lnTo>
                              <a:pt x="41" y="21"/>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97" name="Freeform 56"/>
                      <p:cNvSpPr>
                        <a:spLocks noChangeAspect="1"/>
                      </p:cNvSpPr>
                      <p:nvPr/>
                    </p:nvSpPr>
                    <p:spPr bwMode="gray">
                      <a:xfrm>
                        <a:off x="4076" y="3850"/>
                        <a:ext cx="42" cy="61"/>
                      </a:xfrm>
                      <a:custGeom>
                        <a:avLst/>
                        <a:gdLst>
                          <a:gd name="T0" fmla="*/ 6 w 6"/>
                          <a:gd name="T1" fmla="*/ 5 h 10"/>
                          <a:gd name="T2" fmla="*/ 5 w 6"/>
                          <a:gd name="T3" fmla="*/ 0 h 10"/>
                          <a:gd name="T4" fmla="*/ 0 w 6"/>
                          <a:gd name="T5" fmla="*/ 6 h 10"/>
                          <a:gd name="T6" fmla="*/ 1 w 6"/>
                          <a:gd name="T7" fmla="*/ 10 h 10"/>
                          <a:gd name="T8" fmla="*/ 6 w 6"/>
                          <a:gd name="T9" fmla="*/ 5 h 10"/>
                          <a:gd name="T10" fmla="*/ 6 w 6"/>
                          <a:gd name="T11" fmla="*/ 5 h 10"/>
                        </a:gdLst>
                        <a:ahLst/>
                        <a:cxnLst>
                          <a:cxn ang="0">
                            <a:pos x="T0" y="T1"/>
                          </a:cxn>
                          <a:cxn ang="0">
                            <a:pos x="T2" y="T3"/>
                          </a:cxn>
                          <a:cxn ang="0">
                            <a:pos x="T4" y="T5"/>
                          </a:cxn>
                          <a:cxn ang="0">
                            <a:pos x="T6" y="T7"/>
                          </a:cxn>
                          <a:cxn ang="0">
                            <a:pos x="T8" y="T9"/>
                          </a:cxn>
                          <a:cxn ang="0">
                            <a:pos x="T10" y="T11"/>
                          </a:cxn>
                        </a:cxnLst>
                        <a:rect l="0" t="0" r="r" b="b"/>
                        <a:pathLst>
                          <a:path w="6" h="10">
                            <a:moveTo>
                              <a:pt x="6" y="5"/>
                            </a:moveTo>
                            <a:lnTo>
                              <a:pt x="5" y="0"/>
                            </a:lnTo>
                            <a:lnTo>
                              <a:pt x="0" y="6"/>
                            </a:lnTo>
                            <a:lnTo>
                              <a:pt x="1" y="10"/>
                            </a:lnTo>
                            <a:lnTo>
                              <a:pt x="6" y="5"/>
                            </a:lnTo>
                            <a:lnTo>
                              <a:pt x="6" y="5"/>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98" name="Freeform 57"/>
                      <p:cNvSpPr>
                        <a:spLocks noChangeAspect="1"/>
                      </p:cNvSpPr>
                      <p:nvPr/>
                    </p:nvSpPr>
                    <p:spPr bwMode="gray">
                      <a:xfrm>
                        <a:off x="3327" y="2594"/>
                        <a:ext cx="257" cy="232"/>
                      </a:xfrm>
                      <a:custGeom>
                        <a:avLst/>
                        <a:gdLst>
                          <a:gd name="T0" fmla="*/ 5 w 42"/>
                          <a:gd name="T1" fmla="*/ 4 h 38"/>
                          <a:gd name="T2" fmla="*/ 10 w 42"/>
                          <a:gd name="T3" fmla="*/ 11 h 38"/>
                          <a:gd name="T4" fmla="*/ 8 w 42"/>
                          <a:gd name="T5" fmla="*/ 20 h 38"/>
                          <a:gd name="T6" fmla="*/ 0 w 42"/>
                          <a:gd name="T7" fmla="*/ 29 h 38"/>
                          <a:gd name="T8" fmla="*/ 5 w 42"/>
                          <a:gd name="T9" fmla="*/ 31 h 38"/>
                          <a:gd name="T10" fmla="*/ 2 w 42"/>
                          <a:gd name="T11" fmla="*/ 35 h 38"/>
                          <a:gd name="T12" fmla="*/ 2 w 42"/>
                          <a:gd name="T13" fmla="*/ 38 h 38"/>
                          <a:gd name="T14" fmla="*/ 9 w 42"/>
                          <a:gd name="T15" fmla="*/ 31 h 38"/>
                          <a:gd name="T16" fmla="*/ 21 w 42"/>
                          <a:gd name="T17" fmla="*/ 29 h 38"/>
                          <a:gd name="T18" fmla="*/ 24 w 42"/>
                          <a:gd name="T19" fmla="*/ 24 h 38"/>
                          <a:gd name="T20" fmla="*/ 32 w 42"/>
                          <a:gd name="T21" fmla="*/ 25 h 38"/>
                          <a:gd name="T22" fmla="*/ 42 w 42"/>
                          <a:gd name="T23" fmla="*/ 25 h 38"/>
                          <a:gd name="T24" fmla="*/ 42 w 42"/>
                          <a:gd name="T25" fmla="*/ 19 h 38"/>
                          <a:gd name="T26" fmla="*/ 25 w 42"/>
                          <a:gd name="T27" fmla="*/ 2 h 38"/>
                          <a:gd name="T28" fmla="*/ 15 w 42"/>
                          <a:gd name="T29" fmla="*/ 0 h 38"/>
                          <a:gd name="T30" fmla="*/ 5 w 42"/>
                          <a:gd name="T31" fmla="*/ 4 h 38"/>
                          <a:gd name="T32" fmla="*/ 5 w 42"/>
                          <a:gd name="T3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8">
                            <a:moveTo>
                              <a:pt x="5" y="4"/>
                            </a:moveTo>
                            <a:lnTo>
                              <a:pt x="10" y="11"/>
                            </a:lnTo>
                            <a:lnTo>
                              <a:pt x="8" y="20"/>
                            </a:lnTo>
                            <a:lnTo>
                              <a:pt x="0" y="29"/>
                            </a:lnTo>
                            <a:lnTo>
                              <a:pt x="5" y="31"/>
                            </a:lnTo>
                            <a:lnTo>
                              <a:pt x="2" y="35"/>
                            </a:lnTo>
                            <a:lnTo>
                              <a:pt x="2" y="38"/>
                            </a:lnTo>
                            <a:lnTo>
                              <a:pt x="9" y="31"/>
                            </a:lnTo>
                            <a:lnTo>
                              <a:pt x="21" y="29"/>
                            </a:lnTo>
                            <a:lnTo>
                              <a:pt x="24" y="24"/>
                            </a:lnTo>
                            <a:lnTo>
                              <a:pt x="32" y="25"/>
                            </a:lnTo>
                            <a:lnTo>
                              <a:pt x="42" y="25"/>
                            </a:lnTo>
                            <a:lnTo>
                              <a:pt x="42" y="19"/>
                            </a:lnTo>
                            <a:lnTo>
                              <a:pt x="25" y="2"/>
                            </a:lnTo>
                            <a:lnTo>
                              <a:pt x="15" y="0"/>
                            </a:lnTo>
                            <a:lnTo>
                              <a:pt x="5" y="4"/>
                            </a:lnTo>
                            <a:lnTo>
                              <a:pt x="5" y="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99" name="Freeform 58"/>
                      <p:cNvSpPr>
                        <a:spLocks noChangeAspect="1"/>
                      </p:cNvSpPr>
                      <p:nvPr/>
                    </p:nvSpPr>
                    <p:spPr bwMode="gray">
                      <a:xfrm>
                        <a:off x="4602" y="2411"/>
                        <a:ext cx="680" cy="329"/>
                      </a:xfrm>
                      <a:custGeom>
                        <a:avLst/>
                        <a:gdLst>
                          <a:gd name="T0" fmla="*/ 51 w 111"/>
                          <a:gd name="T1" fmla="*/ 40 h 54"/>
                          <a:gd name="T2" fmla="*/ 70 w 111"/>
                          <a:gd name="T3" fmla="*/ 46 h 54"/>
                          <a:gd name="T4" fmla="*/ 86 w 111"/>
                          <a:gd name="T5" fmla="*/ 53 h 54"/>
                          <a:gd name="T6" fmla="*/ 109 w 111"/>
                          <a:gd name="T7" fmla="*/ 54 h 54"/>
                          <a:gd name="T8" fmla="*/ 111 w 111"/>
                          <a:gd name="T9" fmla="*/ 49 h 54"/>
                          <a:gd name="T10" fmla="*/ 106 w 111"/>
                          <a:gd name="T11" fmla="*/ 37 h 54"/>
                          <a:gd name="T12" fmla="*/ 97 w 111"/>
                          <a:gd name="T13" fmla="*/ 28 h 54"/>
                          <a:gd name="T14" fmla="*/ 93 w 111"/>
                          <a:gd name="T15" fmla="*/ 28 h 54"/>
                          <a:gd name="T16" fmla="*/ 73 w 111"/>
                          <a:gd name="T17" fmla="*/ 16 h 54"/>
                          <a:gd name="T18" fmla="*/ 51 w 111"/>
                          <a:gd name="T19" fmla="*/ 6 h 54"/>
                          <a:gd name="T20" fmla="*/ 43 w 111"/>
                          <a:gd name="T21" fmla="*/ 8 h 54"/>
                          <a:gd name="T22" fmla="*/ 20 w 111"/>
                          <a:gd name="T23" fmla="*/ 5 h 54"/>
                          <a:gd name="T24" fmla="*/ 0 w 111"/>
                          <a:gd name="T25" fmla="*/ 0 h 54"/>
                          <a:gd name="T26" fmla="*/ 11 w 111"/>
                          <a:gd name="T27" fmla="*/ 10 h 54"/>
                          <a:gd name="T28" fmla="*/ 20 w 111"/>
                          <a:gd name="T29" fmla="*/ 12 h 54"/>
                          <a:gd name="T30" fmla="*/ 24 w 111"/>
                          <a:gd name="T31" fmla="*/ 17 h 54"/>
                          <a:gd name="T32" fmla="*/ 26 w 111"/>
                          <a:gd name="T33" fmla="*/ 23 h 54"/>
                          <a:gd name="T34" fmla="*/ 30 w 111"/>
                          <a:gd name="T35" fmla="*/ 32 h 54"/>
                          <a:gd name="T36" fmla="*/ 29 w 111"/>
                          <a:gd name="T37" fmla="*/ 37 h 54"/>
                          <a:gd name="T38" fmla="*/ 41 w 111"/>
                          <a:gd name="T39" fmla="*/ 40 h 54"/>
                          <a:gd name="T40" fmla="*/ 51 w 111"/>
                          <a:gd name="T41" fmla="*/ 40 h 54"/>
                          <a:gd name="T42" fmla="*/ 51 w 111"/>
                          <a:gd name="T43" fmla="*/ 4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1" h="54">
                            <a:moveTo>
                              <a:pt x="51" y="40"/>
                            </a:moveTo>
                            <a:lnTo>
                              <a:pt x="70" y="46"/>
                            </a:lnTo>
                            <a:lnTo>
                              <a:pt x="86" y="53"/>
                            </a:lnTo>
                            <a:lnTo>
                              <a:pt x="109" y="54"/>
                            </a:lnTo>
                            <a:lnTo>
                              <a:pt x="111" y="49"/>
                            </a:lnTo>
                            <a:lnTo>
                              <a:pt x="106" y="37"/>
                            </a:lnTo>
                            <a:lnTo>
                              <a:pt x="97" y="28"/>
                            </a:lnTo>
                            <a:lnTo>
                              <a:pt x="93" y="28"/>
                            </a:lnTo>
                            <a:lnTo>
                              <a:pt x="73" y="16"/>
                            </a:lnTo>
                            <a:lnTo>
                              <a:pt x="51" y="6"/>
                            </a:lnTo>
                            <a:lnTo>
                              <a:pt x="43" y="8"/>
                            </a:lnTo>
                            <a:lnTo>
                              <a:pt x="20" y="5"/>
                            </a:lnTo>
                            <a:lnTo>
                              <a:pt x="0" y="0"/>
                            </a:lnTo>
                            <a:lnTo>
                              <a:pt x="11" y="10"/>
                            </a:lnTo>
                            <a:lnTo>
                              <a:pt x="20" y="12"/>
                            </a:lnTo>
                            <a:lnTo>
                              <a:pt x="24" y="17"/>
                            </a:lnTo>
                            <a:lnTo>
                              <a:pt x="26" y="23"/>
                            </a:lnTo>
                            <a:lnTo>
                              <a:pt x="30" y="32"/>
                            </a:lnTo>
                            <a:lnTo>
                              <a:pt x="29" y="37"/>
                            </a:lnTo>
                            <a:lnTo>
                              <a:pt x="41" y="40"/>
                            </a:lnTo>
                            <a:lnTo>
                              <a:pt x="51" y="40"/>
                            </a:lnTo>
                            <a:lnTo>
                              <a:pt x="51" y="40"/>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0" name="Freeform 59"/>
                      <p:cNvSpPr>
                        <a:spLocks noChangeAspect="1"/>
                      </p:cNvSpPr>
                      <p:nvPr/>
                    </p:nvSpPr>
                    <p:spPr bwMode="gray">
                      <a:xfrm>
                        <a:off x="3346" y="2604"/>
                        <a:ext cx="1733" cy="773"/>
                      </a:xfrm>
                      <a:custGeom>
                        <a:avLst/>
                        <a:gdLst>
                          <a:gd name="T0" fmla="*/ 280 w 282"/>
                          <a:gd name="T1" fmla="*/ 46 h 126"/>
                          <a:gd name="T2" fmla="*/ 268 w 282"/>
                          <a:gd name="T3" fmla="*/ 35 h 126"/>
                          <a:gd name="T4" fmla="*/ 255 w 282"/>
                          <a:gd name="T5" fmla="*/ 8 h 126"/>
                          <a:gd name="T6" fmla="*/ 233 w 282"/>
                          <a:gd name="T7" fmla="*/ 5 h 126"/>
                          <a:gd name="T8" fmla="*/ 213 w 282"/>
                          <a:gd name="T9" fmla="*/ 21 h 126"/>
                          <a:gd name="T10" fmla="*/ 191 w 282"/>
                          <a:gd name="T11" fmla="*/ 18 h 126"/>
                          <a:gd name="T12" fmla="*/ 168 w 282"/>
                          <a:gd name="T13" fmla="*/ 17 h 126"/>
                          <a:gd name="T14" fmla="*/ 147 w 282"/>
                          <a:gd name="T15" fmla="*/ 7 h 126"/>
                          <a:gd name="T16" fmla="*/ 129 w 282"/>
                          <a:gd name="T17" fmla="*/ 0 h 126"/>
                          <a:gd name="T18" fmla="*/ 105 w 282"/>
                          <a:gd name="T19" fmla="*/ 0 h 126"/>
                          <a:gd name="T20" fmla="*/ 71 w 282"/>
                          <a:gd name="T21" fmla="*/ 17 h 126"/>
                          <a:gd name="T22" fmla="*/ 50 w 282"/>
                          <a:gd name="T23" fmla="*/ 14 h 126"/>
                          <a:gd name="T24" fmla="*/ 43 w 282"/>
                          <a:gd name="T25" fmla="*/ 22 h 126"/>
                          <a:gd name="T26" fmla="*/ 50 w 282"/>
                          <a:gd name="T27" fmla="*/ 29 h 126"/>
                          <a:gd name="T28" fmla="*/ 32 w 282"/>
                          <a:gd name="T29" fmla="*/ 30 h 126"/>
                          <a:gd name="T30" fmla="*/ 13 w 282"/>
                          <a:gd name="T31" fmla="*/ 33 h 126"/>
                          <a:gd name="T32" fmla="*/ 0 w 282"/>
                          <a:gd name="T33" fmla="*/ 48 h 126"/>
                          <a:gd name="T34" fmla="*/ 10 w 282"/>
                          <a:gd name="T35" fmla="*/ 51 h 126"/>
                          <a:gd name="T36" fmla="*/ 8 w 282"/>
                          <a:gd name="T37" fmla="*/ 65 h 126"/>
                          <a:gd name="T38" fmla="*/ 7 w 282"/>
                          <a:gd name="T39" fmla="*/ 72 h 126"/>
                          <a:gd name="T40" fmla="*/ 0 w 282"/>
                          <a:gd name="T41" fmla="*/ 76 h 126"/>
                          <a:gd name="T42" fmla="*/ 10 w 282"/>
                          <a:gd name="T43" fmla="*/ 79 h 126"/>
                          <a:gd name="T44" fmla="*/ 13 w 282"/>
                          <a:gd name="T45" fmla="*/ 94 h 126"/>
                          <a:gd name="T46" fmla="*/ 17 w 282"/>
                          <a:gd name="T47" fmla="*/ 99 h 126"/>
                          <a:gd name="T48" fmla="*/ 11 w 282"/>
                          <a:gd name="T49" fmla="*/ 106 h 126"/>
                          <a:gd name="T50" fmla="*/ 22 w 282"/>
                          <a:gd name="T51" fmla="*/ 101 h 126"/>
                          <a:gd name="T52" fmla="*/ 24 w 282"/>
                          <a:gd name="T53" fmla="*/ 110 h 126"/>
                          <a:gd name="T54" fmla="*/ 21 w 282"/>
                          <a:gd name="T55" fmla="*/ 120 h 126"/>
                          <a:gd name="T56" fmla="*/ 31 w 282"/>
                          <a:gd name="T57" fmla="*/ 111 h 126"/>
                          <a:gd name="T58" fmla="*/ 40 w 282"/>
                          <a:gd name="T59" fmla="*/ 109 h 126"/>
                          <a:gd name="T60" fmla="*/ 56 w 282"/>
                          <a:gd name="T61" fmla="*/ 111 h 126"/>
                          <a:gd name="T62" fmla="*/ 64 w 282"/>
                          <a:gd name="T63" fmla="*/ 105 h 126"/>
                          <a:gd name="T64" fmla="*/ 76 w 282"/>
                          <a:gd name="T65" fmla="*/ 105 h 126"/>
                          <a:gd name="T66" fmla="*/ 102 w 282"/>
                          <a:gd name="T67" fmla="*/ 117 h 126"/>
                          <a:gd name="T68" fmla="*/ 119 w 282"/>
                          <a:gd name="T69" fmla="*/ 111 h 126"/>
                          <a:gd name="T70" fmla="*/ 130 w 282"/>
                          <a:gd name="T71" fmla="*/ 106 h 126"/>
                          <a:gd name="T72" fmla="*/ 146 w 282"/>
                          <a:gd name="T73" fmla="*/ 112 h 126"/>
                          <a:gd name="T74" fmla="*/ 144 w 282"/>
                          <a:gd name="T75" fmla="*/ 126 h 126"/>
                          <a:gd name="T76" fmla="*/ 157 w 282"/>
                          <a:gd name="T77" fmla="*/ 106 h 126"/>
                          <a:gd name="T78" fmla="*/ 179 w 282"/>
                          <a:gd name="T79" fmla="*/ 101 h 126"/>
                          <a:gd name="T80" fmla="*/ 206 w 282"/>
                          <a:gd name="T81" fmla="*/ 101 h 126"/>
                          <a:gd name="T82" fmla="*/ 239 w 282"/>
                          <a:gd name="T83" fmla="*/ 92 h 126"/>
                          <a:gd name="T84" fmla="*/ 244 w 282"/>
                          <a:gd name="T85" fmla="*/ 95 h 126"/>
                          <a:gd name="T86" fmla="*/ 264 w 282"/>
                          <a:gd name="T87" fmla="*/ 92 h 126"/>
                          <a:gd name="T88" fmla="*/ 280 w 282"/>
                          <a:gd name="T89" fmla="*/ 97 h 126"/>
                          <a:gd name="T90" fmla="*/ 273 w 282"/>
                          <a:gd name="T91" fmla="*/ 5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2" h="126">
                            <a:moveTo>
                              <a:pt x="273" y="54"/>
                            </a:moveTo>
                            <a:lnTo>
                              <a:pt x="280" y="46"/>
                            </a:lnTo>
                            <a:lnTo>
                              <a:pt x="277" y="41"/>
                            </a:lnTo>
                            <a:lnTo>
                              <a:pt x="268" y="35"/>
                            </a:lnTo>
                            <a:lnTo>
                              <a:pt x="266" y="24"/>
                            </a:lnTo>
                            <a:lnTo>
                              <a:pt x="255" y="8"/>
                            </a:lnTo>
                            <a:lnTo>
                              <a:pt x="245" y="8"/>
                            </a:lnTo>
                            <a:lnTo>
                              <a:pt x="233" y="5"/>
                            </a:lnTo>
                            <a:lnTo>
                              <a:pt x="231" y="12"/>
                            </a:lnTo>
                            <a:lnTo>
                              <a:pt x="213" y="21"/>
                            </a:lnTo>
                            <a:lnTo>
                              <a:pt x="202" y="22"/>
                            </a:lnTo>
                            <a:lnTo>
                              <a:pt x="191" y="18"/>
                            </a:lnTo>
                            <a:lnTo>
                              <a:pt x="181" y="22"/>
                            </a:lnTo>
                            <a:lnTo>
                              <a:pt x="168" y="17"/>
                            </a:lnTo>
                            <a:lnTo>
                              <a:pt x="160" y="18"/>
                            </a:lnTo>
                            <a:lnTo>
                              <a:pt x="147" y="7"/>
                            </a:lnTo>
                            <a:lnTo>
                              <a:pt x="136" y="8"/>
                            </a:lnTo>
                            <a:lnTo>
                              <a:pt x="129" y="0"/>
                            </a:lnTo>
                            <a:lnTo>
                              <a:pt x="121" y="2"/>
                            </a:lnTo>
                            <a:lnTo>
                              <a:pt x="105" y="0"/>
                            </a:lnTo>
                            <a:lnTo>
                              <a:pt x="84" y="7"/>
                            </a:lnTo>
                            <a:lnTo>
                              <a:pt x="71" y="17"/>
                            </a:lnTo>
                            <a:lnTo>
                              <a:pt x="65" y="14"/>
                            </a:lnTo>
                            <a:lnTo>
                              <a:pt x="50" y="14"/>
                            </a:lnTo>
                            <a:lnTo>
                              <a:pt x="44" y="16"/>
                            </a:lnTo>
                            <a:lnTo>
                              <a:pt x="43" y="22"/>
                            </a:lnTo>
                            <a:lnTo>
                              <a:pt x="51" y="25"/>
                            </a:lnTo>
                            <a:lnTo>
                              <a:pt x="50" y="29"/>
                            </a:lnTo>
                            <a:lnTo>
                              <a:pt x="40" y="33"/>
                            </a:lnTo>
                            <a:lnTo>
                              <a:pt x="32" y="30"/>
                            </a:lnTo>
                            <a:lnTo>
                              <a:pt x="22" y="33"/>
                            </a:lnTo>
                            <a:lnTo>
                              <a:pt x="13" y="33"/>
                            </a:lnTo>
                            <a:lnTo>
                              <a:pt x="6" y="39"/>
                            </a:lnTo>
                            <a:lnTo>
                              <a:pt x="0" y="48"/>
                            </a:lnTo>
                            <a:lnTo>
                              <a:pt x="2" y="51"/>
                            </a:lnTo>
                            <a:lnTo>
                              <a:pt x="10" y="51"/>
                            </a:lnTo>
                            <a:lnTo>
                              <a:pt x="7" y="56"/>
                            </a:lnTo>
                            <a:lnTo>
                              <a:pt x="8" y="65"/>
                            </a:lnTo>
                            <a:lnTo>
                              <a:pt x="10" y="68"/>
                            </a:lnTo>
                            <a:lnTo>
                              <a:pt x="7" y="72"/>
                            </a:lnTo>
                            <a:lnTo>
                              <a:pt x="0" y="72"/>
                            </a:lnTo>
                            <a:lnTo>
                              <a:pt x="0" y="76"/>
                            </a:lnTo>
                            <a:lnTo>
                              <a:pt x="4" y="79"/>
                            </a:lnTo>
                            <a:lnTo>
                              <a:pt x="10" y="79"/>
                            </a:lnTo>
                            <a:lnTo>
                              <a:pt x="13" y="84"/>
                            </a:lnTo>
                            <a:lnTo>
                              <a:pt x="13" y="94"/>
                            </a:lnTo>
                            <a:lnTo>
                              <a:pt x="20" y="95"/>
                            </a:lnTo>
                            <a:lnTo>
                              <a:pt x="17" y="99"/>
                            </a:lnTo>
                            <a:lnTo>
                              <a:pt x="12" y="101"/>
                            </a:lnTo>
                            <a:lnTo>
                              <a:pt x="11" y="106"/>
                            </a:lnTo>
                            <a:lnTo>
                              <a:pt x="16" y="105"/>
                            </a:lnTo>
                            <a:lnTo>
                              <a:pt x="22" y="101"/>
                            </a:lnTo>
                            <a:lnTo>
                              <a:pt x="26" y="105"/>
                            </a:lnTo>
                            <a:lnTo>
                              <a:pt x="24" y="110"/>
                            </a:lnTo>
                            <a:lnTo>
                              <a:pt x="20" y="116"/>
                            </a:lnTo>
                            <a:lnTo>
                              <a:pt x="21" y="120"/>
                            </a:lnTo>
                            <a:lnTo>
                              <a:pt x="28" y="117"/>
                            </a:lnTo>
                            <a:lnTo>
                              <a:pt x="31" y="111"/>
                            </a:lnTo>
                            <a:lnTo>
                              <a:pt x="35" y="106"/>
                            </a:lnTo>
                            <a:lnTo>
                              <a:pt x="40" y="109"/>
                            </a:lnTo>
                            <a:lnTo>
                              <a:pt x="44" y="115"/>
                            </a:lnTo>
                            <a:lnTo>
                              <a:pt x="56" y="111"/>
                            </a:lnTo>
                            <a:lnTo>
                              <a:pt x="65" y="110"/>
                            </a:lnTo>
                            <a:lnTo>
                              <a:pt x="64" y="105"/>
                            </a:lnTo>
                            <a:lnTo>
                              <a:pt x="71" y="101"/>
                            </a:lnTo>
                            <a:lnTo>
                              <a:pt x="76" y="105"/>
                            </a:lnTo>
                            <a:lnTo>
                              <a:pt x="92" y="116"/>
                            </a:lnTo>
                            <a:lnTo>
                              <a:pt x="102" y="117"/>
                            </a:lnTo>
                            <a:lnTo>
                              <a:pt x="114" y="114"/>
                            </a:lnTo>
                            <a:lnTo>
                              <a:pt x="119" y="111"/>
                            </a:lnTo>
                            <a:lnTo>
                              <a:pt x="125" y="109"/>
                            </a:lnTo>
                            <a:lnTo>
                              <a:pt x="130" y="106"/>
                            </a:lnTo>
                            <a:lnTo>
                              <a:pt x="146" y="106"/>
                            </a:lnTo>
                            <a:lnTo>
                              <a:pt x="146" y="112"/>
                            </a:lnTo>
                            <a:lnTo>
                              <a:pt x="146" y="120"/>
                            </a:lnTo>
                            <a:lnTo>
                              <a:pt x="144" y="126"/>
                            </a:lnTo>
                            <a:lnTo>
                              <a:pt x="155" y="116"/>
                            </a:lnTo>
                            <a:lnTo>
                              <a:pt x="157" y="106"/>
                            </a:lnTo>
                            <a:lnTo>
                              <a:pt x="177" y="101"/>
                            </a:lnTo>
                            <a:lnTo>
                              <a:pt x="179" y="101"/>
                            </a:lnTo>
                            <a:lnTo>
                              <a:pt x="187" y="104"/>
                            </a:lnTo>
                            <a:lnTo>
                              <a:pt x="206" y="101"/>
                            </a:lnTo>
                            <a:lnTo>
                              <a:pt x="224" y="94"/>
                            </a:lnTo>
                            <a:lnTo>
                              <a:pt x="239" y="92"/>
                            </a:lnTo>
                            <a:lnTo>
                              <a:pt x="242" y="97"/>
                            </a:lnTo>
                            <a:lnTo>
                              <a:pt x="244" y="95"/>
                            </a:lnTo>
                            <a:lnTo>
                              <a:pt x="253" y="89"/>
                            </a:lnTo>
                            <a:lnTo>
                              <a:pt x="264" y="92"/>
                            </a:lnTo>
                            <a:lnTo>
                              <a:pt x="271" y="99"/>
                            </a:lnTo>
                            <a:lnTo>
                              <a:pt x="280" y="97"/>
                            </a:lnTo>
                            <a:lnTo>
                              <a:pt x="282" y="84"/>
                            </a:lnTo>
                            <a:lnTo>
                              <a:pt x="273" y="54"/>
                            </a:lnTo>
                            <a:lnTo>
                              <a:pt x="273" y="5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1" name="Freeform 60"/>
                      <p:cNvSpPr>
                        <a:spLocks noChangeAspect="1"/>
                      </p:cNvSpPr>
                      <p:nvPr/>
                    </p:nvSpPr>
                    <p:spPr bwMode="gray">
                      <a:xfrm>
                        <a:off x="5025" y="2886"/>
                        <a:ext cx="1821" cy="1631"/>
                      </a:xfrm>
                      <a:custGeom>
                        <a:avLst/>
                        <a:gdLst>
                          <a:gd name="T0" fmla="*/ 242 w 242"/>
                          <a:gd name="T1" fmla="*/ 187 h 217"/>
                          <a:gd name="T2" fmla="*/ 235 w 242"/>
                          <a:gd name="T3" fmla="*/ 178 h 217"/>
                          <a:gd name="T4" fmla="*/ 212 w 242"/>
                          <a:gd name="T5" fmla="*/ 151 h 217"/>
                          <a:gd name="T6" fmla="*/ 217 w 242"/>
                          <a:gd name="T7" fmla="*/ 141 h 217"/>
                          <a:gd name="T8" fmla="*/ 218 w 242"/>
                          <a:gd name="T9" fmla="*/ 122 h 217"/>
                          <a:gd name="T10" fmla="*/ 209 w 242"/>
                          <a:gd name="T11" fmla="*/ 119 h 217"/>
                          <a:gd name="T12" fmla="*/ 207 w 242"/>
                          <a:gd name="T13" fmla="*/ 88 h 217"/>
                          <a:gd name="T14" fmla="*/ 217 w 242"/>
                          <a:gd name="T15" fmla="*/ 62 h 217"/>
                          <a:gd name="T16" fmla="*/ 191 w 242"/>
                          <a:gd name="T17" fmla="*/ 33 h 217"/>
                          <a:gd name="T18" fmla="*/ 177 w 242"/>
                          <a:gd name="T19" fmla="*/ 27 h 217"/>
                          <a:gd name="T20" fmla="*/ 140 w 242"/>
                          <a:gd name="T21" fmla="*/ 36 h 217"/>
                          <a:gd name="T22" fmla="*/ 126 w 242"/>
                          <a:gd name="T23" fmla="*/ 43 h 217"/>
                          <a:gd name="T24" fmla="*/ 88 w 242"/>
                          <a:gd name="T25" fmla="*/ 50 h 217"/>
                          <a:gd name="T26" fmla="*/ 58 w 242"/>
                          <a:gd name="T27" fmla="*/ 24 h 217"/>
                          <a:gd name="T28" fmla="*/ 51 w 242"/>
                          <a:gd name="T29" fmla="*/ 6 h 217"/>
                          <a:gd name="T30" fmla="*/ 36 w 242"/>
                          <a:gd name="T31" fmla="*/ 7 h 217"/>
                          <a:gd name="T32" fmla="*/ 21 w 242"/>
                          <a:gd name="T33" fmla="*/ 10 h 217"/>
                          <a:gd name="T34" fmla="*/ 0 w 242"/>
                          <a:gd name="T35" fmla="*/ 6 h 217"/>
                          <a:gd name="T36" fmla="*/ 6 w 242"/>
                          <a:gd name="T37" fmla="*/ 41 h 217"/>
                          <a:gd name="T38" fmla="*/ 24 w 242"/>
                          <a:gd name="T39" fmla="*/ 60 h 217"/>
                          <a:gd name="T40" fmla="*/ 15 w 242"/>
                          <a:gd name="T41" fmla="*/ 89 h 217"/>
                          <a:gd name="T42" fmla="*/ 39 w 242"/>
                          <a:gd name="T43" fmla="*/ 109 h 217"/>
                          <a:gd name="T44" fmla="*/ 47 w 242"/>
                          <a:gd name="T45" fmla="*/ 138 h 217"/>
                          <a:gd name="T46" fmla="*/ 60 w 242"/>
                          <a:gd name="T47" fmla="*/ 145 h 217"/>
                          <a:gd name="T48" fmla="*/ 77 w 242"/>
                          <a:gd name="T49" fmla="*/ 152 h 217"/>
                          <a:gd name="T50" fmla="*/ 89 w 242"/>
                          <a:gd name="T51" fmla="*/ 168 h 217"/>
                          <a:gd name="T52" fmla="*/ 99 w 242"/>
                          <a:gd name="T53" fmla="*/ 181 h 217"/>
                          <a:gd name="T54" fmla="*/ 113 w 242"/>
                          <a:gd name="T55" fmla="*/ 191 h 217"/>
                          <a:gd name="T56" fmla="*/ 122 w 242"/>
                          <a:gd name="T57" fmla="*/ 194 h 217"/>
                          <a:gd name="T58" fmla="*/ 155 w 242"/>
                          <a:gd name="T59" fmla="*/ 188 h 217"/>
                          <a:gd name="T60" fmla="*/ 163 w 242"/>
                          <a:gd name="T61" fmla="*/ 191 h 217"/>
                          <a:gd name="T62" fmla="*/ 166 w 242"/>
                          <a:gd name="T63" fmla="*/ 205 h 217"/>
                          <a:gd name="T64" fmla="*/ 184 w 242"/>
                          <a:gd name="T65" fmla="*/ 212 h 217"/>
                          <a:gd name="T66" fmla="*/ 201 w 242"/>
                          <a:gd name="T67" fmla="*/ 213 h 217"/>
                          <a:gd name="T68" fmla="*/ 216 w 242"/>
                          <a:gd name="T69" fmla="*/ 215 h 217"/>
                          <a:gd name="T70" fmla="*/ 224 w 242"/>
                          <a:gd name="T71" fmla="*/ 215 h 217"/>
                          <a:gd name="T72" fmla="*/ 242 w 242"/>
                          <a:gd name="T73"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2" h="217">
                            <a:moveTo>
                              <a:pt x="242" y="196"/>
                            </a:moveTo>
                            <a:cubicBezTo>
                              <a:pt x="242" y="187"/>
                              <a:pt x="242" y="187"/>
                              <a:pt x="242" y="187"/>
                            </a:cubicBezTo>
                            <a:cubicBezTo>
                              <a:pt x="234" y="187"/>
                              <a:pt x="234" y="187"/>
                              <a:pt x="234" y="187"/>
                            </a:cubicBezTo>
                            <a:cubicBezTo>
                              <a:pt x="235" y="178"/>
                              <a:pt x="235" y="178"/>
                              <a:pt x="235" y="178"/>
                            </a:cubicBezTo>
                            <a:cubicBezTo>
                              <a:pt x="212" y="159"/>
                              <a:pt x="212" y="159"/>
                              <a:pt x="212" y="159"/>
                            </a:cubicBezTo>
                            <a:cubicBezTo>
                              <a:pt x="212" y="151"/>
                              <a:pt x="212" y="151"/>
                              <a:pt x="212" y="151"/>
                            </a:cubicBezTo>
                            <a:cubicBezTo>
                              <a:pt x="212" y="151"/>
                              <a:pt x="212" y="151"/>
                              <a:pt x="212" y="151"/>
                            </a:cubicBezTo>
                            <a:cubicBezTo>
                              <a:pt x="217" y="141"/>
                              <a:pt x="217" y="141"/>
                              <a:pt x="217" y="141"/>
                            </a:cubicBezTo>
                            <a:cubicBezTo>
                              <a:pt x="224" y="130"/>
                              <a:pt x="224" y="130"/>
                              <a:pt x="224" y="130"/>
                            </a:cubicBezTo>
                            <a:cubicBezTo>
                              <a:pt x="218" y="122"/>
                              <a:pt x="218" y="122"/>
                              <a:pt x="218" y="122"/>
                            </a:cubicBezTo>
                            <a:cubicBezTo>
                              <a:pt x="213" y="126"/>
                              <a:pt x="213" y="126"/>
                              <a:pt x="213" y="126"/>
                            </a:cubicBezTo>
                            <a:cubicBezTo>
                              <a:pt x="209" y="119"/>
                              <a:pt x="209" y="119"/>
                              <a:pt x="209" y="119"/>
                            </a:cubicBezTo>
                            <a:cubicBezTo>
                              <a:pt x="210" y="108"/>
                              <a:pt x="210" y="108"/>
                              <a:pt x="210" y="108"/>
                            </a:cubicBezTo>
                            <a:cubicBezTo>
                              <a:pt x="207" y="88"/>
                              <a:pt x="207" y="88"/>
                              <a:pt x="207" y="88"/>
                            </a:cubicBezTo>
                            <a:cubicBezTo>
                              <a:pt x="217" y="74"/>
                              <a:pt x="217" y="74"/>
                              <a:pt x="217" y="74"/>
                            </a:cubicBezTo>
                            <a:cubicBezTo>
                              <a:pt x="217" y="62"/>
                              <a:pt x="217" y="62"/>
                              <a:pt x="217" y="62"/>
                            </a:cubicBezTo>
                            <a:cubicBezTo>
                              <a:pt x="215" y="49"/>
                              <a:pt x="215" y="49"/>
                              <a:pt x="215" y="49"/>
                            </a:cubicBezTo>
                            <a:cubicBezTo>
                              <a:pt x="191" y="33"/>
                              <a:pt x="191" y="33"/>
                              <a:pt x="191" y="33"/>
                            </a:cubicBezTo>
                            <a:cubicBezTo>
                              <a:pt x="182" y="32"/>
                              <a:pt x="182" y="32"/>
                              <a:pt x="182" y="32"/>
                            </a:cubicBezTo>
                            <a:cubicBezTo>
                              <a:pt x="177" y="27"/>
                              <a:pt x="177" y="27"/>
                              <a:pt x="177" y="27"/>
                            </a:cubicBezTo>
                            <a:cubicBezTo>
                              <a:pt x="146" y="24"/>
                              <a:pt x="146" y="24"/>
                              <a:pt x="146" y="24"/>
                            </a:cubicBezTo>
                            <a:cubicBezTo>
                              <a:pt x="140" y="36"/>
                              <a:pt x="140" y="36"/>
                              <a:pt x="140" y="36"/>
                            </a:cubicBezTo>
                            <a:cubicBezTo>
                              <a:pt x="126" y="35"/>
                              <a:pt x="126" y="35"/>
                              <a:pt x="126" y="35"/>
                            </a:cubicBezTo>
                            <a:cubicBezTo>
                              <a:pt x="126" y="43"/>
                              <a:pt x="126" y="43"/>
                              <a:pt x="126" y="43"/>
                            </a:cubicBezTo>
                            <a:cubicBezTo>
                              <a:pt x="124" y="49"/>
                              <a:pt x="115" y="46"/>
                              <a:pt x="110" y="47"/>
                            </a:cubicBezTo>
                            <a:cubicBezTo>
                              <a:pt x="103" y="50"/>
                              <a:pt x="95" y="51"/>
                              <a:pt x="88" y="50"/>
                            </a:cubicBezTo>
                            <a:cubicBezTo>
                              <a:pt x="83" y="46"/>
                              <a:pt x="74" y="43"/>
                              <a:pt x="75" y="35"/>
                            </a:cubicBezTo>
                            <a:cubicBezTo>
                              <a:pt x="68" y="34"/>
                              <a:pt x="61" y="31"/>
                              <a:pt x="58" y="24"/>
                            </a:cubicBezTo>
                            <a:cubicBezTo>
                              <a:pt x="50" y="18"/>
                              <a:pt x="50" y="18"/>
                              <a:pt x="50" y="18"/>
                            </a:cubicBezTo>
                            <a:cubicBezTo>
                              <a:pt x="51" y="6"/>
                              <a:pt x="51" y="6"/>
                              <a:pt x="51" y="6"/>
                            </a:cubicBezTo>
                            <a:cubicBezTo>
                              <a:pt x="49" y="2"/>
                              <a:pt x="49" y="2"/>
                              <a:pt x="49" y="2"/>
                            </a:cubicBezTo>
                            <a:cubicBezTo>
                              <a:pt x="36" y="7"/>
                              <a:pt x="36" y="7"/>
                              <a:pt x="36" y="7"/>
                            </a:cubicBezTo>
                            <a:cubicBezTo>
                              <a:pt x="28" y="9"/>
                              <a:pt x="28" y="9"/>
                              <a:pt x="28" y="9"/>
                            </a:cubicBezTo>
                            <a:cubicBezTo>
                              <a:pt x="21" y="10"/>
                              <a:pt x="21" y="10"/>
                              <a:pt x="21" y="10"/>
                            </a:cubicBezTo>
                            <a:cubicBezTo>
                              <a:pt x="6" y="0"/>
                              <a:pt x="6" y="0"/>
                              <a:pt x="6" y="0"/>
                            </a:cubicBezTo>
                            <a:cubicBezTo>
                              <a:pt x="0" y="6"/>
                              <a:pt x="0" y="6"/>
                              <a:pt x="0" y="6"/>
                            </a:cubicBezTo>
                            <a:cubicBezTo>
                              <a:pt x="7" y="31"/>
                              <a:pt x="7" y="31"/>
                              <a:pt x="7" y="31"/>
                            </a:cubicBezTo>
                            <a:cubicBezTo>
                              <a:pt x="6" y="41"/>
                              <a:pt x="6" y="41"/>
                              <a:pt x="6" y="41"/>
                            </a:cubicBezTo>
                            <a:cubicBezTo>
                              <a:pt x="17" y="60"/>
                              <a:pt x="17" y="60"/>
                              <a:pt x="17" y="60"/>
                            </a:cubicBezTo>
                            <a:cubicBezTo>
                              <a:pt x="24" y="60"/>
                              <a:pt x="24" y="60"/>
                              <a:pt x="24" y="60"/>
                            </a:cubicBezTo>
                            <a:cubicBezTo>
                              <a:pt x="28" y="65"/>
                              <a:pt x="28" y="65"/>
                              <a:pt x="28" y="65"/>
                            </a:cubicBezTo>
                            <a:cubicBezTo>
                              <a:pt x="15" y="89"/>
                              <a:pt x="15" y="89"/>
                              <a:pt x="15" y="89"/>
                            </a:cubicBezTo>
                            <a:cubicBezTo>
                              <a:pt x="29" y="107"/>
                              <a:pt x="29" y="107"/>
                              <a:pt x="29" y="107"/>
                            </a:cubicBezTo>
                            <a:cubicBezTo>
                              <a:pt x="39" y="109"/>
                              <a:pt x="39" y="109"/>
                              <a:pt x="39" y="109"/>
                            </a:cubicBezTo>
                            <a:cubicBezTo>
                              <a:pt x="48" y="123"/>
                              <a:pt x="48" y="123"/>
                              <a:pt x="48" y="123"/>
                            </a:cubicBezTo>
                            <a:cubicBezTo>
                              <a:pt x="47" y="138"/>
                              <a:pt x="47" y="138"/>
                              <a:pt x="47" y="138"/>
                            </a:cubicBezTo>
                            <a:cubicBezTo>
                              <a:pt x="54" y="147"/>
                              <a:pt x="54" y="147"/>
                              <a:pt x="54" y="147"/>
                            </a:cubicBezTo>
                            <a:cubicBezTo>
                              <a:pt x="60" y="145"/>
                              <a:pt x="60" y="145"/>
                              <a:pt x="60" y="145"/>
                            </a:cubicBezTo>
                            <a:cubicBezTo>
                              <a:pt x="76" y="146"/>
                              <a:pt x="76" y="146"/>
                              <a:pt x="76" y="146"/>
                            </a:cubicBezTo>
                            <a:cubicBezTo>
                              <a:pt x="77" y="152"/>
                              <a:pt x="77" y="152"/>
                              <a:pt x="77" y="152"/>
                            </a:cubicBezTo>
                            <a:cubicBezTo>
                              <a:pt x="85" y="161"/>
                              <a:pt x="85" y="161"/>
                              <a:pt x="85" y="161"/>
                            </a:cubicBezTo>
                            <a:cubicBezTo>
                              <a:pt x="89" y="168"/>
                              <a:pt x="89" y="168"/>
                              <a:pt x="89" y="168"/>
                            </a:cubicBezTo>
                            <a:cubicBezTo>
                              <a:pt x="90" y="174"/>
                              <a:pt x="90" y="174"/>
                              <a:pt x="90" y="174"/>
                            </a:cubicBezTo>
                            <a:cubicBezTo>
                              <a:pt x="99" y="181"/>
                              <a:pt x="99" y="181"/>
                              <a:pt x="99" y="181"/>
                            </a:cubicBezTo>
                            <a:cubicBezTo>
                              <a:pt x="104" y="181"/>
                              <a:pt x="104" y="181"/>
                              <a:pt x="104" y="181"/>
                            </a:cubicBezTo>
                            <a:cubicBezTo>
                              <a:pt x="113" y="191"/>
                              <a:pt x="113" y="191"/>
                              <a:pt x="113" y="191"/>
                            </a:cubicBezTo>
                            <a:cubicBezTo>
                              <a:pt x="119" y="192"/>
                              <a:pt x="119" y="192"/>
                              <a:pt x="119" y="192"/>
                            </a:cubicBezTo>
                            <a:cubicBezTo>
                              <a:pt x="122" y="194"/>
                              <a:pt x="122" y="194"/>
                              <a:pt x="122" y="194"/>
                            </a:cubicBezTo>
                            <a:cubicBezTo>
                              <a:pt x="147" y="195"/>
                              <a:pt x="147" y="195"/>
                              <a:pt x="147" y="195"/>
                            </a:cubicBezTo>
                            <a:cubicBezTo>
                              <a:pt x="155" y="188"/>
                              <a:pt x="155" y="188"/>
                              <a:pt x="155" y="188"/>
                            </a:cubicBezTo>
                            <a:cubicBezTo>
                              <a:pt x="158" y="188"/>
                              <a:pt x="158" y="188"/>
                              <a:pt x="158" y="188"/>
                            </a:cubicBezTo>
                            <a:cubicBezTo>
                              <a:pt x="163" y="191"/>
                              <a:pt x="163" y="191"/>
                              <a:pt x="163" y="191"/>
                            </a:cubicBezTo>
                            <a:cubicBezTo>
                              <a:pt x="165" y="200"/>
                              <a:pt x="165" y="200"/>
                              <a:pt x="165" y="200"/>
                            </a:cubicBezTo>
                            <a:cubicBezTo>
                              <a:pt x="166" y="205"/>
                              <a:pt x="166" y="205"/>
                              <a:pt x="166" y="205"/>
                            </a:cubicBezTo>
                            <a:cubicBezTo>
                              <a:pt x="172" y="209"/>
                              <a:pt x="172" y="209"/>
                              <a:pt x="172" y="209"/>
                            </a:cubicBezTo>
                            <a:cubicBezTo>
                              <a:pt x="184" y="212"/>
                              <a:pt x="184" y="212"/>
                              <a:pt x="184" y="212"/>
                            </a:cubicBezTo>
                            <a:cubicBezTo>
                              <a:pt x="192" y="214"/>
                              <a:pt x="192" y="214"/>
                              <a:pt x="192" y="214"/>
                            </a:cubicBezTo>
                            <a:cubicBezTo>
                              <a:pt x="201" y="213"/>
                              <a:pt x="201" y="213"/>
                              <a:pt x="201" y="213"/>
                            </a:cubicBezTo>
                            <a:cubicBezTo>
                              <a:pt x="209" y="214"/>
                              <a:pt x="209" y="214"/>
                              <a:pt x="209" y="214"/>
                            </a:cubicBezTo>
                            <a:cubicBezTo>
                              <a:pt x="216" y="215"/>
                              <a:pt x="216" y="215"/>
                              <a:pt x="216" y="215"/>
                            </a:cubicBezTo>
                            <a:cubicBezTo>
                              <a:pt x="220" y="217"/>
                              <a:pt x="220" y="217"/>
                              <a:pt x="220" y="217"/>
                            </a:cubicBezTo>
                            <a:cubicBezTo>
                              <a:pt x="224" y="215"/>
                              <a:pt x="224" y="215"/>
                              <a:pt x="224" y="215"/>
                            </a:cubicBezTo>
                            <a:cubicBezTo>
                              <a:pt x="225" y="204"/>
                              <a:pt x="225" y="204"/>
                              <a:pt x="225" y="204"/>
                            </a:cubicBezTo>
                            <a:lnTo>
                              <a:pt x="242" y="196"/>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2" name="Freeform 61"/>
                      <p:cNvSpPr>
                        <a:spLocks noChangeAspect="1"/>
                      </p:cNvSpPr>
                      <p:nvPr/>
                    </p:nvSpPr>
                    <p:spPr bwMode="gray">
                      <a:xfrm>
                        <a:off x="5833" y="2488"/>
                        <a:ext cx="1312" cy="932"/>
                      </a:xfrm>
                      <a:custGeom>
                        <a:avLst/>
                        <a:gdLst>
                          <a:gd name="T0" fmla="*/ 127 w 174"/>
                          <a:gd name="T1" fmla="*/ 124 h 124"/>
                          <a:gd name="T2" fmla="*/ 129 w 174"/>
                          <a:gd name="T3" fmla="*/ 115 h 124"/>
                          <a:gd name="T4" fmla="*/ 154 w 174"/>
                          <a:gd name="T5" fmla="*/ 101 h 124"/>
                          <a:gd name="T6" fmla="*/ 159 w 174"/>
                          <a:gd name="T7" fmla="*/ 89 h 124"/>
                          <a:gd name="T8" fmla="*/ 174 w 174"/>
                          <a:gd name="T9" fmla="*/ 87 h 124"/>
                          <a:gd name="T10" fmla="*/ 170 w 174"/>
                          <a:gd name="T11" fmla="*/ 80 h 124"/>
                          <a:gd name="T12" fmla="*/ 161 w 174"/>
                          <a:gd name="T13" fmla="*/ 78 h 124"/>
                          <a:gd name="T14" fmla="*/ 150 w 174"/>
                          <a:gd name="T15" fmla="*/ 72 h 124"/>
                          <a:gd name="T16" fmla="*/ 138 w 174"/>
                          <a:gd name="T17" fmla="*/ 68 h 124"/>
                          <a:gd name="T18" fmla="*/ 128 w 174"/>
                          <a:gd name="T19" fmla="*/ 56 h 124"/>
                          <a:gd name="T20" fmla="*/ 123 w 174"/>
                          <a:gd name="T21" fmla="*/ 39 h 124"/>
                          <a:gd name="T22" fmla="*/ 116 w 174"/>
                          <a:gd name="T23" fmla="*/ 30 h 124"/>
                          <a:gd name="T24" fmla="*/ 107 w 174"/>
                          <a:gd name="T25" fmla="*/ 27 h 124"/>
                          <a:gd name="T26" fmla="*/ 90 w 174"/>
                          <a:gd name="T27" fmla="*/ 20 h 124"/>
                          <a:gd name="T28" fmla="*/ 92 w 174"/>
                          <a:gd name="T29" fmla="*/ 15 h 124"/>
                          <a:gd name="T30" fmla="*/ 90 w 174"/>
                          <a:gd name="T31" fmla="*/ 8 h 124"/>
                          <a:gd name="T32" fmla="*/ 87 w 174"/>
                          <a:gd name="T33" fmla="*/ 4 h 124"/>
                          <a:gd name="T34" fmla="*/ 79 w 174"/>
                          <a:gd name="T35" fmla="*/ 0 h 124"/>
                          <a:gd name="T36" fmla="*/ 75 w 174"/>
                          <a:gd name="T37" fmla="*/ 0 h 124"/>
                          <a:gd name="T38" fmla="*/ 74 w 174"/>
                          <a:gd name="T39" fmla="*/ 3 h 124"/>
                          <a:gd name="T40" fmla="*/ 70 w 174"/>
                          <a:gd name="T41" fmla="*/ 3 h 124"/>
                          <a:gd name="T42" fmla="*/ 63 w 174"/>
                          <a:gd name="T43" fmla="*/ 7 h 124"/>
                          <a:gd name="T44" fmla="*/ 59 w 174"/>
                          <a:gd name="T45" fmla="*/ 20 h 124"/>
                          <a:gd name="T46" fmla="*/ 38 w 174"/>
                          <a:gd name="T47" fmla="*/ 15 h 124"/>
                          <a:gd name="T48" fmla="*/ 26 w 174"/>
                          <a:gd name="T49" fmla="*/ 17 h 124"/>
                          <a:gd name="T50" fmla="*/ 18 w 174"/>
                          <a:gd name="T51" fmla="*/ 9 h 124"/>
                          <a:gd name="T52" fmla="*/ 11 w 174"/>
                          <a:gd name="T53" fmla="*/ 5 h 124"/>
                          <a:gd name="T54" fmla="*/ 5 w 174"/>
                          <a:gd name="T55" fmla="*/ 6 h 124"/>
                          <a:gd name="T56" fmla="*/ 0 w 174"/>
                          <a:gd name="T57" fmla="*/ 10 h 124"/>
                          <a:gd name="T58" fmla="*/ 0 w 174"/>
                          <a:gd name="T59" fmla="*/ 18 h 124"/>
                          <a:gd name="T60" fmla="*/ 6 w 174"/>
                          <a:gd name="T61" fmla="*/ 10 h 124"/>
                          <a:gd name="T62" fmla="*/ 17 w 174"/>
                          <a:gd name="T63" fmla="*/ 13 h 124"/>
                          <a:gd name="T64" fmla="*/ 20 w 174"/>
                          <a:gd name="T65" fmla="*/ 21 h 124"/>
                          <a:gd name="T66" fmla="*/ 27 w 174"/>
                          <a:gd name="T67" fmla="*/ 32 h 124"/>
                          <a:gd name="T68" fmla="*/ 6 w 174"/>
                          <a:gd name="T69" fmla="*/ 37 h 124"/>
                          <a:gd name="T70" fmla="*/ 3 w 174"/>
                          <a:gd name="T71" fmla="*/ 44 h 124"/>
                          <a:gd name="T72" fmla="*/ 11 w 174"/>
                          <a:gd name="T73" fmla="*/ 45 h 124"/>
                          <a:gd name="T74" fmla="*/ 13 w 174"/>
                          <a:gd name="T75" fmla="*/ 53 h 124"/>
                          <a:gd name="T76" fmla="*/ 9 w 174"/>
                          <a:gd name="T77" fmla="*/ 55 h 124"/>
                          <a:gd name="T78" fmla="*/ 18 w 174"/>
                          <a:gd name="T79" fmla="*/ 63 h 124"/>
                          <a:gd name="T80" fmla="*/ 18 w 174"/>
                          <a:gd name="T81" fmla="*/ 88 h 124"/>
                          <a:gd name="T82" fmla="*/ 32 w 174"/>
                          <a:gd name="T83" fmla="*/ 89 h 124"/>
                          <a:gd name="T84" fmla="*/ 38 w 174"/>
                          <a:gd name="T85" fmla="*/ 77 h 124"/>
                          <a:gd name="T86" fmla="*/ 69 w 174"/>
                          <a:gd name="T87" fmla="*/ 80 h 124"/>
                          <a:gd name="T88" fmla="*/ 74 w 174"/>
                          <a:gd name="T89" fmla="*/ 85 h 124"/>
                          <a:gd name="T90" fmla="*/ 83 w 174"/>
                          <a:gd name="T91" fmla="*/ 86 h 124"/>
                          <a:gd name="T92" fmla="*/ 107 w 174"/>
                          <a:gd name="T93" fmla="*/ 102 h 124"/>
                          <a:gd name="T94" fmla="*/ 109 w 174"/>
                          <a:gd name="T95" fmla="*/ 115 h 124"/>
                          <a:gd name="T96" fmla="*/ 119 w 174"/>
                          <a:gd name="T97" fmla="*/ 118 h 124"/>
                          <a:gd name="T98" fmla="*/ 127 w 174"/>
                          <a:gd name="T9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124">
                            <a:moveTo>
                              <a:pt x="127" y="124"/>
                            </a:moveTo>
                            <a:cubicBezTo>
                              <a:pt x="129" y="115"/>
                              <a:pt x="129" y="115"/>
                              <a:pt x="129" y="115"/>
                            </a:cubicBezTo>
                            <a:cubicBezTo>
                              <a:pt x="154" y="101"/>
                              <a:pt x="154" y="101"/>
                              <a:pt x="154" y="101"/>
                            </a:cubicBezTo>
                            <a:cubicBezTo>
                              <a:pt x="159" y="89"/>
                              <a:pt x="159" y="89"/>
                              <a:pt x="159" y="89"/>
                            </a:cubicBezTo>
                            <a:cubicBezTo>
                              <a:pt x="174" y="87"/>
                              <a:pt x="174" y="87"/>
                              <a:pt x="174" y="87"/>
                            </a:cubicBezTo>
                            <a:cubicBezTo>
                              <a:pt x="170" y="80"/>
                              <a:pt x="170" y="80"/>
                              <a:pt x="170" y="80"/>
                            </a:cubicBezTo>
                            <a:cubicBezTo>
                              <a:pt x="161" y="78"/>
                              <a:pt x="161" y="78"/>
                              <a:pt x="161" y="78"/>
                            </a:cubicBezTo>
                            <a:cubicBezTo>
                              <a:pt x="150" y="72"/>
                              <a:pt x="150" y="72"/>
                              <a:pt x="150" y="72"/>
                            </a:cubicBezTo>
                            <a:cubicBezTo>
                              <a:pt x="138" y="68"/>
                              <a:pt x="138" y="68"/>
                              <a:pt x="138" y="68"/>
                            </a:cubicBezTo>
                            <a:cubicBezTo>
                              <a:pt x="128" y="56"/>
                              <a:pt x="128" y="56"/>
                              <a:pt x="128" y="56"/>
                            </a:cubicBezTo>
                            <a:cubicBezTo>
                              <a:pt x="123" y="39"/>
                              <a:pt x="123" y="39"/>
                              <a:pt x="123" y="39"/>
                            </a:cubicBezTo>
                            <a:cubicBezTo>
                              <a:pt x="116" y="30"/>
                              <a:pt x="116" y="30"/>
                              <a:pt x="116" y="30"/>
                            </a:cubicBezTo>
                            <a:cubicBezTo>
                              <a:pt x="107" y="27"/>
                              <a:pt x="107" y="27"/>
                              <a:pt x="107" y="27"/>
                            </a:cubicBezTo>
                            <a:cubicBezTo>
                              <a:pt x="90" y="20"/>
                              <a:pt x="90" y="20"/>
                              <a:pt x="90" y="20"/>
                            </a:cubicBezTo>
                            <a:cubicBezTo>
                              <a:pt x="92" y="15"/>
                              <a:pt x="92" y="15"/>
                              <a:pt x="92" y="15"/>
                            </a:cubicBezTo>
                            <a:cubicBezTo>
                              <a:pt x="90" y="8"/>
                              <a:pt x="90" y="8"/>
                              <a:pt x="90" y="8"/>
                            </a:cubicBezTo>
                            <a:cubicBezTo>
                              <a:pt x="87" y="4"/>
                              <a:pt x="87" y="4"/>
                              <a:pt x="87" y="4"/>
                            </a:cubicBezTo>
                            <a:cubicBezTo>
                              <a:pt x="79" y="0"/>
                              <a:pt x="79" y="0"/>
                              <a:pt x="79" y="0"/>
                            </a:cubicBezTo>
                            <a:cubicBezTo>
                              <a:pt x="75" y="0"/>
                              <a:pt x="75" y="0"/>
                              <a:pt x="75" y="0"/>
                            </a:cubicBezTo>
                            <a:cubicBezTo>
                              <a:pt x="74" y="3"/>
                              <a:pt x="74" y="3"/>
                              <a:pt x="74" y="3"/>
                            </a:cubicBezTo>
                            <a:cubicBezTo>
                              <a:pt x="70" y="3"/>
                              <a:pt x="70" y="3"/>
                              <a:pt x="70" y="3"/>
                            </a:cubicBezTo>
                            <a:cubicBezTo>
                              <a:pt x="63" y="7"/>
                              <a:pt x="63" y="7"/>
                              <a:pt x="63" y="7"/>
                            </a:cubicBezTo>
                            <a:cubicBezTo>
                              <a:pt x="59" y="20"/>
                              <a:pt x="59" y="20"/>
                              <a:pt x="59" y="20"/>
                            </a:cubicBezTo>
                            <a:cubicBezTo>
                              <a:pt x="38" y="15"/>
                              <a:pt x="38" y="15"/>
                              <a:pt x="38" y="15"/>
                            </a:cubicBezTo>
                            <a:cubicBezTo>
                              <a:pt x="26" y="17"/>
                              <a:pt x="26" y="17"/>
                              <a:pt x="26" y="17"/>
                            </a:cubicBezTo>
                            <a:cubicBezTo>
                              <a:pt x="18" y="9"/>
                              <a:pt x="18" y="9"/>
                              <a:pt x="18" y="9"/>
                            </a:cubicBezTo>
                            <a:cubicBezTo>
                              <a:pt x="11" y="5"/>
                              <a:pt x="11" y="5"/>
                              <a:pt x="11" y="5"/>
                            </a:cubicBezTo>
                            <a:cubicBezTo>
                              <a:pt x="5" y="6"/>
                              <a:pt x="5" y="6"/>
                              <a:pt x="5" y="6"/>
                            </a:cubicBezTo>
                            <a:cubicBezTo>
                              <a:pt x="0" y="10"/>
                              <a:pt x="0" y="10"/>
                              <a:pt x="0" y="10"/>
                            </a:cubicBezTo>
                            <a:cubicBezTo>
                              <a:pt x="0" y="13"/>
                              <a:pt x="0" y="16"/>
                              <a:pt x="0" y="18"/>
                            </a:cubicBezTo>
                            <a:cubicBezTo>
                              <a:pt x="2" y="16"/>
                              <a:pt x="3" y="12"/>
                              <a:pt x="6" y="10"/>
                            </a:cubicBezTo>
                            <a:cubicBezTo>
                              <a:pt x="10" y="10"/>
                              <a:pt x="14" y="11"/>
                              <a:pt x="17" y="13"/>
                            </a:cubicBezTo>
                            <a:cubicBezTo>
                              <a:pt x="19" y="15"/>
                              <a:pt x="19" y="19"/>
                              <a:pt x="20" y="21"/>
                            </a:cubicBezTo>
                            <a:cubicBezTo>
                              <a:pt x="23" y="24"/>
                              <a:pt x="28" y="27"/>
                              <a:pt x="27" y="32"/>
                            </a:cubicBezTo>
                            <a:cubicBezTo>
                              <a:pt x="21" y="36"/>
                              <a:pt x="13" y="39"/>
                              <a:pt x="6" y="37"/>
                            </a:cubicBezTo>
                            <a:cubicBezTo>
                              <a:pt x="3" y="37"/>
                              <a:pt x="3" y="41"/>
                              <a:pt x="3" y="44"/>
                            </a:cubicBezTo>
                            <a:cubicBezTo>
                              <a:pt x="5" y="48"/>
                              <a:pt x="9" y="41"/>
                              <a:pt x="11" y="45"/>
                            </a:cubicBezTo>
                            <a:cubicBezTo>
                              <a:pt x="13" y="48"/>
                              <a:pt x="15" y="51"/>
                              <a:pt x="13" y="53"/>
                            </a:cubicBezTo>
                            <a:cubicBezTo>
                              <a:pt x="11" y="54"/>
                              <a:pt x="9" y="53"/>
                              <a:pt x="9" y="55"/>
                            </a:cubicBezTo>
                            <a:cubicBezTo>
                              <a:pt x="11" y="58"/>
                              <a:pt x="16" y="59"/>
                              <a:pt x="18" y="63"/>
                            </a:cubicBezTo>
                            <a:cubicBezTo>
                              <a:pt x="18" y="88"/>
                              <a:pt x="18" y="88"/>
                              <a:pt x="18" y="88"/>
                            </a:cubicBezTo>
                            <a:cubicBezTo>
                              <a:pt x="32" y="89"/>
                              <a:pt x="32" y="89"/>
                              <a:pt x="32" y="89"/>
                            </a:cubicBezTo>
                            <a:cubicBezTo>
                              <a:pt x="38" y="77"/>
                              <a:pt x="38" y="77"/>
                              <a:pt x="38" y="77"/>
                            </a:cubicBezTo>
                            <a:cubicBezTo>
                              <a:pt x="69" y="80"/>
                              <a:pt x="69" y="80"/>
                              <a:pt x="69" y="80"/>
                            </a:cubicBezTo>
                            <a:cubicBezTo>
                              <a:pt x="74" y="85"/>
                              <a:pt x="74" y="85"/>
                              <a:pt x="74" y="85"/>
                            </a:cubicBezTo>
                            <a:cubicBezTo>
                              <a:pt x="83" y="86"/>
                              <a:pt x="83" y="86"/>
                              <a:pt x="83" y="86"/>
                            </a:cubicBezTo>
                            <a:cubicBezTo>
                              <a:pt x="107" y="102"/>
                              <a:pt x="107" y="102"/>
                              <a:pt x="107" y="102"/>
                            </a:cubicBezTo>
                            <a:cubicBezTo>
                              <a:pt x="109" y="115"/>
                              <a:pt x="109" y="115"/>
                              <a:pt x="109" y="115"/>
                            </a:cubicBezTo>
                            <a:cubicBezTo>
                              <a:pt x="119" y="118"/>
                              <a:pt x="119" y="118"/>
                              <a:pt x="119" y="118"/>
                            </a:cubicBezTo>
                            <a:lnTo>
                              <a:pt x="127" y="12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3" name="Freeform 62"/>
                      <p:cNvSpPr>
                        <a:spLocks noChangeAspect="1"/>
                      </p:cNvSpPr>
                      <p:nvPr/>
                    </p:nvSpPr>
                    <p:spPr bwMode="gray">
                      <a:xfrm>
                        <a:off x="5128" y="2604"/>
                        <a:ext cx="460" cy="467"/>
                      </a:xfrm>
                      <a:custGeom>
                        <a:avLst/>
                        <a:gdLst>
                          <a:gd name="T0" fmla="*/ 46 w 61"/>
                          <a:gd name="T1" fmla="*/ 44 h 62"/>
                          <a:gd name="T2" fmla="*/ 60 w 61"/>
                          <a:gd name="T3" fmla="*/ 31 h 62"/>
                          <a:gd name="T4" fmla="*/ 53 w 61"/>
                          <a:gd name="T5" fmla="*/ 16 h 62"/>
                          <a:gd name="T6" fmla="*/ 40 w 61"/>
                          <a:gd name="T7" fmla="*/ 0 h 62"/>
                          <a:gd name="T8" fmla="*/ 40 w 61"/>
                          <a:gd name="T9" fmla="*/ 10 h 62"/>
                          <a:gd name="T10" fmla="*/ 32 w 61"/>
                          <a:gd name="T11" fmla="*/ 12 h 62"/>
                          <a:gd name="T12" fmla="*/ 16 w 61"/>
                          <a:gd name="T13" fmla="*/ 4 h 62"/>
                          <a:gd name="T14" fmla="*/ 20 w 61"/>
                          <a:gd name="T15" fmla="*/ 14 h 62"/>
                          <a:gd name="T16" fmla="*/ 19 w 61"/>
                          <a:gd name="T17" fmla="*/ 18 h 62"/>
                          <a:gd name="T18" fmla="*/ 0 w 61"/>
                          <a:gd name="T19" fmla="*/ 17 h 62"/>
                          <a:gd name="T20" fmla="*/ 5 w 61"/>
                          <a:gd name="T21" fmla="*/ 24 h 62"/>
                          <a:gd name="T22" fmla="*/ 9 w 61"/>
                          <a:gd name="T23" fmla="*/ 32 h 62"/>
                          <a:gd name="T24" fmla="*/ 22 w 61"/>
                          <a:gd name="T25" fmla="*/ 45 h 62"/>
                          <a:gd name="T26" fmla="*/ 35 w 61"/>
                          <a:gd name="T27" fmla="*/ 40 h 62"/>
                          <a:gd name="T28" fmla="*/ 37 w 61"/>
                          <a:gd name="T29" fmla="*/ 44 h 62"/>
                          <a:gd name="T30" fmla="*/ 36 w 61"/>
                          <a:gd name="T31" fmla="*/ 56 h 62"/>
                          <a:gd name="T32" fmla="*/ 44 w 61"/>
                          <a:gd name="T33" fmla="*/ 62 h 62"/>
                          <a:gd name="T34" fmla="*/ 46 w 61"/>
                          <a:gd name="T35" fmla="*/ 4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62">
                            <a:moveTo>
                              <a:pt x="46" y="44"/>
                            </a:moveTo>
                            <a:cubicBezTo>
                              <a:pt x="47" y="43"/>
                              <a:pt x="59" y="33"/>
                              <a:pt x="60" y="31"/>
                            </a:cubicBezTo>
                            <a:cubicBezTo>
                              <a:pt x="61" y="23"/>
                              <a:pt x="59" y="22"/>
                              <a:pt x="53" y="16"/>
                            </a:cubicBezTo>
                            <a:cubicBezTo>
                              <a:pt x="53" y="9"/>
                              <a:pt x="45" y="5"/>
                              <a:pt x="40" y="0"/>
                            </a:cubicBezTo>
                            <a:cubicBezTo>
                              <a:pt x="40" y="10"/>
                              <a:pt x="40" y="10"/>
                              <a:pt x="40" y="10"/>
                            </a:cubicBezTo>
                            <a:cubicBezTo>
                              <a:pt x="32" y="12"/>
                              <a:pt x="32" y="12"/>
                              <a:pt x="32" y="12"/>
                            </a:cubicBezTo>
                            <a:cubicBezTo>
                              <a:pt x="16" y="4"/>
                              <a:pt x="16" y="4"/>
                              <a:pt x="16" y="4"/>
                            </a:cubicBezTo>
                            <a:cubicBezTo>
                              <a:pt x="20" y="14"/>
                              <a:pt x="20" y="14"/>
                              <a:pt x="20" y="14"/>
                            </a:cubicBezTo>
                            <a:cubicBezTo>
                              <a:pt x="19" y="18"/>
                              <a:pt x="19" y="18"/>
                              <a:pt x="19" y="18"/>
                            </a:cubicBezTo>
                            <a:cubicBezTo>
                              <a:pt x="0" y="17"/>
                              <a:pt x="0" y="17"/>
                              <a:pt x="0" y="17"/>
                            </a:cubicBezTo>
                            <a:cubicBezTo>
                              <a:pt x="5" y="24"/>
                              <a:pt x="5" y="24"/>
                              <a:pt x="5" y="24"/>
                            </a:cubicBezTo>
                            <a:cubicBezTo>
                              <a:pt x="9" y="32"/>
                              <a:pt x="9" y="32"/>
                              <a:pt x="9" y="32"/>
                            </a:cubicBezTo>
                            <a:cubicBezTo>
                              <a:pt x="22" y="45"/>
                              <a:pt x="22" y="45"/>
                              <a:pt x="22" y="45"/>
                            </a:cubicBezTo>
                            <a:cubicBezTo>
                              <a:pt x="35" y="40"/>
                              <a:pt x="35" y="40"/>
                              <a:pt x="35" y="40"/>
                            </a:cubicBezTo>
                            <a:cubicBezTo>
                              <a:pt x="37" y="44"/>
                              <a:pt x="37" y="44"/>
                              <a:pt x="37" y="44"/>
                            </a:cubicBezTo>
                            <a:cubicBezTo>
                              <a:pt x="36" y="56"/>
                              <a:pt x="36" y="56"/>
                              <a:pt x="36" y="56"/>
                            </a:cubicBezTo>
                            <a:cubicBezTo>
                              <a:pt x="44" y="62"/>
                              <a:pt x="44" y="62"/>
                              <a:pt x="44" y="62"/>
                            </a:cubicBezTo>
                            <a:cubicBezTo>
                              <a:pt x="45" y="56"/>
                              <a:pt x="40" y="49"/>
                              <a:pt x="46" y="44"/>
                            </a:cubicBez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4" name="Freeform 63"/>
                      <p:cNvSpPr>
                        <a:spLocks noChangeAspect="1"/>
                      </p:cNvSpPr>
                      <p:nvPr/>
                    </p:nvSpPr>
                    <p:spPr bwMode="gray">
                      <a:xfrm>
                        <a:off x="5067" y="2886"/>
                        <a:ext cx="165" cy="81"/>
                      </a:xfrm>
                      <a:custGeom>
                        <a:avLst/>
                        <a:gdLst>
                          <a:gd name="T0" fmla="*/ 0 w 27"/>
                          <a:gd name="T1" fmla="*/ 0 h 13"/>
                          <a:gd name="T2" fmla="*/ 19 w 27"/>
                          <a:gd name="T3" fmla="*/ 13 h 13"/>
                          <a:gd name="T4" fmla="*/ 27 w 27"/>
                          <a:gd name="T5" fmla="*/ 11 h 13"/>
                          <a:gd name="T6" fmla="*/ 9 w 27"/>
                          <a:gd name="T7" fmla="*/ 0 h 13"/>
                          <a:gd name="T8" fmla="*/ 0 w 27"/>
                          <a:gd name="T9" fmla="*/ 0 h 13"/>
                          <a:gd name="T10" fmla="*/ 0 w 27"/>
                          <a:gd name="T11" fmla="*/ 0 h 13"/>
                        </a:gdLst>
                        <a:ahLst/>
                        <a:cxnLst>
                          <a:cxn ang="0">
                            <a:pos x="T0" y="T1"/>
                          </a:cxn>
                          <a:cxn ang="0">
                            <a:pos x="T2" y="T3"/>
                          </a:cxn>
                          <a:cxn ang="0">
                            <a:pos x="T4" y="T5"/>
                          </a:cxn>
                          <a:cxn ang="0">
                            <a:pos x="T6" y="T7"/>
                          </a:cxn>
                          <a:cxn ang="0">
                            <a:pos x="T8" y="T9"/>
                          </a:cxn>
                          <a:cxn ang="0">
                            <a:pos x="T10" y="T11"/>
                          </a:cxn>
                        </a:cxnLst>
                        <a:rect l="0" t="0" r="r" b="b"/>
                        <a:pathLst>
                          <a:path w="27" h="13">
                            <a:moveTo>
                              <a:pt x="0" y="0"/>
                            </a:moveTo>
                            <a:lnTo>
                              <a:pt x="19" y="13"/>
                            </a:lnTo>
                            <a:lnTo>
                              <a:pt x="27" y="11"/>
                            </a:lnTo>
                            <a:lnTo>
                              <a:pt x="9" y="0"/>
                            </a:lnTo>
                            <a:lnTo>
                              <a:pt x="0" y="0"/>
                            </a:lnTo>
                            <a:lnTo>
                              <a:pt x="0" y="0"/>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5" name="Freeform 64"/>
                      <p:cNvSpPr>
                        <a:spLocks noChangeAspect="1" noEditPoints="1"/>
                      </p:cNvSpPr>
                      <p:nvPr/>
                    </p:nvSpPr>
                    <p:spPr bwMode="gray">
                      <a:xfrm>
                        <a:off x="3910" y="3316"/>
                        <a:ext cx="423" cy="736"/>
                      </a:xfrm>
                      <a:custGeom>
                        <a:avLst/>
                        <a:gdLst>
                          <a:gd name="T0" fmla="*/ 25 w 68"/>
                          <a:gd name="T1" fmla="*/ 12 h 120"/>
                          <a:gd name="T2" fmla="*/ 22 w 68"/>
                          <a:gd name="T3" fmla="*/ 15 h 120"/>
                          <a:gd name="T4" fmla="*/ 7 w 68"/>
                          <a:gd name="T5" fmla="*/ 19 h 120"/>
                          <a:gd name="T6" fmla="*/ 0 w 68"/>
                          <a:gd name="T7" fmla="*/ 23 h 120"/>
                          <a:gd name="T8" fmla="*/ 0 w 68"/>
                          <a:gd name="T9" fmla="*/ 28 h 120"/>
                          <a:gd name="T10" fmla="*/ 12 w 68"/>
                          <a:gd name="T11" fmla="*/ 28 h 120"/>
                          <a:gd name="T12" fmla="*/ 22 w 68"/>
                          <a:gd name="T13" fmla="*/ 25 h 120"/>
                          <a:gd name="T14" fmla="*/ 25 w 68"/>
                          <a:gd name="T15" fmla="*/ 17 h 120"/>
                          <a:gd name="T16" fmla="*/ 29 w 68"/>
                          <a:gd name="T17" fmla="*/ 12 h 120"/>
                          <a:gd name="T18" fmla="*/ 25 w 68"/>
                          <a:gd name="T19" fmla="*/ 12 h 120"/>
                          <a:gd name="T20" fmla="*/ 25 w 68"/>
                          <a:gd name="T21" fmla="*/ 12 h 120"/>
                          <a:gd name="T22" fmla="*/ 66 w 68"/>
                          <a:gd name="T23" fmla="*/ 19 h 120"/>
                          <a:gd name="T24" fmla="*/ 68 w 68"/>
                          <a:gd name="T25" fmla="*/ 5 h 120"/>
                          <a:gd name="T26" fmla="*/ 63 w 68"/>
                          <a:gd name="T27" fmla="*/ 0 h 120"/>
                          <a:gd name="T28" fmla="*/ 52 w 68"/>
                          <a:gd name="T29" fmla="*/ 10 h 120"/>
                          <a:gd name="T30" fmla="*/ 50 w 68"/>
                          <a:gd name="T31" fmla="*/ 39 h 120"/>
                          <a:gd name="T32" fmla="*/ 48 w 68"/>
                          <a:gd name="T33" fmla="*/ 47 h 120"/>
                          <a:gd name="T34" fmla="*/ 46 w 68"/>
                          <a:gd name="T35" fmla="*/ 50 h 120"/>
                          <a:gd name="T36" fmla="*/ 44 w 68"/>
                          <a:gd name="T37" fmla="*/ 58 h 120"/>
                          <a:gd name="T38" fmla="*/ 43 w 68"/>
                          <a:gd name="T39" fmla="*/ 64 h 120"/>
                          <a:gd name="T40" fmla="*/ 38 w 68"/>
                          <a:gd name="T41" fmla="*/ 73 h 120"/>
                          <a:gd name="T42" fmla="*/ 35 w 68"/>
                          <a:gd name="T43" fmla="*/ 79 h 120"/>
                          <a:gd name="T44" fmla="*/ 32 w 68"/>
                          <a:gd name="T45" fmla="*/ 87 h 120"/>
                          <a:gd name="T46" fmla="*/ 33 w 68"/>
                          <a:gd name="T47" fmla="*/ 92 h 120"/>
                          <a:gd name="T48" fmla="*/ 28 w 68"/>
                          <a:gd name="T49" fmla="*/ 97 h 120"/>
                          <a:gd name="T50" fmla="*/ 32 w 68"/>
                          <a:gd name="T51" fmla="*/ 107 h 120"/>
                          <a:gd name="T52" fmla="*/ 35 w 68"/>
                          <a:gd name="T53" fmla="*/ 120 h 120"/>
                          <a:gd name="T54" fmla="*/ 38 w 68"/>
                          <a:gd name="T55" fmla="*/ 120 h 120"/>
                          <a:gd name="T56" fmla="*/ 44 w 68"/>
                          <a:gd name="T57" fmla="*/ 104 h 120"/>
                          <a:gd name="T58" fmla="*/ 45 w 68"/>
                          <a:gd name="T59" fmla="*/ 92 h 120"/>
                          <a:gd name="T60" fmla="*/ 51 w 68"/>
                          <a:gd name="T61" fmla="*/ 73 h 120"/>
                          <a:gd name="T62" fmla="*/ 51 w 68"/>
                          <a:gd name="T63" fmla="*/ 69 h 120"/>
                          <a:gd name="T64" fmla="*/ 57 w 68"/>
                          <a:gd name="T65" fmla="*/ 48 h 120"/>
                          <a:gd name="T66" fmla="*/ 61 w 68"/>
                          <a:gd name="T67" fmla="*/ 43 h 120"/>
                          <a:gd name="T68" fmla="*/ 61 w 68"/>
                          <a:gd name="T69" fmla="*/ 36 h 120"/>
                          <a:gd name="T70" fmla="*/ 67 w 68"/>
                          <a:gd name="T71" fmla="*/ 31 h 120"/>
                          <a:gd name="T72" fmla="*/ 66 w 68"/>
                          <a:gd name="T73" fmla="*/ 19 h 120"/>
                          <a:gd name="T74" fmla="*/ 66 w 68"/>
                          <a:gd name="T75" fmla="*/ 1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120">
                            <a:moveTo>
                              <a:pt x="25" y="12"/>
                            </a:moveTo>
                            <a:lnTo>
                              <a:pt x="22" y="15"/>
                            </a:lnTo>
                            <a:lnTo>
                              <a:pt x="7" y="19"/>
                            </a:lnTo>
                            <a:lnTo>
                              <a:pt x="0" y="23"/>
                            </a:lnTo>
                            <a:lnTo>
                              <a:pt x="0" y="28"/>
                            </a:lnTo>
                            <a:lnTo>
                              <a:pt x="12" y="28"/>
                            </a:lnTo>
                            <a:lnTo>
                              <a:pt x="22" y="25"/>
                            </a:lnTo>
                            <a:lnTo>
                              <a:pt x="25" y="17"/>
                            </a:lnTo>
                            <a:lnTo>
                              <a:pt x="29" y="12"/>
                            </a:lnTo>
                            <a:lnTo>
                              <a:pt x="25" y="12"/>
                            </a:lnTo>
                            <a:lnTo>
                              <a:pt x="25" y="12"/>
                            </a:lnTo>
                            <a:close/>
                            <a:moveTo>
                              <a:pt x="66" y="19"/>
                            </a:moveTo>
                            <a:lnTo>
                              <a:pt x="68" y="5"/>
                            </a:lnTo>
                            <a:lnTo>
                              <a:pt x="63" y="0"/>
                            </a:lnTo>
                            <a:lnTo>
                              <a:pt x="52" y="10"/>
                            </a:lnTo>
                            <a:lnTo>
                              <a:pt x="50" y="39"/>
                            </a:lnTo>
                            <a:lnTo>
                              <a:pt x="48" y="47"/>
                            </a:lnTo>
                            <a:lnTo>
                              <a:pt x="46" y="50"/>
                            </a:lnTo>
                            <a:lnTo>
                              <a:pt x="44" y="58"/>
                            </a:lnTo>
                            <a:lnTo>
                              <a:pt x="43" y="64"/>
                            </a:lnTo>
                            <a:lnTo>
                              <a:pt x="38" y="73"/>
                            </a:lnTo>
                            <a:lnTo>
                              <a:pt x="35" y="79"/>
                            </a:lnTo>
                            <a:lnTo>
                              <a:pt x="32" y="87"/>
                            </a:lnTo>
                            <a:lnTo>
                              <a:pt x="33" y="92"/>
                            </a:lnTo>
                            <a:lnTo>
                              <a:pt x="28" y="97"/>
                            </a:lnTo>
                            <a:lnTo>
                              <a:pt x="32" y="107"/>
                            </a:lnTo>
                            <a:lnTo>
                              <a:pt x="35" y="120"/>
                            </a:lnTo>
                            <a:lnTo>
                              <a:pt x="38" y="120"/>
                            </a:lnTo>
                            <a:lnTo>
                              <a:pt x="44" y="104"/>
                            </a:lnTo>
                            <a:lnTo>
                              <a:pt x="45" y="92"/>
                            </a:lnTo>
                            <a:lnTo>
                              <a:pt x="51" y="73"/>
                            </a:lnTo>
                            <a:lnTo>
                              <a:pt x="51" y="69"/>
                            </a:lnTo>
                            <a:lnTo>
                              <a:pt x="57" y="48"/>
                            </a:lnTo>
                            <a:lnTo>
                              <a:pt x="61" y="43"/>
                            </a:lnTo>
                            <a:lnTo>
                              <a:pt x="61" y="36"/>
                            </a:lnTo>
                            <a:lnTo>
                              <a:pt x="67" y="31"/>
                            </a:lnTo>
                            <a:lnTo>
                              <a:pt x="66" y="19"/>
                            </a:lnTo>
                            <a:lnTo>
                              <a:pt x="66" y="19"/>
                            </a:lnTo>
                            <a:close/>
                          </a:path>
                        </a:pathLst>
                      </a:cu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3175" cap="flat" cmpd="sng">
                            <a:solidFill>
                              <a:schemeClr val="bg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6" name="Freeform 65"/>
                      <p:cNvSpPr>
                        <a:spLocks noChangeAspect="1"/>
                      </p:cNvSpPr>
                      <p:nvPr/>
                    </p:nvSpPr>
                    <p:spPr bwMode="gray">
                      <a:xfrm>
                        <a:off x="4150" y="3652"/>
                        <a:ext cx="430" cy="450"/>
                      </a:xfrm>
                      <a:custGeom>
                        <a:avLst/>
                        <a:gdLst>
                          <a:gd name="T0" fmla="*/ 28 w 70"/>
                          <a:gd name="T1" fmla="*/ 58 h 73"/>
                          <a:gd name="T2" fmla="*/ 41 w 70"/>
                          <a:gd name="T3" fmla="*/ 57 h 73"/>
                          <a:gd name="T4" fmla="*/ 45 w 70"/>
                          <a:gd name="T5" fmla="*/ 53 h 73"/>
                          <a:gd name="T6" fmla="*/ 34 w 70"/>
                          <a:gd name="T7" fmla="*/ 22 h 73"/>
                          <a:gd name="T8" fmla="*/ 62 w 70"/>
                          <a:gd name="T9" fmla="*/ 22 h 73"/>
                          <a:gd name="T10" fmla="*/ 70 w 70"/>
                          <a:gd name="T11" fmla="*/ 15 h 73"/>
                          <a:gd name="T12" fmla="*/ 60 w 70"/>
                          <a:gd name="T13" fmla="*/ 0 h 73"/>
                          <a:gd name="T14" fmla="*/ 45 w 70"/>
                          <a:gd name="T15" fmla="*/ 3 h 73"/>
                          <a:gd name="T16" fmla="*/ 27 w 70"/>
                          <a:gd name="T17" fmla="*/ 15 h 73"/>
                          <a:gd name="T18" fmla="*/ 13 w 70"/>
                          <a:gd name="T19" fmla="*/ 14 h 73"/>
                          <a:gd name="T20" fmla="*/ 13 w 70"/>
                          <a:gd name="T21" fmla="*/ 18 h 73"/>
                          <a:gd name="T22" fmla="*/ 7 w 70"/>
                          <a:gd name="T23" fmla="*/ 37 h 73"/>
                          <a:gd name="T24" fmla="*/ 6 w 70"/>
                          <a:gd name="T25" fmla="*/ 49 h 73"/>
                          <a:gd name="T26" fmla="*/ 0 w 70"/>
                          <a:gd name="T27" fmla="*/ 65 h 73"/>
                          <a:gd name="T28" fmla="*/ 0 w 70"/>
                          <a:gd name="T29" fmla="*/ 73 h 73"/>
                          <a:gd name="T30" fmla="*/ 18 w 70"/>
                          <a:gd name="T31" fmla="*/ 70 h 73"/>
                          <a:gd name="T32" fmla="*/ 28 w 70"/>
                          <a:gd name="T33" fmla="*/ 58 h 73"/>
                          <a:gd name="T34" fmla="*/ 28 w 70"/>
                          <a:gd name="T35" fmla="*/ 5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 h="73">
                            <a:moveTo>
                              <a:pt x="28" y="58"/>
                            </a:moveTo>
                            <a:lnTo>
                              <a:pt x="41" y="57"/>
                            </a:lnTo>
                            <a:lnTo>
                              <a:pt x="45" y="53"/>
                            </a:lnTo>
                            <a:lnTo>
                              <a:pt x="34" y="22"/>
                            </a:lnTo>
                            <a:lnTo>
                              <a:pt x="62" y="22"/>
                            </a:lnTo>
                            <a:lnTo>
                              <a:pt x="70" y="15"/>
                            </a:lnTo>
                            <a:lnTo>
                              <a:pt x="60" y="0"/>
                            </a:lnTo>
                            <a:lnTo>
                              <a:pt x="45" y="3"/>
                            </a:lnTo>
                            <a:lnTo>
                              <a:pt x="27" y="15"/>
                            </a:lnTo>
                            <a:lnTo>
                              <a:pt x="13" y="14"/>
                            </a:lnTo>
                            <a:lnTo>
                              <a:pt x="13" y="18"/>
                            </a:lnTo>
                            <a:lnTo>
                              <a:pt x="7" y="37"/>
                            </a:lnTo>
                            <a:lnTo>
                              <a:pt x="6" y="49"/>
                            </a:lnTo>
                            <a:lnTo>
                              <a:pt x="0" y="65"/>
                            </a:lnTo>
                            <a:lnTo>
                              <a:pt x="0" y="73"/>
                            </a:lnTo>
                            <a:lnTo>
                              <a:pt x="18" y="70"/>
                            </a:lnTo>
                            <a:lnTo>
                              <a:pt x="28" y="58"/>
                            </a:lnTo>
                            <a:lnTo>
                              <a:pt x="28" y="58"/>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7" name="Freeform 66"/>
                      <p:cNvSpPr>
                        <a:spLocks noChangeAspect="1"/>
                      </p:cNvSpPr>
                      <p:nvPr/>
                    </p:nvSpPr>
                    <p:spPr bwMode="gray">
                      <a:xfrm>
                        <a:off x="4142" y="3746"/>
                        <a:ext cx="1987" cy="1703"/>
                      </a:xfrm>
                      <a:custGeom>
                        <a:avLst/>
                        <a:gdLst>
                          <a:gd name="T0" fmla="*/ 188 w 324"/>
                          <a:gd name="T1" fmla="*/ 56 h 278"/>
                          <a:gd name="T2" fmla="*/ 159 w 324"/>
                          <a:gd name="T3" fmla="*/ 60 h 278"/>
                          <a:gd name="T4" fmla="*/ 133 w 324"/>
                          <a:gd name="T5" fmla="*/ 48 h 278"/>
                          <a:gd name="T6" fmla="*/ 133 w 324"/>
                          <a:gd name="T7" fmla="*/ 32 h 278"/>
                          <a:gd name="T8" fmla="*/ 116 w 324"/>
                          <a:gd name="T9" fmla="*/ 21 h 278"/>
                          <a:gd name="T10" fmla="*/ 91 w 324"/>
                          <a:gd name="T11" fmla="*/ 6 h 278"/>
                          <a:gd name="T12" fmla="*/ 71 w 324"/>
                          <a:gd name="T13" fmla="*/ 0 h 278"/>
                          <a:gd name="T14" fmla="*/ 63 w 324"/>
                          <a:gd name="T15" fmla="*/ 7 h 278"/>
                          <a:gd name="T16" fmla="*/ 35 w 324"/>
                          <a:gd name="T17" fmla="*/ 7 h 278"/>
                          <a:gd name="T18" fmla="*/ 46 w 324"/>
                          <a:gd name="T19" fmla="*/ 38 h 278"/>
                          <a:gd name="T20" fmla="*/ 42 w 324"/>
                          <a:gd name="T21" fmla="*/ 42 h 278"/>
                          <a:gd name="T22" fmla="*/ 29 w 324"/>
                          <a:gd name="T23" fmla="*/ 43 h 278"/>
                          <a:gd name="T24" fmla="*/ 19 w 324"/>
                          <a:gd name="T25" fmla="*/ 55 h 278"/>
                          <a:gd name="T26" fmla="*/ 1 w 324"/>
                          <a:gd name="T27" fmla="*/ 58 h 278"/>
                          <a:gd name="T28" fmla="*/ 1 w 324"/>
                          <a:gd name="T29" fmla="*/ 59 h 278"/>
                          <a:gd name="T30" fmla="*/ 0 w 324"/>
                          <a:gd name="T31" fmla="*/ 80 h 278"/>
                          <a:gd name="T32" fmla="*/ 9 w 324"/>
                          <a:gd name="T33" fmla="*/ 82 h 278"/>
                          <a:gd name="T34" fmla="*/ 11 w 324"/>
                          <a:gd name="T35" fmla="*/ 86 h 278"/>
                          <a:gd name="T36" fmla="*/ 20 w 324"/>
                          <a:gd name="T37" fmla="*/ 104 h 278"/>
                          <a:gd name="T38" fmla="*/ 23 w 324"/>
                          <a:gd name="T39" fmla="*/ 113 h 278"/>
                          <a:gd name="T40" fmla="*/ 33 w 324"/>
                          <a:gd name="T41" fmla="*/ 123 h 278"/>
                          <a:gd name="T42" fmla="*/ 34 w 324"/>
                          <a:gd name="T43" fmla="*/ 136 h 278"/>
                          <a:gd name="T44" fmla="*/ 42 w 324"/>
                          <a:gd name="T45" fmla="*/ 146 h 278"/>
                          <a:gd name="T46" fmla="*/ 50 w 324"/>
                          <a:gd name="T47" fmla="*/ 151 h 278"/>
                          <a:gd name="T48" fmla="*/ 58 w 324"/>
                          <a:gd name="T49" fmla="*/ 158 h 278"/>
                          <a:gd name="T50" fmla="*/ 64 w 324"/>
                          <a:gd name="T51" fmla="*/ 168 h 278"/>
                          <a:gd name="T52" fmla="*/ 64 w 324"/>
                          <a:gd name="T53" fmla="*/ 186 h 278"/>
                          <a:gd name="T54" fmla="*/ 71 w 324"/>
                          <a:gd name="T55" fmla="*/ 199 h 278"/>
                          <a:gd name="T56" fmla="*/ 79 w 324"/>
                          <a:gd name="T57" fmla="*/ 210 h 278"/>
                          <a:gd name="T58" fmla="*/ 90 w 324"/>
                          <a:gd name="T59" fmla="*/ 215 h 278"/>
                          <a:gd name="T60" fmla="*/ 91 w 324"/>
                          <a:gd name="T61" fmla="*/ 221 h 278"/>
                          <a:gd name="T62" fmla="*/ 100 w 324"/>
                          <a:gd name="T63" fmla="*/ 242 h 278"/>
                          <a:gd name="T64" fmla="*/ 108 w 324"/>
                          <a:gd name="T65" fmla="*/ 249 h 278"/>
                          <a:gd name="T66" fmla="*/ 118 w 324"/>
                          <a:gd name="T67" fmla="*/ 263 h 278"/>
                          <a:gd name="T68" fmla="*/ 133 w 324"/>
                          <a:gd name="T69" fmla="*/ 254 h 278"/>
                          <a:gd name="T70" fmla="*/ 166 w 324"/>
                          <a:gd name="T71" fmla="*/ 263 h 278"/>
                          <a:gd name="T72" fmla="*/ 180 w 324"/>
                          <a:gd name="T73" fmla="*/ 278 h 278"/>
                          <a:gd name="T74" fmla="*/ 214 w 324"/>
                          <a:gd name="T75" fmla="*/ 240 h 278"/>
                          <a:gd name="T76" fmla="*/ 269 w 324"/>
                          <a:gd name="T77" fmla="*/ 228 h 278"/>
                          <a:gd name="T78" fmla="*/ 306 w 324"/>
                          <a:gd name="T79" fmla="*/ 212 h 278"/>
                          <a:gd name="T80" fmla="*/ 317 w 324"/>
                          <a:gd name="T81" fmla="*/ 212 h 278"/>
                          <a:gd name="T82" fmla="*/ 324 w 324"/>
                          <a:gd name="T83" fmla="*/ 177 h 278"/>
                          <a:gd name="T84" fmla="*/ 312 w 324"/>
                          <a:gd name="T85" fmla="*/ 169 h 278"/>
                          <a:gd name="T86" fmla="*/ 271 w 324"/>
                          <a:gd name="T87" fmla="*/ 164 h 278"/>
                          <a:gd name="T88" fmla="*/ 260 w 324"/>
                          <a:gd name="T89" fmla="*/ 153 h 278"/>
                          <a:gd name="T90" fmla="*/ 264 w 324"/>
                          <a:gd name="T91" fmla="*/ 146 h 278"/>
                          <a:gd name="T92" fmla="*/ 258 w 324"/>
                          <a:gd name="T93" fmla="*/ 140 h 278"/>
                          <a:gd name="T94" fmla="*/ 251 w 324"/>
                          <a:gd name="T95" fmla="*/ 139 h 278"/>
                          <a:gd name="T96" fmla="*/ 247 w 324"/>
                          <a:gd name="T97" fmla="*/ 131 h 278"/>
                          <a:gd name="T98" fmla="*/ 235 w 324"/>
                          <a:gd name="T99" fmla="*/ 115 h 278"/>
                          <a:gd name="T100" fmla="*/ 236 w 324"/>
                          <a:gd name="T101" fmla="*/ 102 h 278"/>
                          <a:gd name="T102" fmla="*/ 231 w 324"/>
                          <a:gd name="T103" fmla="*/ 98 h 278"/>
                          <a:gd name="T104" fmla="*/ 221 w 324"/>
                          <a:gd name="T105" fmla="*/ 80 h 278"/>
                          <a:gd name="T106" fmla="*/ 214 w 324"/>
                          <a:gd name="T107" fmla="*/ 76 h 278"/>
                          <a:gd name="T108" fmla="*/ 213 w 324"/>
                          <a:gd name="T109" fmla="*/ 69 h 278"/>
                          <a:gd name="T110" fmla="*/ 205 w 324"/>
                          <a:gd name="T111" fmla="*/ 64 h 278"/>
                          <a:gd name="T112" fmla="*/ 195 w 324"/>
                          <a:gd name="T113" fmla="*/ 64 h 278"/>
                          <a:gd name="T114" fmla="*/ 188 w 324"/>
                          <a:gd name="T115" fmla="*/ 56 h 278"/>
                          <a:gd name="T116" fmla="*/ 188 w 324"/>
                          <a:gd name="T117" fmla="*/ 5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278">
                            <a:moveTo>
                              <a:pt x="188" y="56"/>
                            </a:moveTo>
                            <a:lnTo>
                              <a:pt x="159" y="60"/>
                            </a:lnTo>
                            <a:lnTo>
                              <a:pt x="133" y="48"/>
                            </a:lnTo>
                            <a:lnTo>
                              <a:pt x="133" y="32"/>
                            </a:lnTo>
                            <a:lnTo>
                              <a:pt x="116" y="21"/>
                            </a:lnTo>
                            <a:lnTo>
                              <a:pt x="91" y="6"/>
                            </a:lnTo>
                            <a:lnTo>
                              <a:pt x="71" y="0"/>
                            </a:lnTo>
                            <a:lnTo>
                              <a:pt x="63" y="7"/>
                            </a:lnTo>
                            <a:lnTo>
                              <a:pt x="35" y="7"/>
                            </a:lnTo>
                            <a:lnTo>
                              <a:pt x="46" y="38"/>
                            </a:lnTo>
                            <a:lnTo>
                              <a:pt x="42" y="42"/>
                            </a:lnTo>
                            <a:lnTo>
                              <a:pt x="29" y="43"/>
                            </a:lnTo>
                            <a:lnTo>
                              <a:pt x="19" y="55"/>
                            </a:lnTo>
                            <a:lnTo>
                              <a:pt x="1" y="58"/>
                            </a:lnTo>
                            <a:lnTo>
                              <a:pt x="1" y="59"/>
                            </a:lnTo>
                            <a:lnTo>
                              <a:pt x="0" y="80"/>
                            </a:lnTo>
                            <a:lnTo>
                              <a:pt x="9" y="82"/>
                            </a:lnTo>
                            <a:lnTo>
                              <a:pt x="11" y="86"/>
                            </a:lnTo>
                            <a:lnTo>
                              <a:pt x="20" y="104"/>
                            </a:lnTo>
                            <a:lnTo>
                              <a:pt x="23" y="113"/>
                            </a:lnTo>
                            <a:lnTo>
                              <a:pt x="33" y="123"/>
                            </a:lnTo>
                            <a:lnTo>
                              <a:pt x="34" y="136"/>
                            </a:lnTo>
                            <a:lnTo>
                              <a:pt x="42" y="146"/>
                            </a:lnTo>
                            <a:lnTo>
                              <a:pt x="50" y="151"/>
                            </a:lnTo>
                            <a:lnTo>
                              <a:pt x="58" y="158"/>
                            </a:lnTo>
                            <a:lnTo>
                              <a:pt x="64" y="168"/>
                            </a:lnTo>
                            <a:lnTo>
                              <a:pt x="64" y="186"/>
                            </a:lnTo>
                            <a:lnTo>
                              <a:pt x="71" y="199"/>
                            </a:lnTo>
                            <a:lnTo>
                              <a:pt x="79" y="210"/>
                            </a:lnTo>
                            <a:lnTo>
                              <a:pt x="90" y="215"/>
                            </a:lnTo>
                            <a:lnTo>
                              <a:pt x="91" y="221"/>
                            </a:lnTo>
                            <a:lnTo>
                              <a:pt x="100" y="242"/>
                            </a:lnTo>
                            <a:lnTo>
                              <a:pt x="108" y="249"/>
                            </a:lnTo>
                            <a:lnTo>
                              <a:pt x="118" y="263"/>
                            </a:lnTo>
                            <a:lnTo>
                              <a:pt x="133" y="254"/>
                            </a:lnTo>
                            <a:lnTo>
                              <a:pt x="166" y="263"/>
                            </a:lnTo>
                            <a:lnTo>
                              <a:pt x="180" y="278"/>
                            </a:lnTo>
                            <a:lnTo>
                              <a:pt x="214" y="240"/>
                            </a:lnTo>
                            <a:lnTo>
                              <a:pt x="269" y="228"/>
                            </a:lnTo>
                            <a:lnTo>
                              <a:pt x="306" y="212"/>
                            </a:lnTo>
                            <a:lnTo>
                              <a:pt x="317" y="212"/>
                            </a:lnTo>
                            <a:lnTo>
                              <a:pt x="324" y="177"/>
                            </a:lnTo>
                            <a:lnTo>
                              <a:pt x="312" y="169"/>
                            </a:lnTo>
                            <a:lnTo>
                              <a:pt x="271" y="164"/>
                            </a:lnTo>
                            <a:lnTo>
                              <a:pt x="260" y="153"/>
                            </a:lnTo>
                            <a:lnTo>
                              <a:pt x="264" y="146"/>
                            </a:lnTo>
                            <a:lnTo>
                              <a:pt x="258" y="140"/>
                            </a:lnTo>
                            <a:lnTo>
                              <a:pt x="251" y="139"/>
                            </a:lnTo>
                            <a:lnTo>
                              <a:pt x="247" y="131"/>
                            </a:lnTo>
                            <a:lnTo>
                              <a:pt x="235" y="115"/>
                            </a:lnTo>
                            <a:lnTo>
                              <a:pt x="236" y="102"/>
                            </a:lnTo>
                            <a:lnTo>
                              <a:pt x="231" y="98"/>
                            </a:lnTo>
                            <a:lnTo>
                              <a:pt x="221" y="80"/>
                            </a:lnTo>
                            <a:lnTo>
                              <a:pt x="214" y="76"/>
                            </a:lnTo>
                            <a:lnTo>
                              <a:pt x="213" y="69"/>
                            </a:lnTo>
                            <a:lnTo>
                              <a:pt x="205" y="64"/>
                            </a:lnTo>
                            <a:lnTo>
                              <a:pt x="195" y="64"/>
                            </a:lnTo>
                            <a:lnTo>
                              <a:pt x="188" y="56"/>
                            </a:lnTo>
                            <a:lnTo>
                              <a:pt x="188" y="56"/>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8" name="Freeform 67"/>
                      <p:cNvSpPr>
                        <a:spLocks noChangeAspect="1"/>
                      </p:cNvSpPr>
                      <p:nvPr/>
                    </p:nvSpPr>
                    <p:spPr bwMode="gray">
                      <a:xfrm>
                        <a:off x="4698" y="3476"/>
                        <a:ext cx="32" cy="25"/>
                      </a:xfrm>
                      <a:custGeom>
                        <a:avLst/>
                        <a:gdLst>
                          <a:gd name="T0" fmla="*/ 5 w 5"/>
                          <a:gd name="T1" fmla="*/ 1 h 4"/>
                          <a:gd name="T2" fmla="*/ 5 w 5"/>
                          <a:gd name="T3" fmla="*/ 0 h 4"/>
                          <a:gd name="T4" fmla="*/ 0 w 5"/>
                          <a:gd name="T5" fmla="*/ 4 h 4"/>
                          <a:gd name="T6" fmla="*/ 5 w 5"/>
                          <a:gd name="T7" fmla="*/ 1 h 4"/>
                          <a:gd name="T8" fmla="*/ 5 w 5"/>
                          <a:gd name="T9" fmla="*/ 1 h 4"/>
                        </a:gdLst>
                        <a:ahLst/>
                        <a:cxnLst>
                          <a:cxn ang="0">
                            <a:pos x="T0" y="T1"/>
                          </a:cxn>
                          <a:cxn ang="0">
                            <a:pos x="T2" y="T3"/>
                          </a:cxn>
                          <a:cxn ang="0">
                            <a:pos x="T4" y="T5"/>
                          </a:cxn>
                          <a:cxn ang="0">
                            <a:pos x="T6" y="T7"/>
                          </a:cxn>
                          <a:cxn ang="0">
                            <a:pos x="T8" y="T9"/>
                          </a:cxn>
                        </a:cxnLst>
                        <a:rect l="0" t="0" r="r" b="b"/>
                        <a:pathLst>
                          <a:path w="5" h="4">
                            <a:moveTo>
                              <a:pt x="5" y="1"/>
                            </a:moveTo>
                            <a:lnTo>
                              <a:pt x="5" y="0"/>
                            </a:lnTo>
                            <a:lnTo>
                              <a:pt x="0" y="4"/>
                            </a:lnTo>
                            <a:lnTo>
                              <a:pt x="5" y="1"/>
                            </a:lnTo>
                            <a:lnTo>
                              <a:pt x="5" y="1"/>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9" name="Freeform 68"/>
                      <p:cNvSpPr>
                        <a:spLocks noChangeAspect="1"/>
                      </p:cNvSpPr>
                      <p:nvPr/>
                    </p:nvSpPr>
                    <p:spPr bwMode="gray">
                      <a:xfrm>
                        <a:off x="4229" y="3170"/>
                        <a:ext cx="605" cy="576"/>
                      </a:xfrm>
                      <a:custGeom>
                        <a:avLst/>
                        <a:gdLst>
                          <a:gd name="T0" fmla="*/ 99 w 99"/>
                          <a:gd name="T1" fmla="*/ 5 h 94"/>
                          <a:gd name="T2" fmla="*/ 96 w 99"/>
                          <a:gd name="T3" fmla="*/ 0 h 94"/>
                          <a:gd name="T4" fmla="*/ 81 w 99"/>
                          <a:gd name="T5" fmla="*/ 2 h 94"/>
                          <a:gd name="T6" fmla="*/ 63 w 99"/>
                          <a:gd name="T7" fmla="*/ 9 h 94"/>
                          <a:gd name="T8" fmla="*/ 44 w 99"/>
                          <a:gd name="T9" fmla="*/ 12 h 94"/>
                          <a:gd name="T10" fmla="*/ 36 w 99"/>
                          <a:gd name="T11" fmla="*/ 9 h 94"/>
                          <a:gd name="T12" fmla="*/ 34 w 99"/>
                          <a:gd name="T13" fmla="*/ 9 h 94"/>
                          <a:gd name="T14" fmla="*/ 14 w 99"/>
                          <a:gd name="T15" fmla="*/ 14 h 94"/>
                          <a:gd name="T16" fmla="*/ 12 w 99"/>
                          <a:gd name="T17" fmla="*/ 24 h 94"/>
                          <a:gd name="T18" fmla="*/ 17 w 99"/>
                          <a:gd name="T19" fmla="*/ 29 h 94"/>
                          <a:gd name="T20" fmla="*/ 15 w 99"/>
                          <a:gd name="T21" fmla="*/ 43 h 94"/>
                          <a:gd name="T22" fmla="*/ 16 w 99"/>
                          <a:gd name="T23" fmla="*/ 55 h 94"/>
                          <a:gd name="T24" fmla="*/ 10 w 99"/>
                          <a:gd name="T25" fmla="*/ 60 h 94"/>
                          <a:gd name="T26" fmla="*/ 10 w 99"/>
                          <a:gd name="T27" fmla="*/ 67 h 94"/>
                          <a:gd name="T28" fmla="*/ 6 w 99"/>
                          <a:gd name="T29" fmla="*/ 72 h 94"/>
                          <a:gd name="T30" fmla="*/ 0 w 99"/>
                          <a:gd name="T31" fmla="*/ 93 h 94"/>
                          <a:gd name="T32" fmla="*/ 14 w 99"/>
                          <a:gd name="T33" fmla="*/ 94 h 94"/>
                          <a:gd name="T34" fmla="*/ 32 w 99"/>
                          <a:gd name="T35" fmla="*/ 82 h 94"/>
                          <a:gd name="T36" fmla="*/ 47 w 99"/>
                          <a:gd name="T37" fmla="*/ 79 h 94"/>
                          <a:gd name="T38" fmla="*/ 50 w 99"/>
                          <a:gd name="T39" fmla="*/ 72 h 94"/>
                          <a:gd name="T40" fmla="*/ 77 w 99"/>
                          <a:gd name="T41" fmla="*/ 54 h 94"/>
                          <a:gd name="T42" fmla="*/ 82 w 99"/>
                          <a:gd name="T43" fmla="*/ 50 h 94"/>
                          <a:gd name="T44" fmla="*/ 82 w 99"/>
                          <a:gd name="T45" fmla="*/ 50 h 94"/>
                          <a:gd name="T46" fmla="*/ 88 w 99"/>
                          <a:gd name="T47" fmla="*/ 33 h 94"/>
                          <a:gd name="T48" fmla="*/ 81 w 99"/>
                          <a:gd name="T49" fmla="*/ 18 h 94"/>
                          <a:gd name="T50" fmla="*/ 99 w 99"/>
                          <a:gd name="T51" fmla="*/ 5 h 94"/>
                          <a:gd name="T52" fmla="*/ 99 w 99"/>
                          <a:gd name="T53" fmla="*/ 5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9" h="94">
                            <a:moveTo>
                              <a:pt x="99" y="5"/>
                            </a:moveTo>
                            <a:lnTo>
                              <a:pt x="96" y="0"/>
                            </a:lnTo>
                            <a:lnTo>
                              <a:pt x="81" y="2"/>
                            </a:lnTo>
                            <a:lnTo>
                              <a:pt x="63" y="9"/>
                            </a:lnTo>
                            <a:lnTo>
                              <a:pt x="44" y="12"/>
                            </a:lnTo>
                            <a:lnTo>
                              <a:pt x="36" y="9"/>
                            </a:lnTo>
                            <a:lnTo>
                              <a:pt x="34" y="9"/>
                            </a:lnTo>
                            <a:lnTo>
                              <a:pt x="14" y="14"/>
                            </a:lnTo>
                            <a:lnTo>
                              <a:pt x="12" y="24"/>
                            </a:lnTo>
                            <a:lnTo>
                              <a:pt x="17" y="29"/>
                            </a:lnTo>
                            <a:lnTo>
                              <a:pt x="15" y="43"/>
                            </a:lnTo>
                            <a:lnTo>
                              <a:pt x="16" y="55"/>
                            </a:lnTo>
                            <a:lnTo>
                              <a:pt x="10" y="60"/>
                            </a:lnTo>
                            <a:lnTo>
                              <a:pt x="10" y="67"/>
                            </a:lnTo>
                            <a:lnTo>
                              <a:pt x="6" y="72"/>
                            </a:lnTo>
                            <a:lnTo>
                              <a:pt x="0" y="93"/>
                            </a:lnTo>
                            <a:lnTo>
                              <a:pt x="14" y="94"/>
                            </a:lnTo>
                            <a:lnTo>
                              <a:pt x="32" y="82"/>
                            </a:lnTo>
                            <a:lnTo>
                              <a:pt x="47" y="79"/>
                            </a:lnTo>
                            <a:lnTo>
                              <a:pt x="50" y="72"/>
                            </a:lnTo>
                            <a:lnTo>
                              <a:pt x="77" y="54"/>
                            </a:lnTo>
                            <a:lnTo>
                              <a:pt x="82" y="50"/>
                            </a:lnTo>
                            <a:lnTo>
                              <a:pt x="82" y="50"/>
                            </a:lnTo>
                            <a:lnTo>
                              <a:pt x="88" y="33"/>
                            </a:lnTo>
                            <a:lnTo>
                              <a:pt x="81" y="18"/>
                            </a:lnTo>
                            <a:lnTo>
                              <a:pt x="99" y="5"/>
                            </a:lnTo>
                            <a:lnTo>
                              <a:pt x="99" y="5"/>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0" name="Rectangle 69"/>
                      <p:cNvSpPr>
                        <a:spLocks noChangeAspect="1" noChangeArrowheads="1"/>
                      </p:cNvSpPr>
                      <p:nvPr/>
                    </p:nvSpPr>
                    <p:spPr bwMode="gray">
                      <a:xfrm>
                        <a:off x="4730" y="3476"/>
                        <a:ext cx="8" cy="5"/>
                      </a:xfrm>
                      <a:prstGeom prst="rect">
                        <a:avLst/>
                      </a:prstGeom>
                      <a:solidFill>
                        <a:schemeClr val="bg2"/>
                      </a:solidFill>
                      <a:ln w="317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1" name="Freeform 70"/>
                      <p:cNvSpPr>
                        <a:spLocks noChangeAspect="1"/>
                      </p:cNvSpPr>
                      <p:nvPr/>
                    </p:nvSpPr>
                    <p:spPr bwMode="gray">
                      <a:xfrm>
                        <a:off x="4515" y="3150"/>
                        <a:ext cx="915" cy="962"/>
                      </a:xfrm>
                      <a:custGeom>
                        <a:avLst/>
                        <a:gdLst>
                          <a:gd name="T0" fmla="*/ 141 w 149"/>
                          <a:gd name="T1" fmla="*/ 127 h 157"/>
                          <a:gd name="T2" fmla="*/ 142 w 149"/>
                          <a:gd name="T3" fmla="*/ 108 h 157"/>
                          <a:gd name="T4" fmla="*/ 131 w 149"/>
                          <a:gd name="T5" fmla="*/ 91 h 157"/>
                          <a:gd name="T6" fmla="*/ 119 w 149"/>
                          <a:gd name="T7" fmla="*/ 88 h 157"/>
                          <a:gd name="T8" fmla="*/ 101 w 149"/>
                          <a:gd name="T9" fmla="*/ 66 h 157"/>
                          <a:gd name="T10" fmla="*/ 117 w 149"/>
                          <a:gd name="T11" fmla="*/ 37 h 157"/>
                          <a:gd name="T12" fmla="*/ 112 w 149"/>
                          <a:gd name="T13" fmla="*/ 31 h 157"/>
                          <a:gd name="T14" fmla="*/ 104 w 149"/>
                          <a:gd name="T15" fmla="*/ 31 h 157"/>
                          <a:gd name="T16" fmla="*/ 90 w 149"/>
                          <a:gd name="T17" fmla="*/ 8 h 157"/>
                          <a:gd name="T18" fmla="*/ 81 w 149"/>
                          <a:gd name="T19" fmla="*/ 10 h 157"/>
                          <a:gd name="T20" fmla="*/ 74 w 149"/>
                          <a:gd name="T21" fmla="*/ 3 h 157"/>
                          <a:gd name="T22" fmla="*/ 63 w 149"/>
                          <a:gd name="T23" fmla="*/ 0 h 157"/>
                          <a:gd name="T24" fmla="*/ 54 w 149"/>
                          <a:gd name="T25" fmla="*/ 6 h 157"/>
                          <a:gd name="T26" fmla="*/ 52 w 149"/>
                          <a:gd name="T27" fmla="*/ 8 h 157"/>
                          <a:gd name="T28" fmla="*/ 34 w 149"/>
                          <a:gd name="T29" fmla="*/ 21 h 157"/>
                          <a:gd name="T30" fmla="*/ 41 w 149"/>
                          <a:gd name="T31" fmla="*/ 36 h 157"/>
                          <a:gd name="T32" fmla="*/ 35 w 149"/>
                          <a:gd name="T33" fmla="*/ 53 h 157"/>
                          <a:gd name="T34" fmla="*/ 35 w 149"/>
                          <a:gd name="T35" fmla="*/ 53 h 157"/>
                          <a:gd name="T36" fmla="*/ 35 w 149"/>
                          <a:gd name="T37" fmla="*/ 53 h 157"/>
                          <a:gd name="T38" fmla="*/ 35 w 149"/>
                          <a:gd name="T39" fmla="*/ 54 h 157"/>
                          <a:gd name="T40" fmla="*/ 30 w 149"/>
                          <a:gd name="T41" fmla="*/ 57 h 157"/>
                          <a:gd name="T42" fmla="*/ 0 w 149"/>
                          <a:gd name="T43" fmla="*/ 82 h 157"/>
                          <a:gd name="T44" fmla="*/ 10 w 149"/>
                          <a:gd name="T45" fmla="*/ 97 h 157"/>
                          <a:gd name="T46" fmla="*/ 30 w 149"/>
                          <a:gd name="T47" fmla="*/ 103 h 157"/>
                          <a:gd name="T48" fmla="*/ 55 w 149"/>
                          <a:gd name="T49" fmla="*/ 118 h 157"/>
                          <a:gd name="T50" fmla="*/ 72 w 149"/>
                          <a:gd name="T51" fmla="*/ 129 h 157"/>
                          <a:gd name="T52" fmla="*/ 72 w 149"/>
                          <a:gd name="T53" fmla="*/ 145 h 157"/>
                          <a:gd name="T54" fmla="*/ 98 w 149"/>
                          <a:gd name="T55" fmla="*/ 157 h 157"/>
                          <a:gd name="T56" fmla="*/ 127 w 149"/>
                          <a:gd name="T57" fmla="*/ 153 h 157"/>
                          <a:gd name="T58" fmla="*/ 125 w 149"/>
                          <a:gd name="T59" fmla="*/ 146 h 157"/>
                          <a:gd name="T60" fmla="*/ 131 w 149"/>
                          <a:gd name="T61" fmla="*/ 140 h 157"/>
                          <a:gd name="T62" fmla="*/ 143 w 149"/>
                          <a:gd name="T63" fmla="*/ 144 h 157"/>
                          <a:gd name="T64" fmla="*/ 149 w 149"/>
                          <a:gd name="T65" fmla="*/ 138 h 157"/>
                          <a:gd name="T66" fmla="*/ 141 w 149"/>
                          <a:gd name="T67" fmla="*/ 127 h 157"/>
                          <a:gd name="T68" fmla="*/ 141 w 149"/>
                          <a:gd name="T69" fmla="*/ 12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9" h="157">
                            <a:moveTo>
                              <a:pt x="141" y="127"/>
                            </a:moveTo>
                            <a:lnTo>
                              <a:pt x="142" y="108"/>
                            </a:lnTo>
                            <a:lnTo>
                              <a:pt x="131" y="91"/>
                            </a:lnTo>
                            <a:lnTo>
                              <a:pt x="119" y="88"/>
                            </a:lnTo>
                            <a:lnTo>
                              <a:pt x="101" y="66"/>
                            </a:lnTo>
                            <a:lnTo>
                              <a:pt x="117" y="37"/>
                            </a:lnTo>
                            <a:lnTo>
                              <a:pt x="112" y="31"/>
                            </a:lnTo>
                            <a:lnTo>
                              <a:pt x="104" y="31"/>
                            </a:lnTo>
                            <a:lnTo>
                              <a:pt x="90" y="8"/>
                            </a:lnTo>
                            <a:lnTo>
                              <a:pt x="81" y="10"/>
                            </a:lnTo>
                            <a:lnTo>
                              <a:pt x="74" y="3"/>
                            </a:lnTo>
                            <a:lnTo>
                              <a:pt x="63" y="0"/>
                            </a:lnTo>
                            <a:lnTo>
                              <a:pt x="54" y="6"/>
                            </a:lnTo>
                            <a:lnTo>
                              <a:pt x="52" y="8"/>
                            </a:lnTo>
                            <a:lnTo>
                              <a:pt x="34" y="21"/>
                            </a:lnTo>
                            <a:lnTo>
                              <a:pt x="41" y="36"/>
                            </a:lnTo>
                            <a:lnTo>
                              <a:pt x="35" y="53"/>
                            </a:lnTo>
                            <a:lnTo>
                              <a:pt x="35" y="53"/>
                            </a:lnTo>
                            <a:lnTo>
                              <a:pt x="35" y="53"/>
                            </a:lnTo>
                            <a:lnTo>
                              <a:pt x="35" y="54"/>
                            </a:lnTo>
                            <a:lnTo>
                              <a:pt x="30" y="57"/>
                            </a:lnTo>
                            <a:lnTo>
                              <a:pt x="0" y="82"/>
                            </a:lnTo>
                            <a:lnTo>
                              <a:pt x="10" y="97"/>
                            </a:lnTo>
                            <a:lnTo>
                              <a:pt x="30" y="103"/>
                            </a:lnTo>
                            <a:lnTo>
                              <a:pt x="55" y="118"/>
                            </a:lnTo>
                            <a:lnTo>
                              <a:pt x="72" y="129"/>
                            </a:lnTo>
                            <a:lnTo>
                              <a:pt x="72" y="145"/>
                            </a:lnTo>
                            <a:lnTo>
                              <a:pt x="98" y="157"/>
                            </a:lnTo>
                            <a:lnTo>
                              <a:pt x="127" y="153"/>
                            </a:lnTo>
                            <a:lnTo>
                              <a:pt x="125" y="146"/>
                            </a:lnTo>
                            <a:lnTo>
                              <a:pt x="131" y="140"/>
                            </a:lnTo>
                            <a:lnTo>
                              <a:pt x="143" y="144"/>
                            </a:lnTo>
                            <a:lnTo>
                              <a:pt x="149" y="138"/>
                            </a:lnTo>
                            <a:lnTo>
                              <a:pt x="141" y="127"/>
                            </a:lnTo>
                            <a:lnTo>
                              <a:pt x="141" y="127"/>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2" name="Freeform 71"/>
                      <p:cNvSpPr>
                        <a:spLocks noChangeAspect="1"/>
                      </p:cNvSpPr>
                      <p:nvPr/>
                    </p:nvSpPr>
                    <p:spPr bwMode="gray">
                      <a:xfrm>
                        <a:off x="4515" y="3501"/>
                        <a:ext cx="183" cy="151"/>
                      </a:xfrm>
                      <a:custGeom>
                        <a:avLst/>
                        <a:gdLst>
                          <a:gd name="T0" fmla="*/ 0 w 30"/>
                          <a:gd name="T1" fmla="*/ 25 h 25"/>
                          <a:gd name="T2" fmla="*/ 30 w 30"/>
                          <a:gd name="T3" fmla="*/ 0 h 25"/>
                          <a:gd name="T4" fmla="*/ 3 w 30"/>
                          <a:gd name="T5" fmla="*/ 18 h 25"/>
                          <a:gd name="T6" fmla="*/ 0 w 30"/>
                          <a:gd name="T7" fmla="*/ 25 h 25"/>
                          <a:gd name="T8" fmla="*/ 0 w 30"/>
                          <a:gd name="T9" fmla="*/ 25 h 25"/>
                        </a:gdLst>
                        <a:ahLst/>
                        <a:cxnLst>
                          <a:cxn ang="0">
                            <a:pos x="T0" y="T1"/>
                          </a:cxn>
                          <a:cxn ang="0">
                            <a:pos x="T2" y="T3"/>
                          </a:cxn>
                          <a:cxn ang="0">
                            <a:pos x="T4" y="T5"/>
                          </a:cxn>
                          <a:cxn ang="0">
                            <a:pos x="T6" y="T7"/>
                          </a:cxn>
                          <a:cxn ang="0">
                            <a:pos x="T8" y="T9"/>
                          </a:cxn>
                        </a:cxnLst>
                        <a:rect l="0" t="0" r="r" b="b"/>
                        <a:pathLst>
                          <a:path w="30" h="25">
                            <a:moveTo>
                              <a:pt x="0" y="25"/>
                            </a:moveTo>
                            <a:lnTo>
                              <a:pt x="30" y="0"/>
                            </a:lnTo>
                            <a:lnTo>
                              <a:pt x="3" y="18"/>
                            </a:lnTo>
                            <a:lnTo>
                              <a:pt x="0" y="25"/>
                            </a:lnTo>
                            <a:lnTo>
                              <a:pt x="0" y="25"/>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3" name="Freeform 72"/>
                      <p:cNvSpPr>
                        <a:spLocks noChangeAspect="1"/>
                      </p:cNvSpPr>
                      <p:nvPr/>
                    </p:nvSpPr>
                    <p:spPr bwMode="gray">
                      <a:xfrm>
                        <a:off x="6154" y="4336"/>
                        <a:ext cx="67" cy="45"/>
                      </a:xfrm>
                      <a:custGeom>
                        <a:avLst/>
                        <a:gdLst>
                          <a:gd name="T0" fmla="*/ 0 w 11"/>
                          <a:gd name="T1" fmla="*/ 7 h 7"/>
                          <a:gd name="T2" fmla="*/ 11 w 11"/>
                          <a:gd name="T3" fmla="*/ 2 h 7"/>
                          <a:gd name="T4" fmla="*/ 9 w 11"/>
                          <a:gd name="T5" fmla="*/ 0 h 7"/>
                          <a:gd name="T6" fmla="*/ 0 w 11"/>
                          <a:gd name="T7" fmla="*/ 5 h 7"/>
                          <a:gd name="T8" fmla="*/ 0 w 11"/>
                          <a:gd name="T9" fmla="*/ 7 h 7"/>
                          <a:gd name="T10" fmla="*/ 0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0" y="7"/>
                            </a:moveTo>
                            <a:lnTo>
                              <a:pt x="11" y="2"/>
                            </a:lnTo>
                            <a:lnTo>
                              <a:pt x="9" y="0"/>
                            </a:lnTo>
                            <a:lnTo>
                              <a:pt x="0" y="5"/>
                            </a:lnTo>
                            <a:lnTo>
                              <a:pt x="0" y="7"/>
                            </a:lnTo>
                            <a:lnTo>
                              <a:pt x="0" y="7"/>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4" name="Freeform 73"/>
                      <p:cNvSpPr>
                        <a:spLocks noChangeAspect="1"/>
                      </p:cNvSpPr>
                      <p:nvPr/>
                    </p:nvSpPr>
                    <p:spPr bwMode="gray">
                      <a:xfrm>
                        <a:off x="4078" y="3845"/>
                        <a:ext cx="42" cy="61"/>
                      </a:xfrm>
                      <a:custGeom>
                        <a:avLst/>
                        <a:gdLst>
                          <a:gd name="T0" fmla="*/ 6 w 6"/>
                          <a:gd name="T1" fmla="*/ 5 h 10"/>
                          <a:gd name="T2" fmla="*/ 5 w 6"/>
                          <a:gd name="T3" fmla="*/ 0 h 10"/>
                          <a:gd name="T4" fmla="*/ 0 w 6"/>
                          <a:gd name="T5" fmla="*/ 6 h 10"/>
                          <a:gd name="T6" fmla="*/ 1 w 6"/>
                          <a:gd name="T7" fmla="*/ 10 h 10"/>
                          <a:gd name="T8" fmla="*/ 6 w 6"/>
                          <a:gd name="T9" fmla="*/ 5 h 10"/>
                          <a:gd name="T10" fmla="*/ 6 w 6"/>
                          <a:gd name="T11" fmla="*/ 5 h 10"/>
                        </a:gdLst>
                        <a:ahLst/>
                        <a:cxnLst>
                          <a:cxn ang="0">
                            <a:pos x="T0" y="T1"/>
                          </a:cxn>
                          <a:cxn ang="0">
                            <a:pos x="T2" y="T3"/>
                          </a:cxn>
                          <a:cxn ang="0">
                            <a:pos x="T4" y="T5"/>
                          </a:cxn>
                          <a:cxn ang="0">
                            <a:pos x="T6" y="T7"/>
                          </a:cxn>
                          <a:cxn ang="0">
                            <a:pos x="T8" y="T9"/>
                          </a:cxn>
                          <a:cxn ang="0">
                            <a:pos x="T10" y="T11"/>
                          </a:cxn>
                        </a:cxnLst>
                        <a:rect l="0" t="0" r="r" b="b"/>
                        <a:pathLst>
                          <a:path w="6" h="10">
                            <a:moveTo>
                              <a:pt x="6" y="5"/>
                            </a:moveTo>
                            <a:lnTo>
                              <a:pt x="5" y="0"/>
                            </a:lnTo>
                            <a:lnTo>
                              <a:pt x="0" y="6"/>
                            </a:lnTo>
                            <a:lnTo>
                              <a:pt x="1" y="10"/>
                            </a:lnTo>
                            <a:lnTo>
                              <a:pt x="6" y="5"/>
                            </a:lnTo>
                            <a:lnTo>
                              <a:pt x="6" y="5"/>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5" name="Freeform 74"/>
                      <p:cNvSpPr>
                        <a:spLocks noChangeAspect="1"/>
                      </p:cNvSpPr>
                      <p:nvPr/>
                    </p:nvSpPr>
                    <p:spPr bwMode="gray">
                      <a:xfrm>
                        <a:off x="5291" y="4005"/>
                        <a:ext cx="117" cy="129"/>
                      </a:xfrm>
                      <a:custGeom>
                        <a:avLst/>
                        <a:gdLst>
                          <a:gd name="T0" fmla="*/ 0 w 19"/>
                          <a:gd name="T1" fmla="*/ 6 h 21"/>
                          <a:gd name="T2" fmla="*/ 2 w 19"/>
                          <a:gd name="T3" fmla="*/ 13 h 21"/>
                          <a:gd name="T4" fmla="*/ 9 w 19"/>
                          <a:gd name="T5" fmla="*/ 21 h 21"/>
                          <a:gd name="T6" fmla="*/ 19 w 19"/>
                          <a:gd name="T7" fmla="*/ 21 h 21"/>
                          <a:gd name="T8" fmla="*/ 13 w 19"/>
                          <a:gd name="T9" fmla="*/ 13 h 21"/>
                          <a:gd name="T10" fmla="*/ 13 w 19"/>
                          <a:gd name="T11" fmla="*/ 9 h 21"/>
                          <a:gd name="T12" fmla="*/ 18 w 19"/>
                          <a:gd name="T13" fmla="*/ 4 h 21"/>
                          <a:gd name="T14" fmla="*/ 6 w 19"/>
                          <a:gd name="T15" fmla="*/ 0 h 21"/>
                          <a:gd name="T16" fmla="*/ 0 w 19"/>
                          <a:gd name="T17" fmla="*/ 6 h 21"/>
                          <a:gd name="T18" fmla="*/ 0 w 19"/>
                          <a:gd name="T19"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1">
                            <a:moveTo>
                              <a:pt x="0" y="6"/>
                            </a:moveTo>
                            <a:lnTo>
                              <a:pt x="2" y="13"/>
                            </a:lnTo>
                            <a:lnTo>
                              <a:pt x="9" y="21"/>
                            </a:lnTo>
                            <a:lnTo>
                              <a:pt x="19" y="21"/>
                            </a:lnTo>
                            <a:lnTo>
                              <a:pt x="13" y="13"/>
                            </a:lnTo>
                            <a:lnTo>
                              <a:pt x="13" y="9"/>
                            </a:lnTo>
                            <a:lnTo>
                              <a:pt x="18" y="4"/>
                            </a:lnTo>
                            <a:lnTo>
                              <a:pt x="6" y="0"/>
                            </a:lnTo>
                            <a:lnTo>
                              <a:pt x="0" y="6"/>
                            </a:lnTo>
                            <a:lnTo>
                              <a:pt x="0" y="6"/>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6" name="Freeform 75"/>
                      <p:cNvSpPr>
                        <a:spLocks noChangeAspect="1"/>
                      </p:cNvSpPr>
                      <p:nvPr/>
                    </p:nvSpPr>
                    <p:spPr bwMode="gray">
                      <a:xfrm>
                        <a:off x="4145" y="3741"/>
                        <a:ext cx="1997" cy="1710"/>
                      </a:xfrm>
                      <a:custGeom>
                        <a:avLst/>
                        <a:gdLst>
                          <a:gd name="T0" fmla="*/ 188 w 324"/>
                          <a:gd name="T1" fmla="*/ 56 h 278"/>
                          <a:gd name="T2" fmla="*/ 159 w 324"/>
                          <a:gd name="T3" fmla="*/ 60 h 278"/>
                          <a:gd name="T4" fmla="*/ 133 w 324"/>
                          <a:gd name="T5" fmla="*/ 48 h 278"/>
                          <a:gd name="T6" fmla="*/ 133 w 324"/>
                          <a:gd name="T7" fmla="*/ 32 h 278"/>
                          <a:gd name="T8" fmla="*/ 116 w 324"/>
                          <a:gd name="T9" fmla="*/ 21 h 278"/>
                          <a:gd name="T10" fmla="*/ 91 w 324"/>
                          <a:gd name="T11" fmla="*/ 6 h 278"/>
                          <a:gd name="T12" fmla="*/ 71 w 324"/>
                          <a:gd name="T13" fmla="*/ 0 h 278"/>
                          <a:gd name="T14" fmla="*/ 63 w 324"/>
                          <a:gd name="T15" fmla="*/ 7 h 278"/>
                          <a:gd name="T16" fmla="*/ 35 w 324"/>
                          <a:gd name="T17" fmla="*/ 7 h 278"/>
                          <a:gd name="T18" fmla="*/ 46 w 324"/>
                          <a:gd name="T19" fmla="*/ 38 h 278"/>
                          <a:gd name="T20" fmla="*/ 42 w 324"/>
                          <a:gd name="T21" fmla="*/ 42 h 278"/>
                          <a:gd name="T22" fmla="*/ 29 w 324"/>
                          <a:gd name="T23" fmla="*/ 43 h 278"/>
                          <a:gd name="T24" fmla="*/ 19 w 324"/>
                          <a:gd name="T25" fmla="*/ 55 h 278"/>
                          <a:gd name="T26" fmla="*/ 1 w 324"/>
                          <a:gd name="T27" fmla="*/ 58 h 278"/>
                          <a:gd name="T28" fmla="*/ 1 w 324"/>
                          <a:gd name="T29" fmla="*/ 59 h 278"/>
                          <a:gd name="T30" fmla="*/ 0 w 324"/>
                          <a:gd name="T31" fmla="*/ 80 h 278"/>
                          <a:gd name="T32" fmla="*/ 9 w 324"/>
                          <a:gd name="T33" fmla="*/ 82 h 278"/>
                          <a:gd name="T34" fmla="*/ 11 w 324"/>
                          <a:gd name="T35" fmla="*/ 86 h 278"/>
                          <a:gd name="T36" fmla="*/ 20 w 324"/>
                          <a:gd name="T37" fmla="*/ 104 h 278"/>
                          <a:gd name="T38" fmla="*/ 23 w 324"/>
                          <a:gd name="T39" fmla="*/ 113 h 278"/>
                          <a:gd name="T40" fmla="*/ 33 w 324"/>
                          <a:gd name="T41" fmla="*/ 123 h 278"/>
                          <a:gd name="T42" fmla="*/ 34 w 324"/>
                          <a:gd name="T43" fmla="*/ 136 h 278"/>
                          <a:gd name="T44" fmla="*/ 42 w 324"/>
                          <a:gd name="T45" fmla="*/ 146 h 278"/>
                          <a:gd name="T46" fmla="*/ 50 w 324"/>
                          <a:gd name="T47" fmla="*/ 151 h 278"/>
                          <a:gd name="T48" fmla="*/ 58 w 324"/>
                          <a:gd name="T49" fmla="*/ 158 h 278"/>
                          <a:gd name="T50" fmla="*/ 64 w 324"/>
                          <a:gd name="T51" fmla="*/ 168 h 278"/>
                          <a:gd name="T52" fmla="*/ 64 w 324"/>
                          <a:gd name="T53" fmla="*/ 186 h 278"/>
                          <a:gd name="T54" fmla="*/ 71 w 324"/>
                          <a:gd name="T55" fmla="*/ 199 h 278"/>
                          <a:gd name="T56" fmla="*/ 79 w 324"/>
                          <a:gd name="T57" fmla="*/ 210 h 278"/>
                          <a:gd name="T58" fmla="*/ 90 w 324"/>
                          <a:gd name="T59" fmla="*/ 215 h 278"/>
                          <a:gd name="T60" fmla="*/ 91 w 324"/>
                          <a:gd name="T61" fmla="*/ 221 h 278"/>
                          <a:gd name="T62" fmla="*/ 100 w 324"/>
                          <a:gd name="T63" fmla="*/ 242 h 278"/>
                          <a:gd name="T64" fmla="*/ 108 w 324"/>
                          <a:gd name="T65" fmla="*/ 249 h 278"/>
                          <a:gd name="T66" fmla="*/ 118 w 324"/>
                          <a:gd name="T67" fmla="*/ 263 h 278"/>
                          <a:gd name="T68" fmla="*/ 133 w 324"/>
                          <a:gd name="T69" fmla="*/ 254 h 278"/>
                          <a:gd name="T70" fmla="*/ 166 w 324"/>
                          <a:gd name="T71" fmla="*/ 263 h 278"/>
                          <a:gd name="T72" fmla="*/ 180 w 324"/>
                          <a:gd name="T73" fmla="*/ 278 h 278"/>
                          <a:gd name="T74" fmla="*/ 214 w 324"/>
                          <a:gd name="T75" fmla="*/ 240 h 278"/>
                          <a:gd name="T76" fmla="*/ 269 w 324"/>
                          <a:gd name="T77" fmla="*/ 228 h 278"/>
                          <a:gd name="T78" fmla="*/ 306 w 324"/>
                          <a:gd name="T79" fmla="*/ 212 h 278"/>
                          <a:gd name="T80" fmla="*/ 317 w 324"/>
                          <a:gd name="T81" fmla="*/ 212 h 278"/>
                          <a:gd name="T82" fmla="*/ 324 w 324"/>
                          <a:gd name="T83" fmla="*/ 177 h 278"/>
                          <a:gd name="T84" fmla="*/ 312 w 324"/>
                          <a:gd name="T85" fmla="*/ 169 h 278"/>
                          <a:gd name="T86" fmla="*/ 271 w 324"/>
                          <a:gd name="T87" fmla="*/ 164 h 278"/>
                          <a:gd name="T88" fmla="*/ 260 w 324"/>
                          <a:gd name="T89" fmla="*/ 153 h 278"/>
                          <a:gd name="T90" fmla="*/ 264 w 324"/>
                          <a:gd name="T91" fmla="*/ 146 h 278"/>
                          <a:gd name="T92" fmla="*/ 258 w 324"/>
                          <a:gd name="T93" fmla="*/ 140 h 278"/>
                          <a:gd name="T94" fmla="*/ 251 w 324"/>
                          <a:gd name="T95" fmla="*/ 139 h 278"/>
                          <a:gd name="T96" fmla="*/ 247 w 324"/>
                          <a:gd name="T97" fmla="*/ 131 h 278"/>
                          <a:gd name="T98" fmla="*/ 235 w 324"/>
                          <a:gd name="T99" fmla="*/ 115 h 278"/>
                          <a:gd name="T100" fmla="*/ 236 w 324"/>
                          <a:gd name="T101" fmla="*/ 102 h 278"/>
                          <a:gd name="T102" fmla="*/ 231 w 324"/>
                          <a:gd name="T103" fmla="*/ 98 h 278"/>
                          <a:gd name="T104" fmla="*/ 221 w 324"/>
                          <a:gd name="T105" fmla="*/ 80 h 278"/>
                          <a:gd name="T106" fmla="*/ 214 w 324"/>
                          <a:gd name="T107" fmla="*/ 76 h 278"/>
                          <a:gd name="T108" fmla="*/ 213 w 324"/>
                          <a:gd name="T109" fmla="*/ 69 h 278"/>
                          <a:gd name="T110" fmla="*/ 205 w 324"/>
                          <a:gd name="T111" fmla="*/ 64 h 278"/>
                          <a:gd name="T112" fmla="*/ 195 w 324"/>
                          <a:gd name="T113" fmla="*/ 64 h 278"/>
                          <a:gd name="T114" fmla="*/ 188 w 324"/>
                          <a:gd name="T115" fmla="*/ 56 h 278"/>
                          <a:gd name="T116" fmla="*/ 188 w 324"/>
                          <a:gd name="T117" fmla="*/ 56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278">
                            <a:moveTo>
                              <a:pt x="188" y="56"/>
                            </a:moveTo>
                            <a:lnTo>
                              <a:pt x="159" y="60"/>
                            </a:lnTo>
                            <a:lnTo>
                              <a:pt x="133" y="48"/>
                            </a:lnTo>
                            <a:lnTo>
                              <a:pt x="133" y="32"/>
                            </a:lnTo>
                            <a:lnTo>
                              <a:pt x="116" y="21"/>
                            </a:lnTo>
                            <a:lnTo>
                              <a:pt x="91" y="6"/>
                            </a:lnTo>
                            <a:lnTo>
                              <a:pt x="71" y="0"/>
                            </a:lnTo>
                            <a:lnTo>
                              <a:pt x="63" y="7"/>
                            </a:lnTo>
                            <a:lnTo>
                              <a:pt x="35" y="7"/>
                            </a:lnTo>
                            <a:lnTo>
                              <a:pt x="46" y="38"/>
                            </a:lnTo>
                            <a:lnTo>
                              <a:pt x="42" y="42"/>
                            </a:lnTo>
                            <a:lnTo>
                              <a:pt x="29" y="43"/>
                            </a:lnTo>
                            <a:lnTo>
                              <a:pt x="19" y="55"/>
                            </a:lnTo>
                            <a:lnTo>
                              <a:pt x="1" y="58"/>
                            </a:lnTo>
                            <a:lnTo>
                              <a:pt x="1" y="59"/>
                            </a:lnTo>
                            <a:lnTo>
                              <a:pt x="0" y="80"/>
                            </a:lnTo>
                            <a:lnTo>
                              <a:pt x="9" y="82"/>
                            </a:lnTo>
                            <a:lnTo>
                              <a:pt x="11" y="86"/>
                            </a:lnTo>
                            <a:lnTo>
                              <a:pt x="20" y="104"/>
                            </a:lnTo>
                            <a:lnTo>
                              <a:pt x="23" y="113"/>
                            </a:lnTo>
                            <a:lnTo>
                              <a:pt x="33" y="123"/>
                            </a:lnTo>
                            <a:lnTo>
                              <a:pt x="34" y="136"/>
                            </a:lnTo>
                            <a:lnTo>
                              <a:pt x="42" y="146"/>
                            </a:lnTo>
                            <a:lnTo>
                              <a:pt x="50" y="151"/>
                            </a:lnTo>
                            <a:lnTo>
                              <a:pt x="58" y="158"/>
                            </a:lnTo>
                            <a:lnTo>
                              <a:pt x="64" y="168"/>
                            </a:lnTo>
                            <a:lnTo>
                              <a:pt x="64" y="186"/>
                            </a:lnTo>
                            <a:lnTo>
                              <a:pt x="71" y="199"/>
                            </a:lnTo>
                            <a:lnTo>
                              <a:pt x="79" y="210"/>
                            </a:lnTo>
                            <a:lnTo>
                              <a:pt x="90" y="215"/>
                            </a:lnTo>
                            <a:lnTo>
                              <a:pt x="91" y="221"/>
                            </a:lnTo>
                            <a:lnTo>
                              <a:pt x="100" y="242"/>
                            </a:lnTo>
                            <a:lnTo>
                              <a:pt x="108" y="249"/>
                            </a:lnTo>
                            <a:lnTo>
                              <a:pt x="118" y="263"/>
                            </a:lnTo>
                            <a:lnTo>
                              <a:pt x="133" y="254"/>
                            </a:lnTo>
                            <a:lnTo>
                              <a:pt x="166" y="263"/>
                            </a:lnTo>
                            <a:lnTo>
                              <a:pt x="180" y="278"/>
                            </a:lnTo>
                            <a:lnTo>
                              <a:pt x="214" y="240"/>
                            </a:lnTo>
                            <a:lnTo>
                              <a:pt x="269" y="228"/>
                            </a:lnTo>
                            <a:lnTo>
                              <a:pt x="306" y="212"/>
                            </a:lnTo>
                            <a:lnTo>
                              <a:pt x="317" y="212"/>
                            </a:lnTo>
                            <a:lnTo>
                              <a:pt x="324" y="177"/>
                            </a:lnTo>
                            <a:lnTo>
                              <a:pt x="312" y="169"/>
                            </a:lnTo>
                            <a:lnTo>
                              <a:pt x="271" y="164"/>
                            </a:lnTo>
                            <a:lnTo>
                              <a:pt x="260" y="153"/>
                            </a:lnTo>
                            <a:lnTo>
                              <a:pt x="264" y="146"/>
                            </a:lnTo>
                            <a:lnTo>
                              <a:pt x="258" y="140"/>
                            </a:lnTo>
                            <a:lnTo>
                              <a:pt x="251" y="139"/>
                            </a:lnTo>
                            <a:lnTo>
                              <a:pt x="247" y="131"/>
                            </a:lnTo>
                            <a:lnTo>
                              <a:pt x="235" y="115"/>
                            </a:lnTo>
                            <a:lnTo>
                              <a:pt x="236" y="102"/>
                            </a:lnTo>
                            <a:lnTo>
                              <a:pt x="231" y="98"/>
                            </a:lnTo>
                            <a:lnTo>
                              <a:pt x="221" y="80"/>
                            </a:lnTo>
                            <a:lnTo>
                              <a:pt x="214" y="76"/>
                            </a:lnTo>
                            <a:lnTo>
                              <a:pt x="213" y="69"/>
                            </a:lnTo>
                            <a:lnTo>
                              <a:pt x="205" y="64"/>
                            </a:lnTo>
                            <a:lnTo>
                              <a:pt x="195" y="64"/>
                            </a:lnTo>
                            <a:lnTo>
                              <a:pt x="188" y="56"/>
                            </a:lnTo>
                            <a:lnTo>
                              <a:pt x="188" y="56"/>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grpSp>
            <p:sp>
              <p:nvSpPr>
                <p:cNvPr id="76" name="Freeform 76"/>
                <p:cNvSpPr>
                  <a:spLocks noChangeAspect="1"/>
                </p:cNvSpPr>
                <p:nvPr/>
              </p:nvSpPr>
              <p:spPr bwMode="gray">
                <a:xfrm>
                  <a:off x="13049" y="4129"/>
                  <a:ext cx="748" cy="764"/>
                </a:xfrm>
                <a:custGeom>
                  <a:avLst/>
                  <a:gdLst>
                    <a:gd name="T0" fmla="*/ 158 w 162"/>
                    <a:gd name="T1" fmla="*/ 124 h 166"/>
                    <a:gd name="T2" fmla="*/ 147 w 162"/>
                    <a:gd name="T3" fmla="*/ 102 h 166"/>
                    <a:gd name="T4" fmla="*/ 139 w 162"/>
                    <a:gd name="T5" fmla="*/ 83 h 166"/>
                    <a:gd name="T6" fmla="*/ 131 w 162"/>
                    <a:gd name="T7" fmla="*/ 69 h 166"/>
                    <a:gd name="T8" fmla="*/ 128 w 162"/>
                    <a:gd name="T9" fmla="*/ 61 h 166"/>
                    <a:gd name="T10" fmla="*/ 115 w 162"/>
                    <a:gd name="T11" fmla="*/ 48 h 166"/>
                    <a:gd name="T12" fmla="*/ 113 w 162"/>
                    <a:gd name="T13" fmla="*/ 29 h 166"/>
                    <a:gd name="T14" fmla="*/ 115 w 162"/>
                    <a:gd name="T15" fmla="*/ 24 h 166"/>
                    <a:gd name="T16" fmla="*/ 116 w 162"/>
                    <a:gd name="T17" fmla="*/ 23 h 166"/>
                    <a:gd name="T18" fmla="*/ 116 w 162"/>
                    <a:gd name="T19" fmla="*/ 23 h 166"/>
                    <a:gd name="T20" fmla="*/ 120 w 162"/>
                    <a:gd name="T21" fmla="*/ 27 h 166"/>
                    <a:gd name="T22" fmla="*/ 121 w 162"/>
                    <a:gd name="T23" fmla="*/ 41 h 166"/>
                    <a:gd name="T24" fmla="*/ 128 w 162"/>
                    <a:gd name="T25" fmla="*/ 52 h 166"/>
                    <a:gd name="T26" fmla="*/ 138 w 162"/>
                    <a:gd name="T27" fmla="*/ 63 h 166"/>
                    <a:gd name="T28" fmla="*/ 146 w 162"/>
                    <a:gd name="T29" fmla="*/ 61 h 166"/>
                    <a:gd name="T30" fmla="*/ 146 w 162"/>
                    <a:gd name="T31" fmla="*/ 52 h 166"/>
                    <a:gd name="T32" fmla="*/ 149 w 162"/>
                    <a:gd name="T33" fmla="*/ 32 h 166"/>
                    <a:gd name="T34" fmla="*/ 146 w 162"/>
                    <a:gd name="T35" fmla="*/ 19 h 166"/>
                    <a:gd name="T36" fmla="*/ 142 w 162"/>
                    <a:gd name="T37" fmla="*/ 9 h 166"/>
                    <a:gd name="T38" fmla="*/ 141 w 162"/>
                    <a:gd name="T39" fmla="*/ 5 h 166"/>
                    <a:gd name="T40" fmla="*/ 124 w 162"/>
                    <a:gd name="T41" fmla="*/ 8 h 166"/>
                    <a:gd name="T42" fmla="*/ 116 w 162"/>
                    <a:gd name="T43" fmla="*/ 7 h 166"/>
                    <a:gd name="T44" fmla="*/ 113 w 162"/>
                    <a:gd name="T45" fmla="*/ 8 h 166"/>
                    <a:gd name="T46" fmla="*/ 113 w 162"/>
                    <a:gd name="T47" fmla="*/ 8 h 166"/>
                    <a:gd name="T48" fmla="*/ 113 w 162"/>
                    <a:gd name="T49" fmla="*/ 8 h 166"/>
                    <a:gd name="T50" fmla="*/ 111 w 162"/>
                    <a:gd name="T51" fmla="*/ 8 h 166"/>
                    <a:gd name="T52" fmla="*/ 108 w 162"/>
                    <a:gd name="T53" fmla="*/ 9 h 166"/>
                    <a:gd name="T54" fmla="*/ 98 w 162"/>
                    <a:gd name="T55" fmla="*/ 2 h 166"/>
                    <a:gd name="T56" fmla="*/ 88 w 162"/>
                    <a:gd name="T57" fmla="*/ 0 h 166"/>
                    <a:gd name="T58" fmla="*/ 82 w 162"/>
                    <a:gd name="T59" fmla="*/ 5 h 166"/>
                    <a:gd name="T60" fmla="*/ 77 w 162"/>
                    <a:gd name="T61" fmla="*/ 5 h 166"/>
                    <a:gd name="T62" fmla="*/ 71 w 162"/>
                    <a:gd name="T63" fmla="*/ 10 h 166"/>
                    <a:gd name="T64" fmla="*/ 61 w 162"/>
                    <a:gd name="T65" fmla="*/ 12 h 166"/>
                    <a:gd name="T66" fmla="*/ 43 w 162"/>
                    <a:gd name="T67" fmla="*/ 7 h 166"/>
                    <a:gd name="T68" fmla="*/ 27 w 162"/>
                    <a:gd name="T69" fmla="*/ 3 h 166"/>
                    <a:gd name="T70" fmla="*/ 15 w 162"/>
                    <a:gd name="T71" fmla="*/ 2 h 166"/>
                    <a:gd name="T72" fmla="*/ 7 w 162"/>
                    <a:gd name="T73" fmla="*/ 5 h 166"/>
                    <a:gd name="T74" fmla="*/ 6 w 162"/>
                    <a:gd name="T75" fmla="*/ 16 h 166"/>
                    <a:gd name="T76" fmla="*/ 0 w 162"/>
                    <a:gd name="T77" fmla="*/ 21 h 166"/>
                    <a:gd name="T78" fmla="*/ 7 w 162"/>
                    <a:gd name="T79" fmla="*/ 53 h 166"/>
                    <a:gd name="T80" fmla="*/ 7 w 162"/>
                    <a:gd name="T81" fmla="*/ 121 h 166"/>
                    <a:gd name="T82" fmla="*/ 6 w 162"/>
                    <a:gd name="T83" fmla="*/ 159 h 166"/>
                    <a:gd name="T84" fmla="*/ 51 w 162"/>
                    <a:gd name="T85" fmla="*/ 162 h 166"/>
                    <a:gd name="T86" fmla="*/ 103 w 162"/>
                    <a:gd name="T87" fmla="*/ 160 h 166"/>
                    <a:gd name="T88" fmla="*/ 124 w 162"/>
                    <a:gd name="T89" fmla="*/ 159 h 166"/>
                    <a:gd name="T90" fmla="*/ 128 w 162"/>
                    <a:gd name="T91" fmla="*/ 165 h 166"/>
                    <a:gd name="T92" fmla="*/ 138 w 162"/>
                    <a:gd name="T93" fmla="*/ 166 h 166"/>
                    <a:gd name="T94" fmla="*/ 138 w 162"/>
                    <a:gd name="T95" fmla="*/ 156 h 166"/>
                    <a:gd name="T96" fmla="*/ 152 w 162"/>
                    <a:gd name="T97" fmla="*/ 153 h 166"/>
                    <a:gd name="T98" fmla="*/ 162 w 162"/>
                    <a:gd name="T99" fmla="*/ 144 h 166"/>
                    <a:gd name="T100" fmla="*/ 158 w 162"/>
                    <a:gd name="T101" fmla="*/ 124 h 166"/>
                    <a:gd name="T102" fmla="*/ 158 w 162"/>
                    <a:gd name="T103" fmla="*/ 12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2" h="166">
                      <a:moveTo>
                        <a:pt x="158" y="124"/>
                      </a:moveTo>
                      <a:lnTo>
                        <a:pt x="147" y="102"/>
                      </a:lnTo>
                      <a:lnTo>
                        <a:pt x="139" y="83"/>
                      </a:lnTo>
                      <a:lnTo>
                        <a:pt x="131" y="69"/>
                      </a:lnTo>
                      <a:lnTo>
                        <a:pt x="128" y="61"/>
                      </a:lnTo>
                      <a:lnTo>
                        <a:pt x="115" y="48"/>
                      </a:lnTo>
                      <a:lnTo>
                        <a:pt x="113" y="29"/>
                      </a:lnTo>
                      <a:lnTo>
                        <a:pt x="115" y="24"/>
                      </a:lnTo>
                      <a:lnTo>
                        <a:pt x="116" y="23"/>
                      </a:lnTo>
                      <a:lnTo>
                        <a:pt x="116" y="23"/>
                      </a:lnTo>
                      <a:lnTo>
                        <a:pt x="120" y="27"/>
                      </a:lnTo>
                      <a:lnTo>
                        <a:pt x="121" y="41"/>
                      </a:lnTo>
                      <a:lnTo>
                        <a:pt x="128" y="52"/>
                      </a:lnTo>
                      <a:lnTo>
                        <a:pt x="138" y="63"/>
                      </a:lnTo>
                      <a:lnTo>
                        <a:pt x="146" y="61"/>
                      </a:lnTo>
                      <a:lnTo>
                        <a:pt x="146" y="52"/>
                      </a:lnTo>
                      <a:lnTo>
                        <a:pt x="149" y="32"/>
                      </a:lnTo>
                      <a:lnTo>
                        <a:pt x="146" y="19"/>
                      </a:lnTo>
                      <a:lnTo>
                        <a:pt x="142" y="9"/>
                      </a:lnTo>
                      <a:lnTo>
                        <a:pt x="141" y="5"/>
                      </a:lnTo>
                      <a:lnTo>
                        <a:pt x="124" y="8"/>
                      </a:lnTo>
                      <a:lnTo>
                        <a:pt x="116" y="7"/>
                      </a:lnTo>
                      <a:lnTo>
                        <a:pt x="113" y="8"/>
                      </a:lnTo>
                      <a:lnTo>
                        <a:pt x="113" y="8"/>
                      </a:lnTo>
                      <a:lnTo>
                        <a:pt x="113" y="8"/>
                      </a:lnTo>
                      <a:lnTo>
                        <a:pt x="111" y="8"/>
                      </a:lnTo>
                      <a:lnTo>
                        <a:pt x="108" y="9"/>
                      </a:lnTo>
                      <a:lnTo>
                        <a:pt x="98" y="2"/>
                      </a:lnTo>
                      <a:lnTo>
                        <a:pt x="88" y="0"/>
                      </a:lnTo>
                      <a:lnTo>
                        <a:pt x="82" y="5"/>
                      </a:lnTo>
                      <a:lnTo>
                        <a:pt x="77" y="5"/>
                      </a:lnTo>
                      <a:lnTo>
                        <a:pt x="71" y="10"/>
                      </a:lnTo>
                      <a:lnTo>
                        <a:pt x="61" y="12"/>
                      </a:lnTo>
                      <a:lnTo>
                        <a:pt x="43" y="7"/>
                      </a:lnTo>
                      <a:lnTo>
                        <a:pt x="27" y="3"/>
                      </a:lnTo>
                      <a:lnTo>
                        <a:pt x="15" y="2"/>
                      </a:lnTo>
                      <a:lnTo>
                        <a:pt x="7" y="5"/>
                      </a:lnTo>
                      <a:lnTo>
                        <a:pt x="6" y="16"/>
                      </a:lnTo>
                      <a:lnTo>
                        <a:pt x="0" y="21"/>
                      </a:lnTo>
                      <a:lnTo>
                        <a:pt x="7" y="53"/>
                      </a:lnTo>
                      <a:lnTo>
                        <a:pt x="7" y="121"/>
                      </a:lnTo>
                      <a:lnTo>
                        <a:pt x="6" y="159"/>
                      </a:lnTo>
                      <a:lnTo>
                        <a:pt x="51" y="162"/>
                      </a:lnTo>
                      <a:lnTo>
                        <a:pt x="103" y="160"/>
                      </a:lnTo>
                      <a:lnTo>
                        <a:pt x="124" y="159"/>
                      </a:lnTo>
                      <a:lnTo>
                        <a:pt x="128" y="165"/>
                      </a:lnTo>
                      <a:lnTo>
                        <a:pt x="138" y="166"/>
                      </a:lnTo>
                      <a:lnTo>
                        <a:pt x="138" y="156"/>
                      </a:lnTo>
                      <a:lnTo>
                        <a:pt x="152" y="153"/>
                      </a:lnTo>
                      <a:lnTo>
                        <a:pt x="162" y="144"/>
                      </a:lnTo>
                      <a:lnTo>
                        <a:pt x="158" y="124"/>
                      </a:lnTo>
                      <a:lnTo>
                        <a:pt x="158" y="12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77" name="Freeform 77"/>
                <p:cNvSpPr>
                  <a:spLocks noChangeAspect="1"/>
                </p:cNvSpPr>
                <p:nvPr/>
              </p:nvSpPr>
              <p:spPr bwMode="gray">
                <a:xfrm>
                  <a:off x="11961" y="4002"/>
                  <a:ext cx="1121" cy="1030"/>
                </a:xfrm>
                <a:custGeom>
                  <a:avLst/>
                  <a:gdLst>
                    <a:gd name="T0" fmla="*/ 25 w 243"/>
                    <a:gd name="T1" fmla="*/ 20 h 224"/>
                    <a:gd name="T2" fmla="*/ 14 w 243"/>
                    <a:gd name="T3" fmla="*/ 21 h 224"/>
                    <a:gd name="T4" fmla="*/ 14 w 243"/>
                    <a:gd name="T5" fmla="*/ 39 h 224"/>
                    <a:gd name="T6" fmla="*/ 6 w 243"/>
                    <a:gd name="T7" fmla="*/ 45 h 224"/>
                    <a:gd name="T8" fmla="*/ 1 w 243"/>
                    <a:gd name="T9" fmla="*/ 45 h 224"/>
                    <a:gd name="T10" fmla="*/ 7 w 243"/>
                    <a:gd name="T11" fmla="*/ 72 h 224"/>
                    <a:gd name="T12" fmla="*/ 6 w 243"/>
                    <a:gd name="T13" fmla="*/ 80 h 224"/>
                    <a:gd name="T14" fmla="*/ 9 w 243"/>
                    <a:gd name="T15" fmla="*/ 89 h 224"/>
                    <a:gd name="T16" fmla="*/ 9 w 243"/>
                    <a:gd name="T17" fmla="*/ 104 h 224"/>
                    <a:gd name="T18" fmla="*/ 0 w 243"/>
                    <a:gd name="T19" fmla="*/ 115 h 224"/>
                    <a:gd name="T20" fmla="*/ 2 w 243"/>
                    <a:gd name="T21" fmla="*/ 132 h 224"/>
                    <a:gd name="T22" fmla="*/ 17 w 243"/>
                    <a:gd name="T23" fmla="*/ 151 h 224"/>
                    <a:gd name="T24" fmla="*/ 31 w 243"/>
                    <a:gd name="T25" fmla="*/ 148 h 224"/>
                    <a:gd name="T26" fmla="*/ 41 w 243"/>
                    <a:gd name="T27" fmla="*/ 168 h 224"/>
                    <a:gd name="T28" fmla="*/ 84 w 243"/>
                    <a:gd name="T29" fmla="*/ 179 h 224"/>
                    <a:gd name="T30" fmla="*/ 109 w 243"/>
                    <a:gd name="T31" fmla="*/ 164 h 224"/>
                    <a:gd name="T32" fmla="*/ 226 w 243"/>
                    <a:gd name="T33" fmla="*/ 224 h 224"/>
                    <a:gd name="T34" fmla="*/ 240 w 243"/>
                    <a:gd name="T35" fmla="*/ 222 h 224"/>
                    <a:gd name="T36" fmla="*/ 242 w 243"/>
                    <a:gd name="T37" fmla="*/ 188 h 224"/>
                    <a:gd name="T38" fmla="*/ 243 w 243"/>
                    <a:gd name="T39" fmla="*/ 150 h 224"/>
                    <a:gd name="T40" fmla="*/ 243 w 243"/>
                    <a:gd name="T41" fmla="*/ 82 h 224"/>
                    <a:gd name="T42" fmla="*/ 236 w 243"/>
                    <a:gd name="T43" fmla="*/ 50 h 224"/>
                    <a:gd name="T44" fmla="*/ 242 w 243"/>
                    <a:gd name="T45" fmla="*/ 45 h 224"/>
                    <a:gd name="T46" fmla="*/ 243 w 243"/>
                    <a:gd name="T47" fmla="*/ 34 h 224"/>
                    <a:gd name="T48" fmla="*/ 237 w 243"/>
                    <a:gd name="T49" fmla="*/ 24 h 224"/>
                    <a:gd name="T50" fmla="*/ 225 w 243"/>
                    <a:gd name="T51" fmla="*/ 21 h 224"/>
                    <a:gd name="T52" fmla="*/ 214 w 243"/>
                    <a:gd name="T53" fmla="*/ 16 h 224"/>
                    <a:gd name="T54" fmla="*/ 213 w 243"/>
                    <a:gd name="T55" fmla="*/ 9 h 224"/>
                    <a:gd name="T56" fmla="*/ 197 w 243"/>
                    <a:gd name="T57" fmla="*/ 5 h 224"/>
                    <a:gd name="T58" fmla="*/ 184 w 243"/>
                    <a:gd name="T59" fmla="*/ 7 h 224"/>
                    <a:gd name="T60" fmla="*/ 164 w 243"/>
                    <a:gd name="T61" fmla="*/ 18 h 224"/>
                    <a:gd name="T62" fmla="*/ 162 w 243"/>
                    <a:gd name="T63" fmla="*/ 31 h 224"/>
                    <a:gd name="T64" fmla="*/ 169 w 243"/>
                    <a:gd name="T65" fmla="*/ 39 h 224"/>
                    <a:gd name="T66" fmla="*/ 162 w 243"/>
                    <a:gd name="T67" fmla="*/ 47 h 224"/>
                    <a:gd name="T68" fmla="*/ 151 w 243"/>
                    <a:gd name="T69" fmla="*/ 54 h 224"/>
                    <a:gd name="T70" fmla="*/ 123 w 243"/>
                    <a:gd name="T71" fmla="*/ 38 h 224"/>
                    <a:gd name="T72" fmla="*/ 98 w 243"/>
                    <a:gd name="T73" fmla="*/ 34 h 224"/>
                    <a:gd name="T74" fmla="*/ 88 w 243"/>
                    <a:gd name="T75" fmla="*/ 13 h 224"/>
                    <a:gd name="T76" fmla="*/ 80 w 243"/>
                    <a:gd name="T77" fmla="*/ 12 h 224"/>
                    <a:gd name="T78" fmla="*/ 71 w 243"/>
                    <a:gd name="T79" fmla="*/ 9 h 224"/>
                    <a:gd name="T80" fmla="*/ 49 w 243"/>
                    <a:gd name="T81" fmla="*/ 9 h 224"/>
                    <a:gd name="T82" fmla="*/ 31 w 243"/>
                    <a:gd name="T83" fmla="*/ 0 h 224"/>
                    <a:gd name="T84" fmla="*/ 33 w 243"/>
                    <a:gd name="T85" fmla="*/ 13 h 224"/>
                    <a:gd name="T86" fmla="*/ 25 w 243"/>
                    <a:gd name="T87" fmla="*/ 20 h 224"/>
                    <a:gd name="T88" fmla="*/ 25 w 243"/>
                    <a:gd name="T89" fmla="*/ 2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3" h="224">
                      <a:moveTo>
                        <a:pt x="25" y="20"/>
                      </a:moveTo>
                      <a:lnTo>
                        <a:pt x="14" y="21"/>
                      </a:lnTo>
                      <a:lnTo>
                        <a:pt x="14" y="39"/>
                      </a:lnTo>
                      <a:lnTo>
                        <a:pt x="6" y="45"/>
                      </a:lnTo>
                      <a:lnTo>
                        <a:pt x="1" y="45"/>
                      </a:lnTo>
                      <a:lnTo>
                        <a:pt x="7" y="72"/>
                      </a:lnTo>
                      <a:lnTo>
                        <a:pt x="6" y="80"/>
                      </a:lnTo>
                      <a:lnTo>
                        <a:pt x="9" y="89"/>
                      </a:lnTo>
                      <a:lnTo>
                        <a:pt x="9" y="104"/>
                      </a:lnTo>
                      <a:lnTo>
                        <a:pt x="0" y="115"/>
                      </a:lnTo>
                      <a:lnTo>
                        <a:pt x="2" y="132"/>
                      </a:lnTo>
                      <a:lnTo>
                        <a:pt x="17" y="151"/>
                      </a:lnTo>
                      <a:lnTo>
                        <a:pt x="31" y="148"/>
                      </a:lnTo>
                      <a:lnTo>
                        <a:pt x="41" y="168"/>
                      </a:lnTo>
                      <a:lnTo>
                        <a:pt x="84" y="179"/>
                      </a:lnTo>
                      <a:lnTo>
                        <a:pt x="109" y="164"/>
                      </a:lnTo>
                      <a:lnTo>
                        <a:pt x="226" y="224"/>
                      </a:lnTo>
                      <a:lnTo>
                        <a:pt x="240" y="222"/>
                      </a:lnTo>
                      <a:lnTo>
                        <a:pt x="242" y="188"/>
                      </a:lnTo>
                      <a:lnTo>
                        <a:pt x="243" y="150"/>
                      </a:lnTo>
                      <a:lnTo>
                        <a:pt x="243" y="82"/>
                      </a:lnTo>
                      <a:lnTo>
                        <a:pt x="236" y="50"/>
                      </a:lnTo>
                      <a:lnTo>
                        <a:pt x="242" y="45"/>
                      </a:lnTo>
                      <a:lnTo>
                        <a:pt x="243" y="34"/>
                      </a:lnTo>
                      <a:lnTo>
                        <a:pt x="237" y="24"/>
                      </a:lnTo>
                      <a:lnTo>
                        <a:pt x="225" y="21"/>
                      </a:lnTo>
                      <a:lnTo>
                        <a:pt x="214" y="16"/>
                      </a:lnTo>
                      <a:lnTo>
                        <a:pt x="213" y="9"/>
                      </a:lnTo>
                      <a:lnTo>
                        <a:pt x="197" y="5"/>
                      </a:lnTo>
                      <a:lnTo>
                        <a:pt x="184" y="7"/>
                      </a:lnTo>
                      <a:lnTo>
                        <a:pt x="164" y="18"/>
                      </a:lnTo>
                      <a:lnTo>
                        <a:pt x="162" y="31"/>
                      </a:lnTo>
                      <a:lnTo>
                        <a:pt x="169" y="39"/>
                      </a:lnTo>
                      <a:lnTo>
                        <a:pt x="162" y="47"/>
                      </a:lnTo>
                      <a:lnTo>
                        <a:pt x="151" y="54"/>
                      </a:lnTo>
                      <a:lnTo>
                        <a:pt x="123" y="38"/>
                      </a:lnTo>
                      <a:lnTo>
                        <a:pt x="98" y="34"/>
                      </a:lnTo>
                      <a:lnTo>
                        <a:pt x="88" y="13"/>
                      </a:lnTo>
                      <a:lnTo>
                        <a:pt x="80" y="12"/>
                      </a:lnTo>
                      <a:lnTo>
                        <a:pt x="71" y="9"/>
                      </a:lnTo>
                      <a:lnTo>
                        <a:pt x="49" y="9"/>
                      </a:lnTo>
                      <a:lnTo>
                        <a:pt x="31" y="0"/>
                      </a:lnTo>
                      <a:lnTo>
                        <a:pt x="33" y="13"/>
                      </a:lnTo>
                      <a:lnTo>
                        <a:pt x="25" y="20"/>
                      </a:lnTo>
                      <a:lnTo>
                        <a:pt x="25" y="20"/>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78" name="Freeform 78"/>
                <p:cNvSpPr>
                  <a:spLocks noChangeAspect="1"/>
                </p:cNvSpPr>
                <p:nvPr/>
              </p:nvSpPr>
              <p:spPr bwMode="gray">
                <a:xfrm>
                  <a:off x="10682" y="3675"/>
                  <a:ext cx="1471" cy="1426"/>
                </a:xfrm>
                <a:custGeom>
                  <a:avLst/>
                  <a:gdLst>
                    <a:gd name="T0" fmla="*/ 115 w 319"/>
                    <a:gd name="T1" fmla="*/ 76 h 310"/>
                    <a:gd name="T2" fmla="*/ 109 w 319"/>
                    <a:gd name="T3" fmla="*/ 95 h 310"/>
                    <a:gd name="T4" fmla="*/ 98 w 319"/>
                    <a:gd name="T5" fmla="*/ 97 h 310"/>
                    <a:gd name="T6" fmla="*/ 85 w 319"/>
                    <a:gd name="T7" fmla="*/ 96 h 310"/>
                    <a:gd name="T8" fmla="*/ 82 w 319"/>
                    <a:gd name="T9" fmla="*/ 112 h 310"/>
                    <a:gd name="T10" fmla="*/ 74 w 319"/>
                    <a:gd name="T11" fmla="*/ 113 h 310"/>
                    <a:gd name="T12" fmla="*/ 66 w 319"/>
                    <a:gd name="T13" fmla="*/ 117 h 310"/>
                    <a:gd name="T14" fmla="*/ 60 w 319"/>
                    <a:gd name="T15" fmla="*/ 117 h 310"/>
                    <a:gd name="T16" fmla="*/ 53 w 319"/>
                    <a:gd name="T17" fmla="*/ 124 h 310"/>
                    <a:gd name="T18" fmla="*/ 52 w 319"/>
                    <a:gd name="T19" fmla="*/ 129 h 310"/>
                    <a:gd name="T20" fmla="*/ 14 w 319"/>
                    <a:gd name="T21" fmla="*/ 139 h 310"/>
                    <a:gd name="T22" fmla="*/ 0 w 319"/>
                    <a:gd name="T23" fmla="*/ 150 h 310"/>
                    <a:gd name="T24" fmla="*/ 1 w 319"/>
                    <a:gd name="T25" fmla="*/ 162 h 310"/>
                    <a:gd name="T26" fmla="*/ 3 w 319"/>
                    <a:gd name="T27" fmla="*/ 173 h 310"/>
                    <a:gd name="T28" fmla="*/ 63 w 319"/>
                    <a:gd name="T29" fmla="*/ 217 h 310"/>
                    <a:gd name="T30" fmla="*/ 151 w 319"/>
                    <a:gd name="T31" fmla="*/ 281 h 310"/>
                    <a:gd name="T32" fmla="*/ 159 w 319"/>
                    <a:gd name="T33" fmla="*/ 293 h 310"/>
                    <a:gd name="T34" fmla="*/ 170 w 319"/>
                    <a:gd name="T35" fmla="*/ 292 h 310"/>
                    <a:gd name="T36" fmla="*/ 177 w 319"/>
                    <a:gd name="T37" fmla="*/ 294 h 310"/>
                    <a:gd name="T38" fmla="*/ 178 w 319"/>
                    <a:gd name="T39" fmla="*/ 303 h 310"/>
                    <a:gd name="T40" fmla="*/ 178 w 319"/>
                    <a:gd name="T41" fmla="*/ 310 h 310"/>
                    <a:gd name="T42" fmla="*/ 205 w 319"/>
                    <a:gd name="T43" fmla="*/ 308 h 310"/>
                    <a:gd name="T44" fmla="*/ 222 w 319"/>
                    <a:gd name="T45" fmla="*/ 308 h 310"/>
                    <a:gd name="T46" fmla="*/ 319 w 319"/>
                    <a:gd name="T47" fmla="*/ 238 h 310"/>
                    <a:gd name="T48" fmla="*/ 309 w 319"/>
                    <a:gd name="T49" fmla="*/ 218 h 310"/>
                    <a:gd name="T50" fmla="*/ 295 w 319"/>
                    <a:gd name="T51" fmla="*/ 221 h 310"/>
                    <a:gd name="T52" fmla="*/ 280 w 319"/>
                    <a:gd name="T53" fmla="*/ 202 h 310"/>
                    <a:gd name="T54" fmla="*/ 278 w 319"/>
                    <a:gd name="T55" fmla="*/ 185 h 310"/>
                    <a:gd name="T56" fmla="*/ 287 w 319"/>
                    <a:gd name="T57" fmla="*/ 174 h 310"/>
                    <a:gd name="T58" fmla="*/ 287 w 319"/>
                    <a:gd name="T59" fmla="*/ 160 h 310"/>
                    <a:gd name="T60" fmla="*/ 284 w 319"/>
                    <a:gd name="T61" fmla="*/ 150 h 310"/>
                    <a:gd name="T62" fmla="*/ 285 w 319"/>
                    <a:gd name="T63" fmla="*/ 142 h 310"/>
                    <a:gd name="T64" fmla="*/ 279 w 319"/>
                    <a:gd name="T65" fmla="*/ 115 h 310"/>
                    <a:gd name="T66" fmla="*/ 267 w 319"/>
                    <a:gd name="T67" fmla="*/ 87 h 310"/>
                    <a:gd name="T68" fmla="*/ 259 w 319"/>
                    <a:gd name="T69" fmla="*/ 79 h 310"/>
                    <a:gd name="T70" fmla="*/ 247 w 319"/>
                    <a:gd name="T71" fmla="*/ 65 h 310"/>
                    <a:gd name="T72" fmla="*/ 247 w 319"/>
                    <a:gd name="T73" fmla="*/ 54 h 310"/>
                    <a:gd name="T74" fmla="*/ 259 w 319"/>
                    <a:gd name="T75" fmla="*/ 38 h 310"/>
                    <a:gd name="T76" fmla="*/ 260 w 319"/>
                    <a:gd name="T77" fmla="*/ 25 h 310"/>
                    <a:gd name="T78" fmla="*/ 258 w 319"/>
                    <a:gd name="T79" fmla="*/ 20 h 310"/>
                    <a:gd name="T80" fmla="*/ 258 w 319"/>
                    <a:gd name="T81" fmla="*/ 3 h 310"/>
                    <a:gd name="T82" fmla="*/ 246 w 319"/>
                    <a:gd name="T83" fmla="*/ 0 h 310"/>
                    <a:gd name="T84" fmla="*/ 229 w 319"/>
                    <a:gd name="T85" fmla="*/ 3 h 310"/>
                    <a:gd name="T86" fmla="*/ 218 w 319"/>
                    <a:gd name="T87" fmla="*/ 4 h 310"/>
                    <a:gd name="T88" fmla="*/ 207 w 319"/>
                    <a:gd name="T89" fmla="*/ 4 h 310"/>
                    <a:gd name="T90" fmla="*/ 199 w 319"/>
                    <a:gd name="T91" fmla="*/ 3 h 310"/>
                    <a:gd name="T92" fmla="*/ 182 w 319"/>
                    <a:gd name="T93" fmla="*/ 4 h 310"/>
                    <a:gd name="T94" fmla="*/ 175 w 319"/>
                    <a:gd name="T95" fmla="*/ 7 h 310"/>
                    <a:gd name="T96" fmla="*/ 159 w 319"/>
                    <a:gd name="T97" fmla="*/ 9 h 310"/>
                    <a:gd name="T98" fmla="*/ 148 w 319"/>
                    <a:gd name="T99" fmla="*/ 12 h 310"/>
                    <a:gd name="T100" fmla="*/ 140 w 319"/>
                    <a:gd name="T101" fmla="*/ 16 h 310"/>
                    <a:gd name="T102" fmla="*/ 129 w 319"/>
                    <a:gd name="T103" fmla="*/ 26 h 310"/>
                    <a:gd name="T104" fmla="*/ 123 w 319"/>
                    <a:gd name="T105" fmla="*/ 28 h 310"/>
                    <a:gd name="T106" fmla="*/ 112 w 319"/>
                    <a:gd name="T107" fmla="*/ 33 h 310"/>
                    <a:gd name="T108" fmla="*/ 107 w 319"/>
                    <a:gd name="T109" fmla="*/ 39 h 310"/>
                    <a:gd name="T110" fmla="*/ 112 w 319"/>
                    <a:gd name="T111" fmla="*/ 69 h 310"/>
                    <a:gd name="T112" fmla="*/ 115 w 319"/>
                    <a:gd name="T113" fmla="*/ 76 h 310"/>
                    <a:gd name="T114" fmla="*/ 115 w 319"/>
                    <a:gd name="T115" fmla="*/ 76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9" h="310">
                      <a:moveTo>
                        <a:pt x="115" y="76"/>
                      </a:moveTo>
                      <a:lnTo>
                        <a:pt x="109" y="95"/>
                      </a:lnTo>
                      <a:lnTo>
                        <a:pt x="98" y="97"/>
                      </a:lnTo>
                      <a:lnTo>
                        <a:pt x="85" y="96"/>
                      </a:lnTo>
                      <a:lnTo>
                        <a:pt x="82" y="112"/>
                      </a:lnTo>
                      <a:lnTo>
                        <a:pt x="74" y="113"/>
                      </a:lnTo>
                      <a:lnTo>
                        <a:pt x="66" y="117"/>
                      </a:lnTo>
                      <a:lnTo>
                        <a:pt x="60" y="117"/>
                      </a:lnTo>
                      <a:lnTo>
                        <a:pt x="53" y="124"/>
                      </a:lnTo>
                      <a:lnTo>
                        <a:pt x="52" y="129"/>
                      </a:lnTo>
                      <a:lnTo>
                        <a:pt x="14" y="139"/>
                      </a:lnTo>
                      <a:lnTo>
                        <a:pt x="0" y="150"/>
                      </a:lnTo>
                      <a:lnTo>
                        <a:pt x="1" y="162"/>
                      </a:lnTo>
                      <a:lnTo>
                        <a:pt x="3" y="173"/>
                      </a:lnTo>
                      <a:lnTo>
                        <a:pt x="63" y="217"/>
                      </a:lnTo>
                      <a:lnTo>
                        <a:pt x="151" y="281"/>
                      </a:lnTo>
                      <a:lnTo>
                        <a:pt x="159" y="293"/>
                      </a:lnTo>
                      <a:lnTo>
                        <a:pt x="170" y="292"/>
                      </a:lnTo>
                      <a:lnTo>
                        <a:pt x="177" y="294"/>
                      </a:lnTo>
                      <a:lnTo>
                        <a:pt x="178" y="303"/>
                      </a:lnTo>
                      <a:lnTo>
                        <a:pt x="178" y="310"/>
                      </a:lnTo>
                      <a:lnTo>
                        <a:pt x="205" y="308"/>
                      </a:lnTo>
                      <a:lnTo>
                        <a:pt x="222" y="308"/>
                      </a:lnTo>
                      <a:lnTo>
                        <a:pt x="319" y="238"/>
                      </a:lnTo>
                      <a:lnTo>
                        <a:pt x="309" y="218"/>
                      </a:lnTo>
                      <a:lnTo>
                        <a:pt x="295" y="221"/>
                      </a:lnTo>
                      <a:lnTo>
                        <a:pt x="280" y="202"/>
                      </a:lnTo>
                      <a:lnTo>
                        <a:pt x="278" y="185"/>
                      </a:lnTo>
                      <a:lnTo>
                        <a:pt x="287" y="174"/>
                      </a:lnTo>
                      <a:lnTo>
                        <a:pt x="287" y="160"/>
                      </a:lnTo>
                      <a:lnTo>
                        <a:pt x="284" y="150"/>
                      </a:lnTo>
                      <a:lnTo>
                        <a:pt x="285" y="142"/>
                      </a:lnTo>
                      <a:lnTo>
                        <a:pt x="279" y="115"/>
                      </a:lnTo>
                      <a:lnTo>
                        <a:pt x="267" y="87"/>
                      </a:lnTo>
                      <a:lnTo>
                        <a:pt x="259" y="79"/>
                      </a:lnTo>
                      <a:lnTo>
                        <a:pt x="247" y="65"/>
                      </a:lnTo>
                      <a:lnTo>
                        <a:pt x="247" y="54"/>
                      </a:lnTo>
                      <a:lnTo>
                        <a:pt x="259" y="38"/>
                      </a:lnTo>
                      <a:lnTo>
                        <a:pt x="260" y="25"/>
                      </a:lnTo>
                      <a:lnTo>
                        <a:pt x="258" y="20"/>
                      </a:lnTo>
                      <a:lnTo>
                        <a:pt x="258" y="3"/>
                      </a:lnTo>
                      <a:lnTo>
                        <a:pt x="246" y="0"/>
                      </a:lnTo>
                      <a:lnTo>
                        <a:pt x="229" y="3"/>
                      </a:lnTo>
                      <a:lnTo>
                        <a:pt x="218" y="4"/>
                      </a:lnTo>
                      <a:lnTo>
                        <a:pt x="207" y="4"/>
                      </a:lnTo>
                      <a:lnTo>
                        <a:pt x="199" y="3"/>
                      </a:lnTo>
                      <a:lnTo>
                        <a:pt x="182" y="4"/>
                      </a:lnTo>
                      <a:lnTo>
                        <a:pt x="175" y="7"/>
                      </a:lnTo>
                      <a:lnTo>
                        <a:pt x="159" y="9"/>
                      </a:lnTo>
                      <a:lnTo>
                        <a:pt x="148" y="12"/>
                      </a:lnTo>
                      <a:lnTo>
                        <a:pt x="140" y="16"/>
                      </a:lnTo>
                      <a:lnTo>
                        <a:pt x="129" y="26"/>
                      </a:lnTo>
                      <a:lnTo>
                        <a:pt x="123" y="28"/>
                      </a:lnTo>
                      <a:lnTo>
                        <a:pt x="112" y="33"/>
                      </a:lnTo>
                      <a:lnTo>
                        <a:pt x="107" y="39"/>
                      </a:lnTo>
                      <a:lnTo>
                        <a:pt x="112" y="69"/>
                      </a:lnTo>
                      <a:lnTo>
                        <a:pt x="115" y="76"/>
                      </a:lnTo>
                      <a:lnTo>
                        <a:pt x="115" y="76"/>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79" name="Freeform 79"/>
                <p:cNvSpPr>
                  <a:spLocks noChangeAspect="1"/>
                </p:cNvSpPr>
                <p:nvPr/>
              </p:nvSpPr>
              <p:spPr bwMode="gray">
                <a:xfrm>
                  <a:off x="11818" y="3653"/>
                  <a:ext cx="299" cy="550"/>
                </a:xfrm>
                <a:custGeom>
                  <a:avLst/>
                  <a:gdLst>
                    <a:gd name="T0" fmla="*/ 13 w 64"/>
                    <a:gd name="T1" fmla="*/ 30 h 120"/>
                    <a:gd name="T2" fmla="*/ 12 w 64"/>
                    <a:gd name="T3" fmla="*/ 43 h 120"/>
                    <a:gd name="T4" fmla="*/ 0 w 64"/>
                    <a:gd name="T5" fmla="*/ 59 h 120"/>
                    <a:gd name="T6" fmla="*/ 0 w 64"/>
                    <a:gd name="T7" fmla="*/ 70 h 120"/>
                    <a:gd name="T8" fmla="*/ 12 w 64"/>
                    <a:gd name="T9" fmla="*/ 84 h 120"/>
                    <a:gd name="T10" fmla="*/ 20 w 64"/>
                    <a:gd name="T11" fmla="*/ 92 h 120"/>
                    <a:gd name="T12" fmla="*/ 32 w 64"/>
                    <a:gd name="T13" fmla="*/ 120 h 120"/>
                    <a:gd name="T14" fmla="*/ 37 w 64"/>
                    <a:gd name="T15" fmla="*/ 120 h 120"/>
                    <a:gd name="T16" fmla="*/ 45 w 64"/>
                    <a:gd name="T17" fmla="*/ 114 h 120"/>
                    <a:gd name="T18" fmla="*/ 45 w 64"/>
                    <a:gd name="T19" fmla="*/ 96 h 120"/>
                    <a:gd name="T20" fmla="*/ 56 w 64"/>
                    <a:gd name="T21" fmla="*/ 95 h 120"/>
                    <a:gd name="T22" fmla="*/ 64 w 64"/>
                    <a:gd name="T23" fmla="*/ 89 h 120"/>
                    <a:gd name="T24" fmla="*/ 62 w 64"/>
                    <a:gd name="T25" fmla="*/ 75 h 120"/>
                    <a:gd name="T26" fmla="*/ 51 w 64"/>
                    <a:gd name="T27" fmla="*/ 70 h 120"/>
                    <a:gd name="T28" fmla="*/ 44 w 64"/>
                    <a:gd name="T29" fmla="*/ 65 h 120"/>
                    <a:gd name="T30" fmla="*/ 42 w 64"/>
                    <a:gd name="T31" fmla="*/ 55 h 120"/>
                    <a:gd name="T32" fmla="*/ 55 w 64"/>
                    <a:gd name="T33" fmla="*/ 44 h 120"/>
                    <a:gd name="T34" fmla="*/ 55 w 64"/>
                    <a:gd name="T35" fmla="*/ 33 h 120"/>
                    <a:gd name="T36" fmla="*/ 49 w 64"/>
                    <a:gd name="T37" fmla="*/ 22 h 120"/>
                    <a:gd name="T38" fmla="*/ 49 w 64"/>
                    <a:gd name="T39" fmla="*/ 15 h 120"/>
                    <a:gd name="T40" fmla="*/ 55 w 64"/>
                    <a:gd name="T41" fmla="*/ 9 h 120"/>
                    <a:gd name="T42" fmla="*/ 51 w 64"/>
                    <a:gd name="T43" fmla="*/ 5 h 120"/>
                    <a:gd name="T44" fmla="*/ 44 w 64"/>
                    <a:gd name="T45" fmla="*/ 5 h 120"/>
                    <a:gd name="T46" fmla="*/ 39 w 64"/>
                    <a:gd name="T47" fmla="*/ 0 h 120"/>
                    <a:gd name="T48" fmla="*/ 28 w 64"/>
                    <a:gd name="T49" fmla="*/ 1 h 120"/>
                    <a:gd name="T50" fmla="*/ 22 w 64"/>
                    <a:gd name="T51" fmla="*/ 6 h 120"/>
                    <a:gd name="T52" fmla="*/ 11 w 64"/>
                    <a:gd name="T53" fmla="*/ 8 h 120"/>
                    <a:gd name="T54" fmla="*/ 11 w 64"/>
                    <a:gd name="T55" fmla="*/ 25 h 120"/>
                    <a:gd name="T56" fmla="*/ 13 w 64"/>
                    <a:gd name="T57" fmla="*/ 30 h 120"/>
                    <a:gd name="T58" fmla="*/ 13 w 64"/>
                    <a:gd name="T59" fmla="*/ 3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120">
                      <a:moveTo>
                        <a:pt x="13" y="30"/>
                      </a:moveTo>
                      <a:lnTo>
                        <a:pt x="12" y="43"/>
                      </a:lnTo>
                      <a:lnTo>
                        <a:pt x="0" y="59"/>
                      </a:lnTo>
                      <a:lnTo>
                        <a:pt x="0" y="70"/>
                      </a:lnTo>
                      <a:lnTo>
                        <a:pt x="12" y="84"/>
                      </a:lnTo>
                      <a:lnTo>
                        <a:pt x="20" y="92"/>
                      </a:lnTo>
                      <a:lnTo>
                        <a:pt x="32" y="120"/>
                      </a:lnTo>
                      <a:lnTo>
                        <a:pt x="37" y="120"/>
                      </a:lnTo>
                      <a:lnTo>
                        <a:pt x="45" y="114"/>
                      </a:lnTo>
                      <a:lnTo>
                        <a:pt x="45" y="96"/>
                      </a:lnTo>
                      <a:lnTo>
                        <a:pt x="56" y="95"/>
                      </a:lnTo>
                      <a:lnTo>
                        <a:pt x="64" y="89"/>
                      </a:lnTo>
                      <a:lnTo>
                        <a:pt x="62" y="75"/>
                      </a:lnTo>
                      <a:lnTo>
                        <a:pt x="51" y="70"/>
                      </a:lnTo>
                      <a:lnTo>
                        <a:pt x="44" y="65"/>
                      </a:lnTo>
                      <a:lnTo>
                        <a:pt x="42" y="55"/>
                      </a:lnTo>
                      <a:lnTo>
                        <a:pt x="55" y="44"/>
                      </a:lnTo>
                      <a:lnTo>
                        <a:pt x="55" y="33"/>
                      </a:lnTo>
                      <a:lnTo>
                        <a:pt x="49" y="22"/>
                      </a:lnTo>
                      <a:lnTo>
                        <a:pt x="49" y="15"/>
                      </a:lnTo>
                      <a:lnTo>
                        <a:pt x="55" y="9"/>
                      </a:lnTo>
                      <a:lnTo>
                        <a:pt x="51" y="5"/>
                      </a:lnTo>
                      <a:lnTo>
                        <a:pt x="44" y="5"/>
                      </a:lnTo>
                      <a:lnTo>
                        <a:pt x="39" y="0"/>
                      </a:lnTo>
                      <a:lnTo>
                        <a:pt x="28" y="1"/>
                      </a:lnTo>
                      <a:lnTo>
                        <a:pt x="22" y="6"/>
                      </a:lnTo>
                      <a:lnTo>
                        <a:pt x="11" y="8"/>
                      </a:lnTo>
                      <a:lnTo>
                        <a:pt x="11" y="25"/>
                      </a:lnTo>
                      <a:lnTo>
                        <a:pt x="13" y="30"/>
                      </a:lnTo>
                      <a:lnTo>
                        <a:pt x="13" y="30"/>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0" name="Freeform 80"/>
                <p:cNvSpPr>
                  <a:spLocks noChangeAspect="1"/>
                </p:cNvSpPr>
                <p:nvPr/>
              </p:nvSpPr>
              <p:spPr bwMode="gray">
                <a:xfrm>
                  <a:off x="13049" y="4126"/>
                  <a:ext cx="752" cy="767"/>
                </a:xfrm>
                <a:custGeom>
                  <a:avLst/>
                  <a:gdLst>
                    <a:gd name="T0" fmla="*/ 158 w 162"/>
                    <a:gd name="T1" fmla="*/ 124 h 166"/>
                    <a:gd name="T2" fmla="*/ 147 w 162"/>
                    <a:gd name="T3" fmla="*/ 102 h 166"/>
                    <a:gd name="T4" fmla="*/ 139 w 162"/>
                    <a:gd name="T5" fmla="*/ 83 h 166"/>
                    <a:gd name="T6" fmla="*/ 131 w 162"/>
                    <a:gd name="T7" fmla="*/ 69 h 166"/>
                    <a:gd name="T8" fmla="*/ 128 w 162"/>
                    <a:gd name="T9" fmla="*/ 61 h 166"/>
                    <a:gd name="T10" fmla="*/ 115 w 162"/>
                    <a:gd name="T11" fmla="*/ 48 h 166"/>
                    <a:gd name="T12" fmla="*/ 113 w 162"/>
                    <a:gd name="T13" fmla="*/ 29 h 166"/>
                    <a:gd name="T14" fmla="*/ 115 w 162"/>
                    <a:gd name="T15" fmla="*/ 24 h 166"/>
                    <a:gd name="T16" fmla="*/ 116 w 162"/>
                    <a:gd name="T17" fmla="*/ 23 h 166"/>
                    <a:gd name="T18" fmla="*/ 116 w 162"/>
                    <a:gd name="T19" fmla="*/ 23 h 166"/>
                    <a:gd name="T20" fmla="*/ 120 w 162"/>
                    <a:gd name="T21" fmla="*/ 27 h 166"/>
                    <a:gd name="T22" fmla="*/ 121 w 162"/>
                    <a:gd name="T23" fmla="*/ 41 h 166"/>
                    <a:gd name="T24" fmla="*/ 128 w 162"/>
                    <a:gd name="T25" fmla="*/ 52 h 166"/>
                    <a:gd name="T26" fmla="*/ 138 w 162"/>
                    <a:gd name="T27" fmla="*/ 63 h 166"/>
                    <a:gd name="T28" fmla="*/ 146 w 162"/>
                    <a:gd name="T29" fmla="*/ 61 h 166"/>
                    <a:gd name="T30" fmla="*/ 146 w 162"/>
                    <a:gd name="T31" fmla="*/ 52 h 166"/>
                    <a:gd name="T32" fmla="*/ 149 w 162"/>
                    <a:gd name="T33" fmla="*/ 32 h 166"/>
                    <a:gd name="T34" fmla="*/ 146 w 162"/>
                    <a:gd name="T35" fmla="*/ 19 h 166"/>
                    <a:gd name="T36" fmla="*/ 142 w 162"/>
                    <a:gd name="T37" fmla="*/ 9 h 166"/>
                    <a:gd name="T38" fmla="*/ 141 w 162"/>
                    <a:gd name="T39" fmla="*/ 5 h 166"/>
                    <a:gd name="T40" fmla="*/ 124 w 162"/>
                    <a:gd name="T41" fmla="*/ 8 h 166"/>
                    <a:gd name="T42" fmla="*/ 116 w 162"/>
                    <a:gd name="T43" fmla="*/ 7 h 166"/>
                    <a:gd name="T44" fmla="*/ 113 w 162"/>
                    <a:gd name="T45" fmla="*/ 8 h 166"/>
                    <a:gd name="T46" fmla="*/ 113 w 162"/>
                    <a:gd name="T47" fmla="*/ 8 h 166"/>
                    <a:gd name="T48" fmla="*/ 113 w 162"/>
                    <a:gd name="T49" fmla="*/ 8 h 166"/>
                    <a:gd name="T50" fmla="*/ 111 w 162"/>
                    <a:gd name="T51" fmla="*/ 8 h 166"/>
                    <a:gd name="T52" fmla="*/ 108 w 162"/>
                    <a:gd name="T53" fmla="*/ 9 h 166"/>
                    <a:gd name="T54" fmla="*/ 98 w 162"/>
                    <a:gd name="T55" fmla="*/ 2 h 166"/>
                    <a:gd name="T56" fmla="*/ 88 w 162"/>
                    <a:gd name="T57" fmla="*/ 0 h 166"/>
                    <a:gd name="T58" fmla="*/ 82 w 162"/>
                    <a:gd name="T59" fmla="*/ 5 h 166"/>
                    <a:gd name="T60" fmla="*/ 77 w 162"/>
                    <a:gd name="T61" fmla="*/ 5 h 166"/>
                    <a:gd name="T62" fmla="*/ 71 w 162"/>
                    <a:gd name="T63" fmla="*/ 10 h 166"/>
                    <a:gd name="T64" fmla="*/ 61 w 162"/>
                    <a:gd name="T65" fmla="*/ 12 h 166"/>
                    <a:gd name="T66" fmla="*/ 43 w 162"/>
                    <a:gd name="T67" fmla="*/ 7 h 166"/>
                    <a:gd name="T68" fmla="*/ 27 w 162"/>
                    <a:gd name="T69" fmla="*/ 3 h 166"/>
                    <a:gd name="T70" fmla="*/ 15 w 162"/>
                    <a:gd name="T71" fmla="*/ 2 h 166"/>
                    <a:gd name="T72" fmla="*/ 7 w 162"/>
                    <a:gd name="T73" fmla="*/ 5 h 166"/>
                    <a:gd name="T74" fmla="*/ 6 w 162"/>
                    <a:gd name="T75" fmla="*/ 16 h 166"/>
                    <a:gd name="T76" fmla="*/ 0 w 162"/>
                    <a:gd name="T77" fmla="*/ 21 h 166"/>
                    <a:gd name="T78" fmla="*/ 7 w 162"/>
                    <a:gd name="T79" fmla="*/ 53 h 166"/>
                    <a:gd name="T80" fmla="*/ 7 w 162"/>
                    <a:gd name="T81" fmla="*/ 121 h 166"/>
                    <a:gd name="T82" fmla="*/ 6 w 162"/>
                    <a:gd name="T83" fmla="*/ 159 h 166"/>
                    <a:gd name="T84" fmla="*/ 51 w 162"/>
                    <a:gd name="T85" fmla="*/ 162 h 166"/>
                    <a:gd name="T86" fmla="*/ 103 w 162"/>
                    <a:gd name="T87" fmla="*/ 160 h 166"/>
                    <a:gd name="T88" fmla="*/ 124 w 162"/>
                    <a:gd name="T89" fmla="*/ 159 h 166"/>
                    <a:gd name="T90" fmla="*/ 128 w 162"/>
                    <a:gd name="T91" fmla="*/ 165 h 166"/>
                    <a:gd name="T92" fmla="*/ 138 w 162"/>
                    <a:gd name="T93" fmla="*/ 166 h 166"/>
                    <a:gd name="T94" fmla="*/ 138 w 162"/>
                    <a:gd name="T95" fmla="*/ 156 h 166"/>
                    <a:gd name="T96" fmla="*/ 152 w 162"/>
                    <a:gd name="T97" fmla="*/ 153 h 166"/>
                    <a:gd name="T98" fmla="*/ 162 w 162"/>
                    <a:gd name="T99" fmla="*/ 144 h 166"/>
                    <a:gd name="T100" fmla="*/ 158 w 162"/>
                    <a:gd name="T101" fmla="*/ 124 h 166"/>
                    <a:gd name="T102" fmla="*/ 158 w 162"/>
                    <a:gd name="T103" fmla="*/ 12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2" h="166">
                      <a:moveTo>
                        <a:pt x="158" y="124"/>
                      </a:moveTo>
                      <a:lnTo>
                        <a:pt x="147" y="102"/>
                      </a:lnTo>
                      <a:lnTo>
                        <a:pt x="139" y="83"/>
                      </a:lnTo>
                      <a:lnTo>
                        <a:pt x="131" y="69"/>
                      </a:lnTo>
                      <a:lnTo>
                        <a:pt x="128" y="61"/>
                      </a:lnTo>
                      <a:lnTo>
                        <a:pt x="115" y="48"/>
                      </a:lnTo>
                      <a:lnTo>
                        <a:pt x="113" y="29"/>
                      </a:lnTo>
                      <a:lnTo>
                        <a:pt x="115" y="24"/>
                      </a:lnTo>
                      <a:lnTo>
                        <a:pt x="116" y="23"/>
                      </a:lnTo>
                      <a:lnTo>
                        <a:pt x="116" y="23"/>
                      </a:lnTo>
                      <a:lnTo>
                        <a:pt x="120" y="27"/>
                      </a:lnTo>
                      <a:lnTo>
                        <a:pt x="121" y="41"/>
                      </a:lnTo>
                      <a:lnTo>
                        <a:pt x="128" y="52"/>
                      </a:lnTo>
                      <a:lnTo>
                        <a:pt x="138" y="63"/>
                      </a:lnTo>
                      <a:lnTo>
                        <a:pt x="146" y="61"/>
                      </a:lnTo>
                      <a:lnTo>
                        <a:pt x="146" y="52"/>
                      </a:lnTo>
                      <a:lnTo>
                        <a:pt x="149" y="32"/>
                      </a:lnTo>
                      <a:lnTo>
                        <a:pt x="146" y="19"/>
                      </a:lnTo>
                      <a:lnTo>
                        <a:pt x="142" y="9"/>
                      </a:lnTo>
                      <a:lnTo>
                        <a:pt x="141" y="5"/>
                      </a:lnTo>
                      <a:lnTo>
                        <a:pt x="124" y="8"/>
                      </a:lnTo>
                      <a:lnTo>
                        <a:pt x="116" y="7"/>
                      </a:lnTo>
                      <a:lnTo>
                        <a:pt x="113" y="8"/>
                      </a:lnTo>
                      <a:lnTo>
                        <a:pt x="113" y="8"/>
                      </a:lnTo>
                      <a:lnTo>
                        <a:pt x="113" y="8"/>
                      </a:lnTo>
                      <a:lnTo>
                        <a:pt x="111" y="8"/>
                      </a:lnTo>
                      <a:lnTo>
                        <a:pt x="108" y="9"/>
                      </a:lnTo>
                      <a:lnTo>
                        <a:pt x="98" y="2"/>
                      </a:lnTo>
                      <a:lnTo>
                        <a:pt x="88" y="0"/>
                      </a:lnTo>
                      <a:lnTo>
                        <a:pt x="82" y="5"/>
                      </a:lnTo>
                      <a:lnTo>
                        <a:pt x="77" y="5"/>
                      </a:lnTo>
                      <a:lnTo>
                        <a:pt x="71" y="10"/>
                      </a:lnTo>
                      <a:lnTo>
                        <a:pt x="61" y="12"/>
                      </a:lnTo>
                      <a:lnTo>
                        <a:pt x="43" y="7"/>
                      </a:lnTo>
                      <a:lnTo>
                        <a:pt x="27" y="3"/>
                      </a:lnTo>
                      <a:lnTo>
                        <a:pt x="15" y="2"/>
                      </a:lnTo>
                      <a:lnTo>
                        <a:pt x="7" y="5"/>
                      </a:lnTo>
                      <a:lnTo>
                        <a:pt x="6" y="16"/>
                      </a:lnTo>
                      <a:lnTo>
                        <a:pt x="0" y="21"/>
                      </a:lnTo>
                      <a:lnTo>
                        <a:pt x="7" y="53"/>
                      </a:lnTo>
                      <a:lnTo>
                        <a:pt x="7" y="121"/>
                      </a:lnTo>
                      <a:lnTo>
                        <a:pt x="6" y="159"/>
                      </a:lnTo>
                      <a:lnTo>
                        <a:pt x="51" y="162"/>
                      </a:lnTo>
                      <a:lnTo>
                        <a:pt x="103" y="160"/>
                      </a:lnTo>
                      <a:lnTo>
                        <a:pt x="124" y="159"/>
                      </a:lnTo>
                      <a:lnTo>
                        <a:pt x="128" y="165"/>
                      </a:lnTo>
                      <a:lnTo>
                        <a:pt x="138" y="166"/>
                      </a:lnTo>
                      <a:lnTo>
                        <a:pt x="138" y="156"/>
                      </a:lnTo>
                      <a:lnTo>
                        <a:pt x="152" y="153"/>
                      </a:lnTo>
                      <a:lnTo>
                        <a:pt x="162" y="144"/>
                      </a:lnTo>
                      <a:lnTo>
                        <a:pt x="158" y="124"/>
                      </a:lnTo>
                      <a:lnTo>
                        <a:pt x="158" y="12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1" name="Freeform 81"/>
                <p:cNvSpPr>
                  <a:spLocks noChangeAspect="1"/>
                </p:cNvSpPr>
                <p:nvPr/>
              </p:nvSpPr>
              <p:spPr bwMode="gray">
                <a:xfrm>
                  <a:off x="12759" y="3134"/>
                  <a:ext cx="174" cy="163"/>
                </a:xfrm>
                <a:custGeom>
                  <a:avLst/>
                  <a:gdLst>
                    <a:gd name="T0" fmla="*/ 3 w 38"/>
                    <a:gd name="T1" fmla="*/ 14 h 36"/>
                    <a:gd name="T2" fmla="*/ 0 w 38"/>
                    <a:gd name="T3" fmla="*/ 25 h 36"/>
                    <a:gd name="T4" fmla="*/ 5 w 38"/>
                    <a:gd name="T5" fmla="*/ 36 h 36"/>
                    <a:gd name="T6" fmla="*/ 24 w 38"/>
                    <a:gd name="T7" fmla="*/ 36 h 36"/>
                    <a:gd name="T8" fmla="*/ 31 w 38"/>
                    <a:gd name="T9" fmla="*/ 27 h 36"/>
                    <a:gd name="T10" fmla="*/ 38 w 38"/>
                    <a:gd name="T11" fmla="*/ 27 h 36"/>
                    <a:gd name="T12" fmla="*/ 37 w 38"/>
                    <a:gd name="T13" fmla="*/ 15 h 36"/>
                    <a:gd name="T14" fmla="*/ 32 w 38"/>
                    <a:gd name="T15" fmla="*/ 0 h 36"/>
                    <a:gd name="T16" fmla="*/ 15 w 38"/>
                    <a:gd name="T17" fmla="*/ 5 h 36"/>
                    <a:gd name="T18" fmla="*/ 3 w 38"/>
                    <a:gd name="T19" fmla="*/ 14 h 36"/>
                    <a:gd name="T20" fmla="*/ 3 w 38"/>
                    <a:gd name="T21"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36">
                      <a:moveTo>
                        <a:pt x="3" y="14"/>
                      </a:moveTo>
                      <a:lnTo>
                        <a:pt x="0" y="25"/>
                      </a:lnTo>
                      <a:lnTo>
                        <a:pt x="5" y="36"/>
                      </a:lnTo>
                      <a:lnTo>
                        <a:pt x="24" y="36"/>
                      </a:lnTo>
                      <a:lnTo>
                        <a:pt x="31" y="27"/>
                      </a:lnTo>
                      <a:lnTo>
                        <a:pt x="38" y="27"/>
                      </a:lnTo>
                      <a:lnTo>
                        <a:pt x="37" y="15"/>
                      </a:lnTo>
                      <a:lnTo>
                        <a:pt x="32" y="0"/>
                      </a:lnTo>
                      <a:lnTo>
                        <a:pt x="15" y="5"/>
                      </a:lnTo>
                      <a:lnTo>
                        <a:pt x="3" y="14"/>
                      </a:lnTo>
                      <a:lnTo>
                        <a:pt x="3" y="14"/>
                      </a:lnTo>
                      <a:close/>
                    </a:path>
                  </a:pathLst>
                </a:custGeom>
                <a:noFill/>
                <a:ln>
                  <a:noFill/>
                </a:ln>
                <a:effectLst/>
                <a:extLst>
                  <a:ext uri="{909E8E84-426E-40DD-AFC4-6F175D3DCCD1}">
                    <a14:hiddenFill xmlns:a14="http://schemas.microsoft.com/office/drawing/2010/main">
                      <a:solidFill>
                        <a:schemeClr val="tx2">
                          <a:alpha val="50000"/>
                        </a:schemeClr>
                      </a:solidFill>
                    </a14:hiddenFill>
                  </a:ext>
                  <a:ext uri="{91240B29-F687-4F45-9708-019B960494DF}">
                    <a14:hiddenLine xmlns:a14="http://schemas.microsoft.com/office/drawing/2010/main" w="3175" cap="flat" cmpd="sng">
                      <a:solidFill>
                        <a:schemeClr val="bg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nvGrpSpPr>
                <p:cNvPr id="82" name="Group 82"/>
                <p:cNvGrpSpPr>
                  <a:grpSpLocks noChangeAspect="1"/>
                </p:cNvGrpSpPr>
                <p:nvPr/>
              </p:nvGrpSpPr>
              <p:grpSpPr bwMode="auto">
                <a:xfrm>
                  <a:off x="12259" y="1651"/>
                  <a:ext cx="1856" cy="1766"/>
                  <a:chOff x="2158" y="550"/>
                  <a:chExt cx="2474" cy="2355"/>
                </a:xfrm>
              </p:grpSpPr>
              <p:sp>
                <p:nvSpPr>
                  <p:cNvPr id="83" name="Freeform 83"/>
                  <p:cNvSpPr>
                    <a:spLocks noChangeAspect="1"/>
                  </p:cNvSpPr>
                  <p:nvPr/>
                </p:nvSpPr>
                <p:spPr bwMode="gray">
                  <a:xfrm>
                    <a:off x="3070" y="550"/>
                    <a:ext cx="852" cy="756"/>
                  </a:xfrm>
                  <a:custGeom>
                    <a:avLst/>
                    <a:gdLst>
                      <a:gd name="T0" fmla="*/ 123 w 139"/>
                      <a:gd name="T1" fmla="*/ 54 h 123"/>
                      <a:gd name="T2" fmla="*/ 115 w 139"/>
                      <a:gd name="T3" fmla="*/ 40 h 123"/>
                      <a:gd name="T4" fmla="*/ 115 w 139"/>
                      <a:gd name="T5" fmla="*/ 33 h 123"/>
                      <a:gd name="T6" fmla="*/ 113 w 139"/>
                      <a:gd name="T7" fmla="*/ 16 h 123"/>
                      <a:gd name="T8" fmla="*/ 107 w 139"/>
                      <a:gd name="T9" fmla="*/ 7 h 123"/>
                      <a:gd name="T10" fmla="*/ 96 w 139"/>
                      <a:gd name="T11" fmla="*/ 6 h 123"/>
                      <a:gd name="T12" fmla="*/ 89 w 139"/>
                      <a:gd name="T13" fmla="*/ 8 h 123"/>
                      <a:gd name="T14" fmla="*/ 80 w 139"/>
                      <a:gd name="T15" fmla="*/ 0 h 123"/>
                      <a:gd name="T16" fmla="*/ 71 w 139"/>
                      <a:gd name="T17" fmla="*/ 0 h 123"/>
                      <a:gd name="T18" fmla="*/ 57 w 139"/>
                      <a:gd name="T19" fmla="*/ 15 h 123"/>
                      <a:gd name="T20" fmla="*/ 49 w 139"/>
                      <a:gd name="T21" fmla="*/ 15 h 123"/>
                      <a:gd name="T22" fmla="*/ 40 w 139"/>
                      <a:gd name="T23" fmla="*/ 29 h 123"/>
                      <a:gd name="T24" fmla="*/ 34 w 139"/>
                      <a:gd name="T25" fmla="*/ 42 h 123"/>
                      <a:gd name="T26" fmla="*/ 20 w 139"/>
                      <a:gd name="T27" fmla="*/ 46 h 123"/>
                      <a:gd name="T28" fmla="*/ 19 w 139"/>
                      <a:gd name="T29" fmla="*/ 53 h 123"/>
                      <a:gd name="T30" fmla="*/ 14 w 139"/>
                      <a:gd name="T31" fmla="*/ 58 h 123"/>
                      <a:gd name="T32" fmla="*/ 3 w 139"/>
                      <a:gd name="T33" fmla="*/ 53 h 123"/>
                      <a:gd name="T34" fmla="*/ 3 w 139"/>
                      <a:gd name="T35" fmla="*/ 69 h 123"/>
                      <a:gd name="T36" fmla="*/ 11 w 139"/>
                      <a:gd name="T37" fmla="*/ 86 h 123"/>
                      <a:gd name="T38" fmla="*/ 0 w 139"/>
                      <a:gd name="T39" fmla="*/ 98 h 123"/>
                      <a:gd name="T40" fmla="*/ 11 w 139"/>
                      <a:gd name="T41" fmla="*/ 109 h 123"/>
                      <a:gd name="T42" fmla="*/ 13 w 139"/>
                      <a:gd name="T43" fmla="*/ 123 h 123"/>
                      <a:gd name="T44" fmla="*/ 28 w 139"/>
                      <a:gd name="T45" fmla="*/ 108 h 123"/>
                      <a:gd name="T46" fmla="*/ 39 w 139"/>
                      <a:gd name="T47" fmla="*/ 107 h 123"/>
                      <a:gd name="T48" fmla="*/ 49 w 139"/>
                      <a:gd name="T49" fmla="*/ 111 h 123"/>
                      <a:gd name="T50" fmla="*/ 58 w 139"/>
                      <a:gd name="T51" fmla="*/ 110 h 123"/>
                      <a:gd name="T52" fmla="*/ 69 w 139"/>
                      <a:gd name="T53" fmla="*/ 114 h 123"/>
                      <a:gd name="T54" fmla="*/ 76 w 139"/>
                      <a:gd name="T55" fmla="*/ 111 h 123"/>
                      <a:gd name="T56" fmla="*/ 100 w 139"/>
                      <a:gd name="T57" fmla="*/ 120 h 123"/>
                      <a:gd name="T58" fmla="*/ 109 w 139"/>
                      <a:gd name="T59" fmla="*/ 118 h 123"/>
                      <a:gd name="T60" fmla="*/ 111 w 139"/>
                      <a:gd name="T61" fmla="*/ 110 h 123"/>
                      <a:gd name="T62" fmla="*/ 112 w 139"/>
                      <a:gd name="T63" fmla="*/ 108 h 123"/>
                      <a:gd name="T64" fmla="*/ 127 w 139"/>
                      <a:gd name="T65" fmla="*/ 104 h 123"/>
                      <a:gd name="T66" fmla="*/ 125 w 139"/>
                      <a:gd name="T67" fmla="*/ 93 h 123"/>
                      <a:gd name="T68" fmla="*/ 117 w 139"/>
                      <a:gd name="T69" fmla="*/ 87 h 123"/>
                      <a:gd name="T70" fmla="*/ 115 w 139"/>
                      <a:gd name="T71" fmla="*/ 76 h 123"/>
                      <a:gd name="T72" fmla="*/ 123 w 139"/>
                      <a:gd name="T73" fmla="*/ 76 h 123"/>
                      <a:gd name="T74" fmla="*/ 129 w 139"/>
                      <a:gd name="T75" fmla="*/ 81 h 123"/>
                      <a:gd name="T76" fmla="*/ 136 w 139"/>
                      <a:gd name="T77" fmla="*/ 81 h 123"/>
                      <a:gd name="T78" fmla="*/ 139 w 139"/>
                      <a:gd name="T79" fmla="*/ 70 h 123"/>
                      <a:gd name="T80" fmla="*/ 123 w 139"/>
                      <a:gd name="T81" fmla="*/ 54 h 123"/>
                      <a:gd name="T82" fmla="*/ 123 w 139"/>
                      <a:gd name="T83" fmla="*/ 5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 h="123">
                        <a:moveTo>
                          <a:pt x="123" y="54"/>
                        </a:moveTo>
                        <a:lnTo>
                          <a:pt x="115" y="40"/>
                        </a:lnTo>
                        <a:lnTo>
                          <a:pt x="115" y="33"/>
                        </a:lnTo>
                        <a:lnTo>
                          <a:pt x="113" y="16"/>
                        </a:lnTo>
                        <a:lnTo>
                          <a:pt x="107" y="7"/>
                        </a:lnTo>
                        <a:lnTo>
                          <a:pt x="96" y="6"/>
                        </a:lnTo>
                        <a:lnTo>
                          <a:pt x="89" y="8"/>
                        </a:lnTo>
                        <a:lnTo>
                          <a:pt x="80" y="0"/>
                        </a:lnTo>
                        <a:lnTo>
                          <a:pt x="71" y="0"/>
                        </a:lnTo>
                        <a:lnTo>
                          <a:pt x="57" y="15"/>
                        </a:lnTo>
                        <a:lnTo>
                          <a:pt x="49" y="15"/>
                        </a:lnTo>
                        <a:lnTo>
                          <a:pt x="40" y="29"/>
                        </a:lnTo>
                        <a:lnTo>
                          <a:pt x="34" y="42"/>
                        </a:lnTo>
                        <a:lnTo>
                          <a:pt x="20" y="46"/>
                        </a:lnTo>
                        <a:lnTo>
                          <a:pt x="19" y="53"/>
                        </a:lnTo>
                        <a:lnTo>
                          <a:pt x="14" y="58"/>
                        </a:lnTo>
                        <a:lnTo>
                          <a:pt x="3" y="53"/>
                        </a:lnTo>
                        <a:lnTo>
                          <a:pt x="3" y="69"/>
                        </a:lnTo>
                        <a:lnTo>
                          <a:pt x="11" y="86"/>
                        </a:lnTo>
                        <a:lnTo>
                          <a:pt x="0" y="98"/>
                        </a:lnTo>
                        <a:lnTo>
                          <a:pt x="11" y="109"/>
                        </a:lnTo>
                        <a:lnTo>
                          <a:pt x="13" y="123"/>
                        </a:lnTo>
                        <a:lnTo>
                          <a:pt x="28" y="108"/>
                        </a:lnTo>
                        <a:lnTo>
                          <a:pt x="39" y="107"/>
                        </a:lnTo>
                        <a:lnTo>
                          <a:pt x="49" y="111"/>
                        </a:lnTo>
                        <a:lnTo>
                          <a:pt x="58" y="110"/>
                        </a:lnTo>
                        <a:lnTo>
                          <a:pt x="69" y="114"/>
                        </a:lnTo>
                        <a:lnTo>
                          <a:pt x="76" y="111"/>
                        </a:lnTo>
                        <a:lnTo>
                          <a:pt x="100" y="120"/>
                        </a:lnTo>
                        <a:lnTo>
                          <a:pt x="109" y="118"/>
                        </a:lnTo>
                        <a:lnTo>
                          <a:pt x="111" y="110"/>
                        </a:lnTo>
                        <a:lnTo>
                          <a:pt x="112" y="108"/>
                        </a:lnTo>
                        <a:lnTo>
                          <a:pt x="127" y="104"/>
                        </a:lnTo>
                        <a:lnTo>
                          <a:pt x="125" y="93"/>
                        </a:lnTo>
                        <a:lnTo>
                          <a:pt x="117" y="87"/>
                        </a:lnTo>
                        <a:lnTo>
                          <a:pt x="115" y="76"/>
                        </a:lnTo>
                        <a:lnTo>
                          <a:pt x="123" y="76"/>
                        </a:lnTo>
                        <a:lnTo>
                          <a:pt x="129" y="81"/>
                        </a:lnTo>
                        <a:lnTo>
                          <a:pt x="136" y="81"/>
                        </a:lnTo>
                        <a:lnTo>
                          <a:pt x="139" y="70"/>
                        </a:lnTo>
                        <a:lnTo>
                          <a:pt x="123" y="54"/>
                        </a:lnTo>
                        <a:lnTo>
                          <a:pt x="123" y="5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4" name="Freeform 84"/>
                  <p:cNvSpPr>
                    <a:spLocks noChangeAspect="1"/>
                  </p:cNvSpPr>
                  <p:nvPr/>
                </p:nvSpPr>
                <p:spPr bwMode="gray">
                  <a:xfrm>
                    <a:off x="2751" y="716"/>
                    <a:ext cx="277" cy="138"/>
                  </a:xfrm>
                  <a:custGeom>
                    <a:avLst/>
                    <a:gdLst>
                      <a:gd name="T0" fmla="*/ 23 w 45"/>
                      <a:gd name="T1" fmla="*/ 22 h 22"/>
                      <a:gd name="T2" fmla="*/ 45 w 45"/>
                      <a:gd name="T3" fmla="*/ 21 h 22"/>
                      <a:gd name="T4" fmla="*/ 41 w 45"/>
                      <a:gd name="T5" fmla="*/ 7 h 22"/>
                      <a:gd name="T6" fmla="*/ 33 w 45"/>
                      <a:gd name="T7" fmla="*/ 4 h 22"/>
                      <a:gd name="T8" fmla="*/ 22 w 45"/>
                      <a:gd name="T9" fmla="*/ 0 h 22"/>
                      <a:gd name="T10" fmla="*/ 19 w 45"/>
                      <a:gd name="T11" fmla="*/ 4 h 22"/>
                      <a:gd name="T12" fmla="*/ 1 w 45"/>
                      <a:gd name="T13" fmla="*/ 4 h 22"/>
                      <a:gd name="T14" fmla="*/ 0 w 45"/>
                      <a:gd name="T15" fmla="*/ 8 h 22"/>
                      <a:gd name="T16" fmla="*/ 4 w 45"/>
                      <a:gd name="T17" fmla="*/ 12 h 22"/>
                      <a:gd name="T18" fmla="*/ 1 w 45"/>
                      <a:gd name="T19" fmla="*/ 18 h 22"/>
                      <a:gd name="T20" fmla="*/ 10 w 45"/>
                      <a:gd name="T21" fmla="*/ 19 h 22"/>
                      <a:gd name="T22" fmla="*/ 23 w 45"/>
                      <a:gd name="T23" fmla="*/ 22 h 22"/>
                      <a:gd name="T24" fmla="*/ 23 w 45"/>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22">
                        <a:moveTo>
                          <a:pt x="23" y="22"/>
                        </a:moveTo>
                        <a:lnTo>
                          <a:pt x="45" y="21"/>
                        </a:lnTo>
                        <a:lnTo>
                          <a:pt x="41" y="7"/>
                        </a:lnTo>
                        <a:lnTo>
                          <a:pt x="33" y="4"/>
                        </a:lnTo>
                        <a:lnTo>
                          <a:pt x="22" y="0"/>
                        </a:lnTo>
                        <a:lnTo>
                          <a:pt x="19" y="4"/>
                        </a:lnTo>
                        <a:lnTo>
                          <a:pt x="1" y="4"/>
                        </a:lnTo>
                        <a:lnTo>
                          <a:pt x="0" y="8"/>
                        </a:lnTo>
                        <a:lnTo>
                          <a:pt x="4" y="12"/>
                        </a:lnTo>
                        <a:lnTo>
                          <a:pt x="1" y="18"/>
                        </a:lnTo>
                        <a:lnTo>
                          <a:pt x="10" y="19"/>
                        </a:lnTo>
                        <a:lnTo>
                          <a:pt x="23" y="22"/>
                        </a:lnTo>
                        <a:lnTo>
                          <a:pt x="23" y="22"/>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5" name="Freeform 85"/>
                  <p:cNvSpPr>
                    <a:spLocks noChangeAspect="1"/>
                  </p:cNvSpPr>
                  <p:nvPr/>
                </p:nvSpPr>
                <p:spPr bwMode="gray">
                  <a:xfrm>
                    <a:off x="2158" y="1993"/>
                    <a:ext cx="526" cy="561"/>
                  </a:xfrm>
                  <a:custGeom>
                    <a:avLst/>
                    <a:gdLst>
                      <a:gd name="T0" fmla="*/ 67 w 86"/>
                      <a:gd name="T1" fmla="*/ 85 h 92"/>
                      <a:gd name="T2" fmla="*/ 65 w 86"/>
                      <a:gd name="T3" fmla="*/ 79 h 92"/>
                      <a:gd name="T4" fmla="*/ 51 w 86"/>
                      <a:gd name="T5" fmla="*/ 65 h 92"/>
                      <a:gd name="T6" fmla="*/ 40 w 86"/>
                      <a:gd name="T7" fmla="*/ 54 h 92"/>
                      <a:gd name="T8" fmla="*/ 36 w 86"/>
                      <a:gd name="T9" fmla="*/ 41 h 92"/>
                      <a:gd name="T10" fmla="*/ 41 w 86"/>
                      <a:gd name="T11" fmla="*/ 37 h 92"/>
                      <a:gd name="T12" fmla="*/ 46 w 86"/>
                      <a:gd name="T13" fmla="*/ 38 h 92"/>
                      <a:gd name="T14" fmla="*/ 48 w 86"/>
                      <a:gd name="T15" fmla="*/ 31 h 92"/>
                      <a:gd name="T16" fmla="*/ 54 w 86"/>
                      <a:gd name="T17" fmla="*/ 29 h 92"/>
                      <a:gd name="T18" fmla="*/ 67 w 86"/>
                      <a:gd name="T19" fmla="*/ 37 h 92"/>
                      <a:gd name="T20" fmla="*/ 86 w 86"/>
                      <a:gd name="T21" fmla="*/ 35 h 92"/>
                      <a:gd name="T22" fmla="*/ 81 w 86"/>
                      <a:gd name="T23" fmla="*/ 19 h 92"/>
                      <a:gd name="T24" fmla="*/ 59 w 86"/>
                      <a:gd name="T25" fmla="*/ 16 h 92"/>
                      <a:gd name="T26" fmla="*/ 53 w 86"/>
                      <a:gd name="T27" fmla="*/ 3 h 92"/>
                      <a:gd name="T28" fmla="*/ 45 w 86"/>
                      <a:gd name="T29" fmla="*/ 0 h 92"/>
                      <a:gd name="T30" fmla="*/ 38 w 86"/>
                      <a:gd name="T31" fmla="*/ 4 h 92"/>
                      <a:gd name="T32" fmla="*/ 37 w 86"/>
                      <a:gd name="T33" fmla="*/ 10 h 92"/>
                      <a:gd name="T34" fmla="*/ 31 w 86"/>
                      <a:gd name="T35" fmla="*/ 21 h 92"/>
                      <a:gd name="T36" fmla="*/ 5 w 86"/>
                      <a:gd name="T37" fmla="*/ 22 h 92"/>
                      <a:gd name="T38" fmla="*/ 4 w 86"/>
                      <a:gd name="T39" fmla="*/ 26 h 92"/>
                      <a:gd name="T40" fmla="*/ 0 w 86"/>
                      <a:gd name="T41" fmla="*/ 32 h 92"/>
                      <a:gd name="T42" fmla="*/ 7 w 86"/>
                      <a:gd name="T43" fmla="*/ 43 h 92"/>
                      <a:gd name="T44" fmla="*/ 9 w 86"/>
                      <a:gd name="T45" fmla="*/ 37 h 92"/>
                      <a:gd name="T46" fmla="*/ 15 w 86"/>
                      <a:gd name="T47" fmla="*/ 33 h 92"/>
                      <a:gd name="T48" fmla="*/ 19 w 86"/>
                      <a:gd name="T49" fmla="*/ 43 h 92"/>
                      <a:gd name="T50" fmla="*/ 24 w 86"/>
                      <a:gd name="T51" fmla="*/ 48 h 92"/>
                      <a:gd name="T52" fmla="*/ 26 w 86"/>
                      <a:gd name="T53" fmla="*/ 57 h 92"/>
                      <a:gd name="T54" fmla="*/ 34 w 86"/>
                      <a:gd name="T55" fmla="*/ 65 h 92"/>
                      <a:gd name="T56" fmla="*/ 46 w 86"/>
                      <a:gd name="T57" fmla="*/ 73 h 92"/>
                      <a:gd name="T58" fmla="*/ 59 w 86"/>
                      <a:gd name="T59" fmla="*/ 80 h 92"/>
                      <a:gd name="T60" fmla="*/ 63 w 86"/>
                      <a:gd name="T61" fmla="*/ 89 h 92"/>
                      <a:gd name="T62" fmla="*/ 73 w 86"/>
                      <a:gd name="T63" fmla="*/ 92 h 92"/>
                      <a:gd name="T64" fmla="*/ 74 w 86"/>
                      <a:gd name="T65" fmla="*/ 89 h 92"/>
                      <a:gd name="T66" fmla="*/ 67 w 86"/>
                      <a:gd name="T67" fmla="*/ 85 h 92"/>
                      <a:gd name="T68" fmla="*/ 67 w 86"/>
                      <a:gd name="T69" fmla="*/ 8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92">
                        <a:moveTo>
                          <a:pt x="67" y="85"/>
                        </a:moveTo>
                        <a:lnTo>
                          <a:pt x="65" y="79"/>
                        </a:lnTo>
                        <a:lnTo>
                          <a:pt x="51" y="65"/>
                        </a:lnTo>
                        <a:lnTo>
                          <a:pt x="40" y="54"/>
                        </a:lnTo>
                        <a:lnTo>
                          <a:pt x="36" y="41"/>
                        </a:lnTo>
                        <a:lnTo>
                          <a:pt x="41" y="37"/>
                        </a:lnTo>
                        <a:lnTo>
                          <a:pt x="46" y="38"/>
                        </a:lnTo>
                        <a:lnTo>
                          <a:pt x="48" y="31"/>
                        </a:lnTo>
                        <a:lnTo>
                          <a:pt x="54" y="29"/>
                        </a:lnTo>
                        <a:lnTo>
                          <a:pt x="67" y="37"/>
                        </a:lnTo>
                        <a:lnTo>
                          <a:pt x="86" y="35"/>
                        </a:lnTo>
                        <a:lnTo>
                          <a:pt x="81" y="19"/>
                        </a:lnTo>
                        <a:lnTo>
                          <a:pt x="59" y="16"/>
                        </a:lnTo>
                        <a:lnTo>
                          <a:pt x="53" y="3"/>
                        </a:lnTo>
                        <a:lnTo>
                          <a:pt x="45" y="0"/>
                        </a:lnTo>
                        <a:lnTo>
                          <a:pt x="38" y="4"/>
                        </a:lnTo>
                        <a:lnTo>
                          <a:pt x="37" y="10"/>
                        </a:lnTo>
                        <a:lnTo>
                          <a:pt x="31" y="21"/>
                        </a:lnTo>
                        <a:lnTo>
                          <a:pt x="5" y="22"/>
                        </a:lnTo>
                        <a:lnTo>
                          <a:pt x="4" y="26"/>
                        </a:lnTo>
                        <a:lnTo>
                          <a:pt x="0" y="32"/>
                        </a:lnTo>
                        <a:lnTo>
                          <a:pt x="7" y="43"/>
                        </a:lnTo>
                        <a:lnTo>
                          <a:pt x="9" y="37"/>
                        </a:lnTo>
                        <a:lnTo>
                          <a:pt x="15" y="33"/>
                        </a:lnTo>
                        <a:lnTo>
                          <a:pt x="19" y="43"/>
                        </a:lnTo>
                        <a:lnTo>
                          <a:pt x="24" y="48"/>
                        </a:lnTo>
                        <a:lnTo>
                          <a:pt x="26" y="57"/>
                        </a:lnTo>
                        <a:lnTo>
                          <a:pt x="34" y="65"/>
                        </a:lnTo>
                        <a:lnTo>
                          <a:pt x="46" y="73"/>
                        </a:lnTo>
                        <a:lnTo>
                          <a:pt x="59" y="80"/>
                        </a:lnTo>
                        <a:lnTo>
                          <a:pt x="63" y="89"/>
                        </a:lnTo>
                        <a:lnTo>
                          <a:pt x="73" y="92"/>
                        </a:lnTo>
                        <a:lnTo>
                          <a:pt x="74" y="89"/>
                        </a:lnTo>
                        <a:lnTo>
                          <a:pt x="67" y="85"/>
                        </a:lnTo>
                        <a:lnTo>
                          <a:pt x="67" y="85"/>
                        </a:lnTo>
                        <a:close/>
                      </a:path>
                    </a:pathLst>
                  </a:custGeom>
                  <a:noFill/>
                  <a:ln w="3175" cap="flat" cmpd="sng">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tx2">
                            <a:alpha val="50000"/>
                          </a:schemeClr>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6" name="Freeform 86"/>
                  <p:cNvSpPr>
                    <a:spLocks noChangeAspect="1"/>
                  </p:cNvSpPr>
                  <p:nvPr/>
                </p:nvSpPr>
                <p:spPr bwMode="gray">
                  <a:xfrm>
                    <a:off x="2378" y="2171"/>
                    <a:ext cx="331" cy="366"/>
                  </a:xfrm>
                  <a:custGeom>
                    <a:avLst/>
                    <a:gdLst>
                      <a:gd name="T0" fmla="*/ 18 w 54"/>
                      <a:gd name="T1" fmla="*/ 0 h 60"/>
                      <a:gd name="T2" fmla="*/ 12 w 54"/>
                      <a:gd name="T3" fmla="*/ 2 h 60"/>
                      <a:gd name="T4" fmla="*/ 10 w 54"/>
                      <a:gd name="T5" fmla="*/ 9 h 60"/>
                      <a:gd name="T6" fmla="*/ 5 w 54"/>
                      <a:gd name="T7" fmla="*/ 8 h 60"/>
                      <a:gd name="T8" fmla="*/ 0 w 54"/>
                      <a:gd name="T9" fmla="*/ 12 h 60"/>
                      <a:gd name="T10" fmla="*/ 4 w 54"/>
                      <a:gd name="T11" fmla="*/ 25 h 60"/>
                      <a:gd name="T12" fmla="*/ 15 w 54"/>
                      <a:gd name="T13" fmla="*/ 36 h 60"/>
                      <a:gd name="T14" fmla="*/ 29 w 54"/>
                      <a:gd name="T15" fmla="*/ 50 h 60"/>
                      <a:gd name="T16" fmla="*/ 31 w 54"/>
                      <a:gd name="T17" fmla="*/ 56 h 60"/>
                      <a:gd name="T18" fmla="*/ 38 w 54"/>
                      <a:gd name="T19" fmla="*/ 60 h 60"/>
                      <a:gd name="T20" fmla="*/ 42 w 54"/>
                      <a:gd name="T21" fmla="*/ 52 h 60"/>
                      <a:gd name="T22" fmla="*/ 54 w 54"/>
                      <a:gd name="T23" fmla="*/ 38 h 60"/>
                      <a:gd name="T24" fmla="*/ 53 w 54"/>
                      <a:gd name="T25" fmla="*/ 18 h 60"/>
                      <a:gd name="T26" fmla="*/ 50 w 54"/>
                      <a:gd name="T27" fmla="*/ 6 h 60"/>
                      <a:gd name="T28" fmla="*/ 31 w 54"/>
                      <a:gd name="T29" fmla="*/ 8 h 60"/>
                      <a:gd name="T30" fmla="*/ 18 w 54"/>
                      <a:gd name="T31" fmla="*/ 0 h 60"/>
                      <a:gd name="T32" fmla="*/ 18 w 54"/>
                      <a:gd name="T3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 h="60">
                        <a:moveTo>
                          <a:pt x="18" y="0"/>
                        </a:moveTo>
                        <a:lnTo>
                          <a:pt x="12" y="2"/>
                        </a:lnTo>
                        <a:lnTo>
                          <a:pt x="10" y="9"/>
                        </a:lnTo>
                        <a:lnTo>
                          <a:pt x="5" y="8"/>
                        </a:lnTo>
                        <a:lnTo>
                          <a:pt x="0" y="12"/>
                        </a:lnTo>
                        <a:lnTo>
                          <a:pt x="4" y="25"/>
                        </a:lnTo>
                        <a:lnTo>
                          <a:pt x="15" y="36"/>
                        </a:lnTo>
                        <a:lnTo>
                          <a:pt x="29" y="50"/>
                        </a:lnTo>
                        <a:lnTo>
                          <a:pt x="31" y="56"/>
                        </a:lnTo>
                        <a:lnTo>
                          <a:pt x="38" y="60"/>
                        </a:lnTo>
                        <a:lnTo>
                          <a:pt x="42" y="52"/>
                        </a:lnTo>
                        <a:lnTo>
                          <a:pt x="54" y="38"/>
                        </a:lnTo>
                        <a:lnTo>
                          <a:pt x="53" y="18"/>
                        </a:lnTo>
                        <a:lnTo>
                          <a:pt x="50" y="6"/>
                        </a:lnTo>
                        <a:lnTo>
                          <a:pt x="31" y="8"/>
                        </a:lnTo>
                        <a:lnTo>
                          <a:pt x="18" y="0"/>
                        </a:lnTo>
                        <a:lnTo>
                          <a:pt x="18" y="0"/>
                        </a:lnTo>
                        <a:close/>
                      </a:path>
                    </a:pathLst>
                  </a:custGeom>
                  <a:noFill/>
                  <a:ln>
                    <a:noFill/>
                  </a:ln>
                  <a:effectLst/>
                  <a:extLst>
                    <a:ext uri="{909E8E84-426E-40DD-AFC4-6F175D3DCCD1}">
                      <a14:hiddenFill xmlns:a14="http://schemas.microsoft.com/office/drawing/2010/main">
                        <a:solidFill>
                          <a:schemeClr val="tx2">
                            <a:alpha val="50000"/>
                          </a:schemeClr>
                        </a:solidFill>
                      </a14:hiddenFill>
                    </a:ext>
                    <a:ext uri="{91240B29-F687-4F45-9708-019B960494DF}">
                      <a14:hiddenLine xmlns:a14="http://schemas.microsoft.com/office/drawing/2010/main" w="3175" cap="flat" cmpd="sng">
                        <a:solidFill>
                          <a:schemeClr val="bg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7" name="Freeform 87"/>
                  <p:cNvSpPr>
                    <a:spLocks noChangeAspect="1"/>
                  </p:cNvSpPr>
                  <p:nvPr/>
                </p:nvSpPr>
                <p:spPr bwMode="gray">
                  <a:xfrm>
                    <a:off x="2603" y="2048"/>
                    <a:ext cx="454" cy="563"/>
                  </a:xfrm>
                  <a:custGeom>
                    <a:avLst/>
                    <a:gdLst>
                      <a:gd name="T0" fmla="*/ 66 w 74"/>
                      <a:gd name="T1" fmla="*/ 56 h 92"/>
                      <a:gd name="T2" fmla="*/ 71 w 74"/>
                      <a:gd name="T3" fmla="*/ 45 h 92"/>
                      <a:gd name="T4" fmla="*/ 66 w 74"/>
                      <a:gd name="T5" fmla="*/ 39 h 92"/>
                      <a:gd name="T6" fmla="*/ 62 w 74"/>
                      <a:gd name="T7" fmla="*/ 35 h 92"/>
                      <a:gd name="T8" fmla="*/ 41 w 74"/>
                      <a:gd name="T9" fmla="*/ 32 h 92"/>
                      <a:gd name="T10" fmla="*/ 40 w 74"/>
                      <a:gd name="T11" fmla="*/ 15 h 92"/>
                      <a:gd name="T12" fmla="*/ 33 w 74"/>
                      <a:gd name="T13" fmla="*/ 1 h 92"/>
                      <a:gd name="T14" fmla="*/ 28 w 74"/>
                      <a:gd name="T15" fmla="*/ 0 h 92"/>
                      <a:gd name="T16" fmla="*/ 22 w 74"/>
                      <a:gd name="T17" fmla="*/ 2 h 92"/>
                      <a:gd name="T18" fmla="*/ 11 w 74"/>
                      <a:gd name="T19" fmla="*/ 6 h 92"/>
                      <a:gd name="T20" fmla="*/ 8 w 74"/>
                      <a:gd name="T21" fmla="*/ 10 h 92"/>
                      <a:gd name="T22" fmla="*/ 13 w 74"/>
                      <a:gd name="T23" fmla="*/ 26 h 92"/>
                      <a:gd name="T24" fmla="*/ 16 w 74"/>
                      <a:gd name="T25" fmla="*/ 38 h 92"/>
                      <a:gd name="T26" fmla="*/ 17 w 74"/>
                      <a:gd name="T27" fmla="*/ 58 h 92"/>
                      <a:gd name="T28" fmla="*/ 5 w 74"/>
                      <a:gd name="T29" fmla="*/ 72 h 92"/>
                      <a:gd name="T30" fmla="*/ 1 w 74"/>
                      <a:gd name="T31" fmla="*/ 80 h 92"/>
                      <a:gd name="T32" fmla="*/ 0 w 74"/>
                      <a:gd name="T33" fmla="*/ 83 h 92"/>
                      <a:gd name="T34" fmla="*/ 13 w 74"/>
                      <a:gd name="T35" fmla="*/ 91 h 92"/>
                      <a:gd name="T36" fmla="*/ 17 w 74"/>
                      <a:gd name="T37" fmla="*/ 83 h 92"/>
                      <a:gd name="T38" fmla="*/ 23 w 74"/>
                      <a:gd name="T39" fmla="*/ 78 h 92"/>
                      <a:gd name="T40" fmla="*/ 34 w 74"/>
                      <a:gd name="T41" fmla="*/ 82 h 92"/>
                      <a:gd name="T42" fmla="*/ 39 w 74"/>
                      <a:gd name="T43" fmla="*/ 92 h 92"/>
                      <a:gd name="T44" fmla="*/ 51 w 74"/>
                      <a:gd name="T45" fmla="*/ 83 h 92"/>
                      <a:gd name="T46" fmla="*/ 68 w 74"/>
                      <a:gd name="T47" fmla="*/ 78 h 92"/>
                      <a:gd name="T48" fmla="*/ 74 w 74"/>
                      <a:gd name="T49" fmla="*/ 65 h 92"/>
                      <a:gd name="T50" fmla="*/ 66 w 74"/>
                      <a:gd name="T51" fmla="*/ 56 h 92"/>
                      <a:gd name="T52" fmla="*/ 66 w 74"/>
                      <a:gd name="T53"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4" h="92">
                        <a:moveTo>
                          <a:pt x="66" y="56"/>
                        </a:moveTo>
                        <a:lnTo>
                          <a:pt x="71" y="45"/>
                        </a:lnTo>
                        <a:lnTo>
                          <a:pt x="66" y="39"/>
                        </a:lnTo>
                        <a:lnTo>
                          <a:pt x="62" y="35"/>
                        </a:lnTo>
                        <a:lnTo>
                          <a:pt x="41" y="32"/>
                        </a:lnTo>
                        <a:lnTo>
                          <a:pt x="40" y="15"/>
                        </a:lnTo>
                        <a:lnTo>
                          <a:pt x="33" y="1"/>
                        </a:lnTo>
                        <a:lnTo>
                          <a:pt x="28" y="0"/>
                        </a:lnTo>
                        <a:lnTo>
                          <a:pt x="22" y="2"/>
                        </a:lnTo>
                        <a:lnTo>
                          <a:pt x="11" y="6"/>
                        </a:lnTo>
                        <a:lnTo>
                          <a:pt x="8" y="10"/>
                        </a:lnTo>
                        <a:lnTo>
                          <a:pt x="13" y="26"/>
                        </a:lnTo>
                        <a:lnTo>
                          <a:pt x="16" y="38"/>
                        </a:lnTo>
                        <a:lnTo>
                          <a:pt x="17" y="58"/>
                        </a:lnTo>
                        <a:lnTo>
                          <a:pt x="5" y="72"/>
                        </a:lnTo>
                        <a:lnTo>
                          <a:pt x="1" y="80"/>
                        </a:lnTo>
                        <a:lnTo>
                          <a:pt x="0" y="83"/>
                        </a:lnTo>
                        <a:lnTo>
                          <a:pt x="13" y="91"/>
                        </a:lnTo>
                        <a:lnTo>
                          <a:pt x="17" y="83"/>
                        </a:lnTo>
                        <a:lnTo>
                          <a:pt x="23" y="78"/>
                        </a:lnTo>
                        <a:lnTo>
                          <a:pt x="34" y="82"/>
                        </a:lnTo>
                        <a:lnTo>
                          <a:pt x="39" y="92"/>
                        </a:lnTo>
                        <a:lnTo>
                          <a:pt x="51" y="83"/>
                        </a:lnTo>
                        <a:lnTo>
                          <a:pt x="68" y="78"/>
                        </a:lnTo>
                        <a:lnTo>
                          <a:pt x="74" y="65"/>
                        </a:lnTo>
                        <a:lnTo>
                          <a:pt x="66" y="56"/>
                        </a:lnTo>
                        <a:lnTo>
                          <a:pt x="66" y="56"/>
                        </a:lnTo>
                        <a:close/>
                      </a:path>
                    </a:pathLst>
                  </a:custGeom>
                  <a:noFill/>
                  <a:ln w="3175" cap="flat" cmpd="sng">
                    <a:solidFill>
                      <a:schemeClr val="bg1"/>
                    </a:solidFill>
                    <a:prstDash val="solid"/>
                    <a:round/>
                    <a:headEnd type="none" w="med" len="med"/>
                    <a:tailEnd type="none" w="med" len="med"/>
                  </a:ln>
                  <a:effectLst/>
                  <a:extLst>
                    <a:ext uri="{909E8E84-426E-40DD-AFC4-6F175D3DCCD1}">
                      <a14:hiddenFill xmlns:a14="http://schemas.microsoft.com/office/drawing/2010/main">
                        <a:solidFill>
                          <a:schemeClr val="tx2">
                            <a:alpha val="50000"/>
                          </a:schemeClr>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8" name="Freeform 88"/>
                  <p:cNvSpPr>
                    <a:spLocks noChangeAspect="1"/>
                  </p:cNvSpPr>
                  <p:nvPr/>
                </p:nvSpPr>
                <p:spPr bwMode="gray">
                  <a:xfrm>
                    <a:off x="2684" y="2527"/>
                    <a:ext cx="190" cy="378"/>
                  </a:xfrm>
                  <a:custGeom>
                    <a:avLst/>
                    <a:gdLst>
                      <a:gd name="T0" fmla="*/ 31 w 31"/>
                      <a:gd name="T1" fmla="*/ 45 h 62"/>
                      <a:gd name="T2" fmla="*/ 28 w 31"/>
                      <a:gd name="T3" fmla="*/ 36 h 62"/>
                      <a:gd name="T4" fmla="*/ 23 w 31"/>
                      <a:gd name="T5" fmla="*/ 25 h 62"/>
                      <a:gd name="T6" fmla="*/ 26 w 31"/>
                      <a:gd name="T7" fmla="*/ 14 h 62"/>
                      <a:gd name="T8" fmla="*/ 21 w 31"/>
                      <a:gd name="T9" fmla="*/ 4 h 62"/>
                      <a:gd name="T10" fmla="*/ 10 w 31"/>
                      <a:gd name="T11" fmla="*/ 0 h 62"/>
                      <a:gd name="T12" fmla="*/ 4 w 31"/>
                      <a:gd name="T13" fmla="*/ 5 h 62"/>
                      <a:gd name="T14" fmla="*/ 0 w 31"/>
                      <a:gd name="T15" fmla="*/ 13 h 62"/>
                      <a:gd name="T16" fmla="*/ 5 w 31"/>
                      <a:gd name="T17" fmla="*/ 20 h 62"/>
                      <a:gd name="T18" fmla="*/ 6 w 31"/>
                      <a:gd name="T19" fmla="*/ 27 h 62"/>
                      <a:gd name="T20" fmla="*/ 4 w 31"/>
                      <a:gd name="T21" fmla="*/ 37 h 62"/>
                      <a:gd name="T22" fmla="*/ 6 w 31"/>
                      <a:gd name="T23" fmla="*/ 49 h 62"/>
                      <a:gd name="T24" fmla="*/ 16 w 31"/>
                      <a:gd name="T25" fmla="*/ 62 h 62"/>
                      <a:gd name="T26" fmla="*/ 23 w 31"/>
                      <a:gd name="T27" fmla="*/ 56 h 62"/>
                      <a:gd name="T28" fmla="*/ 31 w 31"/>
                      <a:gd name="T29" fmla="*/ 45 h 62"/>
                      <a:gd name="T30" fmla="*/ 31 w 31"/>
                      <a:gd name="T31" fmla="*/ 4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62">
                        <a:moveTo>
                          <a:pt x="31" y="45"/>
                        </a:moveTo>
                        <a:lnTo>
                          <a:pt x="28" y="36"/>
                        </a:lnTo>
                        <a:lnTo>
                          <a:pt x="23" y="25"/>
                        </a:lnTo>
                        <a:lnTo>
                          <a:pt x="26" y="14"/>
                        </a:lnTo>
                        <a:lnTo>
                          <a:pt x="21" y="4"/>
                        </a:lnTo>
                        <a:lnTo>
                          <a:pt x="10" y="0"/>
                        </a:lnTo>
                        <a:lnTo>
                          <a:pt x="4" y="5"/>
                        </a:lnTo>
                        <a:lnTo>
                          <a:pt x="0" y="13"/>
                        </a:lnTo>
                        <a:lnTo>
                          <a:pt x="5" y="20"/>
                        </a:lnTo>
                        <a:lnTo>
                          <a:pt x="6" y="27"/>
                        </a:lnTo>
                        <a:lnTo>
                          <a:pt x="4" y="37"/>
                        </a:lnTo>
                        <a:lnTo>
                          <a:pt x="6" y="49"/>
                        </a:lnTo>
                        <a:lnTo>
                          <a:pt x="16" y="62"/>
                        </a:lnTo>
                        <a:lnTo>
                          <a:pt x="23" y="56"/>
                        </a:lnTo>
                        <a:lnTo>
                          <a:pt x="31" y="45"/>
                        </a:lnTo>
                        <a:lnTo>
                          <a:pt x="31" y="45"/>
                        </a:lnTo>
                        <a:close/>
                      </a:path>
                    </a:pathLst>
                  </a:custGeom>
                  <a:noFill/>
                  <a:ln>
                    <a:noFill/>
                  </a:ln>
                  <a:effectLst/>
                  <a:extLst>
                    <a:ext uri="{909E8E84-426E-40DD-AFC4-6F175D3DCCD1}">
                      <a14:hiddenFill xmlns:a14="http://schemas.microsoft.com/office/drawing/2010/main">
                        <a:solidFill>
                          <a:schemeClr val="tx2">
                            <a:alpha val="50000"/>
                          </a:schemeClr>
                        </a:solidFill>
                      </a14:hiddenFill>
                    </a:ext>
                    <a:ext uri="{91240B29-F687-4F45-9708-019B960494DF}">
                      <a14:hiddenLine xmlns:a14="http://schemas.microsoft.com/office/drawing/2010/main" w="3175" cap="flat" cmpd="sng">
                        <a:solidFill>
                          <a:schemeClr val="bg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89" name="Freeform 89"/>
                  <p:cNvSpPr>
                    <a:spLocks noChangeAspect="1"/>
                  </p:cNvSpPr>
                  <p:nvPr/>
                </p:nvSpPr>
                <p:spPr bwMode="gray">
                  <a:xfrm>
                    <a:off x="3371" y="1754"/>
                    <a:ext cx="324" cy="398"/>
                  </a:xfrm>
                  <a:custGeom>
                    <a:avLst/>
                    <a:gdLst>
                      <a:gd name="T0" fmla="*/ 18 w 53"/>
                      <a:gd name="T1" fmla="*/ 22 h 65"/>
                      <a:gd name="T2" fmla="*/ 24 w 53"/>
                      <a:gd name="T3" fmla="*/ 47 h 65"/>
                      <a:gd name="T4" fmla="*/ 30 w 53"/>
                      <a:gd name="T5" fmla="*/ 54 h 65"/>
                      <a:gd name="T6" fmla="*/ 30 w 53"/>
                      <a:gd name="T7" fmla="*/ 64 h 65"/>
                      <a:gd name="T8" fmla="*/ 38 w 53"/>
                      <a:gd name="T9" fmla="*/ 65 h 65"/>
                      <a:gd name="T10" fmla="*/ 39 w 53"/>
                      <a:gd name="T11" fmla="*/ 53 h 65"/>
                      <a:gd name="T12" fmla="*/ 44 w 53"/>
                      <a:gd name="T13" fmla="*/ 43 h 65"/>
                      <a:gd name="T14" fmla="*/ 51 w 53"/>
                      <a:gd name="T15" fmla="*/ 43 h 65"/>
                      <a:gd name="T16" fmla="*/ 53 w 53"/>
                      <a:gd name="T17" fmla="*/ 37 h 65"/>
                      <a:gd name="T18" fmla="*/ 46 w 53"/>
                      <a:gd name="T19" fmla="*/ 31 h 65"/>
                      <a:gd name="T20" fmla="*/ 42 w 53"/>
                      <a:gd name="T21" fmla="*/ 11 h 65"/>
                      <a:gd name="T22" fmla="*/ 33 w 53"/>
                      <a:gd name="T23" fmla="*/ 0 h 65"/>
                      <a:gd name="T24" fmla="*/ 11 w 53"/>
                      <a:gd name="T25" fmla="*/ 0 h 65"/>
                      <a:gd name="T26" fmla="*/ 0 w 53"/>
                      <a:gd name="T27" fmla="*/ 6 h 65"/>
                      <a:gd name="T28" fmla="*/ 9 w 53"/>
                      <a:gd name="T29" fmla="*/ 9 h 65"/>
                      <a:gd name="T30" fmla="*/ 18 w 53"/>
                      <a:gd name="T31" fmla="*/ 22 h 65"/>
                      <a:gd name="T32" fmla="*/ 18 w 53"/>
                      <a:gd name="T33" fmla="*/ 22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5">
                        <a:moveTo>
                          <a:pt x="18" y="22"/>
                        </a:moveTo>
                        <a:lnTo>
                          <a:pt x="24" y="47"/>
                        </a:lnTo>
                        <a:lnTo>
                          <a:pt x="30" y="54"/>
                        </a:lnTo>
                        <a:lnTo>
                          <a:pt x="30" y="64"/>
                        </a:lnTo>
                        <a:lnTo>
                          <a:pt x="38" y="65"/>
                        </a:lnTo>
                        <a:lnTo>
                          <a:pt x="39" y="53"/>
                        </a:lnTo>
                        <a:lnTo>
                          <a:pt x="44" y="43"/>
                        </a:lnTo>
                        <a:lnTo>
                          <a:pt x="51" y="43"/>
                        </a:lnTo>
                        <a:lnTo>
                          <a:pt x="53" y="37"/>
                        </a:lnTo>
                        <a:lnTo>
                          <a:pt x="46" y="31"/>
                        </a:lnTo>
                        <a:lnTo>
                          <a:pt x="42" y="11"/>
                        </a:lnTo>
                        <a:lnTo>
                          <a:pt x="33" y="0"/>
                        </a:lnTo>
                        <a:lnTo>
                          <a:pt x="11" y="0"/>
                        </a:lnTo>
                        <a:lnTo>
                          <a:pt x="0" y="6"/>
                        </a:lnTo>
                        <a:lnTo>
                          <a:pt x="9" y="9"/>
                        </a:lnTo>
                        <a:lnTo>
                          <a:pt x="18" y="22"/>
                        </a:lnTo>
                        <a:lnTo>
                          <a:pt x="18" y="22"/>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90" name="Freeform 90"/>
                  <p:cNvSpPr>
                    <a:spLocks noChangeAspect="1"/>
                  </p:cNvSpPr>
                  <p:nvPr/>
                </p:nvSpPr>
                <p:spPr bwMode="gray">
                  <a:xfrm>
                    <a:off x="2973" y="1153"/>
                    <a:ext cx="1659" cy="1127"/>
                  </a:xfrm>
                  <a:custGeom>
                    <a:avLst/>
                    <a:gdLst>
                      <a:gd name="T0" fmla="*/ 248 w 270"/>
                      <a:gd name="T1" fmla="*/ 55 h 184"/>
                      <a:gd name="T2" fmla="*/ 226 w 270"/>
                      <a:gd name="T3" fmla="*/ 45 h 184"/>
                      <a:gd name="T4" fmla="*/ 194 w 270"/>
                      <a:gd name="T5" fmla="*/ 39 h 184"/>
                      <a:gd name="T6" fmla="*/ 182 w 270"/>
                      <a:gd name="T7" fmla="*/ 28 h 184"/>
                      <a:gd name="T8" fmla="*/ 154 w 270"/>
                      <a:gd name="T9" fmla="*/ 0 h 184"/>
                      <a:gd name="T10" fmla="*/ 128 w 270"/>
                      <a:gd name="T11" fmla="*/ 10 h 184"/>
                      <a:gd name="T12" fmla="*/ 125 w 270"/>
                      <a:gd name="T13" fmla="*/ 20 h 184"/>
                      <a:gd name="T14" fmla="*/ 92 w 270"/>
                      <a:gd name="T15" fmla="*/ 13 h 184"/>
                      <a:gd name="T16" fmla="*/ 74 w 270"/>
                      <a:gd name="T17" fmla="*/ 12 h 184"/>
                      <a:gd name="T18" fmla="*/ 55 w 270"/>
                      <a:gd name="T19" fmla="*/ 9 h 184"/>
                      <a:gd name="T20" fmla="*/ 29 w 270"/>
                      <a:gd name="T21" fmla="*/ 25 h 184"/>
                      <a:gd name="T22" fmla="*/ 9 w 270"/>
                      <a:gd name="T23" fmla="*/ 67 h 184"/>
                      <a:gd name="T24" fmla="*/ 3 w 270"/>
                      <a:gd name="T25" fmla="*/ 80 h 184"/>
                      <a:gd name="T26" fmla="*/ 13 w 270"/>
                      <a:gd name="T27" fmla="*/ 104 h 184"/>
                      <a:gd name="T28" fmla="*/ 39 w 270"/>
                      <a:gd name="T29" fmla="*/ 113 h 184"/>
                      <a:gd name="T30" fmla="*/ 65 w 270"/>
                      <a:gd name="T31" fmla="*/ 104 h 184"/>
                      <a:gd name="T32" fmla="*/ 98 w 270"/>
                      <a:gd name="T33" fmla="*/ 98 h 184"/>
                      <a:gd name="T34" fmla="*/ 111 w 270"/>
                      <a:gd name="T35" fmla="*/ 129 h 184"/>
                      <a:gd name="T36" fmla="*/ 116 w 270"/>
                      <a:gd name="T37" fmla="*/ 141 h 184"/>
                      <a:gd name="T38" fmla="*/ 104 w 270"/>
                      <a:gd name="T39" fmla="*/ 151 h 184"/>
                      <a:gd name="T40" fmla="*/ 111 w 270"/>
                      <a:gd name="T41" fmla="*/ 163 h 184"/>
                      <a:gd name="T42" fmla="*/ 122 w 270"/>
                      <a:gd name="T43" fmla="*/ 143 h 184"/>
                      <a:gd name="T44" fmla="*/ 137 w 270"/>
                      <a:gd name="T45" fmla="*/ 139 h 184"/>
                      <a:gd name="T46" fmla="*/ 143 w 270"/>
                      <a:gd name="T47" fmla="*/ 141 h 184"/>
                      <a:gd name="T48" fmla="*/ 153 w 270"/>
                      <a:gd name="T49" fmla="*/ 147 h 184"/>
                      <a:gd name="T50" fmla="*/ 171 w 270"/>
                      <a:gd name="T51" fmla="*/ 151 h 184"/>
                      <a:gd name="T52" fmla="*/ 161 w 270"/>
                      <a:gd name="T53" fmla="*/ 159 h 184"/>
                      <a:gd name="T54" fmla="*/ 158 w 270"/>
                      <a:gd name="T55" fmla="*/ 166 h 184"/>
                      <a:gd name="T56" fmla="*/ 167 w 270"/>
                      <a:gd name="T57" fmla="*/ 177 h 184"/>
                      <a:gd name="T58" fmla="*/ 181 w 270"/>
                      <a:gd name="T59" fmla="*/ 184 h 184"/>
                      <a:gd name="T60" fmla="*/ 201 w 270"/>
                      <a:gd name="T61" fmla="*/ 173 h 184"/>
                      <a:gd name="T62" fmla="*/ 212 w 270"/>
                      <a:gd name="T63" fmla="*/ 166 h 184"/>
                      <a:gd name="T64" fmla="*/ 192 w 270"/>
                      <a:gd name="T65" fmla="*/ 163 h 184"/>
                      <a:gd name="T66" fmla="*/ 177 w 270"/>
                      <a:gd name="T67" fmla="*/ 153 h 184"/>
                      <a:gd name="T68" fmla="*/ 192 w 270"/>
                      <a:gd name="T69" fmla="*/ 147 h 184"/>
                      <a:gd name="T70" fmla="*/ 196 w 270"/>
                      <a:gd name="T71" fmla="*/ 139 h 184"/>
                      <a:gd name="T72" fmla="*/ 221 w 270"/>
                      <a:gd name="T73" fmla="*/ 131 h 184"/>
                      <a:gd name="T74" fmla="*/ 241 w 270"/>
                      <a:gd name="T75" fmla="*/ 115 h 184"/>
                      <a:gd name="T76" fmla="*/ 259 w 270"/>
                      <a:gd name="T77" fmla="*/ 105 h 184"/>
                      <a:gd name="T78" fmla="*/ 270 w 270"/>
                      <a:gd name="T79" fmla="*/ 76 h 184"/>
                      <a:gd name="T80" fmla="*/ 257 w 270"/>
                      <a:gd name="T81" fmla="*/ 6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0" h="184">
                        <a:moveTo>
                          <a:pt x="257" y="64"/>
                        </a:moveTo>
                        <a:lnTo>
                          <a:pt x="248" y="55"/>
                        </a:lnTo>
                        <a:lnTo>
                          <a:pt x="238" y="55"/>
                        </a:lnTo>
                        <a:lnTo>
                          <a:pt x="226" y="45"/>
                        </a:lnTo>
                        <a:lnTo>
                          <a:pt x="201" y="47"/>
                        </a:lnTo>
                        <a:lnTo>
                          <a:pt x="194" y="39"/>
                        </a:lnTo>
                        <a:lnTo>
                          <a:pt x="193" y="31"/>
                        </a:lnTo>
                        <a:lnTo>
                          <a:pt x="182" y="28"/>
                        </a:lnTo>
                        <a:lnTo>
                          <a:pt x="175" y="2"/>
                        </a:lnTo>
                        <a:lnTo>
                          <a:pt x="154" y="0"/>
                        </a:lnTo>
                        <a:lnTo>
                          <a:pt x="143" y="6"/>
                        </a:lnTo>
                        <a:lnTo>
                          <a:pt x="128" y="10"/>
                        </a:lnTo>
                        <a:lnTo>
                          <a:pt x="127" y="12"/>
                        </a:lnTo>
                        <a:lnTo>
                          <a:pt x="125" y="20"/>
                        </a:lnTo>
                        <a:lnTo>
                          <a:pt x="116" y="22"/>
                        </a:lnTo>
                        <a:lnTo>
                          <a:pt x="92" y="13"/>
                        </a:lnTo>
                        <a:lnTo>
                          <a:pt x="85" y="16"/>
                        </a:lnTo>
                        <a:lnTo>
                          <a:pt x="74" y="12"/>
                        </a:lnTo>
                        <a:lnTo>
                          <a:pt x="65" y="13"/>
                        </a:lnTo>
                        <a:lnTo>
                          <a:pt x="55" y="9"/>
                        </a:lnTo>
                        <a:lnTo>
                          <a:pt x="44" y="10"/>
                        </a:lnTo>
                        <a:lnTo>
                          <a:pt x="29" y="25"/>
                        </a:lnTo>
                        <a:lnTo>
                          <a:pt x="32" y="44"/>
                        </a:lnTo>
                        <a:lnTo>
                          <a:pt x="9" y="67"/>
                        </a:lnTo>
                        <a:lnTo>
                          <a:pt x="11" y="74"/>
                        </a:lnTo>
                        <a:lnTo>
                          <a:pt x="3" y="80"/>
                        </a:lnTo>
                        <a:lnTo>
                          <a:pt x="0" y="93"/>
                        </a:lnTo>
                        <a:lnTo>
                          <a:pt x="13" y="104"/>
                        </a:lnTo>
                        <a:lnTo>
                          <a:pt x="24" y="107"/>
                        </a:lnTo>
                        <a:lnTo>
                          <a:pt x="39" y="113"/>
                        </a:lnTo>
                        <a:lnTo>
                          <a:pt x="54" y="109"/>
                        </a:lnTo>
                        <a:lnTo>
                          <a:pt x="65" y="104"/>
                        </a:lnTo>
                        <a:lnTo>
                          <a:pt x="76" y="98"/>
                        </a:lnTo>
                        <a:lnTo>
                          <a:pt x="98" y="98"/>
                        </a:lnTo>
                        <a:lnTo>
                          <a:pt x="107" y="109"/>
                        </a:lnTo>
                        <a:lnTo>
                          <a:pt x="111" y="129"/>
                        </a:lnTo>
                        <a:lnTo>
                          <a:pt x="118" y="135"/>
                        </a:lnTo>
                        <a:lnTo>
                          <a:pt x="116" y="141"/>
                        </a:lnTo>
                        <a:lnTo>
                          <a:pt x="109" y="141"/>
                        </a:lnTo>
                        <a:lnTo>
                          <a:pt x="104" y="151"/>
                        </a:lnTo>
                        <a:lnTo>
                          <a:pt x="103" y="163"/>
                        </a:lnTo>
                        <a:lnTo>
                          <a:pt x="111" y="163"/>
                        </a:lnTo>
                        <a:lnTo>
                          <a:pt x="122" y="151"/>
                        </a:lnTo>
                        <a:lnTo>
                          <a:pt x="122" y="143"/>
                        </a:lnTo>
                        <a:lnTo>
                          <a:pt x="132" y="143"/>
                        </a:lnTo>
                        <a:lnTo>
                          <a:pt x="137" y="139"/>
                        </a:lnTo>
                        <a:lnTo>
                          <a:pt x="142" y="139"/>
                        </a:lnTo>
                        <a:lnTo>
                          <a:pt x="143" y="141"/>
                        </a:lnTo>
                        <a:lnTo>
                          <a:pt x="145" y="145"/>
                        </a:lnTo>
                        <a:lnTo>
                          <a:pt x="153" y="147"/>
                        </a:lnTo>
                        <a:lnTo>
                          <a:pt x="164" y="147"/>
                        </a:lnTo>
                        <a:lnTo>
                          <a:pt x="171" y="151"/>
                        </a:lnTo>
                        <a:lnTo>
                          <a:pt x="171" y="155"/>
                        </a:lnTo>
                        <a:lnTo>
                          <a:pt x="161" y="159"/>
                        </a:lnTo>
                        <a:lnTo>
                          <a:pt x="158" y="161"/>
                        </a:lnTo>
                        <a:lnTo>
                          <a:pt x="158" y="166"/>
                        </a:lnTo>
                        <a:lnTo>
                          <a:pt x="169" y="169"/>
                        </a:lnTo>
                        <a:lnTo>
                          <a:pt x="167" y="177"/>
                        </a:lnTo>
                        <a:lnTo>
                          <a:pt x="171" y="184"/>
                        </a:lnTo>
                        <a:lnTo>
                          <a:pt x="181" y="184"/>
                        </a:lnTo>
                        <a:lnTo>
                          <a:pt x="192" y="177"/>
                        </a:lnTo>
                        <a:lnTo>
                          <a:pt x="201" y="173"/>
                        </a:lnTo>
                        <a:lnTo>
                          <a:pt x="212" y="172"/>
                        </a:lnTo>
                        <a:lnTo>
                          <a:pt x="212" y="166"/>
                        </a:lnTo>
                        <a:lnTo>
                          <a:pt x="207" y="166"/>
                        </a:lnTo>
                        <a:lnTo>
                          <a:pt x="192" y="163"/>
                        </a:lnTo>
                        <a:lnTo>
                          <a:pt x="188" y="158"/>
                        </a:lnTo>
                        <a:lnTo>
                          <a:pt x="177" y="153"/>
                        </a:lnTo>
                        <a:lnTo>
                          <a:pt x="175" y="150"/>
                        </a:lnTo>
                        <a:lnTo>
                          <a:pt x="192" y="147"/>
                        </a:lnTo>
                        <a:lnTo>
                          <a:pt x="196" y="143"/>
                        </a:lnTo>
                        <a:lnTo>
                          <a:pt x="196" y="139"/>
                        </a:lnTo>
                        <a:lnTo>
                          <a:pt x="215" y="139"/>
                        </a:lnTo>
                        <a:lnTo>
                          <a:pt x="221" y="131"/>
                        </a:lnTo>
                        <a:lnTo>
                          <a:pt x="232" y="132"/>
                        </a:lnTo>
                        <a:lnTo>
                          <a:pt x="241" y="115"/>
                        </a:lnTo>
                        <a:lnTo>
                          <a:pt x="252" y="104"/>
                        </a:lnTo>
                        <a:lnTo>
                          <a:pt x="259" y="105"/>
                        </a:lnTo>
                        <a:lnTo>
                          <a:pt x="262" y="87"/>
                        </a:lnTo>
                        <a:lnTo>
                          <a:pt x="270" y="76"/>
                        </a:lnTo>
                        <a:lnTo>
                          <a:pt x="257" y="64"/>
                        </a:lnTo>
                        <a:lnTo>
                          <a:pt x="257" y="64"/>
                        </a:lnTo>
                        <a:close/>
                      </a:path>
                    </a:pathLst>
                  </a:custGeom>
                  <a:solidFill>
                    <a:schemeClr val="bg2"/>
                  </a:solid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grpSp>
        </p:grpSp>
        <p:grpSp>
          <p:nvGrpSpPr>
            <p:cNvPr id="31" name="Group 118"/>
            <p:cNvGrpSpPr>
              <a:grpSpLocks/>
            </p:cNvGrpSpPr>
            <p:nvPr/>
          </p:nvGrpSpPr>
          <p:grpSpPr bwMode="auto">
            <a:xfrm>
              <a:off x="2100" y="2609"/>
              <a:ext cx="1831" cy="1211"/>
              <a:chOff x="1634" y="2088"/>
              <a:chExt cx="2544" cy="1683"/>
            </a:xfrm>
          </p:grpSpPr>
          <p:grpSp>
            <p:nvGrpSpPr>
              <p:cNvPr id="41" name="Group 119"/>
              <p:cNvGrpSpPr>
                <a:grpSpLocks/>
              </p:cNvGrpSpPr>
              <p:nvPr/>
            </p:nvGrpSpPr>
            <p:grpSpPr bwMode="auto">
              <a:xfrm>
                <a:off x="1701" y="2088"/>
                <a:ext cx="2477" cy="1683"/>
                <a:chOff x="1701" y="2088"/>
                <a:chExt cx="2477" cy="1683"/>
              </a:xfrm>
            </p:grpSpPr>
            <p:sp>
              <p:nvSpPr>
                <p:cNvPr id="45" name="Oval 120"/>
                <p:cNvSpPr>
                  <a:spLocks noChangeArrowheads="1"/>
                </p:cNvSpPr>
                <p:nvPr/>
              </p:nvSpPr>
              <p:spPr bwMode="gray">
                <a:xfrm>
                  <a:off x="3242" y="3268"/>
                  <a:ext cx="45" cy="45"/>
                </a:xfrm>
                <a:prstGeom prst="ellipse">
                  <a:avLst/>
                </a:prstGeom>
                <a:solidFill>
                  <a:schemeClr val="folHlink"/>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46" name="Oval 121"/>
                <p:cNvSpPr>
                  <a:spLocks noChangeArrowheads="1"/>
                </p:cNvSpPr>
                <p:nvPr/>
              </p:nvSpPr>
              <p:spPr bwMode="gray">
                <a:xfrm>
                  <a:off x="2879" y="2894"/>
                  <a:ext cx="45" cy="45"/>
                </a:xfrm>
                <a:prstGeom prst="ellipse">
                  <a:avLst/>
                </a:prstGeom>
                <a:solidFill>
                  <a:schemeClr val="folHlink"/>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47" name="Oval 122"/>
                <p:cNvSpPr>
                  <a:spLocks noChangeArrowheads="1"/>
                </p:cNvSpPr>
                <p:nvPr/>
              </p:nvSpPr>
              <p:spPr bwMode="gray">
                <a:xfrm>
                  <a:off x="2803" y="3077"/>
                  <a:ext cx="45" cy="45"/>
                </a:xfrm>
                <a:prstGeom prst="ellipse">
                  <a:avLst/>
                </a:prstGeom>
                <a:solidFill>
                  <a:schemeClr val="folHlink"/>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48" name="Oval 123"/>
                <p:cNvSpPr>
                  <a:spLocks noChangeArrowheads="1"/>
                </p:cNvSpPr>
                <p:nvPr/>
              </p:nvSpPr>
              <p:spPr bwMode="gray">
                <a:xfrm>
                  <a:off x="3009" y="2088"/>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49" name="Oval 124"/>
                <p:cNvSpPr>
                  <a:spLocks noChangeArrowheads="1"/>
                </p:cNvSpPr>
                <p:nvPr/>
              </p:nvSpPr>
              <p:spPr bwMode="gray">
                <a:xfrm>
                  <a:off x="2100" y="2850"/>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0" name="Oval 125"/>
                <p:cNvSpPr>
                  <a:spLocks noChangeArrowheads="1"/>
                </p:cNvSpPr>
                <p:nvPr/>
              </p:nvSpPr>
              <p:spPr bwMode="gray">
                <a:xfrm>
                  <a:off x="2835" y="3113"/>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1" name="Oval 126"/>
                <p:cNvSpPr>
                  <a:spLocks noChangeArrowheads="1"/>
                </p:cNvSpPr>
                <p:nvPr/>
              </p:nvSpPr>
              <p:spPr bwMode="gray">
                <a:xfrm>
                  <a:off x="2957" y="3515"/>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2" name="Oval 127"/>
                <p:cNvSpPr>
                  <a:spLocks noChangeArrowheads="1"/>
                </p:cNvSpPr>
                <p:nvPr/>
              </p:nvSpPr>
              <p:spPr bwMode="gray">
                <a:xfrm>
                  <a:off x="3019" y="3644"/>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3" name="Oval 128"/>
                <p:cNvSpPr>
                  <a:spLocks noChangeArrowheads="1"/>
                </p:cNvSpPr>
                <p:nvPr/>
              </p:nvSpPr>
              <p:spPr bwMode="gray">
                <a:xfrm>
                  <a:off x="3180" y="3298"/>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4" name="Oval 129"/>
                <p:cNvSpPr>
                  <a:spLocks noChangeArrowheads="1"/>
                </p:cNvSpPr>
                <p:nvPr/>
              </p:nvSpPr>
              <p:spPr bwMode="gray">
                <a:xfrm>
                  <a:off x="3046" y="3513"/>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5" name="Oval 130"/>
                <p:cNvSpPr>
                  <a:spLocks noChangeArrowheads="1"/>
                </p:cNvSpPr>
                <p:nvPr/>
              </p:nvSpPr>
              <p:spPr bwMode="gray">
                <a:xfrm>
                  <a:off x="3102" y="3433"/>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6" name="Oval 131"/>
                <p:cNvSpPr>
                  <a:spLocks noChangeArrowheads="1"/>
                </p:cNvSpPr>
                <p:nvPr/>
              </p:nvSpPr>
              <p:spPr bwMode="gray">
                <a:xfrm>
                  <a:off x="3125" y="3202"/>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7" name="Oval 132"/>
                <p:cNvSpPr>
                  <a:spLocks noChangeArrowheads="1"/>
                </p:cNvSpPr>
                <p:nvPr/>
              </p:nvSpPr>
              <p:spPr bwMode="gray">
                <a:xfrm>
                  <a:off x="2937" y="2840"/>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8" name="Oval 133"/>
                <p:cNvSpPr>
                  <a:spLocks noChangeArrowheads="1"/>
                </p:cNvSpPr>
                <p:nvPr/>
              </p:nvSpPr>
              <p:spPr bwMode="gray">
                <a:xfrm>
                  <a:off x="3655" y="3677"/>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59" name="Oval 134"/>
                <p:cNvSpPr>
                  <a:spLocks noChangeArrowheads="1"/>
                </p:cNvSpPr>
                <p:nvPr/>
              </p:nvSpPr>
              <p:spPr bwMode="gray">
                <a:xfrm>
                  <a:off x="4133" y="3726"/>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0" name="Oval 135"/>
                <p:cNvSpPr>
                  <a:spLocks noChangeArrowheads="1"/>
                </p:cNvSpPr>
                <p:nvPr/>
              </p:nvSpPr>
              <p:spPr bwMode="gray">
                <a:xfrm>
                  <a:off x="2524" y="3042"/>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1" name="Oval 136"/>
                <p:cNvSpPr>
                  <a:spLocks noChangeArrowheads="1"/>
                </p:cNvSpPr>
                <p:nvPr/>
              </p:nvSpPr>
              <p:spPr bwMode="gray">
                <a:xfrm>
                  <a:off x="2434" y="3034"/>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2" name="Oval 137"/>
                <p:cNvSpPr>
                  <a:spLocks noChangeArrowheads="1"/>
                </p:cNvSpPr>
                <p:nvPr/>
              </p:nvSpPr>
              <p:spPr bwMode="gray">
                <a:xfrm>
                  <a:off x="2981" y="2860"/>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3" name="Oval 138"/>
                <p:cNvSpPr>
                  <a:spLocks noChangeArrowheads="1"/>
                </p:cNvSpPr>
                <p:nvPr/>
              </p:nvSpPr>
              <p:spPr bwMode="gray">
                <a:xfrm>
                  <a:off x="3153" y="3429"/>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4" name="Oval 139"/>
                <p:cNvSpPr>
                  <a:spLocks noChangeArrowheads="1"/>
                </p:cNvSpPr>
                <p:nvPr/>
              </p:nvSpPr>
              <p:spPr bwMode="gray">
                <a:xfrm>
                  <a:off x="1746" y="3567"/>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5" name="Oval 140"/>
                <p:cNvSpPr>
                  <a:spLocks noChangeArrowheads="1"/>
                </p:cNvSpPr>
                <p:nvPr/>
              </p:nvSpPr>
              <p:spPr bwMode="gray">
                <a:xfrm>
                  <a:off x="1701" y="3043"/>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6" name="Oval 141"/>
                <p:cNvSpPr>
                  <a:spLocks noChangeArrowheads="1"/>
                </p:cNvSpPr>
                <p:nvPr/>
              </p:nvSpPr>
              <p:spPr bwMode="gray">
                <a:xfrm>
                  <a:off x="2113" y="3499"/>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7" name="Oval 142"/>
                <p:cNvSpPr>
                  <a:spLocks noChangeArrowheads="1"/>
                </p:cNvSpPr>
                <p:nvPr/>
              </p:nvSpPr>
              <p:spPr bwMode="gray">
                <a:xfrm>
                  <a:off x="2154" y="3385"/>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8" name="Oval 143"/>
                <p:cNvSpPr>
                  <a:spLocks noChangeArrowheads="1"/>
                </p:cNvSpPr>
                <p:nvPr/>
              </p:nvSpPr>
              <p:spPr bwMode="gray">
                <a:xfrm>
                  <a:off x="2290" y="3203"/>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69" name="Oval 144"/>
                <p:cNvSpPr>
                  <a:spLocks noChangeArrowheads="1"/>
                </p:cNvSpPr>
                <p:nvPr/>
              </p:nvSpPr>
              <p:spPr bwMode="gray">
                <a:xfrm>
                  <a:off x="1962" y="3051"/>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70" name="Oval 145"/>
                <p:cNvSpPr>
                  <a:spLocks noChangeArrowheads="1"/>
                </p:cNvSpPr>
                <p:nvPr/>
              </p:nvSpPr>
              <p:spPr bwMode="gray">
                <a:xfrm>
                  <a:off x="2182" y="2359"/>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71" name="Oval 146"/>
                <p:cNvSpPr>
                  <a:spLocks noChangeArrowheads="1"/>
                </p:cNvSpPr>
                <p:nvPr/>
              </p:nvSpPr>
              <p:spPr bwMode="gray">
                <a:xfrm>
                  <a:off x="2338" y="2359"/>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72" name="Oval 147"/>
                <p:cNvSpPr>
                  <a:spLocks noChangeArrowheads="1"/>
                </p:cNvSpPr>
                <p:nvPr/>
              </p:nvSpPr>
              <p:spPr bwMode="gray">
                <a:xfrm>
                  <a:off x="3560" y="3475"/>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grpSp>
          <p:grpSp>
            <p:nvGrpSpPr>
              <p:cNvPr id="42" name="Group 148"/>
              <p:cNvGrpSpPr>
                <a:grpSpLocks/>
              </p:cNvGrpSpPr>
              <p:nvPr/>
            </p:nvGrpSpPr>
            <p:grpSpPr bwMode="auto">
              <a:xfrm>
                <a:off x="1634" y="3050"/>
                <a:ext cx="891" cy="494"/>
                <a:chOff x="1634" y="3050"/>
                <a:chExt cx="891" cy="494"/>
              </a:xfrm>
            </p:grpSpPr>
            <p:sp>
              <p:nvSpPr>
                <p:cNvPr id="43" name="Oval 149"/>
                <p:cNvSpPr>
                  <a:spLocks noChangeArrowheads="1"/>
                </p:cNvSpPr>
                <p:nvPr/>
              </p:nvSpPr>
              <p:spPr bwMode="gray">
                <a:xfrm>
                  <a:off x="1634" y="3499"/>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sp>
              <p:nvSpPr>
                <p:cNvPr id="44" name="Oval 150"/>
                <p:cNvSpPr>
                  <a:spLocks noChangeArrowheads="1"/>
                </p:cNvSpPr>
                <p:nvPr/>
              </p:nvSpPr>
              <p:spPr bwMode="gray">
                <a:xfrm>
                  <a:off x="2480" y="3050"/>
                  <a:ext cx="45" cy="45"/>
                </a:xfrm>
                <a:prstGeom prst="ellipse">
                  <a:avLst/>
                </a:prstGeom>
                <a:solidFill>
                  <a:schemeClr val="folHlink"/>
                </a:solidFill>
                <a:ln w="12700">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cs-CZ"/>
                </a:p>
              </p:txBody>
            </p:sp>
          </p:grpSp>
        </p:grpSp>
        <p:grpSp>
          <p:nvGrpSpPr>
            <p:cNvPr id="32" name="Group 151"/>
            <p:cNvGrpSpPr>
              <a:grpSpLocks/>
            </p:cNvGrpSpPr>
            <p:nvPr/>
          </p:nvGrpSpPr>
          <p:grpSpPr bwMode="auto">
            <a:xfrm>
              <a:off x="3151" y="3036"/>
              <a:ext cx="1393" cy="484"/>
              <a:chOff x="3119" y="2686"/>
              <a:chExt cx="1893" cy="658"/>
            </a:xfrm>
          </p:grpSpPr>
          <p:sp>
            <p:nvSpPr>
              <p:cNvPr id="38" name="Freeform 152"/>
              <p:cNvSpPr>
                <a:spLocks noChangeAspect="1"/>
              </p:cNvSpPr>
              <p:nvPr/>
            </p:nvSpPr>
            <p:spPr bwMode="gray">
              <a:xfrm>
                <a:off x="3119" y="2798"/>
                <a:ext cx="1893" cy="539"/>
              </a:xfrm>
              <a:custGeom>
                <a:avLst/>
                <a:gdLst>
                  <a:gd name="T0" fmla="*/ 1893 w 1893"/>
                  <a:gd name="T1" fmla="*/ 462 h 539"/>
                  <a:gd name="T2" fmla="*/ 1826 w 1893"/>
                  <a:gd name="T3" fmla="*/ 462 h 539"/>
                  <a:gd name="T4" fmla="*/ 1624 w 1893"/>
                  <a:gd name="T5" fmla="*/ 536 h 539"/>
                  <a:gd name="T6" fmla="*/ 1219 w 1893"/>
                  <a:gd name="T7" fmla="*/ 462 h 539"/>
                  <a:gd name="T8" fmla="*/ 746 w 1893"/>
                  <a:gd name="T9" fmla="*/ 462 h 539"/>
                  <a:gd name="T10" fmla="*/ 0 w 1893"/>
                  <a:gd name="T11" fmla="*/ 0 h 539"/>
                </a:gdLst>
                <a:ahLst/>
                <a:cxnLst>
                  <a:cxn ang="0">
                    <a:pos x="T0" y="T1"/>
                  </a:cxn>
                  <a:cxn ang="0">
                    <a:pos x="T2" y="T3"/>
                  </a:cxn>
                  <a:cxn ang="0">
                    <a:pos x="T4" y="T5"/>
                  </a:cxn>
                  <a:cxn ang="0">
                    <a:pos x="T6" y="T7"/>
                  </a:cxn>
                  <a:cxn ang="0">
                    <a:pos x="T8" y="T9"/>
                  </a:cxn>
                  <a:cxn ang="0">
                    <a:pos x="T10" y="T11"/>
                  </a:cxn>
                </a:cxnLst>
                <a:rect l="0" t="0" r="r" b="b"/>
                <a:pathLst>
                  <a:path w="1893" h="539">
                    <a:moveTo>
                      <a:pt x="1893" y="462"/>
                    </a:moveTo>
                    <a:cubicBezTo>
                      <a:pt x="1881" y="455"/>
                      <a:pt x="1871" y="449"/>
                      <a:pt x="1826" y="462"/>
                    </a:cubicBezTo>
                    <a:cubicBezTo>
                      <a:pt x="1781" y="475"/>
                      <a:pt x="1725" y="536"/>
                      <a:pt x="1624" y="536"/>
                    </a:cubicBezTo>
                    <a:cubicBezTo>
                      <a:pt x="1523" y="536"/>
                      <a:pt x="1365" y="475"/>
                      <a:pt x="1219" y="462"/>
                    </a:cubicBezTo>
                    <a:cubicBezTo>
                      <a:pt x="1073" y="449"/>
                      <a:pt x="949" y="539"/>
                      <a:pt x="746" y="462"/>
                    </a:cubicBezTo>
                    <a:cubicBezTo>
                      <a:pt x="543" y="385"/>
                      <a:pt x="155" y="96"/>
                      <a:pt x="0" y="0"/>
                    </a:cubicBezTo>
                  </a:path>
                </a:pathLst>
              </a:custGeom>
              <a:noFill/>
              <a:ln w="76200" cap="flat" cmpd="sng">
                <a:solidFill>
                  <a:srgbClr val="5F88BA"/>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39" name="Freeform 153"/>
              <p:cNvSpPr>
                <a:spLocks noChangeAspect="1"/>
              </p:cNvSpPr>
              <p:nvPr/>
            </p:nvSpPr>
            <p:spPr bwMode="gray">
              <a:xfrm>
                <a:off x="3224" y="3237"/>
                <a:ext cx="1788" cy="107"/>
              </a:xfrm>
              <a:custGeom>
                <a:avLst/>
                <a:gdLst>
                  <a:gd name="T0" fmla="*/ 1788 w 1788"/>
                  <a:gd name="T1" fmla="*/ 13 h 107"/>
                  <a:gd name="T2" fmla="*/ 1721 w 1788"/>
                  <a:gd name="T3" fmla="*/ 13 h 107"/>
                  <a:gd name="T4" fmla="*/ 1519 w 1788"/>
                  <a:gd name="T5" fmla="*/ 87 h 107"/>
                  <a:gd name="T6" fmla="*/ 1114 w 1788"/>
                  <a:gd name="T7" fmla="*/ 13 h 107"/>
                  <a:gd name="T8" fmla="*/ 596 w 1788"/>
                  <a:gd name="T9" fmla="*/ 20 h 107"/>
                  <a:gd name="T10" fmla="*/ 0 w 1788"/>
                  <a:gd name="T11" fmla="*/ 99 h 107"/>
                </a:gdLst>
                <a:ahLst/>
                <a:cxnLst>
                  <a:cxn ang="0">
                    <a:pos x="T0" y="T1"/>
                  </a:cxn>
                  <a:cxn ang="0">
                    <a:pos x="T2" y="T3"/>
                  </a:cxn>
                  <a:cxn ang="0">
                    <a:pos x="T4" y="T5"/>
                  </a:cxn>
                  <a:cxn ang="0">
                    <a:pos x="T6" y="T7"/>
                  </a:cxn>
                  <a:cxn ang="0">
                    <a:pos x="T8" y="T9"/>
                  </a:cxn>
                  <a:cxn ang="0">
                    <a:pos x="T10" y="T11"/>
                  </a:cxn>
                </a:cxnLst>
                <a:rect l="0" t="0" r="r" b="b"/>
                <a:pathLst>
                  <a:path w="1788" h="107">
                    <a:moveTo>
                      <a:pt x="1788" y="13"/>
                    </a:moveTo>
                    <a:cubicBezTo>
                      <a:pt x="1776" y="6"/>
                      <a:pt x="1766" y="0"/>
                      <a:pt x="1721" y="13"/>
                    </a:cubicBezTo>
                    <a:cubicBezTo>
                      <a:pt x="1676" y="26"/>
                      <a:pt x="1620" y="87"/>
                      <a:pt x="1519" y="87"/>
                    </a:cubicBezTo>
                    <a:cubicBezTo>
                      <a:pt x="1418" y="87"/>
                      <a:pt x="1268" y="24"/>
                      <a:pt x="1114" y="13"/>
                    </a:cubicBezTo>
                    <a:cubicBezTo>
                      <a:pt x="960" y="2"/>
                      <a:pt x="883" y="107"/>
                      <a:pt x="596" y="20"/>
                    </a:cubicBezTo>
                    <a:cubicBezTo>
                      <a:pt x="441" y="23"/>
                      <a:pt x="124" y="83"/>
                      <a:pt x="0" y="99"/>
                    </a:cubicBezTo>
                  </a:path>
                </a:pathLst>
              </a:custGeom>
              <a:noFill/>
              <a:ln w="76200" cap="flat" cmpd="sng">
                <a:solidFill>
                  <a:srgbClr val="5F88BA"/>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40" name="Freeform 154"/>
              <p:cNvSpPr>
                <a:spLocks noChangeAspect="1"/>
              </p:cNvSpPr>
              <p:nvPr/>
            </p:nvSpPr>
            <p:spPr bwMode="gray">
              <a:xfrm>
                <a:off x="3179" y="2686"/>
                <a:ext cx="1833" cy="643"/>
              </a:xfrm>
              <a:custGeom>
                <a:avLst/>
                <a:gdLst>
                  <a:gd name="T0" fmla="*/ 1833 w 1833"/>
                  <a:gd name="T1" fmla="*/ 569 h 643"/>
                  <a:gd name="T2" fmla="*/ 1766 w 1833"/>
                  <a:gd name="T3" fmla="*/ 569 h 643"/>
                  <a:gd name="T4" fmla="*/ 1564 w 1833"/>
                  <a:gd name="T5" fmla="*/ 643 h 643"/>
                  <a:gd name="T6" fmla="*/ 1159 w 1833"/>
                  <a:gd name="T7" fmla="*/ 569 h 643"/>
                  <a:gd name="T8" fmla="*/ 686 w 1833"/>
                  <a:gd name="T9" fmla="*/ 569 h 643"/>
                  <a:gd name="T10" fmla="*/ 389 w 1833"/>
                  <a:gd name="T11" fmla="*/ 134 h 643"/>
                  <a:gd name="T12" fmla="*/ 0 w 1833"/>
                  <a:gd name="T13" fmla="*/ 0 h 643"/>
                </a:gdLst>
                <a:ahLst/>
                <a:cxnLst>
                  <a:cxn ang="0">
                    <a:pos x="T0" y="T1"/>
                  </a:cxn>
                  <a:cxn ang="0">
                    <a:pos x="T2" y="T3"/>
                  </a:cxn>
                  <a:cxn ang="0">
                    <a:pos x="T4" y="T5"/>
                  </a:cxn>
                  <a:cxn ang="0">
                    <a:pos x="T6" y="T7"/>
                  </a:cxn>
                  <a:cxn ang="0">
                    <a:pos x="T8" y="T9"/>
                  </a:cxn>
                  <a:cxn ang="0">
                    <a:pos x="T10" y="T11"/>
                  </a:cxn>
                  <a:cxn ang="0">
                    <a:pos x="T12" y="T13"/>
                  </a:cxn>
                </a:cxnLst>
                <a:rect l="0" t="0" r="r" b="b"/>
                <a:pathLst>
                  <a:path w="1833" h="643">
                    <a:moveTo>
                      <a:pt x="1833" y="569"/>
                    </a:moveTo>
                    <a:cubicBezTo>
                      <a:pt x="1821" y="562"/>
                      <a:pt x="1811" y="556"/>
                      <a:pt x="1766" y="569"/>
                    </a:cubicBezTo>
                    <a:cubicBezTo>
                      <a:pt x="1721" y="582"/>
                      <a:pt x="1665" y="643"/>
                      <a:pt x="1564" y="643"/>
                    </a:cubicBezTo>
                    <a:cubicBezTo>
                      <a:pt x="1463" y="643"/>
                      <a:pt x="1305" y="582"/>
                      <a:pt x="1159" y="569"/>
                    </a:cubicBezTo>
                    <a:cubicBezTo>
                      <a:pt x="1013" y="556"/>
                      <a:pt x="814" y="642"/>
                      <a:pt x="686" y="569"/>
                    </a:cubicBezTo>
                    <a:cubicBezTo>
                      <a:pt x="558" y="496"/>
                      <a:pt x="503" y="229"/>
                      <a:pt x="389" y="134"/>
                    </a:cubicBezTo>
                    <a:cubicBezTo>
                      <a:pt x="275" y="39"/>
                      <a:pt x="81" y="28"/>
                      <a:pt x="0" y="0"/>
                    </a:cubicBezTo>
                  </a:path>
                </a:pathLst>
              </a:custGeom>
              <a:noFill/>
              <a:ln w="76200" cap="flat" cmpd="sng">
                <a:solidFill>
                  <a:srgbClr val="5F88BA"/>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grpSp>
        <p:sp>
          <p:nvSpPr>
            <p:cNvPr id="33" name="Line 155"/>
            <p:cNvSpPr>
              <a:spLocks noChangeShapeType="1"/>
            </p:cNvSpPr>
            <p:nvPr/>
          </p:nvSpPr>
          <p:spPr bwMode="gray">
            <a:xfrm rot="15050591" flipH="1">
              <a:off x="3083" y="2938"/>
              <a:ext cx="380" cy="29"/>
            </a:xfrm>
            <a:prstGeom prst="line">
              <a:avLst/>
            </a:prstGeom>
            <a:noFill/>
            <a:ln w="101600">
              <a:solidFill>
                <a:srgbClr val="CC9900"/>
              </a:solidFill>
              <a:round/>
              <a:headEnd type="triangle" w="med" len="sm"/>
              <a:tailEnd type="triangle"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34" name="Freeform 156"/>
            <p:cNvSpPr>
              <a:spLocks/>
            </p:cNvSpPr>
            <p:nvPr/>
          </p:nvSpPr>
          <p:spPr bwMode="gray">
            <a:xfrm>
              <a:off x="2387" y="3312"/>
              <a:ext cx="242" cy="454"/>
            </a:xfrm>
            <a:custGeom>
              <a:avLst/>
              <a:gdLst>
                <a:gd name="T0" fmla="*/ 151 w 242"/>
                <a:gd name="T1" fmla="*/ 454 h 454"/>
                <a:gd name="T2" fmla="*/ 15 w 242"/>
                <a:gd name="T3" fmla="*/ 317 h 454"/>
                <a:gd name="T4" fmla="*/ 242 w 242"/>
                <a:gd name="T5" fmla="*/ 0 h 454"/>
              </a:gdLst>
              <a:ahLst/>
              <a:cxnLst>
                <a:cxn ang="0">
                  <a:pos x="T0" y="T1"/>
                </a:cxn>
                <a:cxn ang="0">
                  <a:pos x="T2" y="T3"/>
                </a:cxn>
                <a:cxn ang="0">
                  <a:pos x="T4" y="T5"/>
                </a:cxn>
              </a:cxnLst>
              <a:rect l="0" t="0" r="r" b="b"/>
              <a:pathLst>
                <a:path w="242" h="454">
                  <a:moveTo>
                    <a:pt x="151" y="454"/>
                  </a:moveTo>
                  <a:cubicBezTo>
                    <a:pt x="75" y="423"/>
                    <a:pt x="0" y="393"/>
                    <a:pt x="15" y="317"/>
                  </a:cubicBezTo>
                  <a:cubicBezTo>
                    <a:pt x="30" y="241"/>
                    <a:pt x="136" y="120"/>
                    <a:pt x="242" y="0"/>
                  </a:cubicBezTo>
                </a:path>
              </a:pathLst>
            </a:custGeom>
            <a:noFill/>
            <a:ln w="127000" cap="flat" cmpd="sng">
              <a:solidFill>
                <a:srgbClr val="CC6600"/>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35" name="Freeform 157"/>
            <p:cNvSpPr>
              <a:spLocks/>
            </p:cNvSpPr>
            <p:nvPr/>
          </p:nvSpPr>
          <p:spPr bwMode="gray">
            <a:xfrm>
              <a:off x="2783" y="3267"/>
              <a:ext cx="125" cy="474"/>
            </a:xfrm>
            <a:custGeom>
              <a:avLst/>
              <a:gdLst>
                <a:gd name="T0" fmla="*/ 0 w 125"/>
                <a:gd name="T1" fmla="*/ 474 h 474"/>
                <a:gd name="T2" fmla="*/ 112 w 125"/>
                <a:gd name="T3" fmla="*/ 347 h 474"/>
                <a:gd name="T4" fmla="*/ 80 w 125"/>
                <a:gd name="T5" fmla="*/ 0 h 474"/>
              </a:gdLst>
              <a:ahLst/>
              <a:cxnLst>
                <a:cxn ang="0">
                  <a:pos x="T0" y="T1"/>
                </a:cxn>
                <a:cxn ang="0">
                  <a:pos x="T2" y="T3"/>
                </a:cxn>
                <a:cxn ang="0">
                  <a:pos x="T4" y="T5"/>
                </a:cxn>
              </a:cxnLst>
              <a:rect l="0" t="0" r="r" b="b"/>
              <a:pathLst>
                <a:path w="125" h="474">
                  <a:moveTo>
                    <a:pt x="0" y="474"/>
                  </a:moveTo>
                  <a:cubicBezTo>
                    <a:pt x="17" y="453"/>
                    <a:pt x="99" y="426"/>
                    <a:pt x="112" y="347"/>
                  </a:cubicBezTo>
                  <a:cubicBezTo>
                    <a:pt x="125" y="268"/>
                    <a:pt x="87" y="72"/>
                    <a:pt x="80" y="0"/>
                  </a:cubicBezTo>
                </a:path>
              </a:pathLst>
            </a:custGeom>
            <a:noFill/>
            <a:ln w="127000" cap="flat" cmpd="sng">
              <a:solidFill>
                <a:srgbClr val="CC6600"/>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36" name="Freeform 158"/>
            <p:cNvSpPr>
              <a:spLocks/>
            </p:cNvSpPr>
            <p:nvPr/>
          </p:nvSpPr>
          <p:spPr bwMode="gray">
            <a:xfrm>
              <a:off x="3079" y="3629"/>
              <a:ext cx="1" cy="318"/>
            </a:xfrm>
            <a:custGeom>
              <a:avLst/>
              <a:gdLst>
                <a:gd name="T0" fmla="*/ 0 w 1"/>
                <a:gd name="T1" fmla="*/ 318 h 318"/>
                <a:gd name="T2" fmla="*/ 0 w 1"/>
                <a:gd name="T3" fmla="*/ 0 h 318"/>
              </a:gdLst>
              <a:ahLst/>
              <a:cxnLst>
                <a:cxn ang="0">
                  <a:pos x="T0" y="T1"/>
                </a:cxn>
                <a:cxn ang="0">
                  <a:pos x="T2" y="T3"/>
                </a:cxn>
              </a:cxnLst>
              <a:rect l="0" t="0" r="r" b="b"/>
              <a:pathLst>
                <a:path w="1" h="318">
                  <a:moveTo>
                    <a:pt x="0" y="318"/>
                  </a:moveTo>
                  <a:cubicBezTo>
                    <a:pt x="0" y="318"/>
                    <a:pt x="0" y="159"/>
                    <a:pt x="0" y="0"/>
                  </a:cubicBezTo>
                </a:path>
              </a:pathLst>
            </a:custGeom>
            <a:noFill/>
            <a:ln w="127000" cap="flat" cmpd="sng">
              <a:solidFill>
                <a:srgbClr val="CC6600"/>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sp>
          <p:nvSpPr>
            <p:cNvPr id="37" name="Freeform 159"/>
            <p:cNvSpPr>
              <a:spLocks/>
            </p:cNvSpPr>
            <p:nvPr/>
          </p:nvSpPr>
          <p:spPr bwMode="gray">
            <a:xfrm>
              <a:off x="3421" y="3675"/>
              <a:ext cx="182" cy="363"/>
            </a:xfrm>
            <a:custGeom>
              <a:avLst/>
              <a:gdLst>
                <a:gd name="T0" fmla="*/ 157 w 157"/>
                <a:gd name="T1" fmla="*/ 272 h 272"/>
                <a:gd name="T2" fmla="*/ 0 w 157"/>
                <a:gd name="T3" fmla="*/ 0 h 272"/>
              </a:gdLst>
              <a:ahLst/>
              <a:cxnLst>
                <a:cxn ang="0">
                  <a:pos x="T0" y="T1"/>
                </a:cxn>
                <a:cxn ang="0">
                  <a:pos x="T2" y="T3"/>
                </a:cxn>
              </a:cxnLst>
              <a:rect l="0" t="0" r="r" b="b"/>
              <a:pathLst>
                <a:path w="157" h="272">
                  <a:moveTo>
                    <a:pt x="157" y="272"/>
                  </a:moveTo>
                  <a:cubicBezTo>
                    <a:pt x="90" y="158"/>
                    <a:pt x="23" y="45"/>
                    <a:pt x="0" y="0"/>
                  </a:cubicBezTo>
                </a:path>
              </a:pathLst>
            </a:custGeom>
            <a:noFill/>
            <a:ln w="127000" cap="flat" cmpd="sng">
              <a:solidFill>
                <a:srgbClr val="CC6600"/>
              </a:solidFill>
              <a:prstDash val="solid"/>
              <a:round/>
              <a:headEnd type="none" w="med" len="med"/>
              <a:tailEnd type="triangle" w="med"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endParaRPr lang="cs-CZ"/>
            </a:p>
          </p:txBody>
        </p:sp>
      </p:grpSp>
      <p:sp>
        <p:nvSpPr>
          <p:cNvPr id="161" name="Freeform 160"/>
          <p:cNvSpPr>
            <a:spLocks/>
          </p:cNvSpPr>
          <p:nvPr/>
        </p:nvSpPr>
        <p:spPr bwMode="gray">
          <a:xfrm>
            <a:off x="4918075" y="3322638"/>
            <a:ext cx="893763" cy="434975"/>
          </a:xfrm>
          <a:custGeom>
            <a:avLst/>
            <a:gdLst>
              <a:gd name="T0" fmla="*/ 3709 w 5232"/>
              <a:gd name="T1" fmla="*/ 870 h 2544"/>
              <a:gd name="T2" fmla="*/ 3187 w 5232"/>
              <a:gd name="T3" fmla="*/ 870 h 2544"/>
              <a:gd name="T4" fmla="*/ 3187 w 5232"/>
              <a:gd name="T5" fmla="*/ 924 h 2544"/>
              <a:gd name="T6" fmla="*/ 3061 w 5232"/>
              <a:gd name="T7" fmla="*/ 924 h 2544"/>
              <a:gd name="T8" fmla="*/ 3061 w 5232"/>
              <a:gd name="T9" fmla="*/ 806 h 2544"/>
              <a:gd name="T10" fmla="*/ 2894 w 5232"/>
              <a:gd name="T11" fmla="*/ 806 h 2544"/>
              <a:gd name="T12" fmla="*/ 2894 w 5232"/>
              <a:gd name="T13" fmla="*/ 924 h 2544"/>
              <a:gd name="T14" fmla="*/ 2733 w 5232"/>
              <a:gd name="T15" fmla="*/ 924 h 2544"/>
              <a:gd name="T16" fmla="*/ 2733 w 5232"/>
              <a:gd name="T17" fmla="*/ 688 h 2544"/>
              <a:gd name="T18" fmla="*/ 2835 w 5232"/>
              <a:gd name="T19" fmla="*/ 688 h 2544"/>
              <a:gd name="T20" fmla="*/ 2835 w 5232"/>
              <a:gd name="T21" fmla="*/ 525 h 2544"/>
              <a:gd name="T22" fmla="*/ 2648 w 5232"/>
              <a:gd name="T23" fmla="*/ 525 h 2544"/>
              <a:gd name="T24" fmla="*/ 2648 w 5232"/>
              <a:gd name="T25" fmla="*/ 81 h 2544"/>
              <a:gd name="T26" fmla="*/ 3109 w 5232"/>
              <a:gd name="T27" fmla="*/ 81 h 2544"/>
              <a:gd name="T28" fmla="*/ 3109 w 5232"/>
              <a:gd name="T29" fmla="*/ 0 h 2544"/>
              <a:gd name="T30" fmla="*/ 2086 w 5232"/>
              <a:gd name="T31" fmla="*/ 0 h 2544"/>
              <a:gd name="T32" fmla="*/ 2086 w 5232"/>
              <a:gd name="T33" fmla="*/ 81 h 2544"/>
              <a:gd name="T34" fmla="*/ 2547 w 5232"/>
              <a:gd name="T35" fmla="*/ 81 h 2544"/>
              <a:gd name="T36" fmla="*/ 2547 w 5232"/>
              <a:gd name="T37" fmla="*/ 525 h 2544"/>
              <a:gd name="T38" fmla="*/ 2360 w 5232"/>
              <a:gd name="T39" fmla="*/ 525 h 2544"/>
              <a:gd name="T40" fmla="*/ 2360 w 5232"/>
              <a:gd name="T41" fmla="*/ 688 h 2544"/>
              <a:gd name="T42" fmla="*/ 2461 w 5232"/>
              <a:gd name="T43" fmla="*/ 688 h 2544"/>
              <a:gd name="T44" fmla="*/ 2461 w 5232"/>
              <a:gd name="T45" fmla="*/ 924 h 2544"/>
              <a:gd name="T46" fmla="*/ 2358 w 5232"/>
              <a:gd name="T47" fmla="*/ 924 h 2544"/>
              <a:gd name="T48" fmla="*/ 2358 w 5232"/>
              <a:gd name="T49" fmla="*/ 806 h 2544"/>
              <a:gd name="T50" fmla="*/ 2187 w 5232"/>
              <a:gd name="T51" fmla="*/ 806 h 2544"/>
              <a:gd name="T52" fmla="*/ 2187 w 5232"/>
              <a:gd name="T53" fmla="*/ 924 h 2544"/>
              <a:gd name="T54" fmla="*/ 2046 w 5232"/>
              <a:gd name="T55" fmla="*/ 924 h 2544"/>
              <a:gd name="T56" fmla="*/ 2046 w 5232"/>
              <a:gd name="T57" fmla="*/ 870 h 2544"/>
              <a:gd name="T58" fmla="*/ 1524 w 5232"/>
              <a:gd name="T59" fmla="*/ 870 h 2544"/>
              <a:gd name="T60" fmla="*/ 0 w 5232"/>
              <a:gd name="T61" fmla="*/ 2391 h 2544"/>
              <a:gd name="T62" fmla="*/ 38 w 5232"/>
              <a:gd name="T63" fmla="*/ 2431 h 2544"/>
              <a:gd name="T64" fmla="*/ 38 w 5232"/>
              <a:gd name="T65" fmla="*/ 2431 h 2544"/>
              <a:gd name="T66" fmla="*/ 102 w 5232"/>
              <a:gd name="T67" fmla="*/ 2495 h 2544"/>
              <a:gd name="T68" fmla="*/ 154 w 5232"/>
              <a:gd name="T69" fmla="*/ 2544 h 2544"/>
              <a:gd name="T70" fmla="*/ 154 w 5232"/>
              <a:gd name="T71" fmla="*/ 2544 h 2544"/>
              <a:gd name="T72" fmla="*/ 1613 w 5232"/>
              <a:gd name="T73" fmla="*/ 1085 h 2544"/>
              <a:gd name="T74" fmla="*/ 2046 w 5232"/>
              <a:gd name="T75" fmla="*/ 1085 h 2544"/>
              <a:gd name="T76" fmla="*/ 2046 w 5232"/>
              <a:gd name="T77" fmla="*/ 1030 h 2544"/>
              <a:gd name="T78" fmla="*/ 2187 w 5232"/>
              <a:gd name="T79" fmla="*/ 1030 h 2544"/>
              <a:gd name="T80" fmla="*/ 2187 w 5232"/>
              <a:gd name="T81" fmla="*/ 1186 h 2544"/>
              <a:gd name="T82" fmla="*/ 2358 w 5232"/>
              <a:gd name="T83" fmla="*/ 1186 h 2544"/>
              <a:gd name="T84" fmla="*/ 2358 w 5232"/>
              <a:gd name="T85" fmla="*/ 1030 h 2544"/>
              <a:gd name="T86" fmla="*/ 2461 w 5232"/>
              <a:gd name="T87" fmla="*/ 1030 h 2544"/>
              <a:gd name="T88" fmla="*/ 2461 w 5232"/>
              <a:gd name="T89" fmla="*/ 1311 h 2544"/>
              <a:gd name="T90" fmla="*/ 2733 w 5232"/>
              <a:gd name="T91" fmla="*/ 1311 h 2544"/>
              <a:gd name="T92" fmla="*/ 2733 w 5232"/>
              <a:gd name="T93" fmla="*/ 1030 h 2544"/>
              <a:gd name="T94" fmla="*/ 2894 w 5232"/>
              <a:gd name="T95" fmla="*/ 1030 h 2544"/>
              <a:gd name="T96" fmla="*/ 2894 w 5232"/>
              <a:gd name="T97" fmla="*/ 1186 h 2544"/>
              <a:gd name="T98" fmla="*/ 3061 w 5232"/>
              <a:gd name="T99" fmla="*/ 1186 h 2544"/>
              <a:gd name="T100" fmla="*/ 3061 w 5232"/>
              <a:gd name="T101" fmla="*/ 1030 h 2544"/>
              <a:gd name="T102" fmla="*/ 3187 w 5232"/>
              <a:gd name="T103" fmla="*/ 1030 h 2544"/>
              <a:gd name="T104" fmla="*/ 3187 w 5232"/>
              <a:gd name="T105" fmla="*/ 1085 h 2544"/>
              <a:gd name="T106" fmla="*/ 3619 w 5232"/>
              <a:gd name="T107" fmla="*/ 1085 h 2544"/>
              <a:gd name="T108" fmla="*/ 5079 w 5232"/>
              <a:gd name="T109" fmla="*/ 2544 h 2544"/>
              <a:gd name="T110" fmla="*/ 5232 w 5232"/>
              <a:gd name="T111" fmla="*/ 2391 h 2544"/>
              <a:gd name="T112" fmla="*/ 3709 w 5232"/>
              <a:gd name="T113" fmla="*/ 870 h 2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32" h="2544">
                <a:moveTo>
                  <a:pt x="3709" y="870"/>
                </a:moveTo>
                <a:lnTo>
                  <a:pt x="3187" y="870"/>
                </a:lnTo>
                <a:lnTo>
                  <a:pt x="3187" y="924"/>
                </a:lnTo>
                <a:lnTo>
                  <a:pt x="3061" y="924"/>
                </a:lnTo>
                <a:lnTo>
                  <a:pt x="3061" y="806"/>
                </a:lnTo>
                <a:lnTo>
                  <a:pt x="2894" y="806"/>
                </a:lnTo>
                <a:lnTo>
                  <a:pt x="2894" y="924"/>
                </a:lnTo>
                <a:lnTo>
                  <a:pt x="2733" y="924"/>
                </a:lnTo>
                <a:lnTo>
                  <a:pt x="2733" y="688"/>
                </a:lnTo>
                <a:lnTo>
                  <a:pt x="2835" y="688"/>
                </a:lnTo>
                <a:lnTo>
                  <a:pt x="2835" y="525"/>
                </a:lnTo>
                <a:lnTo>
                  <a:pt x="2648" y="525"/>
                </a:lnTo>
                <a:lnTo>
                  <a:pt x="2648" y="81"/>
                </a:lnTo>
                <a:lnTo>
                  <a:pt x="3109" y="81"/>
                </a:lnTo>
                <a:lnTo>
                  <a:pt x="3109" y="0"/>
                </a:lnTo>
                <a:lnTo>
                  <a:pt x="2086" y="0"/>
                </a:lnTo>
                <a:lnTo>
                  <a:pt x="2086" y="81"/>
                </a:lnTo>
                <a:lnTo>
                  <a:pt x="2547" y="81"/>
                </a:lnTo>
                <a:lnTo>
                  <a:pt x="2547" y="525"/>
                </a:lnTo>
                <a:lnTo>
                  <a:pt x="2360" y="525"/>
                </a:lnTo>
                <a:lnTo>
                  <a:pt x="2360" y="688"/>
                </a:lnTo>
                <a:lnTo>
                  <a:pt x="2461" y="688"/>
                </a:lnTo>
                <a:lnTo>
                  <a:pt x="2461" y="924"/>
                </a:lnTo>
                <a:lnTo>
                  <a:pt x="2358" y="924"/>
                </a:lnTo>
                <a:lnTo>
                  <a:pt x="2358" y="806"/>
                </a:lnTo>
                <a:lnTo>
                  <a:pt x="2187" y="806"/>
                </a:lnTo>
                <a:lnTo>
                  <a:pt x="2187" y="924"/>
                </a:lnTo>
                <a:lnTo>
                  <a:pt x="2046" y="924"/>
                </a:lnTo>
                <a:lnTo>
                  <a:pt x="2046" y="870"/>
                </a:lnTo>
                <a:lnTo>
                  <a:pt x="1524" y="870"/>
                </a:lnTo>
                <a:lnTo>
                  <a:pt x="0" y="2391"/>
                </a:lnTo>
                <a:lnTo>
                  <a:pt x="38" y="2431"/>
                </a:lnTo>
                <a:lnTo>
                  <a:pt x="38" y="2431"/>
                </a:lnTo>
                <a:lnTo>
                  <a:pt x="102" y="2495"/>
                </a:lnTo>
                <a:lnTo>
                  <a:pt x="154" y="2544"/>
                </a:lnTo>
                <a:lnTo>
                  <a:pt x="154" y="2544"/>
                </a:lnTo>
                <a:lnTo>
                  <a:pt x="1613" y="1085"/>
                </a:lnTo>
                <a:lnTo>
                  <a:pt x="2046" y="1085"/>
                </a:lnTo>
                <a:lnTo>
                  <a:pt x="2046" y="1030"/>
                </a:lnTo>
                <a:lnTo>
                  <a:pt x="2187" y="1030"/>
                </a:lnTo>
                <a:lnTo>
                  <a:pt x="2187" y="1186"/>
                </a:lnTo>
                <a:lnTo>
                  <a:pt x="2358" y="1186"/>
                </a:lnTo>
                <a:lnTo>
                  <a:pt x="2358" y="1030"/>
                </a:lnTo>
                <a:lnTo>
                  <a:pt x="2461" y="1030"/>
                </a:lnTo>
                <a:lnTo>
                  <a:pt x="2461" y="1311"/>
                </a:lnTo>
                <a:lnTo>
                  <a:pt x="2733" y="1311"/>
                </a:lnTo>
                <a:lnTo>
                  <a:pt x="2733" y="1030"/>
                </a:lnTo>
                <a:lnTo>
                  <a:pt x="2894" y="1030"/>
                </a:lnTo>
                <a:lnTo>
                  <a:pt x="2894" y="1186"/>
                </a:lnTo>
                <a:lnTo>
                  <a:pt x="3061" y="1186"/>
                </a:lnTo>
                <a:lnTo>
                  <a:pt x="3061" y="1030"/>
                </a:lnTo>
                <a:lnTo>
                  <a:pt x="3187" y="1030"/>
                </a:lnTo>
                <a:lnTo>
                  <a:pt x="3187" y="1085"/>
                </a:lnTo>
                <a:lnTo>
                  <a:pt x="3619" y="1085"/>
                </a:lnTo>
                <a:lnTo>
                  <a:pt x="5079" y="2544"/>
                </a:lnTo>
                <a:lnTo>
                  <a:pt x="5232" y="2391"/>
                </a:lnTo>
                <a:lnTo>
                  <a:pt x="3709" y="870"/>
                </a:lnTo>
                <a:close/>
              </a:path>
            </a:pathLst>
          </a:custGeom>
          <a:solidFill>
            <a:schemeClr val="hlink"/>
          </a:solidFill>
          <a:ln w="9525">
            <a:solidFill>
              <a:schemeClr val="hlink"/>
            </a:solidFill>
            <a:round/>
            <a:headEnd/>
            <a:tailEnd/>
          </a:ln>
        </p:spPr>
        <p:txBody>
          <a:bodyPr/>
          <a:lstStyle/>
          <a:p>
            <a:endParaRPr lang="cs-CZ"/>
          </a:p>
        </p:txBody>
      </p:sp>
      <p:sp>
        <p:nvSpPr>
          <p:cNvPr id="162" name="Freeform 161"/>
          <p:cNvSpPr>
            <a:spLocks noEditPoints="1"/>
          </p:cNvSpPr>
          <p:nvPr/>
        </p:nvSpPr>
        <p:spPr bwMode="gray">
          <a:xfrm>
            <a:off x="4846638" y="3252788"/>
            <a:ext cx="587375" cy="1158875"/>
          </a:xfrm>
          <a:custGeom>
            <a:avLst/>
            <a:gdLst>
              <a:gd name="T0" fmla="*/ 28 w 1041"/>
              <a:gd name="T1" fmla="*/ 518 h 2060"/>
              <a:gd name="T2" fmla="*/ 508 w 1041"/>
              <a:gd name="T3" fmla="*/ 534 h 2060"/>
              <a:gd name="T4" fmla="*/ 0 w 1041"/>
              <a:gd name="T5" fmla="*/ 538 h 2060"/>
              <a:gd name="T6" fmla="*/ 1004 w 1041"/>
              <a:gd name="T7" fmla="*/ 526 h 2060"/>
              <a:gd name="T8" fmla="*/ 500 w 1041"/>
              <a:gd name="T9" fmla="*/ 542 h 2060"/>
              <a:gd name="T10" fmla="*/ 752 w 1041"/>
              <a:gd name="T11" fmla="*/ 202 h 2060"/>
              <a:gd name="T12" fmla="*/ 8 w 1041"/>
              <a:gd name="T13" fmla="*/ 318 h 2060"/>
              <a:gd name="T14" fmla="*/ 224 w 1041"/>
              <a:gd name="T15" fmla="*/ 2030 h 2060"/>
              <a:gd name="T16" fmla="*/ 820 w 1041"/>
              <a:gd name="T17" fmla="*/ 2050 h 2060"/>
              <a:gd name="T18" fmla="*/ 1008 w 1041"/>
              <a:gd name="T19" fmla="*/ 262 h 2060"/>
              <a:gd name="T20" fmla="*/ 844 w 1041"/>
              <a:gd name="T21" fmla="*/ 102 h 2060"/>
              <a:gd name="T22" fmla="*/ 812 w 1041"/>
              <a:gd name="T23" fmla="*/ 198 h 2060"/>
              <a:gd name="T24" fmla="*/ 740 w 1041"/>
              <a:gd name="T25" fmla="*/ 210 h 2060"/>
              <a:gd name="T26" fmla="*/ 676 w 1041"/>
              <a:gd name="T27" fmla="*/ 302 h 2060"/>
              <a:gd name="T28" fmla="*/ 640 w 1041"/>
              <a:gd name="T29" fmla="*/ 278 h 2060"/>
              <a:gd name="T30" fmla="*/ 480 w 1041"/>
              <a:gd name="T31" fmla="*/ 270 h 2060"/>
              <a:gd name="T32" fmla="*/ 424 w 1041"/>
              <a:gd name="T33" fmla="*/ 214 h 2060"/>
              <a:gd name="T34" fmla="*/ 244 w 1041"/>
              <a:gd name="T35" fmla="*/ 278 h 2060"/>
              <a:gd name="T36" fmla="*/ 220 w 1041"/>
              <a:gd name="T37" fmla="*/ 198 h 2060"/>
              <a:gd name="T38" fmla="*/ 192 w 1041"/>
              <a:gd name="T39" fmla="*/ 102 h 2060"/>
              <a:gd name="T40" fmla="*/ 100 w 1041"/>
              <a:gd name="T41" fmla="*/ 230 h 2060"/>
              <a:gd name="T42" fmla="*/ 204 w 1041"/>
              <a:gd name="T43" fmla="*/ 214 h 2060"/>
              <a:gd name="T44" fmla="*/ 220 w 1041"/>
              <a:gd name="T45" fmla="*/ 214 h 2060"/>
              <a:gd name="T46" fmla="*/ 312 w 1041"/>
              <a:gd name="T47" fmla="*/ 382 h 2060"/>
              <a:gd name="T48" fmla="*/ 256 w 1041"/>
              <a:gd name="T49" fmla="*/ 342 h 2060"/>
              <a:gd name="T50" fmla="*/ 348 w 1041"/>
              <a:gd name="T51" fmla="*/ 694 h 2060"/>
              <a:gd name="T52" fmla="*/ 428 w 1041"/>
              <a:gd name="T53" fmla="*/ 746 h 2060"/>
              <a:gd name="T54" fmla="*/ 376 w 1041"/>
              <a:gd name="T55" fmla="*/ 806 h 2060"/>
              <a:gd name="T56" fmla="*/ 532 w 1041"/>
              <a:gd name="T57" fmla="*/ 1186 h 2060"/>
              <a:gd name="T58" fmla="*/ 452 w 1041"/>
              <a:gd name="T59" fmla="*/ 1246 h 2060"/>
              <a:gd name="T60" fmla="*/ 468 w 1041"/>
              <a:gd name="T61" fmla="*/ 998 h 2060"/>
              <a:gd name="T62" fmla="*/ 616 w 1041"/>
              <a:gd name="T63" fmla="*/ 962 h 2060"/>
              <a:gd name="T64" fmla="*/ 412 w 1041"/>
              <a:gd name="T65" fmla="*/ 1010 h 2060"/>
              <a:gd name="T66" fmla="*/ 380 w 1041"/>
              <a:gd name="T67" fmla="*/ 1174 h 2060"/>
              <a:gd name="T68" fmla="*/ 348 w 1041"/>
              <a:gd name="T69" fmla="*/ 1362 h 2060"/>
              <a:gd name="T70" fmla="*/ 320 w 1041"/>
              <a:gd name="T71" fmla="*/ 1590 h 2060"/>
              <a:gd name="T72" fmla="*/ 284 w 1041"/>
              <a:gd name="T73" fmla="*/ 1730 h 2060"/>
              <a:gd name="T74" fmla="*/ 296 w 1041"/>
              <a:gd name="T75" fmla="*/ 1806 h 2060"/>
              <a:gd name="T76" fmla="*/ 416 w 1041"/>
              <a:gd name="T77" fmla="*/ 1582 h 2060"/>
              <a:gd name="T78" fmla="*/ 508 w 1041"/>
              <a:gd name="T79" fmla="*/ 1354 h 2060"/>
              <a:gd name="T80" fmla="*/ 532 w 1041"/>
              <a:gd name="T81" fmla="*/ 1354 h 2060"/>
              <a:gd name="T82" fmla="*/ 720 w 1041"/>
              <a:gd name="T83" fmla="*/ 1590 h 2060"/>
              <a:gd name="T84" fmla="*/ 700 w 1041"/>
              <a:gd name="T85" fmla="*/ 1670 h 2060"/>
              <a:gd name="T86" fmla="*/ 736 w 1041"/>
              <a:gd name="T87" fmla="*/ 1838 h 2060"/>
              <a:gd name="T88" fmla="*/ 676 w 1041"/>
              <a:gd name="T89" fmla="*/ 1530 h 2060"/>
              <a:gd name="T90" fmla="*/ 672 w 1041"/>
              <a:gd name="T91" fmla="*/ 1254 h 2060"/>
              <a:gd name="T92" fmla="*/ 656 w 1041"/>
              <a:gd name="T93" fmla="*/ 1174 h 2060"/>
              <a:gd name="T94" fmla="*/ 536 w 1041"/>
              <a:gd name="T95" fmla="*/ 878 h 2060"/>
              <a:gd name="T96" fmla="*/ 540 w 1041"/>
              <a:gd name="T97" fmla="*/ 854 h 2060"/>
              <a:gd name="T98" fmla="*/ 660 w 1041"/>
              <a:gd name="T99" fmla="*/ 678 h 2060"/>
              <a:gd name="T100" fmla="*/ 416 w 1041"/>
              <a:gd name="T101" fmla="*/ 406 h 2060"/>
              <a:gd name="T102" fmla="*/ 668 w 1041"/>
              <a:gd name="T103" fmla="*/ 634 h 2060"/>
              <a:gd name="T104" fmla="*/ 740 w 1041"/>
              <a:gd name="T105" fmla="*/ 518 h 2060"/>
              <a:gd name="T106" fmla="*/ 764 w 1041"/>
              <a:gd name="T107" fmla="*/ 418 h 2060"/>
              <a:gd name="T108" fmla="*/ 792 w 1041"/>
              <a:gd name="T109" fmla="*/ 322 h 2060"/>
              <a:gd name="T110" fmla="*/ 856 w 1041"/>
              <a:gd name="T111" fmla="*/ 266 h 2060"/>
              <a:gd name="T112" fmla="*/ 904 w 1041"/>
              <a:gd name="T113" fmla="*/ 226 h 2060"/>
              <a:gd name="T114" fmla="*/ 944 w 1041"/>
              <a:gd name="T115" fmla="*/ 23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1" h="2060">
                <a:moveTo>
                  <a:pt x="12" y="502"/>
                </a:moveTo>
                <a:cubicBezTo>
                  <a:pt x="4" y="502"/>
                  <a:pt x="4" y="502"/>
                  <a:pt x="4" y="502"/>
                </a:cubicBezTo>
                <a:cubicBezTo>
                  <a:pt x="4" y="504"/>
                  <a:pt x="4" y="507"/>
                  <a:pt x="0" y="506"/>
                </a:cubicBezTo>
                <a:cubicBezTo>
                  <a:pt x="0" y="514"/>
                  <a:pt x="0" y="514"/>
                  <a:pt x="0" y="514"/>
                </a:cubicBezTo>
                <a:cubicBezTo>
                  <a:pt x="3" y="514"/>
                  <a:pt x="5" y="514"/>
                  <a:pt x="4" y="518"/>
                </a:cubicBezTo>
                <a:cubicBezTo>
                  <a:pt x="12" y="518"/>
                  <a:pt x="12" y="518"/>
                  <a:pt x="12" y="518"/>
                </a:cubicBezTo>
                <a:cubicBezTo>
                  <a:pt x="12" y="515"/>
                  <a:pt x="13" y="513"/>
                  <a:pt x="16" y="514"/>
                </a:cubicBezTo>
                <a:cubicBezTo>
                  <a:pt x="16" y="506"/>
                  <a:pt x="16" y="506"/>
                  <a:pt x="16" y="506"/>
                </a:cubicBezTo>
                <a:cubicBezTo>
                  <a:pt x="14" y="506"/>
                  <a:pt x="11" y="505"/>
                  <a:pt x="12" y="502"/>
                </a:cubicBezTo>
                <a:close/>
                <a:moveTo>
                  <a:pt x="28" y="518"/>
                </a:moveTo>
                <a:cubicBezTo>
                  <a:pt x="39" y="519"/>
                  <a:pt x="41" y="512"/>
                  <a:pt x="40" y="502"/>
                </a:cubicBezTo>
                <a:cubicBezTo>
                  <a:pt x="24" y="501"/>
                  <a:pt x="24" y="507"/>
                  <a:pt x="28" y="518"/>
                </a:cubicBezTo>
                <a:close/>
                <a:moveTo>
                  <a:pt x="1012" y="518"/>
                </a:moveTo>
                <a:cubicBezTo>
                  <a:pt x="1012" y="502"/>
                  <a:pt x="1012" y="502"/>
                  <a:pt x="1012" y="502"/>
                </a:cubicBezTo>
                <a:cubicBezTo>
                  <a:pt x="1000" y="502"/>
                  <a:pt x="1000" y="502"/>
                  <a:pt x="1000" y="502"/>
                </a:cubicBezTo>
                <a:cubicBezTo>
                  <a:pt x="999" y="512"/>
                  <a:pt x="999" y="522"/>
                  <a:pt x="1012" y="518"/>
                </a:cubicBezTo>
                <a:close/>
                <a:moveTo>
                  <a:pt x="1040" y="514"/>
                </a:moveTo>
                <a:cubicBezTo>
                  <a:pt x="1041" y="503"/>
                  <a:pt x="1035" y="501"/>
                  <a:pt x="1024" y="502"/>
                </a:cubicBezTo>
                <a:cubicBezTo>
                  <a:pt x="1021" y="516"/>
                  <a:pt x="1033" y="522"/>
                  <a:pt x="1040" y="514"/>
                </a:cubicBezTo>
                <a:close/>
                <a:moveTo>
                  <a:pt x="508" y="534"/>
                </a:moveTo>
                <a:cubicBezTo>
                  <a:pt x="509" y="528"/>
                  <a:pt x="515" y="527"/>
                  <a:pt x="516" y="522"/>
                </a:cubicBezTo>
                <a:cubicBezTo>
                  <a:pt x="511" y="521"/>
                  <a:pt x="509" y="516"/>
                  <a:pt x="500" y="518"/>
                </a:cubicBezTo>
                <a:cubicBezTo>
                  <a:pt x="499" y="527"/>
                  <a:pt x="501" y="533"/>
                  <a:pt x="508" y="534"/>
                </a:cubicBezTo>
                <a:close/>
                <a:moveTo>
                  <a:pt x="524" y="518"/>
                </a:moveTo>
                <a:cubicBezTo>
                  <a:pt x="516" y="533"/>
                  <a:pt x="545" y="536"/>
                  <a:pt x="540" y="522"/>
                </a:cubicBezTo>
                <a:cubicBezTo>
                  <a:pt x="539" y="516"/>
                  <a:pt x="530" y="518"/>
                  <a:pt x="524" y="518"/>
                </a:cubicBezTo>
                <a:close/>
                <a:moveTo>
                  <a:pt x="12" y="526"/>
                </a:moveTo>
                <a:cubicBezTo>
                  <a:pt x="4" y="526"/>
                  <a:pt x="4" y="526"/>
                  <a:pt x="4" y="526"/>
                </a:cubicBezTo>
                <a:cubicBezTo>
                  <a:pt x="4" y="528"/>
                  <a:pt x="4" y="531"/>
                  <a:pt x="0" y="530"/>
                </a:cubicBezTo>
                <a:cubicBezTo>
                  <a:pt x="0" y="538"/>
                  <a:pt x="0" y="538"/>
                  <a:pt x="0" y="538"/>
                </a:cubicBezTo>
                <a:cubicBezTo>
                  <a:pt x="3" y="538"/>
                  <a:pt x="5" y="538"/>
                  <a:pt x="4" y="542"/>
                </a:cubicBezTo>
                <a:cubicBezTo>
                  <a:pt x="12" y="542"/>
                  <a:pt x="12" y="542"/>
                  <a:pt x="12" y="542"/>
                </a:cubicBezTo>
                <a:cubicBezTo>
                  <a:pt x="12" y="539"/>
                  <a:pt x="13" y="537"/>
                  <a:pt x="16" y="538"/>
                </a:cubicBezTo>
                <a:cubicBezTo>
                  <a:pt x="16" y="530"/>
                  <a:pt x="16" y="530"/>
                  <a:pt x="16" y="530"/>
                </a:cubicBezTo>
                <a:cubicBezTo>
                  <a:pt x="14" y="530"/>
                  <a:pt x="11" y="529"/>
                  <a:pt x="12" y="526"/>
                </a:cubicBezTo>
                <a:close/>
                <a:moveTo>
                  <a:pt x="28" y="526"/>
                </a:moveTo>
                <a:cubicBezTo>
                  <a:pt x="28" y="531"/>
                  <a:pt x="26" y="535"/>
                  <a:pt x="24" y="538"/>
                </a:cubicBezTo>
                <a:cubicBezTo>
                  <a:pt x="30" y="539"/>
                  <a:pt x="32" y="544"/>
                  <a:pt x="40" y="542"/>
                </a:cubicBezTo>
                <a:cubicBezTo>
                  <a:pt x="41" y="531"/>
                  <a:pt x="39" y="525"/>
                  <a:pt x="28" y="526"/>
                </a:cubicBezTo>
                <a:close/>
                <a:moveTo>
                  <a:pt x="1004" y="526"/>
                </a:moveTo>
                <a:cubicBezTo>
                  <a:pt x="1003" y="531"/>
                  <a:pt x="998" y="533"/>
                  <a:pt x="1000" y="542"/>
                </a:cubicBezTo>
                <a:cubicBezTo>
                  <a:pt x="1012" y="542"/>
                  <a:pt x="1012" y="542"/>
                  <a:pt x="1012" y="542"/>
                </a:cubicBezTo>
                <a:cubicBezTo>
                  <a:pt x="1011" y="535"/>
                  <a:pt x="1016" y="522"/>
                  <a:pt x="1004" y="526"/>
                </a:cubicBezTo>
                <a:close/>
                <a:moveTo>
                  <a:pt x="1028" y="526"/>
                </a:moveTo>
                <a:cubicBezTo>
                  <a:pt x="1027" y="531"/>
                  <a:pt x="1022" y="533"/>
                  <a:pt x="1024" y="542"/>
                </a:cubicBezTo>
                <a:cubicBezTo>
                  <a:pt x="1035" y="543"/>
                  <a:pt x="1041" y="540"/>
                  <a:pt x="1040" y="530"/>
                </a:cubicBezTo>
                <a:cubicBezTo>
                  <a:pt x="1035" y="530"/>
                  <a:pt x="1035" y="525"/>
                  <a:pt x="1028" y="526"/>
                </a:cubicBezTo>
                <a:close/>
                <a:moveTo>
                  <a:pt x="500" y="542"/>
                </a:moveTo>
                <a:cubicBezTo>
                  <a:pt x="497" y="556"/>
                  <a:pt x="509" y="562"/>
                  <a:pt x="516" y="554"/>
                </a:cubicBezTo>
                <a:cubicBezTo>
                  <a:pt x="517" y="543"/>
                  <a:pt x="511" y="541"/>
                  <a:pt x="500" y="542"/>
                </a:cubicBezTo>
                <a:close/>
                <a:moveTo>
                  <a:pt x="1028" y="438"/>
                </a:moveTo>
                <a:cubicBezTo>
                  <a:pt x="1028" y="377"/>
                  <a:pt x="1031" y="316"/>
                  <a:pt x="1032" y="254"/>
                </a:cubicBezTo>
                <a:cubicBezTo>
                  <a:pt x="1015" y="255"/>
                  <a:pt x="1024" y="230"/>
                  <a:pt x="1016" y="222"/>
                </a:cubicBezTo>
                <a:cubicBezTo>
                  <a:pt x="954" y="216"/>
                  <a:pt x="889" y="213"/>
                  <a:pt x="836" y="198"/>
                </a:cubicBezTo>
                <a:cubicBezTo>
                  <a:pt x="849" y="151"/>
                  <a:pt x="860" y="97"/>
                  <a:pt x="872" y="54"/>
                </a:cubicBezTo>
                <a:cubicBezTo>
                  <a:pt x="877" y="38"/>
                  <a:pt x="879" y="19"/>
                  <a:pt x="892" y="10"/>
                </a:cubicBezTo>
                <a:cubicBezTo>
                  <a:pt x="901" y="13"/>
                  <a:pt x="882" y="37"/>
                  <a:pt x="904" y="34"/>
                </a:cubicBezTo>
                <a:cubicBezTo>
                  <a:pt x="913" y="19"/>
                  <a:pt x="902" y="8"/>
                  <a:pt x="892" y="6"/>
                </a:cubicBezTo>
                <a:cubicBezTo>
                  <a:pt x="868" y="0"/>
                  <a:pt x="833" y="71"/>
                  <a:pt x="816" y="98"/>
                </a:cubicBezTo>
                <a:cubicBezTo>
                  <a:pt x="788" y="143"/>
                  <a:pt x="771" y="179"/>
                  <a:pt x="752" y="202"/>
                </a:cubicBezTo>
                <a:cubicBezTo>
                  <a:pt x="284" y="202"/>
                  <a:pt x="284" y="202"/>
                  <a:pt x="284" y="202"/>
                </a:cubicBezTo>
                <a:cubicBezTo>
                  <a:pt x="266" y="160"/>
                  <a:pt x="226" y="119"/>
                  <a:pt x="216" y="82"/>
                </a:cubicBezTo>
                <a:cubicBezTo>
                  <a:pt x="223" y="82"/>
                  <a:pt x="214" y="81"/>
                  <a:pt x="208" y="78"/>
                </a:cubicBezTo>
                <a:cubicBezTo>
                  <a:pt x="203" y="75"/>
                  <a:pt x="191" y="52"/>
                  <a:pt x="184" y="42"/>
                </a:cubicBezTo>
                <a:cubicBezTo>
                  <a:pt x="174" y="26"/>
                  <a:pt x="174" y="7"/>
                  <a:pt x="156" y="6"/>
                </a:cubicBezTo>
                <a:cubicBezTo>
                  <a:pt x="133" y="4"/>
                  <a:pt x="129" y="24"/>
                  <a:pt x="136" y="34"/>
                </a:cubicBezTo>
                <a:cubicBezTo>
                  <a:pt x="161" y="37"/>
                  <a:pt x="133" y="8"/>
                  <a:pt x="152" y="10"/>
                </a:cubicBezTo>
                <a:cubicBezTo>
                  <a:pt x="159" y="28"/>
                  <a:pt x="198" y="160"/>
                  <a:pt x="204" y="202"/>
                </a:cubicBezTo>
                <a:cubicBezTo>
                  <a:pt x="142" y="208"/>
                  <a:pt x="85" y="219"/>
                  <a:pt x="20" y="222"/>
                </a:cubicBezTo>
                <a:cubicBezTo>
                  <a:pt x="11" y="266"/>
                  <a:pt x="8" y="284"/>
                  <a:pt x="8" y="318"/>
                </a:cubicBezTo>
                <a:cubicBezTo>
                  <a:pt x="8" y="363"/>
                  <a:pt x="12" y="404"/>
                  <a:pt x="12" y="442"/>
                </a:cubicBezTo>
                <a:cubicBezTo>
                  <a:pt x="12" y="461"/>
                  <a:pt x="1" y="487"/>
                  <a:pt x="24" y="498"/>
                </a:cubicBezTo>
                <a:cubicBezTo>
                  <a:pt x="38" y="427"/>
                  <a:pt x="37" y="305"/>
                  <a:pt x="24" y="234"/>
                </a:cubicBezTo>
                <a:cubicBezTo>
                  <a:pt x="91" y="253"/>
                  <a:pt x="160" y="268"/>
                  <a:pt x="228" y="286"/>
                </a:cubicBezTo>
                <a:cubicBezTo>
                  <a:pt x="237" y="323"/>
                  <a:pt x="256" y="370"/>
                  <a:pt x="256" y="402"/>
                </a:cubicBezTo>
                <a:cubicBezTo>
                  <a:pt x="260" y="406"/>
                  <a:pt x="260" y="406"/>
                  <a:pt x="260" y="406"/>
                </a:cubicBezTo>
                <a:cubicBezTo>
                  <a:pt x="298" y="545"/>
                  <a:pt x="335" y="679"/>
                  <a:pt x="372" y="818"/>
                </a:cubicBezTo>
                <a:cubicBezTo>
                  <a:pt x="384" y="863"/>
                  <a:pt x="407" y="916"/>
                  <a:pt x="408" y="958"/>
                </a:cubicBezTo>
                <a:cubicBezTo>
                  <a:pt x="409" y="996"/>
                  <a:pt x="392" y="1044"/>
                  <a:pt x="384" y="1090"/>
                </a:cubicBezTo>
                <a:cubicBezTo>
                  <a:pt x="327" y="1407"/>
                  <a:pt x="279" y="1724"/>
                  <a:pt x="224" y="2030"/>
                </a:cubicBezTo>
                <a:cubicBezTo>
                  <a:pt x="211" y="2034"/>
                  <a:pt x="179" y="2020"/>
                  <a:pt x="184" y="2042"/>
                </a:cubicBezTo>
                <a:cubicBezTo>
                  <a:pt x="184" y="2058"/>
                  <a:pt x="212" y="2046"/>
                  <a:pt x="224" y="2050"/>
                </a:cubicBezTo>
                <a:cubicBezTo>
                  <a:pt x="238" y="2046"/>
                  <a:pt x="269" y="2060"/>
                  <a:pt x="264" y="2038"/>
                </a:cubicBezTo>
                <a:cubicBezTo>
                  <a:pt x="269" y="2020"/>
                  <a:pt x="237" y="2038"/>
                  <a:pt x="236" y="2026"/>
                </a:cubicBezTo>
                <a:cubicBezTo>
                  <a:pt x="318" y="1834"/>
                  <a:pt x="404" y="1632"/>
                  <a:pt x="484" y="1442"/>
                </a:cubicBezTo>
                <a:cubicBezTo>
                  <a:pt x="496" y="1414"/>
                  <a:pt x="503" y="1384"/>
                  <a:pt x="524" y="1362"/>
                </a:cubicBezTo>
                <a:cubicBezTo>
                  <a:pt x="614" y="1588"/>
                  <a:pt x="712" y="1806"/>
                  <a:pt x="804" y="2030"/>
                </a:cubicBezTo>
                <a:cubicBezTo>
                  <a:pt x="791" y="2031"/>
                  <a:pt x="769" y="2025"/>
                  <a:pt x="772" y="2042"/>
                </a:cubicBezTo>
                <a:cubicBezTo>
                  <a:pt x="774" y="2056"/>
                  <a:pt x="798" y="2048"/>
                  <a:pt x="812" y="2050"/>
                </a:cubicBezTo>
                <a:cubicBezTo>
                  <a:pt x="820" y="2050"/>
                  <a:pt x="820" y="2050"/>
                  <a:pt x="820" y="2050"/>
                </a:cubicBezTo>
                <a:cubicBezTo>
                  <a:pt x="831" y="2046"/>
                  <a:pt x="858" y="2058"/>
                  <a:pt x="856" y="2042"/>
                </a:cubicBezTo>
                <a:cubicBezTo>
                  <a:pt x="860" y="2019"/>
                  <a:pt x="823" y="2038"/>
                  <a:pt x="816" y="2026"/>
                </a:cubicBezTo>
                <a:cubicBezTo>
                  <a:pt x="763" y="1729"/>
                  <a:pt x="709" y="1397"/>
                  <a:pt x="656" y="1094"/>
                </a:cubicBezTo>
                <a:cubicBezTo>
                  <a:pt x="648" y="1047"/>
                  <a:pt x="631" y="997"/>
                  <a:pt x="632" y="958"/>
                </a:cubicBezTo>
                <a:cubicBezTo>
                  <a:pt x="633" y="932"/>
                  <a:pt x="645" y="904"/>
                  <a:pt x="652" y="878"/>
                </a:cubicBezTo>
                <a:cubicBezTo>
                  <a:pt x="674" y="795"/>
                  <a:pt x="695" y="712"/>
                  <a:pt x="720" y="634"/>
                </a:cubicBezTo>
                <a:cubicBezTo>
                  <a:pt x="729" y="633"/>
                  <a:pt x="737" y="569"/>
                  <a:pt x="744" y="542"/>
                </a:cubicBezTo>
                <a:cubicBezTo>
                  <a:pt x="768" y="451"/>
                  <a:pt x="792" y="349"/>
                  <a:pt x="812" y="286"/>
                </a:cubicBezTo>
                <a:cubicBezTo>
                  <a:pt x="878" y="271"/>
                  <a:pt x="956" y="246"/>
                  <a:pt x="1016" y="238"/>
                </a:cubicBezTo>
                <a:cubicBezTo>
                  <a:pt x="1021" y="254"/>
                  <a:pt x="1003" y="246"/>
                  <a:pt x="1008" y="262"/>
                </a:cubicBezTo>
                <a:cubicBezTo>
                  <a:pt x="1008" y="386"/>
                  <a:pt x="1008" y="386"/>
                  <a:pt x="1008" y="386"/>
                </a:cubicBezTo>
                <a:cubicBezTo>
                  <a:pt x="1008" y="428"/>
                  <a:pt x="1000" y="472"/>
                  <a:pt x="1020" y="498"/>
                </a:cubicBezTo>
                <a:cubicBezTo>
                  <a:pt x="1038" y="481"/>
                  <a:pt x="1028" y="458"/>
                  <a:pt x="1028" y="438"/>
                </a:cubicBezTo>
                <a:close/>
                <a:moveTo>
                  <a:pt x="860" y="50"/>
                </a:moveTo>
                <a:cubicBezTo>
                  <a:pt x="865" y="67"/>
                  <a:pt x="855" y="103"/>
                  <a:pt x="828" y="102"/>
                </a:cubicBezTo>
                <a:cubicBezTo>
                  <a:pt x="839" y="84"/>
                  <a:pt x="850" y="68"/>
                  <a:pt x="860" y="50"/>
                </a:cubicBezTo>
                <a:close/>
                <a:moveTo>
                  <a:pt x="844" y="102"/>
                </a:moveTo>
                <a:cubicBezTo>
                  <a:pt x="855" y="106"/>
                  <a:pt x="843" y="119"/>
                  <a:pt x="844" y="126"/>
                </a:cubicBezTo>
                <a:cubicBezTo>
                  <a:pt x="834" y="126"/>
                  <a:pt x="832" y="120"/>
                  <a:pt x="824" y="118"/>
                </a:cubicBezTo>
                <a:cubicBezTo>
                  <a:pt x="825" y="107"/>
                  <a:pt x="841" y="111"/>
                  <a:pt x="844" y="102"/>
                </a:cubicBezTo>
                <a:close/>
                <a:moveTo>
                  <a:pt x="816" y="122"/>
                </a:moveTo>
                <a:cubicBezTo>
                  <a:pt x="824" y="126"/>
                  <a:pt x="832" y="130"/>
                  <a:pt x="840" y="134"/>
                </a:cubicBezTo>
                <a:cubicBezTo>
                  <a:pt x="831" y="149"/>
                  <a:pt x="807" y="149"/>
                  <a:pt x="796" y="162"/>
                </a:cubicBezTo>
                <a:cubicBezTo>
                  <a:pt x="789" y="150"/>
                  <a:pt x="812" y="135"/>
                  <a:pt x="816" y="122"/>
                </a:cubicBezTo>
                <a:close/>
                <a:moveTo>
                  <a:pt x="836" y="150"/>
                </a:moveTo>
                <a:cubicBezTo>
                  <a:pt x="834" y="167"/>
                  <a:pt x="829" y="183"/>
                  <a:pt x="824" y="198"/>
                </a:cubicBezTo>
                <a:cubicBezTo>
                  <a:pt x="812" y="190"/>
                  <a:pt x="801" y="181"/>
                  <a:pt x="784" y="178"/>
                </a:cubicBezTo>
                <a:cubicBezTo>
                  <a:pt x="797" y="164"/>
                  <a:pt x="817" y="157"/>
                  <a:pt x="836" y="150"/>
                </a:cubicBezTo>
                <a:close/>
                <a:moveTo>
                  <a:pt x="776" y="182"/>
                </a:moveTo>
                <a:cubicBezTo>
                  <a:pt x="791" y="184"/>
                  <a:pt x="800" y="193"/>
                  <a:pt x="812" y="198"/>
                </a:cubicBezTo>
                <a:cubicBezTo>
                  <a:pt x="805" y="207"/>
                  <a:pt x="782" y="199"/>
                  <a:pt x="768" y="202"/>
                </a:cubicBezTo>
                <a:cubicBezTo>
                  <a:pt x="765" y="190"/>
                  <a:pt x="779" y="194"/>
                  <a:pt x="776" y="182"/>
                </a:cubicBezTo>
                <a:close/>
                <a:moveTo>
                  <a:pt x="796" y="274"/>
                </a:moveTo>
                <a:cubicBezTo>
                  <a:pt x="779" y="283"/>
                  <a:pt x="744" y="275"/>
                  <a:pt x="720" y="278"/>
                </a:cubicBezTo>
                <a:cubicBezTo>
                  <a:pt x="727" y="254"/>
                  <a:pt x="746" y="242"/>
                  <a:pt x="752" y="218"/>
                </a:cubicBezTo>
                <a:cubicBezTo>
                  <a:pt x="777" y="226"/>
                  <a:pt x="778" y="259"/>
                  <a:pt x="796" y="274"/>
                </a:cubicBezTo>
                <a:close/>
                <a:moveTo>
                  <a:pt x="740" y="210"/>
                </a:moveTo>
                <a:cubicBezTo>
                  <a:pt x="744" y="227"/>
                  <a:pt x="723" y="254"/>
                  <a:pt x="708" y="266"/>
                </a:cubicBezTo>
                <a:cubicBezTo>
                  <a:pt x="708" y="244"/>
                  <a:pt x="698" y="233"/>
                  <a:pt x="696" y="214"/>
                </a:cubicBezTo>
                <a:cubicBezTo>
                  <a:pt x="710" y="211"/>
                  <a:pt x="733" y="219"/>
                  <a:pt x="740" y="210"/>
                </a:cubicBezTo>
                <a:close/>
                <a:moveTo>
                  <a:pt x="704" y="278"/>
                </a:moveTo>
                <a:cubicBezTo>
                  <a:pt x="652" y="278"/>
                  <a:pt x="652" y="278"/>
                  <a:pt x="652" y="278"/>
                </a:cubicBezTo>
                <a:cubicBezTo>
                  <a:pt x="662" y="258"/>
                  <a:pt x="675" y="242"/>
                  <a:pt x="684" y="222"/>
                </a:cubicBezTo>
                <a:cubicBezTo>
                  <a:pt x="700" y="231"/>
                  <a:pt x="700" y="257"/>
                  <a:pt x="704" y="278"/>
                </a:cubicBezTo>
                <a:close/>
                <a:moveTo>
                  <a:pt x="524" y="502"/>
                </a:moveTo>
                <a:cubicBezTo>
                  <a:pt x="511" y="501"/>
                  <a:pt x="507" y="493"/>
                  <a:pt x="508" y="478"/>
                </a:cubicBezTo>
                <a:cubicBezTo>
                  <a:pt x="459" y="421"/>
                  <a:pt x="412" y="363"/>
                  <a:pt x="364" y="306"/>
                </a:cubicBezTo>
                <a:cubicBezTo>
                  <a:pt x="357" y="298"/>
                  <a:pt x="338" y="303"/>
                  <a:pt x="340" y="286"/>
                </a:cubicBezTo>
                <a:cubicBezTo>
                  <a:pt x="700" y="286"/>
                  <a:pt x="700" y="286"/>
                  <a:pt x="700" y="286"/>
                </a:cubicBezTo>
                <a:cubicBezTo>
                  <a:pt x="700" y="299"/>
                  <a:pt x="691" y="303"/>
                  <a:pt x="676" y="302"/>
                </a:cubicBezTo>
                <a:cubicBezTo>
                  <a:pt x="630" y="361"/>
                  <a:pt x="584" y="420"/>
                  <a:pt x="532" y="474"/>
                </a:cubicBezTo>
                <a:cubicBezTo>
                  <a:pt x="527" y="482"/>
                  <a:pt x="536" y="494"/>
                  <a:pt x="524" y="502"/>
                </a:cubicBezTo>
                <a:close/>
                <a:moveTo>
                  <a:pt x="676" y="210"/>
                </a:moveTo>
                <a:cubicBezTo>
                  <a:pt x="683" y="230"/>
                  <a:pt x="656" y="251"/>
                  <a:pt x="648" y="270"/>
                </a:cubicBezTo>
                <a:cubicBezTo>
                  <a:pt x="634" y="255"/>
                  <a:pt x="629" y="231"/>
                  <a:pt x="612" y="218"/>
                </a:cubicBezTo>
                <a:cubicBezTo>
                  <a:pt x="624" y="206"/>
                  <a:pt x="664" y="222"/>
                  <a:pt x="676" y="210"/>
                </a:cubicBezTo>
                <a:close/>
                <a:moveTo>
                  <a:pt x="640" y="278"/>
                </a:moveTo>
                <a:cubicBezTo>
                  <a:pt x="572" y="278"/>
                  <a:pt x="572" y="278"/>
                  <a:pt x="572" y="278"/>
                </a:cubicBezTo>
                <a:cubicBezTo>
                  <a:pt x="579" y="254"/>
                  <a:pt x="596" y="240"/>
                  <a:pt x="604" y="218"/>
                </a:cubicBezTo>
                <a:cubicBezTo>
                  <a:pt x="619" y="235"/>
                  <a:pt x="631" y="255"/>
                  <a:pt x="640" y="278"/>
                </a:cubicBezTo>
                <a:close/>
                <a:moveTo>
                  <a:pt x="600" y="214"/>
                </a:moveTo>
                <a:cubicBezTo>
                  <a:pt x="585" y="231"/>
                  <a:pt x="581" y="259"/>
                  <a:pt x="560" y="270"/>
                </a:cubicBezTo>
                <a:cubicBezTo>
                  <a:pt x="550" y="252"/>
                  <a:pt x="541" y="233"/>
                  <a:pt x="528" y="218"/>
                </a:cubicBezTo>
                <a:cubicBezTo>
                  <a:pt x="544" y="209"/>
                  <a:pt x="577" y="216"/>
                  <a:pt x="600" y="214"/>
                </a:cubicBezTo>
                <a:close/>
                <a:moveTo>
                  <a:pt x="556" y="278"/>
                </a:moveTo>
                <a:cubicBezTo>
                  <a:pt x="484" y="278"/>
                  <a:pt x="484" y="278"/>
                  <a:pt x="484" y="278"/>
                </a:cubicBezTo>
                <a:cubicBezTo>
                  <a:pt x="492" y="255"/>
                  <a:pt x="508" y="241"/>
                  <a:pt x="516" y="218"/>
                </a:cubicBezTo>
                <a:cubicBezTo>
                  <a:pt x="535" y="232"/>
                  <a:pt x="545" y="256"/>
                  <a:pt x="556" y="278"/>
                </a:cubicBezTo>
                <a:close/>
                <a:moveTo>
                  <a:pt x="512" y="214"/>
                </a:moveTo>
                <a:cubicBezTo>
                  <a:pt x="503" y="234"/>
                  <a:pt x="487" y="248"/>
                  <a:pt x="480" y="270"/>
                </a:cubicBezTo>
                <a:cubicBezTo>
                  <a:pt x="460" y="260"/>
                  <a:pt x="457" y="232"/>
                  <a:pt x="440" y="218"/>
                </a:cubicBezTo>
                <a:cubicBezTo>
                  <a:pt x="456" y="209"/>
                  <a:pt x="489" y="216"/>
                  <a:pt x="512" y="214"/>
                </a:cubicBezTo>
                <a:close/>
                <a:moveTo>
                  <a:pt x="468" y="278"/>
                </a:moveTo>
                <a:cubicBezTo>
                  <a:pt x="400" y="278"/>
                  <a:pt x="400" y="278"/>
                  <a:pt x="400" y="278"/>
                </a:cubicBezTo>
                <a:cubicBezTo>
                  <a:pt x="406" y="253"/>
                  <a:pt x="423" y="239"/>
                  <a:pt x="432" y="218"/>
                </a:cubicBezTo>
                <a:cubicBezTo>
                  <a:pt x="446" y="236"/>
                  <a:pt x="458" y="256"/>
                  <a:pt x="468" y="278"/>
                </a:cubicBezTo>
                <a:close/>
                <a:moveTo>
                  <a:pt x="424" y="214"/>
                </a:moveTo>
                <a:cubicBezTo>
                  <a:pt x="415" y="235"/>
                  <a:pt x="406" y="257"/>
                  <a:pt x="388" y="270"/>
                </a:cubicBezTo>
                <a:cubicBezTo>
                  <a:pt x="384" y="245"/>
                  <a:pt x="362" y="237"/>
                  <a:pt x="360" y="210"/>
                </a:cubicBezTo>
                <a:cubicBezTo>
                  <a:pt x="375" y="218"/>
                  <a:pt x="403" y="212"/>
                  <a:pt x="424" y="214"/>
                </a:cubicBezTo>
                <a:close/>
                <a:moveTo>
                  <a:pt x="384" y="278"/>
                </a:moveTo>
                <a:cubicBezTo>
                  <a:pt x="336" y="278"/>
                  <a:pt x="336" y="278"/>
                  <a:pt x="336" y="278"/>
                </a:cubicBezTo>
                <a:cubicBezTo>
                  <a:pt x="336" y="255"/>
                  <a:pt x="347" y="243"/>
                  <a:pt x="348" y="222"/>
                </a:cubicBezTo>
                <a:cubicBezTo>
                  <a:pt x="367" y="234"/>
                  <a:pt x="375" y="256"/>
                  <a:pt x="384" y="278"/>
                </a:cubicBezTo>
                <a:close/>
                <a:moveTo>
                  <a:pt x="344" y="214"/>
                </a:moveTo>
                <a:cubicBezTo>
                  <a:pt x="342" y="233"/>
                  <a:pt x="332" y="244"/>
                  <a:pt x="332" y="266"/>
                </a:cubicBezTo>
                <a:cubicBezTo>
                  <a:pt x="314" y="253"/>
                  <a:pt x="304" y="233"/>
                  <a:pt x="296" y="210"/>
                </a:cubicBezTo>
                <a:cubicBezTo>
                  <a:pt x="306" y="218"/>
                  <a:pt x="328" y="212"/>
                  <a:pt x="344" y="214"/>
                </a:cubicBezTo>
                <a:close/>
                <a:moveTo>
                  <a:pt x="320" y="278"/>
                </a:moveTo>
                <a:cubicBezTo>
                  <a:pt x="244" y="278"/>
                  <a:pt x="244" y="278"/>
                  <a:pt x="244" y="278"/>
                </a:cubicBezTo>
                <a:cubicBezTo>
                  <a:pt x="256" y="257"/>
                  <a:pt x="268" y="237"/>
                  <a:pt x="280" y="218"/>
                </a:cubicBezTo>
                <a:cubicBezTo>
                  <a:pt x="298" y="233"/>
                  <a:pt x="309" y="256"/>
                  <a:pt x="320" y="278"/>
                </a:cubicBezTo>
                <a:close/>
                <a:moveTo>
                  <a:pt x="256" y="182"/>
                </a:moveTo>
                <a:cubicBezTo>
                  <a:pt x="267" y="183"/>
                  <a:pt x="270" y="192"/>
                  <a:pt x="272" y="202"/>
                </a:cubicBezTo>
                <a:cubicBezTo>
                  <a:pt x="228" y="202"/>
                  <a:pt x="228" y="202"/>
                  <a:pt x="228" y="202"/>
                </a:cubicBezTo>
                <a:cubicBezTo>
                  <a:pt x="232" y="190"/>
                  <a:pt x="250" y="192"/>
                  <a:pt x="256" y="182"/>
                </a:cubicBezTo>
                <a:close/>
                <a:moveTo>
                  <a:pt x="220" y="198"/>
                </a:moveTo>
                <a:cubicBezTo>
                  <a:pt x="209" y="188"/>
                  <a:pt x="207" y="169"/>
                  <a:pt x="204" y="150"/>
                </a:cubicBezTo>
                <a:cubicBezTo>
                  <a:pt x="223" y="153"/>
                  <a:pt x="233" y="166"/>
                  <a:pt x="252" y="170"/>
                </a:cubicBezTo>
                <a:cubicBezTo>
                  <a:pt x="252" y="189"/>
                  <a:pt x="225" y="182"/>
                  <a:pt x="220" y="198"/>
                </a:cubicBezTo>
                <a:close/>
                <a:moveTo>
                  <a:pt x="176" y="50"/>
                </a:moveTo>
                <a:cubicBezTo>
                  <a:pt x="187" y="54"/>
                  <a:pt x="187" y="68"/>
                  <a:pt x="196" y="74"/>
                </a:cubicBezTo>
                <a:cubicBezTo>
                  <a:pt x="184" y="87"/>
                  <a:pt x="176" y="63"/>
                  <a:pt x="176" y="50"/>
                </a:cubicBezTo>
                <a:close/>
                <a:moveTo>
                  <a:pt x="184" y="82"/>
                </a:moveTo>
                <a:cubicBezTo>
                  <a:pt x="205" y="76"/>
                  <a:pt x="201" y="94"/>
                  <a:pt x="212" y="98"/>
                </a:cubicBezTo>
                <a:cubicBezTo>
                  <a:pt x="206" y="105"/>
                  <a:pt x="184" y="94"/>
                  <a:pt x="184" y="82"/>
                </a:cubicBezTo>
                <a:close/>
                <a:moveTo>
                  <a:pt x="192" y="102"/>
                </a:moveTo>
                <a:cubicBezTo>
                  <a:pt x="203" y="103"/>
                  <a:pt x="204" y="114"/>
                  <a:pt x="216" y="114"/>
                </a:cubicBezTo>
                <a:cubicBezTo>
                  <a:pt x="213" y="122"/>
                  <a:pt x="205" y="125"/>
                  <a:pt x="196" y="126"/>
                </a:cubicBezTo>
                <a:cubicBezTo>
                  <a:pt x="196" y="116"/>
                  <a:pt x="189" y="114"/>
                  <a:pt x="192" y="102"/>
                </a:cubicBezTo>
                <a:close/>
                <a:moveTo>
                  <a:pt x="200" y="138"/>
                </a:moveTo>
                <a:cubicBezTo>
                  <a:pt x="201" y="127"/>
                  <a:pt x="217" y="131"/>
                  <a:pt x="220" y="122"/>
                </a:cubicBezTo>
                <a:cubicBezTo>
                  <a:pt x="235" y="128"/>
                  <a:pt x="236" y="149"/>
                  <a:pt x="248" y="158"/>
                </a:cubicBezTo>
                <a:cubicBezTo>
                  <a:pt x="237" y="162"/>
                  <a:pt x="215" y="143"/>
                  <a:pt x="200" y="138"/>
                </a:cubicBezTo>
                <a:close/>
                <a:moveTo>
                  <a:pt x="56" y="234"/>
                </a:moveTo>
                <a:cubicBezTo>
                  <a:pt x="65" y="227"/>
                  <a:pt x="80" y="225"/>
                  <a:pt x="96" y="226"/>
                </a:cubicBezTo>
                <a:cubicBezTo>
                  <a:pt x="92" y="243"/>
                  <a:pt x="71" y="237"/>
                  <a:pt x="56" y="234"/>
                </a:cubicBezTo>
                <a:close/>
                <a:moveTo>
                  <a:pt x="100" y="230"/>
                </a:moveTo>
                <a:cubicBezTo>
                  <a:pt x="109" y="229"/>
                  <a:pt x="105" y="241"/>
                  <a:pt x="112" y="242"/>
                </a:cubicBezTo>
                <a:cubicBezTo>
                  <a:pt x="106" y="255"/>
                  <a:pt x="88" y="237"/>
                  <a:pt x="100" y="230"/>
                </a:cubicBezTo>
                <a:close/>
                <a:moveTo>
                  <a:pt x="108" y="222"/>
                </a:moveTo>
                <a:cubicBezTo>
                  <a:pt x="136" y="222"/>
                  <a:pt x="136" y="222"/>
                  <a:pt x="136" y="222"/>
                </a:cubicBezTo>
                <a:cubicBezTo>
                  <a:pt x="135" y="232"/>
                  <a:pt x="124" y="234"/>
                  <a:pt x="124" y="246"/>
                </a:cubicBezTo>
                <a:cubicBezTo>
                  <a:pt x="116" y="241"/>
                  <a:pt x="111" y="233"/>
                  <a:pt x="108" y="222"/>
                </a:cubicBezTo>
                <a:close/>
                <a:moveTo>
                  <a:pt x="128" y="250"/>
                </a:moveTo>
                <a:cubicBezTo>
                  <a:pt x="134" y="241"/>
                  <a:pt x="140" y="232"/>
                  <a:pt x="144" y="222"/>
                </a:cubicBezTo>
                <a:cubicBezTo>
                  <a:pt x="156" y="228"/>
                  <a:pt x="157" y="247"/>
                  <a:pt x="168" y="254"/>
                </a:cubicBezTo>
                <a:cubicBezTo>
                  <a:pt x="158" y="265"/>
                  <a:pt x="141" y="249"/>
                  <a:pt x="128" y="250"/>
                </a:cubicBezTo>
                <a:close/>
                <a:moveTo>
                  <a:pt x="156" y="218"/>
                </a:moveTo>
                <a:cubicBezTo>
                  <a:pt x="173" y="218"/>
                  <a:pt x="184" y="211"/>
                  <a:pt x="204" y="214"/>
                </a:cubicBezTo>
                <a:cubicBezTo>
                  <a:pt x="196" y="229"/>
                  <a:pt x="185" y="240"/>
                  <a:pt x="180" y="258"/>
                </a:cubicBezTo>
                <a:cubicBezTo>
                  <a:pt x="168" y="248"/>
                  <a:pt x="161" y="235"/>
                  <a:pt x="156" y="218"/>
                </a:cubicBezTo>
                <a:close/>
                <a:moveTo>
                  <a:pt x="184" y="266"/>
                </a:moveTo>
                <a:cubicBezTo>
                  <a:pt x="191" y="248"/>
                  <a:pt x="197" y="230"/>
                  <a:pt x="212" y="222"/>
                </a:cubicBezTo>
                <a:cubicBezTo>
                  <a:pt x="214" y="242"/>
                  <a:pt x="223" y="253"/>
                  <a:pt x="224" y="274"/>
                </a:cubicBezTo>
                <a:cubicBezTo>
                  <a:pt x="211" y="271"/>
                  <a:pt x="199" y="267"/>
                  <a:pt x="184" y="266"/>
                </a:cubicBezTo>
                <a:close/>
                <a:moveTo>
                  <a:pt x="220" y="214"/>
                </a:moveTo>
                <a:cubicBezTo>
                  <a:pt x="235" y="211"/>
                  <a:pt x="260" y="219"/>
                  <a:pt x="268" y="210"/>
                </a:cubicBezTo>
                <a:cubicBezTo>
                  <a:pt x="274" y="231"/>
                  <a:pt x="244" y="249"/>
                  <a:pt x="240" y="274"/>
                </a:cubicBezTo>
                <a:cubicBezTo>
                  <a:pt x="226" y="262"/>
                  <a:pt x="228" y="233"/>
                  <a:pt x="220" y="214"/>
                </a:cubicBezTo>
                <a:close/>
                <a:moveTo>
                  <a:pt x="240" y="290"/>
                </a:moveTo>
                <a:cubicBezTo>
                  <a:pt x="256" y="281"/>
                  <a:pt x="286" y="288"/>
                  <a:pt x="308" y="286"/>
                </a:cubicBezTo>
                <a:cubicBezTo>
                  <a:pt x="294" y="304"/>
                  <a:pt x="271" y="313"/>
                  <a:pt x="248" y="322"/>
                </a:cubicBezTo>
                <a:cubicBezTo>
                  <a:pt x="246" y="311"/>
                  <a:pt x="242" y="301"/>
                  <a:pt x="240" y="290"/>
                </a:cubicBezTo>
                <a:close/>
                <a:moveTo>
                  <a:pt x="252" y="334"/>
                </a:moveTo>
                <a:cubicBezTo>
                  <a:pt x="269" y="316"/>
                  <a:pt x="297" y="309"/>
                  <a:pt x="316" y="294"/>
                </a:cubicBezTo>
                <a:cubicBezTo>
                  <a:pt x="332" y="303"/>
                  <a:pt x="316" y="346"/>
                  <a:pt x="316" y="366"/>
                </a:cubicBezTo>
                <a:cubicBezTo>
                  <a:pt x="294" y="356"/>
                  <a:pt x="274" y="344"/>
                  <a:pt x="252" y="334"/>
                </a:cubicBezTo>
                <a:close/>
                <a:moveTo>
                  <a:pt x="284" y="402"/>
                </a:moveTo>
                <a:cubicBezTo>
                  <a:pt x="288" y="390"/>
                  <a:pt x="306" y="392"/>
                  <a:pt x="312" y="382"/>
                </a:cubicBezTo>
                <a:cubicBezTo>
                  <a:pt x="318" y="383"/>
                  <a:pt x="315" y="392"/>
                  <a:pt x="316" y="398"/>
                </a:cubicBezTo>
                <a:cubicBezTo>
                  <a:pt x="310" y="404"/>
                  <a:pt x="296" y="401"/>
                  <a:pt x="284" y="402"/>
                </a:cubicBezTo>
                <a:close/>
                <a:moveTo>
                  <a:pt x="312" y="406"/>
                </a:moveTo>
                <a:cubicBezTo>
                  <a:pt x="312" y="426"/>
                  <a:pt x="312" y="426"/>
                  <a:pt x="312" y="426"/>
                </a:cubicBezTo>
                <a:cubicBezTo>
                  <a:pt x="300" y="421"/>
                  <a:pt x="291" y="412"/>
                  <a:pt x="276" y="410"/>
                </a:cubicBezTo>
                <a:cubicBezTo>
                  <a:pt x="280" y="401"/>
                  <a:pt x="301" y="408"/>
                  <a:pt x="312" y="406"/>
                </a:cubicBezTo>
                <a:close/>
                <a:moveTo>
                  <a:pt x="256" y="342"/>
                </a:moveTo>
                <a:cubicBezTo>
                  <a:pt x="273" y="353"/>
                  <a:pt x="291" y="363"/>
                  <a:pt x="312" y="370"/>
                </a:cubicBezTo>
                <a:cubicBezTo>
                  <a:pt x="304" y="386"/>
                  <a:pt x="283" y="389"/>
                  <a:pt x="268" y="398"/>
                </a:cubicBezTo>
                <a:cubicBezTo>
                  <a:pt x="267" y="377"/>
                  <a:pt x="256" y="365"/>
                  <a:pt x="256" y="342"/>
                </a:cubicBezTo>
                <a:close/>
                <a:moveTo>
                  <a:pt x="280" y="446"/>
                </a:moveTo>
                <a:cubicBezTo>
                  <a:pt x="283" y="432"/>
                  <a:pt x="274" y="430"/>
                  <a:pt x="276" y="418"/>
                </a:cubicBezTo>
                <a:cubicBezTo>
                  <a:pt x="288" y="422"/>
                  <a:pt x="303" y="423"/>
                  <a:pt x="304" y="438"/>
                </a:cubicBezTo>
                <a:cubicBezTo>
                  <a:pt x="292" y="437"/>
                  <a:pt x="292" y="447"/>
                  <a:pt x="280" y="446"/>
                </a:cubicBezTo>
                <a:close/>
                <a:moveTo>
                  <a:pt x="304" y="518"/>
                </a:moveTo>
                <a:cubicBezTo>
                  <a:pt x="293" y="501"/>
                  <a:pt x="291" y="475"/>
                  <a:pt x="284" y="454"/>
                </a:cubicBezTo>
                <a:cubicBezTo>
                  <a:pt x="322" y="420"/>
                  <a:pt x="303" y="488"/>
                  <a:pt x="304" y="518"/>
                </a:cubicBezTo>
                <a:close/>
                <a:moveTo>
                  <a:pt x="340" y="654"/>
                </a:moveTo>
                <a:cubicBezTo>
                  <a:pt x="355" y="659"/>
                  <a:pt x="363" y="671"/>
                  <a:pt x="380" y="674"/>
                </a:cubicBezTo>
                <a:cubicBezTo>
                  <a:pt x="373" y="684"/>
                  <a:pt x="361" y="689"/>
                  <a:pt x="348" y="694"/>
                </a:cubicBezTo>
                <a:cubicBezTo>
                  <a:pt x="346" y="680"/>
                  <a:pt x="339" y="671"/>
                  <a:pt x="340" y="654"/>
                </a:cubicBezTo>
                <a:close/>
                <a:moveTo>
                  <a:pt x="316" y="574"/>
                </a:moveTo>
                <a:cubicBezTo>
                  <a:pt x="339" y="602"/>
                  <a:pt x="360" y="631"/>
                  <a:pt x="376" y="666"/>
                </a:cubicBezTo>
                <a:cubicBezTo>
                  <a:pt x="333" y="658"/>
                  <a:pt x="325" y="616"/>
                  <a:pt x="316" y="574"/>
                </a:cubicBezTo>
                <a:close/>
                <a:moveTo>
                  <a:pt x="384" y="682"/>
                </a:moveTo>
                <a:cubicBezTo>
                  <a:pt x="403" y="695"/>
                  <a:pt x="413" y="717"/>
                  <a:pt x="424" y="738"/>
                </a:cubicBezTo>
                <a:cubicBezTo>
                  <a:pt x="401" y="728"/>
                  <a:pt x="382" y="714"/>
                  <a:pt x="356" y="706"/>
                </a:cubicBezTo>
                <a:cubicBezTo>
                  <a:pt x="356" y="688"/>
                  <a:pt x="378" y="693"/>
                  <a:pt x="384" y="682"/>
                </a:cubicBezTo>
                <a:close/>
                <a:moveTo>
                  <a:pt x="352" y="710"/>
                </a:moveTo>
                <a:cubicBezTo>
                  <a:pt x="379" y="721"/>
                  <a:pt x="400" y="737"/>
                  <a:pt x="428" y="746"/>
                </a:cubicBezTo>
                <a:cubicBezTo>
                  <a:pt x="418" y="766"/>
                  <a:pt x="393" y="772"/>
                  <a:pt x="372" y="782"/>
                </a:cubicBezTo>
                <a:cubicBezTo>
                  <a:pt x="365" y="758"/>
                  <a:pt x="359" y="733"/>
                  <a:pt x="352" y="710"/>
                </a:cubicBezTo>
                <a:close/>
                <a:moveTo>
                  <a:pt x="432" y="758"/>
                </a:moveTo>
                <a:cubicBezTo>
                  <a:pt x="462" y="782"/>
                  <a:pt x="479" y="820"/>
                  <a:pt x="500" y="854"/>
                </a:cubicBezTo>
                <a:cubicBezTo>
                  <a:pt x="458" y="836"/>
                  <a:pt x="423" y="811"/>
                  <a:pt x="380" y="794"/>
                </a:cubicBezTo>
                <a:cubicBezTo>
                  <a:pt x="390" y="774"/>
                  <a:pt x="417" y="772"/>
                  <a:pt x="432" y="758"/>
                </a:cubicBezTo>
                <a:close/>
                <a:moveTo>
                  <a:pt x="376" y="806"/>
                </a:moveTo>
                <a:cubicBezTo>
                  <a:pt x="415" y="807"/>
                  <a:pt x="452" y="845"/>
                  <a:pt x="492" y="858"/>
                </a:cubicBezTo>
                <a:cubicBezTo>
                  <a:pt x="467" y="867"/>
                  <a:pt x="424" y="859"/>
                  <a:pt x="392" y="862"/>
                </a:cubicBezTo>
                <a:cubicBezTo>
                  <a:pt x="388" y="842"/>
                  <a:pt x="386" y="820"/>
                  <a:pt x="376" y="806"/>
                </a:cubicBezTo>
                <a:close/>
                <a:moveTo>
                  <a:pt x="396" y="878"/>
                </a:moveTo>
                <a:cubicBezTo>
                  <a:pt x="424" y="869"/>
                  <a:pt x="469" y="876"/>
                  <a:pt x="504" y="874"/>
                </a:cubicBezTo>
                <a:cubicBezTo>
                  <a:pt x="475" y="898"/>
                  <a:pt x="450" y="926"/>
                  <a:pt x="416" y="946"/>
                </a:cubicBezTo>
                <a:cubicBezTo>
                  <a:pt x="408" y="925"/>
                  <a:pt x="406" y="898"/>
                  <a:pt x="396" y="878"/>
                </a:cubicBezTo>
                <a:close/>
                <a:moveTo>
                  <a:pt x="540" y="1178"/>
                </a:moveTo>
                <a:cubicBezTo>
                  <a:pt x="558" y="1120"/>
                  <a:pt x="603" y="1160"/>
                  <a:pt x="644" y="1174"/>
                </a:cubicBezTo>
                <a:cubicBezTo>
                  <a:pt x="617" y="1183"/>
                  <a:pt x="574" y="1175"/>
                  <a:pt x="540" y="1178"/>
                </a:cubicBezTo>
                <a:close/>
                <a:moveTo>
                  <a:pt x="624" y="1214"/>
                </a:moveTo>
                <a:cubicBezTo>
                  <a:pt x="612" y="1225"/>
                  <a:pt x="600" y="1239"/>
                  <a:pt x="588" y="1242"/>
                </a:cubicBezTo>
                <a:cubicBezTo>
                  <a:pt x="564" y="1228"/>
                  <a:pt x="546" y="1210"/>
                  <a:pt x="532" y="1186"/>
                </a:cubicBezTo>
                <a:cubicBezTo>
                  <a:pt x="644" y="1186"/>
                  <a:pt x="644" y="1186"/>
                  <a:pt x="644" y="1186"/>
                </a:cubicBezTo>
                <a:cubicBezTo>
                  <a:pt x="658" y="1192"/>
                  <a:pt x="633" y="1206"/>
                  <a:pt x="624" y="1214"/>
                </a:cubicBezTo>
                <a:close/>
                <a:moveTo>
                  <a:pt x="516" y="1178"/>
                </a:moveTo>
                <a:cubicBezTo>
                  <a:pt x="483" y="1136"/>
                  <a:pt x="438" y="1107"/>
                  <a:pt x="408" y="1062"/>
                </a:cubicBezTo>
                <a:cubicBezTo>
                  <a:pt x="430" y="1046"/>
                  <a:pt x="448" y="1027"/>
                  <a:pt x="468" y="1010"/>
                </a:cubicBezTo>
                <a:cubicBezTo>
                  <a:pt x="572" y="1010"/>
                  <a:pt x="572" y="1010"/>
                  <a:pt x="572" y="1010"/>
                </a:cubicBezTo>
                <a:cubicBezTo>
                  <a:pt x="593" y="1026"/>
                  <a:pt x="609" y="1048"/>
                  <a:pt x="632" y="1062"/>
                </a:cubicBezTo>
                <a:cubicBezTo>
                  <a:pt x="598" y="1106"/>
                  <a:pt x="560" y="1144"/>
                  <a:pt x="516" y="1178"/>
                </a:cubicBezTo>
                <a:close/>
                <a:moveTo>
                  <a:pt x="504" y="1186"/>
                </a:moveTo>
                <a:cubicBezTo>
                  <a:pt x="493" y="1212"/>
                  <a:pt x="467" y="1223"/>
                  <a:pt x="452" y="1246"/>
                </a:cubicBezTo>
                <a:cubicBezTo>
                  <a:pt x="431" y="1226"/>
                  <a:pt x="405" y="1210"/>
                  <a:pt x="388" y="1186"/>
                </a:cubicBezTo>
                <a:lnTo>
                  <a:pt x="504" y="1186"/>
                </a:lnTo>
                <a:close/>
                <a:moveTo>
                  <a:pt x="396" y="1178"/>
                </a:moveTo>
                <a:cubicBezTo>
                  <a:pt x="431" y="1158"/>
                  <a:pt x="484" y="1121"/>
                  <a:pt x="500" y="1178"/>
                </a:cubicBezTo>
                <a:lnTo>
                  <a:pt x="396" y="1178"/>
                </a:lnTo>
                <a:close/>
                <a:moveTo>
                  <a:pt x="416" y="970"/>
                </a:moveTo>
                <a:cubicBezTo>
                  <a:pt x="434" y="973"/>
                  <a:pt x="437" y="991"/>
                  <a:pt x="452" y="998"/>
                </a:cubicBezTo>
                <a:cubicBezTo>
                  <a:pt x="447" y="1007"/>
                  <a:pt x="424" y="999"/>
                  <a:pt x="412" y="1002"/>
                </a:cubicBezTo>
                <a:cubicBezTo>
                  <a:pt x="409" y="987"/>
                  <a:pt x="417" y="983"/>
                  <a:pt x="416" y="970"/>
                </a:cubicBezTo>
                <a:close/>
                <a:moveTo>
                  <a:pt x="468" y="998"/>
                </a:moveTo>
                <a:cubicBezTo>
                  <a:pt x="449" y="992"/>
                  <a:pt x="443" y="973"/>
                  <a:pt x="424" y="966"/>
                </a:cubicBezTo>
                <a:cubicBezTo>
                  <a:pt x="443" y="957"/>
                  <a:pt x="479" y="964"/>
                  <a:pt x="504" y="962"/>
                </a:cubicBezTo>
                <a:cubicBezTo>
                  <a:pt x="497" y="978"/>
                  <a:pt x="477" y="983"/>
                  <a:pt x="468" y="998"/>
                </a:cubicBezTo>
                <a:close/>
                <a:moveTo>
                  <a:pt x="516" y="966"/>
                </a:moveTo>
                <a:cubicBezTo>
                  <a:pt x="535" y="972"/>
                  <a:pt x="544" y="988"/>
                  <a:pt x="560" y="998"/>
                </a:cubicBezTo>
                <a:cubicBezTo>
                  <a:pt x="541" y="1007"/>
                  <a:pt x="506" y="999"/>
                  <a:pt x="480" y="1002"/>
                </a:cubicBezTo>
                <a:cubicBezTo>
                  <a:pt x="488" y="985"/>
                  <a:pt x="507" y="981"/>
                  <a:pt x="516" y="966"/>
                </a:cubicBezTo>
                <a:close/>
                <a:moveTo>
                  <a:pt x="572" y="998"/>
                </a:moveTo>
                <a:cubicBezTo>
                  <a:pt x="561" y="987"/>
                  <a:pt x="549" y="976"/>
                  <a:pt x="536" y="966"/>
                </a:cubicBezTo>
                <a:cubicBezTo>
                  <a:pt x="555" y="957"/>
                  <a:pt x="591" y="964"/>
                  <a:pt x="616" y="962"/>
                </a:cubicBezTo>
                <a:cubicBezTo>
                  <a:pt x="601" y="973"/>
                  <a:pt x="592" y="991"/>
                  <a:pt x="572" y="998"/>
                </a:cubicBezTo>
                <a:close/>
                <a:moveTo>
                  <a:pt x="628" y="1002"/>
                </a:moveTo>
                <a:cubicBezTo>
                  <a:pt x="584" y="1002"/>
                  <a:pt x="584" y="1002"/>
                  <a:pt x="584" y="1002"/>
                </a:cubicBezTo>
                <a:cubicBezTo>
                  <a:pt x="591" y="988"/>
                  <a:pt x="610" y="985"/>
                  <a:pt x="616" y="970"/>
                </a:cubicBezTo>
                <a:cubicBezTo>
                  <a:pt x="629" y="971"/>
                  <a:pt x="626" y="989"/>
                  <a:pt x="628" y="1002"/>
                </a:cubicBezTo>
                <a:close/>
                <a:moveTo>
                  <a:pt x="436" y="950"/>
                </a:moveTo>
                <a:cubicBezTo>
                  <a:pt x="458" y="920"/>
                  <a:pt x="494" y="904"/>
                  <a:pt x="516" y="874"/>
                </a:cubicBezTo>
                <a:cubicBezTo>
                  <a:pt x="549" y="895"/>
                  <a:pt x="574" y="923"/>
                  <a:pt x="604" y="946"/>
                </a:cubicBezTo>
                <a:cubicBezTo>
                  <a:pt x="556" y="955"/>
                  <a:pt x="491" y="947"/>
                  <a:pt x="436" y="950"/>
                </a:cubicBezTo>
                <a:close/>
                <a:moveTo>
                  <a:pt x="412" y="1010"/>
                </a:moveTo>
                <a:cubicBezTo>
                  <a:pt x="448" y="1010"/>
                  <a:pt x="448" y="1010"/>
                  <a:pt x="448" y="1010"/>
                </a:cubicBezTo>
                <a:cubicBezTo>
                  <a:pt x="435" y="1024"/>
                  <a:pt x="424" y="1042"/>
                  <a:pt x="404" y="1050"/>
                </a:cubicBezTo>
                <a:cubicBezTo>
                  <a:pt x="403" y="1033"/>
                  <a:pt x="408" y="1022"/>
                  <a:pt x="412" y="1010"/>
                </a:cubicBezTo>
                <a:close/>
                <a:moveTo>
                  <a:pt x="396" y="1074"/>
                </a:moveTo>
                <a:cubicBezTo>
                  <a:pt x="421" y="1089"/>
                  <a:pt x="441" y="1109"/>
                  <a:pt x="456" y="1134"/>
                </a:cubicBezTo>
                <a:cubicBezTo>
                  <a:pt x="434" y="1132"/>
                  <a:pt x="404" y="1138"/>
                  <a:pt x="388" y="1130"/>
                </a:cubicBezTo>
                <a:cubicBezTo>
                  <a:pt x="392" y="1112"/>
                  <a:pt x="397" y="1096"/>
                  <a:pt x="396" y="1074"/>
                </a:cubicBezTo>
                <a:close/>
                <a:moveTo>
                  <a:pt x="388" y="1138"/>
                </a:moveTo>
                <a:cubicBezTo>
                  <a:pt x="452" y="1138"/>
                  <a:pt x="452" y="1138"/>
                  <a:pt x="452" y="1138"/>
                </a:cubicBezTo>
                <a:cubicBezTo>
                  <a:pt x="434" y="1155"/>
                  <a:pt x="405" y="1162"/>
                  <a:pt x="380" y="1174"/>
                </a:cubicBezTo>
                <a:cubicBezTo>
                  <a:pt x="384" y="1163"/>
                  <a:pt x="385" y="1149"/>
                  <a:pt x="388" y="1138"/>
                </a:cubicBezTo>
                <a:close/>
                <a:moveTo>
                  <a:pt x="376" y="1194"/>
                </a:moveTo>
                <a:cubicBezTo>
                  <a:pt x="403" y="1204"/>
                  <a:pt x="415" y="1230"/>
                  <a:pt x="440" y="1242"/>
                </a:cubicBezTo>
                <a:cubicBezTo>
                  <a:pt x="424" y="1251"/>
                  <a:pt x="391" y="1243"/>
                  <a:pt x="368" y="1246"/>
                </a:cubicBezTo>
                <a:cubicBezTo>
                  <a:pt x="371" y="1229"/>
                  <a:pt x="376" y="1214"/>
                  <a:pt x="376" y="1194"/>
                </a:cubicBezTo>
                <a:close/>
                <a:moveTo>
                  <a:pt x="368" y="1254"/>
                </a:moveTo>
                <a:cubicBezTo>
                  <a:pt x="440" y="1254"/>
                  <a:pt x="440" y="1254"/>
                  <a:pt x="440" y="1254"/>
                </a:cubicBezTo>
                <a:cubicBezTo>
                  <a:pt x="414" y="1286"/>
                  <a:pt x="382" y="1310"/>
                  <a:pt x="356" y="1342"/>
                </a:cubicBezTo>
                <a:cubicBezTo>
                  <a:pt x="350" y="1319"/>
                  <a:pt x="365" y="1282"/>
                  <a:pt x="368" y="1254"/>
                </a:cubicBezTo>
                <a:close/>
                <a:moveTo>
                  <a:pt x="348" y="1362"/>
                </a:moveTo>
                <a:cubicBezTo>
                  <a:pt x="368" y="1372"/>
                  <a:pt x="382" y="1386"/>
                  <a:pt x="392" y="1406"/>
                </a:cubicBezTo>
                <a:cubicBezTo>
                  <a:pt x="372" y="1423"/>
                  <a:pt x="353" y="1442"/>
                  <a:pt x="336" y="1462"/>
                </a:cubicBezTo>
                <a:cubicBezTo>
                  <a:pt x="329" y="1433"/>
                  <a:pt x="347" y="1395"/>
                  <a:pt x="348" y="1362"/>
                </a:cubicBezTo>
                <a:close/>
                <a:moveTo>
                  <a:pt x="328" y="1486"/>
                </a:moveTo>
                <a:cubicBezTo>
                  <a:pt x="342" y="1496"/>
                  <a:pt x="350" y="1512"/>
                  <a:pt x="360" y="1526"/>
                </a:cubicBezTo>
                <a:cubicBezTo>
                  <a:pt x="352" y="1549"/>
                  <a:pt x="328" y="1558"/>
                  <a:pt x="316" y="1578"/>
                </a:cubicBezTo>
                <a:cubicBezTo>
                  <a:pt x="310" y="1553"/>
                  <a:pt x="324" y="1514"/>
                  <a:pt x="328" y="1486"/>
                </a:cubicBezTo>
                <a:close/>
                <a:moveTo>
                  <a:pt x="364" y="1538"/>
                </a:moveTo>
                <a:cubicBezTo>
                  <a:pt x="382" y="1550"/>
                  <a:pt x="394" y="1569"/>
                  <a:pt x="404" y="1590"/>
                </a:cubicBezTo>
                <a:cubicBezTo>
                  <a:pt x="320" y="1590"/>
                  <a:pt x="320" y="1590"/>
                  <a:pt x="320" y="1590"/>
                </a:cubicBezTo>
                <a:cubicBezTo>
                  <a:pt x="329" y="1566"/>
                  <a:pt x="352" y="1558"/>
                  <a:pt x="364" y="1538"/>
                </a:cubicBezTo>
                <a:close/>
                <a:moveTo>
                  <a:pt x="304" y="1606"/>
                </a:moveTo>
                <a:cubicBezTo>
                  <a:pt x="322" y="1614"/>
                  <a:pt x="323" y="1641"/>
                  <a:pt x="332" y="1658"/>
                </a:cubicBezTo>
                <a:cubicBezTo>
                  <a:pt x="325" y="1675"/>
                  <a:pt x="303" y="1697"/>
                  <a:pt x="292" y="1698"/>
                </a:cubicBezTo>
                <a:cubicBezTo>
                  <a:pt x="292" y="1663"/>
                  <a:pt x="305" y="1642"/>
                  <a:pt x="304" y="1606"/>
                </a:cubicBezTo>
                <a:close/>
                <a:moveTo>
                  <a:pt x="352" y="1710"/>
                </a:moveTo>
                <a:cubicBezTo>
                  <a:pt x="296" y="1710"/>
                  <a:pt x="296" y="1710"/>
                  <a:pt x="296" y="1710"/>
                </a:cubicBezTo>
                <a:cubicBezTo>
                  <a:pt x="310" y="1695"/>
                  <a:pt x="320" y="1678"/>
                  <a:pt x="340" y="1670"/>
                </a:cubicBezTo>
                <a:cubicBezTo>
                  <a:pt x="338" y="1689"/>
                  <a:pt x="354" y="1691"/>
                  <a:pt x="352" y="1710"/>
                </a:cubicBezTo>
                <a:close/>
                <a:moveTo>
                  <a:pt x="284" y="1730"/>
                </a:moveTo>
                <a:cubicBezTo>
                  <a:pt x="295" y="1744"/>
                  <a:pt x="291" y="1774"/>
                  <a:pt x="300" y="1790"/>
                </a:cubicBezTo>
                <a:cubicBezTo>
                  <a:pt x="295" y="1802"/>
                  <a:pt x="282" y="1806"/>
                  <a:pt x="276" y="1818"/>
                </a:cubicBezTo>
                <a:cubicBezTo>
                  <a:pt x="266" y="1792"/>
                  <a:pt x="285" y="1760"/>
                  <a:pt x="284" y="1730"/>
                </a:cubicBezTo>
                <a:close/>
                <a:moveTo>
                  <a:pt x="248" y="1978"/>
                </a:moveTo>
                <a:cubicBezTo>
                  <a:pt x="244" y="1936"/>
                  <a:pt x="260" y="1880"/>
                  <a:pt x="268" y="1838"/>
                </a:cubicBezTo>
                <a:cubicBezTo>
                  <a:pt x="304" y="1838"/>
                  <a:pt x="304" y="1838"/>
                  <a:pt x="304" y="1838"/>
                </a:cubicBezTo>
                <a:cubicBezTo>
                  <a:pt x="288" y="1887"/>
                  <a:pt x="263" y="1927"/>
                  <a:pt x="248" y="1978"/>
                </a:cubicBezTo>
                <a:close/>
                <a:moveTo>
                  <a:pt x="304" y="1830"/>
                </a:moveTo>
                <a:cubicBezTo>
                  <a:pt x="276" y="1830"/>
                  <a:pt x="276" y="1830"/>
                  <a:pt x="276" y="1830"/>
                </a:cubicBezTo>
                <a:cubicBezTo>
                  <a:pt x="280" y="1819"/>
                  <a:pt x="292" y="1816"/>
                  <a:pt x="296" y="1806"/>
                </a:cubicBezTo>
                <a:cubicBezTo>
                  <a:pt x="306" y="1806"/>
                  <a:pt x="304" y="1819"/>
                  <a:pt x="304" y="1830"/>
                </a:cubicBezTo>
                <a:close/>
                <a:moveTo>
                  <a:pt x="316" y="1818"/>
                </a:moveTo>
                <a:cubicBezTo>
                  <a:pt x="299" y="1793"/>
                  <a:pt x="302" y="1750"/>
                  <a:pt x="292" y="1718"/>
                </a:cubicBezTo>
                <a:cubicBezTo>
                  <a:pt x="356" y="1718"/>
                  <a:pt x="356" y="1718"/>
                  <a:pt x="356" y="1718"/>
                </a:cubicBezTo>
                <a:cubicBezTo>
                  <a:pt x="344" y="1752"/>
                  <a:pt x="326" y="1781"/>
                  <a:pt x="316" y="1818"/>
                </a:cubicBezTo>
                <a:close/>
                <a:moveTo>
                  <a:pt x="356" y="1702"/>
                </a:moveTo>
                <a:cubicBezTo>
                  <a:pt x="348" y="1661"/>
                  <a:pt x="325" y="1635"/>
                  <a:pt x="316" y="1594"/>
                </a:cubicBezTo>
                <a:cubicBezTo>
                  <a:pt x="408" y="1594"/>
                  <a:pt x="408" y="1594"/>
                  <a:pt x="408" y="1594"/>
                </a:cubicBezTo>
                <a:cubicBezTo>
                  <a:pt x="391" y="1630"/>
                  <a:pt x="382" y="1675"/>
                  <a:pt x="356" y="1702"/>
                </a:cubicBezTo>
                <a:close/>
                <a:moveTo>
                  <a:pt x="416" y="1582"/>
                </a:moveTo>
                <a:cubicBezTo>
                  <a:pt x="384" y="1552"/>
                  <a:pt x="360" y="1515"/>
                  <a:pt x="336" y="1478"/>
                </a:cubicBezTo>
                <a:cubicBezTo>
                  <a:pt x="456" y="1478"/>
                  <a:pt x="456" y="1478"/>
                  <a:pt x="456" y="1478"/>
                </a:cubicBezTo>
                <a:cubicBezTo>
                  <a:pt x="446" y="1516"/>
                  <a:pt x="425" y="1543"/>
                  <a:pt x="416" y="1582"/>
                </a:cubicBezTo>
                <a:close/>
                <a:moveTo>
                  <a:pt x="340" y="1470"/>
                </a:moveTo>
                <a:cubicBezTo>
                  <a:pt x="351" y="1444"/>
                  <a:pt x="378" y="1433"/>
                  <a:pt x="392" y="1410"/>
                </a:cubicBezTo>
                <a:cubicBezTo>
                  <a:pt x="422" y="1421"/>
                  <a:pt x="439" y="1445"/>
                  <a:pt x="456" y="1470"/>
                </a:cubicBezTo>
                <a:lnTo>
                  <a:pt x="340" y="1470"/>
                </a:lnTo>
                <a:close/>
                <a:moveTo>
                  <a:pt x="468" y="1458"/>
                </a:moveTo>
                <a:cubicBezTo>
                  <a:pt x="428" y="1428"/>
                  <a:pt x="394" y="1394"/>
                  <a:pt x="364" y="1354"/>
                </a:cubicBezTo>
                <a:cubicBezTo>
                  <a:pt x="508" y="1354"/>
                  <a:pt x="508" y="1354"/>
                  <a:pt x="508" y="1354"/>
                </a:cubicBezTo>
                <a:cubicBezTo>
                  <a:pt x="498" y="1392"/>
                  <a:pt x="479" y="1421"/>
                  <a:pt x="468" y="1458"/>
                </a:cubicBezTo>
                <a:close/>
                <a:moveTo>
                  <a:pt x="376" y="1346"/>
                </a:moveTo>
                <a:cubicBezTo>
                  <a:pt x="362" y="1339"/>
                  <a:pt x="390" y="1324"/>
                  <a:pt x="400" y="1314"/>
                </a:cubicBezTo>
                <a:cubicBezTo>
                  <a:pt x="436" y="1278"/>
                  <a:pt x="480" y="1232"/>
                  <a:pt x="516" y="1194"/>
                </a:cubicBezTo>
                <a:cubicBezTo>
                  <a:pt x="570" y="1238"/>
                  <a:pt x="630" y="1298"/>
                  <a:pt x="668" y="1346"/>
                </a:cubicBezTo>
                <a:lnTo>
                  <a:pt x="376" y="1346"/>
                </a:lnTo>
                <a:close/>
                <a:moveTo>
                  <a:pt x="532" y="1354"/>
                </a:moveTo>
                <a:cubicBezTo>
                  <a:pt x="676" y="1354"/>
                  <a:pt x="676" y="1354"/>
                  <a:pt x="676" y="1354"/>
                </a:cubicBezTo>
                <a:cubicBezTo>
                  <a:pt x="646" y="1394"/>
                  <a:pt x="612" y="1428"/>
                  <a:pt x="572" y="1458"/>
                </a:cubicBezTo>
                <a:cubicBezTo>
                  <a:pt x="561" y="1421"/>
                  <a:pt x="541" y="1393"/>
                  <a:pt x="532" y="1354"/>
                </a:cubicBezTo>
                <a:close/>
                <a:moveTo>
                  <a:pt x="636" y="1410"/>
                </a:moveTo>
                <a:cubicBezTo>
                  <a:pt x="663" y="1424"/>
                  <a:pt x="681" y="1448"/>
                  <a:pt x="700" y="1470"/>
                </a:cubicBezTo>
                <a:cubicBezTo>
                  <a:pt x="584" y="1470"/>
                  <a:pt x="584" y="1470"/>
                  <a:pt x="584" y="1470"/>
                </a:cubicBezTo>
                <a:cubicBezTo>
                  <a:pt x="595" y="1444"/>
                  <a:pt x="622" y="1433"/>
                  <a:pt x="636" y="1410"/>
                </a:cubicBezTo>
                <a:close/>
                <a:moveTo>
                  <a:pt x="584" y="1478"/>
                </a:moveTo>
                <a:cubicBezTo>
                  <a:pt x="704" y="1478"/>
                  <a:pt x="704" y="1478"/>
                  <a:pt x="704" y="1478"/>
                </a:cubicBezTo>
                <a:cubicBezTo>
                  <a:pt x="679" y="1514"/>
                  <a:pt x="655" y="1552"/>
                  <a:pt x="624" y="1582"/>
                </a:cubicBezTo>
                <a:cubicBezTo>
                  <a:pt x="613" y="1545"/>
                  <a:pt x="594" y="1516"/>
                  <a:pt x="584" y="1478"/>
                </a:cubicBezTo>
                <a:close/>
                <a:moveTo>
                  <a:pt x="668" y="1538"/>
                </a:moveTo>
                <a:cubicBezTo>
                  <a:pt x="690" y="1550"/>
                  <a:pt x="708" y="1568"/>
                  <a:pt x="720" y="1590"/>
                </a:cubicBezTo>
                <a:cubicBezTo>
                  <a:pt x="636" y="1590"/>
                  <a:pt x="636" y="1590"/>
                  <a:pt x="636" y="1590"/>
                </a:cubicBezTo>
                <a:cubicBezTo>
                  <a:pt x="641" y="1567"/>
                  <a:pt x="661" y="1558"/>
                  <a:pt x="668" y="1538"/>
                </a:cubicBezTo>
                <a:close/>
                <a:moveTo>
                  <a:pt x="632" y="1594"/>
                </a:moveTo>
                <a:cubicBezTo>
                  <a:pt x="724" y="1594"/>
                  <a:pt x="724" y="1594"/>
                  <a:pt x="724" y="1594"/>
                </a:cubicBezTo>
                <a:cubicBezTo>
                  <a:pt x="713" y="1633"/>
                  <a:pt x="695" y="1666"/>
                  <a:pt x="680" y="1702"/>
                </a:cubicBezTo>
                <a:cubicBezTo>
                  <a:pt x="660" y="1670"/>
                  <a:pt x="647" y="1631"/>
                  <a:pt x="632" y="1594"/>
                </a:cubicBezTo>
                <a:close/>
                <a:moveTo>
                  <a:pt x="700" y="1670"/>
                </a:moveTo>
                <a:cubicBezTo>
                  <a:pt x="718" y="1678"/>
                  <a:pt x="732" y="1692"/>
                  <a:pt x="740" y="1710"/>
                </a:cubicBezTo>
                <a:cubicBezTo>
                  <a:pt x="684" y="1710"/>
                  <a:pt x="684" y="1710"/>
                  <a:pt x="684" y="1710"/>
                </a:cubicBezTo>
                <a:cubicBezTo>
                  <a:pt x="690" y="1697"/>
                  <a:pt x="697" y="1686"/>
                  <a:pt x="700" y="1670"/>
                </a:cubicBezTo>
                <a:close/>
                <a:moveTo>
                  <a:pt x="684" y="1718"/>
                </a:moveTo>
                <a:cubicBezTo>
                  <a:pt x="748" y="1718"/>
                  <a:pt x="748" y="1718"/>
                  <a:pt x="748" y="1718"/>
                </a:cubicBezTo>
                <a:cubicBezTo>
                  <a:pt x="741" y="1751"/>
                  <a:pt x="736" y="1786"/>
                  <a:pt x="728" y="1818"/>
                </a:cubicBezTo>
                <a:cubicBezTo>
                  <a:pt x="711" y="1787"/>
                  <a:pt x="698" y="1752"/>
                  <a:pt x="684" y="1718"/>
                </a:cubicBezTo>
                <a:close/>
                <a:moveTo>
                  <a:pt x="736" y="1806"/>
                </a:moveTo>
                <a:cubicBezTo>
                  <a:pt x="752" y="1806"/>
                  <a:pt x="752" y="1822"/>
                  <a:pt x="764" y="1826"/>
                </a:cubicBezTo>
                <a:cubicBezTo>
                  <a:pt x="762" y="1835"/>
                  <a:pt x="744" y="1827"/>
                  <a:pt x="736" y="1830"/>
                </a:cubicBezTo>
                <a:lnTo>
                  <a:pt x="736" y="1806"/>
                </a:lnTo>
                <a:close/>
                <a:moveTo>
                  <a:pt x="796" y="1978"/>
                </a:moveTo>
                <a:cubicBezTo>
                  <a:pt x="773" y="1934"/>
                  <a:pt x="754" y="1886"/>
                  <a:pt x="736" y="1838"/>
                </a:cubicBezTo>
                <a:cubicBezTo>
                  <a:pt x="772" y="1838"/>
                  <a:pt x="772" y="1838"/>
                  <a:pt x="772" y="1838"/>
                </a:cubicBezTo>
                <a:cubicBezTo>
                  <a:pt x="782" y="1883"/>
                  <a:pt x="790" y="1930"/>
                  <a:pt x="796" y="1978"/>
                </a:cubicBezTo>
                <a:close/>
                <a:moveTo>
                  <a:pt x="768" y="1818"/>
                </a:moveTo>
                <a:cubicBezTo>
                  <a:pt x="733" y="1805"/>
                  <a:pt x="744" y="1767"/>
                  <a:pt x="752" y="1730"/>
                </a:cubicBezTo>
                <a:cubicBezTo>
                  <a:pt x="761" y="1755"/>
                  <a:pt x="765" y="1787"/>
                  <a:pt x="768" y="1818"/>
                </a:cubicBezTo>
                <a:close/>
                <a:moveTo>
                  <a:pt x="708" y="1662"/>
                </a:moveTo>
                <a:cubicBezTo>
                  <a:pt x="711" y="1639"/>
                  <a:pt x="724" y="1627"/>
                  <a:pt x="728" y="1606"/>
                </a:cubicBezTo>
                <a:cubicBezTo>
                  <a:pt x="744" y="1629"/>
                  <a:pt x="742" y="1669"/>
                  <a:pt x="748" y="1702"/>
                </a:cubicBezTo>
                <a:cubicBezTo>
                  <a:pt x="733" y="1690"/>
                  <a:pt x="720" y="1677"/>
                  <a:pt x="708" y="1662"/>
                </a:cubicBezTo>
                <a:close/>
                <a:moveTo>
                  <a:pt x="676" y="1530"/>
                </a:moveTo>
                <a:cubicBezTo>
                  <a:pt x="687" y="1515"/>
                  <a:pt x="699" y="1502"/>
                  <a:pt x="708" y="1486"/>
                </a:cubicBezTo>
                <a:cubicBezTo>
                  <a:pt x="722" y="1510"/>
                  <a:pt x="721" y="1548"/>
                  <a:pt x="728" y="1578"/>
                </a:cubicBezTo>
                <a:cubicBezTo>
                  <a:pt x="705" y="1568"/>
                  <a:pt x="693" y="1546"/>
                  <a:pt x="676" y="1530"/>
                </a:cubicBezTo>
                <a:close/>
                <a:moveTo>
                  <a:pt x="692" y="1366"/>
                </a:moveTo>
                <a:cubicBezTo>
                  <a:pt x="697" y="1398"/>
                  <a:pt x="703" y="1430"/>
                  <a:pt x="708" y="1462"/>
                </a:cubicBezTo>
                <a:cubicBezTo>
                  <a:pt x="686" y="1446"/>
                  <a:pt x="671" y="1422"/>
                  <a:pt x="648" y="1406"/>
                </a:cubicBezTo>
                <a:cubicBezTo>
                  <a:pt x="654" y="1385"/>
                  <a:pt x="675" y="1379"/>
                  <a:pt x="684" y="1362"/>
                </a:cubicBezTo>
                <a:cubicBezTo>
                  <a:pt x="689" y="1361"/>
                  <a:pt x="691" y="1363"/>
                  <a:pt x="692" y="1366"/>
                </a:cubicBezTo>
                <a:close/>
                <a:moveTo>
                  <a:pt x="600" y="1254"/>
                </a:moveTo>
                <a:cubicBezTo>
                  <a:pt x="672" y="1254"/>
                  <a:pt x="672" y="1254"/>
                  <a:pt x="672" y="1254"/>
                </a:cubicBezTo>
                <a:cubicBezTo>
                  <a:pt x="679" y="1282"/>
                  <a:pt x="681" y="1314"/>
                  <a:pt x="688" y="1342"/>
                </a:cubicBezTo>
                <a:cubicBezTo>
                  <a:pt x="654" y="1318"/>
                  <a:pt x="624" y="1288"/>
                  <a:pt x="600" y="1254"/>
                </a:cubicBezTo>
                <a:close/>
                <a:moveTo>
                  <a:pt x="672" y="1242"/>
                </a:moveTo>
                <a:cubicBezTo>
                  <a:pt x="656" y="1251"/>
                  <a:pt x="623" y="1243"/>
                  <a:pt x="600" y="1246"/>
                </a:cubicBezTo>
                <a:cubicBezTo>
                  <a:pt x="616" y="1225"/>
                  <a:pt x="640" y="1214"/>
                  <a:pt x="656" y="1194"/>
                </a:cubicBezTo>
                <a:cubicBezTo>
                  <a:pt x="673" y="1198"/>
                  <a:pt x="661" y="1232"/>
                  <a:pt x="672" y="1242"/>
                </a:cubicBezTo>
                <a:close/>
                <a:moveTo>
                  <a:pt x="656" y="1174"/>
                </a:moveTo>
                <a:cubicBezTo>
                  <a:pt x="635" y="1162"/>
                  <a:pt x="609" y="1154"/>
                  <a:pt x="588" y="1142"/>
                </a:cubicBezTo>
                <a:cubicBezTo>
                  <a:pt x="602" y="1133"/>
                  <a:pt x="632" y="1140"/>
                  <a:pt x="652" y="1138"/>
                </a:cubicBezTo>
                <a:cubicBezTo>
                  <a:pt x="652" y="1151"/>
                  <a:pt x="659" y="1158"/>
                  <a:pt x="656" y="1174"/>
                </a:cubicBezTo>
                <a:close/>
                <a:moveTo>
                  <a:pt x="648" y="1134"/>
                </a:moveTo>
                <a:cubicBezTo>
                  <a:pt x="584" y="1134"/>
                  <a:pt x="584" y="1134"/>
                  <a:pt x="584" y="1134"/>
                </a:cubicBezTo>
                <a:cubicBezTo>
                  <a:pt x="595" y="1108"/>
                  <a:pt x="622" y="1097"/>
                  <a:pt x="636" y="1074"/>
                </a:cubicBezTo>
                <a:cubicBezTo>
                  <a:pt x="649" y="1084"/>
                  <a:pt x="650" y="1123"/>
                  <a:pt x="648" y="1134"/>
                </a:cubicBezTo>
                <a:close/>
                <a:moveTo>
                  <a:pt x="636" y="1050"/>
                </a:moveTo>
                <a:cubicBezTo>
                  <a:pt x="618" y="1040"/>
                  <a:pt x="603" y="1027"/>
                  <a:pt x="592" y="1010"/>
                </a:cubicBezTo>
                <a:cubicBezTo>
                  <a:pt x="628" y="1010"/>
                  <a:pt x="628" y="1010"/>
                  <a:pt x="628" y="1010"/>
                </a:cubicBezTo>
                <a:cubicBezTo>
                  <a:pt x="633" y="1021"/>
                  <a:pt x="635" y="1035"/>
                  <a:pt x="636" y="1050"/>
                </a:cubicBezTo>
                <a:close/>
                <a:moveTo>
                  <a:pt x="624" y="946"/>
                </a:moveTo>
                <a:cubicBezTo>
                  <a:pt x="589" y="929"/>
                  <a:pt x="570" y="896"/>
                  <a:pt x="536" y="878"/>
                </a:cubicBezTo>
                <a:cubicBezTo>
                  <a:pt x="564" y="869"/>
                  <a:pt x="609" y="876"/>
                  <a:pt x="644" y="874"/>
                </a:cubicBezTo>
                <a:cubicBezTo>
                  <a:pt x="636" y="897"/>
                  <a:pt x="630" y="921"/>
                  <a:pt x="624" y="946"/>
                </a:cubicBezTo>
                <a:close/>
                <a:moveTo>
                  <a:pt x="648" y="862"/>
                </a:moveTo>
                <a:cubicBezTo>
                  <a:pt x="548" y="862"/>
                  <a:pt x="548" y="862"/>
                  <a:pt x="548" y="862"/>
                </a:cubicBezTo>
                <a:cubicBezTo>
                  <a:pt x="578" y="837"/>
                  <a:pt x="621" y="825"/>
                  <a:pt x="652" y="802"/>
                </a:cubicBezTo>
                <a:cubicBezTo>
                  <a:pt x="673" y="814"/>
                  <a:pt x="644" y="840"/>
                  <a:pt x="648" y="862"/>
                </a:cubicBezTo>
                <a:close/>
                <a:moveTo>
                  <a:pt x="540" y="854"/>
                </a:moveTo>
                <a:cubicBezTo>
                  <a:pt x="558" y="819"/>
                  <a:pt x="581" y="791"/>
                  <a:pt x="600" y="758"/>
                </a:cubicBezTo>
                <a:cubicBezTo>
                  <a:pt x="623" y="767"/>
                  <a:pt x="646" y="776"/>
                  <a:pt x="660" y="794"/>
                </a:cubicBezTo>
                <a:cubicBezTo>
                  <a:pt x="617" y="810"/>
                  <a:pt x="583" y="836"/>
                  <a:pt x="540" y="854"/>
                </a:cubicBezTo>
                <a:close/>
                <a:moveTo>
                  <a:pt x="668" y="782"/>
                </a:moveTo>
                <a:cubicBezTo>
                  <a:pt x="643" y="777"/>
                  <a:pt x="632" y="759"/>
                  <a:pt x="608" y="754"/>
                </a:cubicBezTo>
                <a:cubicBezTo>
                  <a:pt x="626" y="733"/>
                  <a:pt x="662" y="731"/>
                  <a:pt x="680" y="710"/>
                </a:cubicBezTo>
                <a:cubicBezTo>
                  <a:pt x="689" y="731"/>
                  <a:pt x="670" y="758"/>
                  <a:pt x="668" y="782"/>
                </a:cubicBezTo>
                <a:close/>
                <a:moveTo>
                  <a:pt x="620" y="738"/>
                </a:moveTo>
                <a:cubicBezTo>
                  <a:pt x="615" y="721"/>
                  <a:pt x="644" y="703"/>
                  <a:pt x="648" y="682"/>
                </a:cubicBezTo>
                <a:cubicBezTo>
                  <a:pt x="663" y="684"/>
                  <a:pt x="672" y="693"/>
                  <a:pt x="684" y="698"/>
                </a:cubicBezTo>
                <a:cubicBezTo>
                  <a:pt x="669" y="718"/>
                  <a:pt x="639" y="722"/>
                  <a:pt x="620" y="738"/>
                </a:cubicBezTo>
                <a:close/>
                <a:moveTo>
                  <a:pt x="692" y="694"/>
                </a:moveTo>
                <a:cubicBezTo>
                  <a:pt x="679" y="691"/>
                  <a:pt x="673" y="681"/>
                  <a:pt x="660" y="678"/>
                </a:cubicBezTo>
                <a:cubicBezTo>
                  <a:pt x="670" y="668"/>
                  <a:pt x="686" y="664"/>
                  <a:pt x="696" y="654"/>
                </a:cubicBezTo>
                <a:cubicBezTo>
                  <a:pt x="709" y="665"/>
                  <a:pt x="689" y="679"/>
                  <a:pt x="692" y="694"/>
                </a:cubicBezTo>
                <a:close/>
                <a:moveTo>
                  <a:pt x="668" y="666"/>
                </a:moveTo>
                <a:cubicBezTo>
                  <a:pt x="662" y="652"/>
                  <a:pt x="679" y="626"/>
                  <a:pt x="708" y="634"/>
                </a:cubicBezTo>
                <a:cubicBezTo>
                  <a:pt x="703" y="653"/>
                  <a:pt x="678" y="652"/>
                  <a:pt x="668" y="666"/>
                </a:cubicBezTo>
                <a:close/>
                <a:moveTo>
                  <a:pt x="708" y="630"/>
                </a:moveTo>
                <a:cubicBezTo>
                  <a:pt x="684" y="630"/>
                  <a:pt x="684" y="630"/>
                  <a:pt x="684" y="630"/>
                </a:cubicBezTo>
                <a:cubicBezTo>
                  <a:pt x="697" y="612"/>
                  <a:pt x="708" y="593"/>
                  <a:pt x="720" y="574"/>
                </a:cubicBezTo>
                <a:cubicBezTo>
                  <a:pt x="724" y="584"/>
                  <a:pt x="713" y="614"/>
                  <a:pt x="708" y="630"/>
                </a:cubicBezTo>
                <a:close/>
                <a:moveTo>
                  <a:pt x="416" y="406"/>
                </a:moveTo>
                <a:cubicBezTo>
                  <a:pt x="441" y="434"/>
                  <a:pt x="469" y="460"/>
                  <a:pt x="488" y="494"/>
                </a:cubicBezTo>
                <a:cubicBezTo>
                  <a:pt x="509" y="484"/>
                  <a:pt x="509" y="509"/>
                  <a:pt x="516" y="510"/>
                </a:cubicBezTo>
                <a:cubicBezTo>
                  <a:pt x="527" y="510"/>
                  <a:pt x="525" y="488"/>
                  <a:pt x="548" y="494"/>
                </a:cubicBezTo>
                <a:cubicBezTo>
                  <a:pt x="597" y="436"/>
                  <a:pt x="642" y="375"/>
                  <a:pt x="696" y="322"/>
                </a:cubicBezTo>
                <a:cubicBezTo>
                  <a:pt x="694" y="306"/>
                  <a:pt x="693" y="305"/>
                  <a:pt x="700" y="294"/>
                </a:cubicBezTo>
                <a:cubicBezTo>
                  <a:pt x="705" y="293"/>
                  <a:pt x="707" y="295"/>
                  <a:pt x="708" y="298"/>
                </a:cubicBezTo>
                <a:cubicBezTo>
                  <a:pt x="707" y="340"/>
                  <a:pt x="716" y="385"/>
                  <a:pt x="720" y="430"/>
                </a:cubicBezTo>
                <a:cubicBezTo>
                  <a:pt x="723" y="465"/>
                  <a:pt x="733" y="509"/>
                  <a:pt x="728" y="538"/>
                </a:cubicBezTo>
                <a:cubicBezTo>
                  <a:pt x="721" y="578"/>
                  <a:pt x="683" y="596"/>
                  <a:pt x="672" y="630"/>
                </a:cubicBezTo>
                <a:cubicBezTo>
                  <a:pt x="668" y="634"/>
                  <a:pt x="668" y="634"/>
                  <a:pt x="668" y="634"/>
                </a:cubicBezTo>
                <a:cubicBezTo>
                  <a:pt x="622" y="710"/>
                  <a:pt x="570" y="781"/>
                  <a:pt x="524" y="858"/>
                </a:cubicBezTo>
                <a:cubicBezTo>
                  <a:pt x="483" y="817"/>
                  <a:pt x="455" y="761"/>
                  <a:pt x="416" y="702"/>
                </a:cubicBezTo>
                <a:cubicBezTo>
                  <a:pt x="402" y="680"/>
                  <a:pt x="383" y="651"/>
                  <a:pt x="364" y="622"/>
                </a:cubicBezTo>
                <a:cubicBezTo>
                  <a:pt x="347" y="596"/>
                  <a:pt x="317" y="565"/>
                  <a:pt x="312" y="542"/>
                </a:cubicBezTo>
                <a:cubicBezTo>
                  <a:pt x="303" y="496"/>
                  <a:pt x="326" y="456"/>
                  <a:pt x="324" y="406"/>
                </a:cubicBezTo>
                <a:cubicBezTo>
                  <a:pt x="324" y="402"/>
                  <a:pt x="324" y="402"/>
                  <a:pt x="324" y="402"/>
                </a:cubicBezTo>
                <a:cubicBezTo>
                  <a:pt x="326" y="365"/>
                  <a:pt x="333" y="333"/>
                  <a:pt x="332" y="294"/>
                </a:cubicBezTo>
                <a:cubicBezTo>
                  <a:pt x="345" y="298"/>
                  <a:pt x="349" y="306"/>
                  <a:pt x="344" y="318"/>
                </a:cubicBezTo>
                <a:cubicBezTo>
                  <a:pt x="370" y="342"/>
                  <a:pt x="416" y="406"/>
                  <a:pt x="416" y="406"/>
                </a:cubicBezTo>
                <a:close/>
                <a:moveTo>
                  <a:pt x="740" y="518"/>
                </a:moveTo>
                <a:cubicBezTo>
                  <a:pt x="728" y="502"/>
                  <a:pt x="737" y="465"/>
                  <a:pt x="728" y="446"/>
                </a:cubicBezTo>
                <a:cubicBezTo>
                  <a:pt x="735" y="436"/>
                  <a:pt x="747" y="453"/>
                  <a:pt x="756" y="454"/>
                </a:cubicBezTo>
                <a:cubicBezTo>
                  <a:pt x="751" y="475"/>
                  <a:pt x="743" y="494"/>
                  <a:pt x="740" y="518"/>
                </a:cubicBezTo>
                <a:close/>
                <a:moveTo>
                  <a:pt x="724" y="382"/>
                </a:moveTo>
                <a:cubicBezTo>
                  <a:pt x="738" y="391"/>
                  <a:pt x="759" y="393"/>
                  <a:pt x="764" y="410"/>
                </a:cubicBezTo>
                <a:cubicBezTo>
                  <a:pt x="751" y="413"/>
                  <a:pt x="741" y="418"/>
                  <a:pt x="732" y="426"/>
                </a:cubicBezTo>
                <a:cubicBezTo>
                  <a:pt x="726" y="415"/>
                  <a:pt x="724" y="399"/>
                  <a:pt x="724" y="382"/>
                </a:cubicBezTo>
                <a:close/>
                <a:moveTo>
                  <a:pt x="760" y="446"/>
                </a:moveTo>
                <a:cubicBezTo>
                  <a:pt x="748" y="447"/>
                  <a:pt x="748" y="437"/>
                  <a:pt x="736" y="438"/>
                </a:cubicBezTo>
                <a:cubicBezTo>
                  <a:pt x="737" y="423"/>
                  <a:pt x="753" y="422"/>
                  <a:pt x="764" y="418"/>
                </a:cubicBezTo>
                <a:cubicBezTo>
                  <a:pt x="766" y="430"/>
                  <a:pt x="757" y="432"/>
                  <a:pt x="760" y="446"/>
                </a:cubicBezTo>
                <a:close/>
                <a:moveTo>
                  <a:pt x="772" y="398"/>
                </a:moveTo>
                <a:cubicBezTo>
                  <a:pt x="757" y="389"/>
                  <a:pt x="736" y="386"/>
                  <a:pt x="728" y="370"/>
                </a:cubicBezTo>
                <a:cubicBezTo>
                  <a:pt x="749" y="364"/>
                  <a:pt x="764" y="353"/>
                  <a:pt x="780" y="342"/>
                </a:cubicBezTo>
                <a:cubicBezTo>
                  <a:pt x="789" y="356"/>
                  <a:pt x="771" y="378"/>
                  <a:pt x="772" y="398"/>
                </a:cubicBezTo>
                <a:close/>
                <a:moveTo>
                  <a:pt x="720" y="362"/>
                </a:moveTo>
                <a:cubicBezTo>
                  <a:pt x="723" y="335"/>
                  <a:pt x="716" y="318"/>
                  <a:pt x="716" y="294"/>
                </a:cubicBezTo>
                <a:cubicBezTo>
                  <a:pt x="744" y="302"/>
                  <a:pt x="762" y="320"/>
                  <a:pt x="788" y="330"/>
                </a:cubicBezTo>
                <a:cubicBezTo>
                  <a:pt x="768" y="341"/>
                  <a:pt x="742" y="365"/>
                  <a:pt x="720" y="362"/>
                </a:cubicBezTo>
                <a:close/>
                <a:moveTo>
                  <a:pt x="792" y="322"/>
                </a:moveTo>
                <a:cubicBezTo>
                  <a:pt x="769" y="313"/>
                  <a:pt x="745" y="305"/>
                  <a:pt x="732" y="286"/>
                </a:cubicBezTo>
                <a:cubicBezTo>
                  <a:pt x="754" y="288"/>
                  <a:pt x="785" y="281"/>
                  <a:pt x="800" y="290"/>
                </a:cubicBezTo>
                <a:cubicBezTo>
                  <a:pt x="800" y="303"/>
                  <a:pt x="791" y="307"/>
                  <a:pt x="792" y="322"/>
                </a:cubicBezTo>
                <a:close/>
                <a:moveTo>
                  <a:pt x="804" y="274"/>
                </a:moveTo>
                <a:cubicBezTo>
                  <a:pt x="791" y="254"/>
                  <a:pt x="775" y="236"/>
                  <a:pt x="768" y="210"/>
                </a:cubicBezTo>
                <a:cubicBezTo>
                  <a:pt x="779" y="218"/>
                  <a:pt x="803" y="212"/>
                  <a:pt x="820" y="214"/>
                </a:cubicBezTo>
                <a:cubicBezTo>
                  <a:pt x="816" y="235"/>
                  <a:pt x="809" y="253"/>
                  <a:pt x="804" y="274"/>
                </a:cubicBezTo>
                <a:close/>
                <a:moveTo>
                  <a:pt x="816" y="274"/>
                </a:moveTo>
                <a:cubicBezTo>
                  <a:pt x="818" y="255"/>
                  <a:pt x="825" y="240"/>
                  <a:pt x="828" y="222"/>
                </a:cubicBezTo>
                <a:cubicBezTo>
                  <a:pt x="842" y="232"/>
                  <a:pt x="850" y="248"/>
                  <a:pt x="856" y="266"/>
                </a:cubicBezTo>
                <a:cubicBezTo>
                  <a:pt x="839" y="265"/>
                  <a:pt x="830" y="272"/>
                  <a:pt x="816" y="274"/>
                </a:cubicBezTo>
                <a:close/>
                <a:moveTo>
                  <a:pt x="836" y="218"/>
                </a:moveTo>
                <a:cubicBezTo>
                  <a:pt x="848" y="206"/>
                  <a:pt x="869" y="219"/>
                  <a:pt x="884" y="218"/>
                </a:cubicBezTo>
                <a:cubicBezTo>
                  <a:pt x="881" y="235"/>
                  <a:pt x="869" y="242"/>
                  <a:pt x="864" y="258"/>
                </a:cubicBezTo>
                <a:cubicBezTo>
                  <a:pt x="852" y="247"/>
                  <a:pt x="848" y="228"/>
                  <a:pt x="836" y="218"/>
                </a:cubicBezTo>
                <a:close/>
                <a:moveTo>
                  <a:pt x="872" y="258"/>
                </a:moveTo>
                <a:cubicBezTo>
                  <a:pt x="878" y="245"/>
                  <a:pt x="887" y="235"/>
                  <a:pt x="892" y="222"/>
                </a:cubicBezTo>
                <a:cubicBezTo>
                  <a:pt x="904" y="224"/>
                  <a:pt x="900" y="243"/>
                  <a:pt x="912" y="246"/>
                </a:cubicBezTo>
                <a:cubicBezTo>
                  <a:pt x="904" y="255"/>
                  <a:pt x="888" y="257"/>
                  <a:pt x="872" y="258"/>
                </a:cubicBezTo>
                <a:close/>
                <a:moveTo>
                  <a:pt x="904" y="226"/>
                </a:moveTo>
                <a:cubicBezTo>
                  <a:pt x="906" y="217"/>
                  <a:pt x="924" y="224"/>
                  <a:pt x="932" y="222"/>
                </a:cubicBezTo>
                <a:cubicBezTo>
                  <a:pt x="931" y="232"/>
                  <a:pt x="920" y="234"/>
                  <a:pt x="920" y="246"/>
                </a:cubicBezTo>
                <a:cubicBezTo>
                  <a:pt x="909" y="245"/>
                  <a:pt x="913" y="229"/>
                  <a:pt x="904" y="226"/>
                </a:cubicBezTo>
                <a:close/>
                <a:moveTo>
                  <a:pt x="928" y="246"/>
                </a:moveTo>
                <a:cubicBezTo>
                  <a:pt x="930" y="240"/>
                  <a:pt x="934" y="236"/>
                  <a:pt x="936" y="230"/>
                </a:cubicBezTo>
                <a:cubicBezTo>
                  <a:pt x="940" y="231"/>
                  <a:pt x="939" y="238"/>
                  <a:pt x="944" y="238"/>
                </a:cubicBezTo>
                <a:cubicBezTo>
                  <a:pt x="943" y="245"/>
                  <a:pt x="937" y="247"/>
                  <a:pt x="928" y="246"/>
                </a:cubicBezTo>
                <a:close/>
                <a:moveTo>
                  <a:pt x="944" y="230"/>
                </a:moveTo>
                <a:cubicBezTo>
                  <a:pt x="954" y="218"/>
                  <a:pt x="970" y="233"/>
                  <a:pt x="984" y="230"/>
                </a:cubicBezTo>
                <a:cubicBezTo>
                  <a:pt x="974" y="238"/>
                  <a:pt x="952" y="242"/>
                  <a:pt x="944" y="230"/>
                </a:cubicBezTo>
                <a:close/>
              </a:path>
            </a:pathLst>
          </a:custGeom>
          <a:solidFill>
            <a:schemeClr val="bg1"/>
          </a:solidFill>
          <a:ln w="9525">
            <a:solidFill>
              <a:schemeClr val="hlink"/>
            </a:solidFill>
            <a:round/>
            <a:headEnd/>
            <a:tailEnd/>
          </a:ln>
        </p:spPr>
        <p:txBody>
          <a:bodyPr/>
          <a:lstStyle/>
          <a:p>
            <a:endParaRPr lang="cs-CZ"/>
          </a:p>
        </p:txBody>
      </p:sp>
      <p:sp>
        <p:nvSpPr>
          <p:cNvPr id="163" name="Freeform 162"/>
          <p:cNvSpPr>
            <a:spLocks noEditPoints="1"/>
          </p:cNvSpPr>
          <p:nvPr/>
        </p:nvSpPr>
        <p:spPr bwMode="gray">
          <a:xfrm>
            <a:off x="5565775" y="3005138"/>
            <a:ext cx="454025" cy="895350"/>
          </a:xfrm>
          <a:custGeom>
            <a:avLst/>
            <a:gdLst>
              <a:gd name="T0" fmla="*/ 28 w 1041"/>
              <a:gd name="T1" fmla="*/ 518 h 2060"/>
              <a:gd name="T2" fmla="*/ 508 w 1041"/>
              <a:gd name="T3" fmla="*/ 534 h 2060"/>
              <a:gd name="T4" fmla="*/ 0 w 1041"/>
              <a:gd name="T5" fmla="*/ 538 h 2060"/>
              <a:gd name="T6" fmla="*/ 1004 w 1041"/>
              <a:gd name="T7" fmla="*/ 526 h 2060"/>
              <a:gd name="T8" fmla="*/ 500 w 1041"/>
              <a:gd name="T9" fmla="*/ 542 h 2060"/>
              <a:gd name="T10" fmla="*/ 752 w 1041"/>
              <a:gd name="T11" fmla="*/ 202 h 2060"/>
              <a:gd name="T12" fmla="*/ 8 w 1041"/>
              <a:gd name="T13" fmla="*/ 318 h 2060"/>
              <a:gd name="T14" fmla="*/ 224 w 1041"/>
              <a:gd name="T15" fmla="*/ 2030 h 2060"/>
              <a:gd name="T16" fmla="*/ 820 w 1041"/>
              <a:gd name="T17" fmla="*/ 2050 h 2060"/>
              <a:gd name="T18" fmla="*/ 1008 w 1041"/>
              <a:gd name="T19" fmla="*/ 262 h 2060"/>
              <a:gd name="T20" fmla="*/ 844 w 1041"/>
              <a:gd name="T21" fmla="*/ 102 h 2060"/>
              <a:gd name="T22" fmla="*/ 812 w 1041"/>
              <a:gd name="T23" fmla="*/ 198 h 2060"/>
              <a:gd name="T24" fmla="*/ 740 w 1041"/>
              <a:gd name="T25" fmla="*/ 210 h 2060"/>
              <a:gd name="T26" fmla="*/ 676 w 1041"/>
              <a:gd name="T27" fmla="*/ 302 h 2060"/>
              <a:gd name="T28" fmla="*/ 640 w 1041"/>
              <a:gd name="T29" fmla="*/ 278 h 2060"/>
              <a:gd name="T30" fmla="*/ 480 w 1041"/>
              <a:gd name="T31" fmla="*/ 270 h 2060"/>
              <a:gd name="T32" fmla="*/ 424 w 1041"/>
              <a:gd name="T33" fmla="*/ 214 h 2060"/>
              <a:gd name="T34" fmla="*/ 244 w 1041"/>
              <a:gd name="T35" fmla="*/ 278 h 2060"/>
              <a:gd name="T36" fmla="*/ 220 w 1041"/>
              <a:gd name="T37" fmla="*/ 198 h 2060"/>
              <a:gd name="T38" fmla="*/ 192 w 1041"/>
              <a:gd name="T39" fmla="*/ 102 h 2060"/>
              <a:gd name="T40" fmla="*/ 100 w 1041"/>
              <a:gd name="T41" fmla="*/ 230 h 2060"/>
              <a:gd name="T42" fmla="*/ 204 w 1041"/>
              <a:gd name="T43" fmla="*/ 214 h 2060"/>
              <a:gd name="T44" fmla="*/ 220 w 1041"/>
              <a:gd name="T45" fmla="*/ 214 h 2060"/>
              <a:gd name="T46" fmla="*/ 312 w 1041"/>
              <a:gd name="T47" fmla="*/ 382 h 2060"/>
              <a:gd name="T48" fmla="*/ 256 w 1041"/>
              <a:gd name="T49" fmla="*/ 342 h 2060"/>
              <a:gd name="T50" fmla="*/ 348 w 1041"/>
              <a:gd name="T51" fmla="*/ 694 h 2060"/>
              <a:gd name="T52" fmla="*/ 428 w 1041"/>
              <a:gd name="T53" fmla="*/ 746 h 2060"/>
              <a:gd name="T54" fmla="*/ 376 w 1041"/>
              <a:gd name="T55" fmla="*/ 806 h 2060"/>
              <a:gd name="T56" fmla="*/ 532 w 1041"/>
              <a:gd name="T57" fmla="*/ 1186 h 2060"/>
              <a:gd name="T58" fmla="*/ 452 w 1041"/>
              <a:gd name="T59" fmla="*/ 1246 h 2060"/>
              <a:gd name="T60" fmla="*/ 468 w 1041"/>
              <a:gd name="T61" fmla="*/ 998 h 2060"/>
              <a:gd name="T62" fmla="*/ 616 w 1041"/>
              <a:gd name="T63" fmla="*/ 962 h 2060"/>
              <a:gd name="T64" fmla="*/ 412 w 1041"/>
              <a:gd name="T65" fmla="*/ 1010 h 2060"/>
              <a:gd name="T66" fmla="*/ 380 w 1041"/>
              <a:gd name="T67" fmla="*/ 1174 h 2060"/>
              <a:gd name="T68" fmla="*/ 348 w 1041"/>
              <a:gd name="T69" fmla="*/ 1362 h 2060"/>
              <a:gd name="T70" fmla="*/ 320 w 1041"/>
              <a:gd name="T71" fmla="*/ 1590 h 2060"/>
              <a:gd name="T72" fmla="*/ 284 w 1041"/>
              <a:gd name="T73" fmla="*/ 1730 h 2060"/>
              <a:gd name="T74" fmla="*/ 296 w 1041"/>
              <a:gd name="T75" fmla="*/ 1806 h 2060"/>
              <a:gd name="T76" fmla="*/ 416 w 1041"/>
              <a:gd name="T77" fmla="*/ 1582 h 2060"/>
              <a:gd name="T78" fmla="*/ 508 w 1041"/>
              <a:gd name="T79" fmla="*/ 1354 h 2060"/>
              <a:gd name="T80" fmla="*/ 532 w 1041"/>
              <a:gd name="T81" fmla="*/ 1354 h 2060"/>
              <a:gd name="T82" fmla="*/ 720 w 1041"/>
              <a:gd name="T83" fmla="*/ 1590 h 2060"/>
              <a:gd name="T84" fmla="*/ 700 w 1041"/>
              <a:gd name="T85" fmla="*/ 1670 h 2060"/>
              <a:gd name="T86" fmla="*/ 736 w 1041"/>
              <a:gd name="T87" fmla="*/ 1838 h 2060"/>
              <a:gd name="T88" fmla="*/ 676 w 1041"/>
              <a:gd name="T89" fmla="*/ 1530 h 2060"/>
              <a:gd name="T90" fmla="*/ 672 w 1041"/>
              <a:gd name="T91" fmla="*/ 1254 h 2060"/>
              <a:gd name="T92" fmla="*/ 656 w 1041"/>
              <a:gd name="T93" fmla="*/ 1174 h 2060"/>
              <a:gd name="T94" fmla="*/ 536 w 1041"/>
              <a:gd name="T95" fmla="*/ 878 h 2060"/>
              <a:gd name="T96" fmla="*/ 540 w 1041"/>
              <a:gd name="T97" fmla="*/ 854 h 2060"/>
              <a:gd name="T98" fmla="*/ 660 w 1041"/>
              <a:gd name="T99" fmla="*/ 678 h 2060"/>
              <a:gd name="T100" fmla="*/ 416 w 1041"/>
              <a:gd name="T101" fmla="*/ 406 h 2060"/>
              <a:gd name="T102" fmla="*/ 668 w 1041"/>
              <a:gd name="T103" fmla="*/ 634 h 2060"/>
              <a:gd name="T104" fmla="*/ 740 w 1041"/>
              <a:gd name="T105" fmla="*/ 518 h 2060"/>
              <a:gd name="T106" fmla="*/ 764 w 1041"/>
              <a:gd name="T107" fmla="*/ 418 h 2060"/>
              <a:gd name="T108" fmla="*/ 792 w 1041"/>
              <a:gd name="T109" fmla="*/ 322 h 2060"/>
              <a:gd name="T110" fmla="*/ 856 w 1041"/>
              <a:gd name="T111" fmla="*/ 266 h 2060"/>
              <a:gd name="T112" fmla="*/ 904 w 1041"/>
              <a:gd name="T113" fmla="*/ 226 h 2060"/>
              <a:gd name="T114" fmla="*/ 944 w 1041"/>
              <a:gd name="T115" fmla="*/ 23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1" h="2060">
                <a:moveTo>
                  <a:pt x="12" y="502"/>
                </a:moveTo>
                <a:cubicBezTo>
                  <a:pt x="4" y="502"/>
                  <a:pt x="4" y="502"/>
                  <a:pt x="4" y="502"/>
                </a:cubicBezTo>
                <a:cubicBezTo>
                  <a:pt x="4" y="504"/>
                  <a:pt x="4" y="507"/>
                  <a:pt x="0" y="506"/>
                </a:cubicBezTo>
                <a:cubicBezTo>
                  <a:pt x="0" y="514"/>
                  <a:pt x="0" y="514"/>
                  <a:pt x="0" y="514"/>
                </a:cubicBezTo>
                <a:cubicBezTo>
                  <a:pt x="3" y="514"/>
                  <a:pt x="5" y="514"/>
                  <a:pt x="4" y="518"/>
                </a:cubicBezTo>
                <a:cubicBezTo>
                  <a:pt x="12" y="518"/>
                  <a:pt x="12" y="518"/>
                  <a:pt x="12" y="518"/>
                </a:cubicBezTo>
                <a:cubicBezTo>
                  <a:pt x="12" y="515"/>
                  <a:pt x="13" y="513"/>
                  <a:pt x="16" y="514"/>
                </a:cubicBezTo>
                <a:cubicBezTo>
                  <a:pt x="16" y="506"/>
                  <a:pt x="16" y="506"/>
                  <a:pt x="16" y="506"/>
                </a:cubicBezTo>
                <a:cubicBezTo>
                  <a:pt x="14" y="506"/>
                  <a:pt x="11" y="505"/>
                  <a:pt x="12" y="502"/>
                </a:cubicBezTo>
                <a:close/>
                <a:moveTo>
                  <a:pt x="28" y="518"/>
                </a:moveTo>
                <a:cubicBezTo>
                  <a:pt x="39" y="519"/>
                  <a:pt x="41" y="512"/>
                  <a:pt x="40" y="502"/>
                </a:cubicBezTo>
                <a:cubicBezTo>
                  <a:pt x="24" y="501"/>
                  <a:pt x="24" y="507"/>
                  <a:pt x="28" y="518"/>
                </a:cubicBezTo>
                <a:close/>
                <a:moveTo>
                  <a:pt x="1012" y="518"/>
                </a:moveTo>
                <a:cubicBezTo>
                  <a:pt x="1012" y="502"/>
                  <a:pt x="1012" y="502"/>
                  <a:pt x="1012" y="502"/>
                </a:cubicBezTo>
                <a:cubicBezTo>
                  <a:pt x="1000" y="502"/>
                  <a:pt x="1000" y="502"/>
                  <a:pt x="1000" y="502"/>
                </a:cubicBezTo>
                <a:cubicBezTo>
                  <a:pt x="999" y="512"/>
                  <a:pt x="999" y="522"/>
                  <a:pt x="1012" y="518"/>
                </a:cubicBezTo>
                <a:close/>
                <a:moveTo>
                  <a:pt x="1040" y="514"/>
                </a:moveTo>
                <a:cubicBezTo>
                  <a:pt x="1041" y="503"/>
                  <a:pt x="1035" y="501"/>
                  <a:pt x="1024" y="502"/>
                </a:cubicBezTo>
                <a:cubicBezTo>
                  <a:pt x="1021" y="516"/>
                  <a:pt x="1033" y="522"/>
                  <a:pt x="1040" y="514"/>
                </a:cubicBezTo>
                <a:close/>
                <a:moveTo>
                  <a:pt x="508" y="534"/>
                </a:moveTo>
                <a:cubicBezTo>
                  <a:pt x="509" y="528"/>
                  <a:pt x="515" y="527"/>
                  <a:pt x="516" y="522"/>
                </a:cubicBezTo>
                <a:cubicBezTo>
                  <a:pt x="511" y="521"/>
                  <a:pt x="509" y="516"/>
                  <a:pt x="500" y="518"/>
                </a:cubicBezTo>
                <a:cubicBezTo>
                  <a:pt x="499" y="527"/>
                  <a:pt x="501" y="533"/>
                  <a:pt x="508" y="534"/>
                </a:cubicBezTo>
                <a:close/>
                <a:moveTo>
                  <a:pt x="524" y="518"/>
                </a:moveTo>
                <a:cubicBezTo>
                  <a:pt x="516" y="533"/>
                  <a:pt x="545" y="536"/>
                  <a:pt x="540" y="522"/>
                </a:cubicBezTo>
                <a:cubicBezTo>
                  <a:pt x="539" y="516"/>
                  <a:pt x="530" y="518"/>
                  <a:pt x="524" y="518"/>
                </a:cubicBezTo>
                <a:close/>
                <a:moveTo>
                  <a:pt x="12" y="526"/>
                </a:moveTo>
                <a:cubicBezTo>
                  <a:pt x="4" y="526"/>
                  <a:pt x="4" y="526"/>
                  <a:pt x="4" y="526"/>
                </a:cubicBezTo>
                <a:cubicBezTo>
                  <a:pt x="4" y="528"/>
                  <a:pt x="4" y="531"/>
                  <a:pt x="0" y="530"/>
                </a:cubicBezTo>
                <a:cubicBezTo>
                  <a:pt x="0" y="538"/>
                  <a:pt x="0" y="538"/>
                  <a:pt x="0" y="538"/>
                </a:cubicBezTo>
                <a:cubicBezTo>
                  <a:pt x="3" y="538"/>
                  <a:pt x="5" y="538"/>
                  <a:pt x="4" y="542"/>
                </a:cubicBezTo>
                <a:cubicBezTo>
                  <a:pt x="12" y="542"/>
                  <a:pt x="12" y="542"/>
                  <a:pt x="12" y="542"/>
                </a:cubicBezTo>
                <a:cubicBezTo>
                  <a:pt x="12" y="539"/>
                  <a:pt x="13" y="537"/>
                  <a:pt x="16" y="538"/>
                </a:cubicBezTo>
                <a:cubicBezTo>
                  <a:pt x="16" y="530"/>
                  <a:pt x="16" y="530"/>
                  <a:pt x="16" y="530"/>
                </a:cubicBezTo>
                <a:cubicBezTo>
                  <a:pt x="14" y="530"/>
                  <a:pt x="11" y="529"/>
                  <a:pt x="12" y="526"/>
                </a:cubicBezTo>
                <a:close/>
                <a:moveTo>
                  <a:pt x="28" y="526"/>
                </a:moveTo>
                <a:cubicBezTo>
                  <a:pt x="28" y="531"/>
                  <a:pt x="26" y="535"/>
                  <a:pt x="24" y="538"/>
                </a:cubicBezTo>
                <a:cubicBezTo>
                  <a:pt x="30" y="539"/>
                  <a:pt x="32" y="544"/>
                  <a:pt x="40" y="542"/>
                </a:cubicBezTo>
                <a:cubicBezTo>
                  <a:pt x="41" y="531"/>
                  <a:pt x="39" y="525"/>
                  <a:pt x="28" y="526"/>
                </a:cubicBezTo>
                <a:close/>
                <a:moveTo>
                  <a:pt x="1004" y="526"/>
                </a:moveTo>
                <a:cubicBezTo>
                  <a:pt x="1003" y="531"/>
                  <a:pt x="998" y="533"/>
                  <a:pt x="1000" y="542"/>
                </a:cubicBezTo>
                <a:cubicBezTo>
                  <a:pt x="1012" y="542"/>
                  <a:pt x="1012" y="542"/>
                  <a:pt x="1012" y="542"/>
                </a:cubicBezTo>
                <a:cubicBezTo>
                  <a:pt x="1011" y="535"/>
                  <a:pt x="1016" y="522"/>
                  <a:pt x="1004" y="526"/>
                </a:cubicBezTo>
                <a:close/>
                <a:moveTo>
                  <a:pt x="1028" y="526"/>
                </a:moveTo>
                <a:cubicBezTo>
                  <a:pt x="1027" y="531"/>
                  <a:pt x="1022" y="533"/>
                  <a:pt x="1024" y="542"/>
                </a:cubicBezTo>
                <a:cubicBezTo>
                  <a:pt x="1035" y="543"/>
                  <a:pt x="1041" y="540"/>
                  <a:pt x="1040" y="530"/>
                </a:cubicBezTo>
                <a:cubicBezTo>
                  <a:pt x="1035" y="530"/>
                  <a:pt x="1035" y="525"/>
                  <a:pt x="1028" y="526"/>
                </a:cubicBezTo>
                <a:close/>
                <a:moveTo>
                  <a:pt x="500" y="542"/>
                </a:moveTo>
                <a:cubicBezTo>
                  <a:pt x="497" y="556"/>
                  <a:pt x="509" y="562"/>
                  <a:pt x="516" y="554"/>
                </a:cubicBezTo>
                <a:cubicBezTo>
                  <a:pt x="517" y="543"/>
                  <a:pt x="511" y="541"/>
                  <a:pt x="500" y="542"/>
                </a:cubicBezTo>
                <a:close/>
                <a:moveTo>
                  <a:pt x="1028" y="438"/>
                </a:moveTo>
                <a:cubicBezTo>
                  <a:pt x="1028" y="377"/>
                  <a:pt x="1031" y="316"/>
                  <a:pt x="1032" y="254"/>
                </a:cubicBezTo>
                <a:cubicBezTo>
                  <a:pt x="1015" y="255"/>
                  <a:pt x="1024" y="230"/>
                  <a:pt x="1016" y="222"/>
                </a:cubicBezTo>
                <a:cubicBezTo>
                  <a:pt x="954" y="216"/>
                  <a:pt x="889" y="213"/>
                  <a:pt x="836" y="198"/>
                </a:cubicBezTo>
                <a:cubicBezTo>
                  <a:pt x="849" y="151"/>
                  <a:pt x="860" y="97"/>
                  <a:pt x="872" y="54"/>
                </a:cubicBezTo>
                <a:cubicBezTo>
                  <a:pt x="877" y="38"/>
                  <a:pt x="879" y="19"/>
                  <a:pt x="892" y="10"/>
                </a:cubicBezTo>
                <a:cubicBezTo>
                  <a:pt x="901" y="13"/>
                  <a:pt x="882" y="37"/>
                  <a:pt x="904" y="34"/>
                </a:cubicBezTo>
                <a:cubicBezTo>
                  <a:pt x="913" y="19"/>
                  <a:pt x="902" y="8"/>
                  <a:pt x="892" y="6"/>
                </a:cubicBezTo>
                <a:cubicBezTo>
                  <a:pt x="868" y="0"/>
                  <a:pt x="833" y="71"/>
                  <a:pt x="816" y="98"/>
                </a:cubicBezTo>
                <a:cubicBezTo>
                  <a:pt x="788" y="143"/>
                  <a:pt x="771" y="179"/>
                  <a:pt x="752" y="202"/>
                </a:cubicBezTo>
                <a:cubicBezTo>
                  <a:pt x="284" y="202"/>
                  <a:pt x="284" y="202"/>
                  <a:pt x="284" y="202"/>
                </a:cubicBezTo>
                <a:cubicBezTo>
                  <a:pt x="266" y="160"/>
                  <a:pt x="226" y="119"/>
                  <a:pt x="216" y="82"/>
                </a:cubicBezTo>
                <a:cubicBezTo>
                  <a:pt x="223" y="82"/>
                  <a:pt x="214" y="81"/>
                  <a:pt x="208" y="78"/>
                </a:cubicBezTo>
                <a:cubicBezTo>
                  <a:pt x="203" y="75"/>
                  <a:pt x="191" y="52"/>
                  <a:pt x="184" y="42"/>
                </a:cubicBezTo>
                <a:cubicBezTo>
                  <a:pt x="174" y="26"/>
                  <a:pt x="174" y="7"/>
                  <a:pt x="156" y="6"/>
                </a:cubicBezTo>
                <a:cubicBezTo>
                  <a:pt x="133" y="4"/>
                  <a:pt x="129" y="24"/>
                  <a:pt x="136" y="34"/>
                </a:cubicBezTo>
                <a:cubicBezTo>
                  <a:pt x="161" y="37"/>
                  <a:pt x="133" y="8"/>
                  <a:pt x="152" y="10"/>
                </a:cubicBezTo>
                <a:cubicBezTo>
                  <a:pt x="159" y="28"/>
                  <a:pt x="198" y="160"/>
                  <a:pt x="204" y="202"/>
                </a:cubicBezTo>
                <a:cubicBezTo>
                  <a:pt x="142" y="208"/>
                  <a:pt x="85" y="219"/>
                  <a:pt x="20" y="222"/>
                </a:cubicBezTo>
                <a:cubicBezTo>
                  <a:pt x="11" y="266"/>
                  <a:pt x="8" y="284"/>
                  <a:pt x="8" y="318"/>
                </a:cubicBezTo>
                <a:cubicBezTo>
                  <a:pt x="8" y="363"/>
                  <a:pt x="12" y="404"/>
                  <a:pt x="12" y="442"/>
                </a:cubicBezTo>
                <a:cubicBezTo>
                  <a:pt x="12" y="461"/>
                  <a:pt x="1" y="487"/>
                  <a:pt x="24" y="498"/>
                </a:cubicBezTo>
                <a:cubicBezTo>
                  <a:pt x="38" y="427"/>
                  <a:pt x="37" y="305"/>
                  <a:pt x="24" y="234"/>
                </a:cubicBezTo>
                <a:cubicBezTo>
                  <a:pt x="91" y="253"/>
                  <a:pt x="160" y="268"/>
                  <a:pt x="228" y="286"/>
                </a:cubicBezTo>
                <a:cubicBezTo>
                  <a:pt x="237" y="323"/>
                  <a:pt x="256" y="370"/>
                  <a:pt x="256" y="402"/>
                </a:cubicBezTo>
                <a:cubicBezTo>
                  <a:pt x="260" y="406"/>
                  <a:pt x="260" y="406"/>
                  <a:pt x="260" y="406"/>
                </a:cubicBezTo>
                <a:cubicBezTo>
                  <a:pt x="298" y="545"/>
                  <a:pt x="335" y="679"/>
                  <a:pt x="372" y="818"/>
                </a:cubicBezTo>
                <a:cubicBezTo>
                  <a:pt x="384" y="863"/>
                  <a:pt x="407" y="916"/>
                  <a:pt x="408" y="958"/>
                </a:cubicBezTo>
                <a:cubicBezTo>
                  <a:pt x="409" y="996"/>
                  <a:pt x="392" y="1044"/>
                  <a:pt x="384" y="1090"/>
                </a:cubicBezTo>
                <a:cubicBezTo>
                  <a:pt x="327" y="1407"/>
                  <a:pt x="279" y="1724"/>
                  <a:pt x="224" y="2030"/>
                </a:cubicBezTo>
                <a:cubicBezTo>
                  <a:pt x="211" y="2034"/>
                  <a:pt x="179" y="2020"/>
                  <a:pt x="184" y="2042"/>
                </a:cubicBezTo>
                <a:cubicBezTo>
                  <a:pt x="184" y="2058"/>
                  <a:pt x="212" y="2046"/>
                  <a:pt x="224" y="2050"/>
                </a:cubicBezTo>
                <a:cubicBezTo>
                  <a:pt x="238" y="2046"/>
                  <a:pt x="269" y="2060"/>
                  <a:pt x="264" y="2038"/>
                </a:cubicBezTo>
                <a:cubicBezTo>
                  <a:pt x="269" y="2020"/>
                  <a:pt x="237" y="2038"/>
                  <a:pt x="236" y="2026"/>
                </a:cubicBezTo>
                <a:cubicBezTo>
                  <a:pt x="318" y="1834"/>
                  <a:pt x="404" y="1632"/>
                  <a:pt x="484" y="1442"/>
                </a:cubicBezTo>
                <a:cubicBezTo>
                  <a:pt x="496" y="1414"/>
                  <a:pt x="503" y="1384"/>
                  <a:pt x="524" y="1362"/>
                </a:cubicBezTo>
                <a:cubicBezTo>
                  <a:pt x="614" y="1588"/>
                  <a:pt x="712" y="1806"/>
                  <a:pt x="804" y="2030"/>
                </a:cubicBezTo>
                <a:cubicBezTo>
                  <a:pt x="791" y="2031"/>
                  <a:pt x="769" y="2025"/>
                  <a:pt x="772" y="2042"/>
                </a:cubicBezTo>
                <a:cubicBezTo>
                  <a:pt x="774" y="2056"/>
                  <a:pt x="798" y="2048"/>
                  <a:pt x="812" y="2050"/>
                </a:cubicBezTo>
                <a:cubicBezTo>
                  <a:pt x="820" y="2050"/>
                  <a:pt x="820" y="2050"/>
                  <a:pt x="820" y="2050"/>
                </a:cubicBezTo>
                <a:cubicBezTo>
                  <a:pt x="831" y="2046"/>
                  <a:pt x="858" y="2058"/>
                  <a:pt x="856" y="2042"/>
                </a:cubicBezTo>
                <a:cubicBezTo>
                  <a:pt x="860" y="2019"/>
                  <a:pt x="823" y="2038"/>
                  <a:pt x="816" y="2026"/>
                </a:cubicBezTo>
                <a:cubicBezTo>
                  <a:pt x="763" y="1729"/>
                  <a:pt x="709" y="1397"/>
                  <a:pt x="656" y="1094"/>
                </a:cubicBezTo>
                <a:cubicBezTo>
                  <a:pt x="648" y="1047"/>
                  <a:pt x="631" y="997"/>
                  <a:pt x="632" y="958"/>
                </a:cubicBezTo>
                <a:cubicBezTo>
                  <a:pt x="633" y="932"/>
                  <a:pt x="645" y="904"/>
                  <a:pt x="652" y="878"/>
                </a:cubicBezTo>
                <a:cubicBezTo>
                  <a:pt x="674" y="795"/>
                  <a:pt x="695" y="712"/>
                  <a:pt x="720" y="634"/>
                </a:cubicBezTo>
                <a:cubicBezTo>
                  <a:pt x="729" y="633"/>
                  <a:pt x="737" y="569"/>
                  <a:pt x="744" y="542"/>
                </a:cubicBezTo>
                <a:cubicBezTo>
                  <a:pt x="768" y="451"/>
                  <a:pt x="792" y="349"/>
                  <a:pt x="812" y="286"/>
                </a:cubicBezTo>
                <a:cubicBezTo>
                  <a:pt x="878" y="271"/>
                  <a:pt x="956" y="246"/>
                  <a:pt x="1016" y="238"/>
                </a:cubicBezTo>
                <a:cubicBezTo>
                  <a:pt x="1021" y="254"/>
                  <a:pt x="1003" y="246"/>
                  <a:pt x="1008" y="262"/>
                </a:cubicBezTo>
                <a:cubicBezTo>
                  <a:pt x="1008" y="386"/>
                  <a:pt x="1008" y="386"/>
                  <a:pt x="1008" y="386"/>
                </a:cubicBezTo>
                <a:cubicBezTo>
                  <a:pt x="1008" y="428"/>
                  <a:pt x="1000" y="472"/>
                  <a:pt x="1020" y="498"/>
                </a:cubicBezTo>
                <a:cubicBezTo>
                  <a:pt x="1038" y="481"/>
                  <a:pt x="1028" y="458"/>
                  <a:pt x="1028" y="438"/>
                </a:cubicBezTo>
                <a:close/>
                <a:moveTo>
                  <a:pt x="860" y="50"/>
                </a:moveTo>
                <a:cubicBezTo>
                  <a:pt x="865" y="67"/>
                  <a:pt x="855" y="103"/>
                  <a:pt x="828" y="102"/>
                </a:cubicBezTo>
                <a:cubicBezTo>
                  <a:pt x="839" y="84"/>
                  <a:pt x="850" y="68"/>
                  <a:pt x="860" y="50"/>
                </a:cubicBezTo>
                <a:close/>
                <a:moveTo>
                  <a:pt x="844" y="102"/>
                </a:moveTo>
                <a:cubicBezTo>
                  <a:pt x="855" y="106"/>
                  <a:pt x="843" y="119"/>
                  <a:pt x="844" y="126"/>
                </a:cubicBezTo>
                <a:cubicBezTo>
                  <a:pt x="834" y="126"/>
                  <a:pt x="832" y="120"/>
                  <a:pt x="824" y="118"/>
                </a:cubicBezTo>
                <a:cubicBezTo>
                  <a:pt x="825" y="107"/>
                  <a:pt x="841" y="111"/>
                  <a:pt x="844" y="102"/>
                </a:cubicBezTo>
                <a:close/>
                <a:moveTo>
                  <a:pt x="816" y="122"/>
                </a:moveTo>
                <a:cubicBezTo>
                  <a:pt x="824" y="126"/>
                  <a:pt x="832" y="130"/>
                  <a:pt x="840" y="134"/>
                </a:cubicBezTo>
                <a:cubicBezTo>
                  <a:pt x="831" y="149"/>
                  <a:pt x="807" y="149"/>
                  <a:pt x="796" y="162"/>
                </a:cubicBezTo>
                <a:cubicBezTo>
                  <a:pt x="789" y="150"/>
                  <a:pt x="812" y="135"/>
                  <a:pt x="816" y="122"/>
                </a:cubicBezTo>
                <a:close/>
                <a:moveTo>
                  <a:pt x="836" y="150"/>
                </a:moveTo>
                <a:cubicBezTo>
                  <a:pt x="834" y="167"/>
                  <a:pt x="829" y="183"/>
                  <a:pt x="824" y="198"/>
                </a:cubicBezTo>
                <a:cubicBezTo>
                  <a:pt x="812" y="190"/>
                  <a:pt x="801" y="181"/>
                  <a:pt x="784" y="178"/>
                </a:cubicBezTo>
                <a:cubicBezTo>
                  <a:pt x="797" y="164"/>
                  <a:pt x="817" y="157"/>
                  <a:pt x="836" y="150"/>
                </a:cubicBezTo>
                <a:close/>
                <a:moveTo>
                  <a:pt x="776" y="182"/>
                </a:moveTo>
                <a:cubicBezTo>
                  <a:pt x="791" y="184"/>
                  <a:pt x="800" y="193"/>
                  <a:pt x="812" y="198"/>
                </a:cubicBezTo>
                <a:cubicBezTo>
                  <a:pt x="805" y="207"/>
                  <a:pt x="782" y="199"/>
                  <a:pt x="768" y="202"/>
                </a:cubicBezTo>
                <a:cubicBezTo>
                  <a:pt x="765" y="190"/>
                  <a:pt x="779" y="194"/>
                  <a:pt x="776" y="182"/>
                </a:cubicBezTo>
                <a:close/>
                <a:moveTo>
                  <a:pt x="796" y="274"/>
                </a:moveTo>
                <a:cubicBezTo>
                  <a:pt x="779" y="283"/>
                  <a:pt x="744" y="275"/>
                  <a:pt x="720" y="278"/>
                </a:cubicBezTo>
                <a:cubicBezTo>
                  <a:pt x="727" y="254"/>
                  <a:pt x="746" y="242"/>
                  <a:pt x="752" y="218"/>
                </a:cubicBezTo>
                <a:cubicBezTo>
                  <a:pt x="777" y="226"/>
                  <a:pt x="778" y="259"/>
                  <a:pt x="796" y="274"/>
                </a:cubicBezTo>
                <a:close/>
                <a:moveTo>
                  <a:pt x="740" y="210"/>
                </a:moveTo>
                <a:cubicBezTo>
                  <a:pt x="744" y="227"/>
                  <a:pt x="723" y="254"/>
                  <a:pt x="708" y="266"/>
                </a:cubicBezTo>
                <a:cubicBezTo>
                  <a:pt x="708" y="244"/>
                  <a:pt x="698" y="233"/>
                  <a:pt x="696" y="214"/>
                </a:cubicBezTo>
                <a:cubicBezTo>
                  <a:pt x="710" y="211"/>
                  <a:pt x="733" y="219"/>
                  <a:pt x="740" y="210"/>
                </a:cubicBezTo>
                <a:close/>
                <a:moveTo>
                  <a:pt x="704" y="278"/>
                </a:moveTo>
                <a:cubicBezTo>
                  <a:pt x="652" y="278"/>
                  <a:pt x="652" y="278"/>
                  <a:pt x="652" y="278"/>
                </a:cubicBezTo>
                <a:cubicBezTo>
                  <a:pt x="662" y="258"/>
                  <a:pt x="675" y="242"/>
                  <a:pt x="684" y="222"/>
                </a:cubicBezTo>
                <a:cubicBezTo>
                  <a:pt x="700" y="231"/>
                  <a:pt x="700" y="257"/>
                  <a:pt x="704" y="278"/>
                </a:cubicBezTo>
                <a:close/>
                <a:moveTo>
                  <a:pt x="524" y="502"/>
                </a:moveTo>
                <a:cubicBezTo>
                  <a:pt x="511" y="501"/>
                  <a:pt x="507" y="493"/>
                  <a:pt x="508" y="478"/>
                </a:cubicBezTo>
                <a:cubicBezTo>
                  <a:pt x="459" y="421"/>
                  <a:pt x="412" y="363"/>
                  <a:pt x="364" y="306"/>
                </a:cubicBezTo>
                <a:cubicBezTo>
                  <a:pt x="357" y="298"/>
                  <a:pt x="338" y="303"/>
                  <a:pt x="340" y="286"/>
                </a:cubicBezTo>
                <a:cubicBezTo>
                  <a:pt x="700" y="286"/>
                  <a:pt x="700" y="286"/>
                  <a:pt x="700" y="286"/>
                </a:cubicBezTo>
                <a:cubicBezTo>
                  <a:pt x="700" y="299"/>
                  <a:pt x="691" y="303"/>
                  <a:pt x="676" y="302"/>
                </a:cubicBezTo>
                <a:cubicBezTo>
                  <a:pt x="630" y="361"/>
                  <a:pt x="584" y="420"/>
                  <a:pt x="532" y="474"/>
                </a:cubicBezTo>
                <a:cubicBezTo>
                  <a:pt x="527" y="482"/>
                  <a:pt x="536" y="494"/>
                  <a:pt x="524" y="502"/>
                </a:cubicBezTo>
                <a:close/>
                <a:moveTo>
                  <a:pt x="676" y="210"/>
                </a:moveTo>
                <a:cubicBezTo>
                  <a:pt x="683" y="230"/>
                  <a:pt x="656" y="251"/>
                  <a:pt x="648" y="270"/>
                </a:cubicBezTo>
                <a:cubicBezTo>
                  <a:pt x="634" y="255"/>
                  <a:pt x="629" y="231"/>
                  <a:pt x="612" y="218"/>
                </a:cubicBezTo>
                <a:cubicBezTo>
                  <a:pt x="624" y="206"/>
                  <a:pt x="664" y="222"/>
                  <a:pt x="676" y="210"/>
                </a:cubicBezTo>
                <a:close/>
                <a:moveTo>
                  <a:pt x="640" y="278"/>
                </a:moveTo>
                <a:cubicBezTo>
                  <a:pt x="572" y="278"/>
                  <a:pt x="572" y="278"/>
                  <a:pt x="572" y="278"/>
                </a:cubicBezTo>
                <a:cubicBezTo>
                  <a:pt x="579" y="254"/>
                  <a:pt x="596" y="240"/>
                  <a:pt x="604" y="218"/>
                </a:cubicBezTo>
                <a:cubicBezTo>
                  <a:pt x="619" y="235"/>
                  <a:pt x="631" y="255"/>
                  <a:pt x="640" y="278"/>
                </a:cubicBezTo>
                <a:close/>
                <a:moveTo>
                  <a:pt x="600" y="214"/>
                </a:moveTo>
                <a:cubicBezTo>
                  <a:pt x="585" y="231"/>
                  <a:pt x="581" y="259"/>
                  <a:pt x="560" y="270"/>
                </a:cubicBezTo>
                <a:cubicBezTo>
                  <a:pt x="550" y="252"/>
                  <a:pt x="541" y="233"/>
                  <a:pt x="528" y="218"/>
                </a:cubicBezTo>
                <a:cubicBezTo>
                  <a:pt x="544" y="209"/>
                  <a:pt x="577" y="216"/>
                  <a:pt x="600" y="214"/>
                </a:cubicBezTo>
                <a:close/>
                <a:moveTo>
                  <a:pt x="556" y="278"/>
                </a:moveTo>
                <a:cubicBezTo>
                  <a:pt x="484" y="278"/>
                  <a:pt x="484" y="278"/>
                  <a:pt x="484" y="278"/>
                </a:cubicBezTo>
                <a:cubicBezTo>
                  <a:pt x="492" y="255"/>
                  <a:pt x="508" y="241"/>
                  <a:pt x="516" y="218"/>
                </a:cubicBezTo>
                <a:cubicBezTo>
                  <a:pt x="535" y="232"/>
                  <a:pt x="545" y="256"/>
                  <a:pt x="556" y="278"/>
                </a:cubicBezTo>
                <a:close/>
                <a:moveTo>
                  <a:pt x="512" y="214"/>
                </a:moveTo>
                <a:cubicBezTo>
                  <a:pt x="503" y="234"/>
                  <a:pt x="487" y="248"/>
                  <a:pt x="480" y="270"/>
                </a:cubicBezTo>
                <a:cubicBezTo>
                  <a:pt x="460" y="260"/>
                  <a:pt x="457" y="232"/>
                  <a:pt x="440" y="218"/>
                </a:cubicBezTo>
                <a:cubicBezTo>
                  <a:pt x="456" y="209"/>
                  <a:pt x="489" y="216"/>
                  <a:pt x="512" y="214"/>
                </a:cubicBezTo>
                <a:close/>
                <a:moveTo>
                  <a:pt x="468" y="278"/>
                </a:moveTo>
                <a:cubicBezTo>
                  <a:pt x="400" y="278"/>
                  <a:pt x="400" y="278"/>
                  <a:pt x="400" y="278"/>
                </a:cubicBezTo>
                <a:cubicBezTo>
                  <a:pt x="406" y="253"/>
                  <a:pt x="423" y="239"/>
                  <a:pt x="432" y="218"/>
                </a:cubicBezTo>
                <a:cubicBezTo>
                  <a:pt x="446" y="236"/>
                  <a:pt x="458" y="256"/>
                  <a:pt x="468" y="278"/>
                </a:cubicBezTo>
                <a:close/>
                <a:moveTo>
                  <a:pt x="424" y="214"/>
                </a:moveTo>
                <a:cubicBezTo>
                  <a:pt x="415" y="235"/>
                  <a:pt x="406" y="257"/>
                  <a:pt x="388" y="270"/>
                </a:cubicBezTo>
                <a:cubicBezTo>
                  <a:pt x="384" y="245"/>
                  <a:pt x="362" y="237"/>
                  <a:pt x="360" y="210"/>
                </a:cubicBezTo>
                <a:cubicBezTo>
                  <a:pt x="375" y="218"/>
                  <a:pt x="403" y="212"/>
                  <a:pt x="424" y="214"/>
                </a:cubicBezTo>
                <a:close/>
                <a:moveTo>
                  <a:pt x="384" y="278"/>
                </a:moveTo>
                <a:cubicBezTo>
                  <a:pt x="336" y="278"/>
                  <a:pt x="336" y="278"/>
                  <a:pt x="336" y="278"/>
                </a:cubicBezTo>
                <a:cubicBezTo>
                  <a:pt x="336" y="255"/>
                  <a:pt x="347" y="243"/>
                  <a:pt x="348" y="222"/>
                </a:cubicBezTo>
                <a:cubicBezTo>
                  <a:pt x="367" y="234"/>
                  <a:pt x="375" y="256"/>
                  <a:pt x="384" y="278"/>
                </a:cubicBezTo>
                <a:close/>
                <a:moveTo>
                  <a:pt x="344" y="214"/>
                </a:moveTo>
                <a:cubicBezTo>
                  <a:pt x="342" y="233"/>
                  <a:pt x="332" y="244"/>
                  <a:pt x="332" y="266"/>
                </a:cubicBezTo>
                <a:cubicBezTo>
                  <a:pt x="314" y="253"/>
                  <a:pt x="304" y="233"/>
                  <a:pt x="296" y="210"/>
                </a:cubicBezTo>
                <a:cubicBezTo>
                  <a:pt x="306" y="218"/>
                  <a:pt x="328" y="212"/>
                  <a:pt x="344" y="214"/>
                </a:cubicBezTo>
                <a:close/>
                <a:moveTo>
                  <a:pt x="320" y="278"/>
                </a:moveTo>
                <a:cubicBezTo>
                  <a:pt x="244" y="278"/>
                  <a:pt x="244" y="278"/>
                  <a:pt x="244" y="278"/>
                </a:cubicBezTo>
                <a:cubicBezTo>
                  <a:pt x="256" y="257"/>
                  <a:pt x="268" y="237"/>
                  <a:pt x="280" y="218"/>
                </a:cubicBezTo>
                <a:cubicBezTo>
                  <a:pt x="298" y="233"/>
                  <a:pt x="309" y="256"/>
                  <a:pt x="320" y="278"/>
                </a:cubicBezTo>
                <a:close/>
                <a:moveTo>
                  <a:pt x="256" y="182"/>
                </a:moveTo>
                <a:cubicBezTo>
                  <a:pt x="267" y="183"/>
                  <a:pt x="270" y="192"/>
                  <a:pt x="272" y="202"/>
                </a:cubicBezTo>
                <a:cubicBezTo>
                  <a:pt x="228" y="202"/>
                  <a:pt x="228" y="202"/>
                  <a:pt x="228" y="202"/>
                </a:cubicBezTo>
                <a:cubicBezTo>
                  <a:pt x="232" y="190"/>
                  <a:pt x="250" y="192"/>
                  <a:pt x="256" y="182"/>
                </a:cubicBezTo>
                <a:close/>
                <a:moveTo>
                  <a:pt x="220" y="198"/>
                </a:moveTo>
                <a:cubicBezTo>
                  <a:pt x="209" y="188"/>
                  <a:pt x="207" y="169"/>
                  <a:pt x="204" y="150"/>
                </a:cubicBezTo>
                <a:cubicBezTo>
                  <a:pt x="223" y="153"/>
                  <a:pt x="233" y="166"/>
                  <a:pt x="252" y="170"/>
                </a:cubicBezTo>
                <a:cubicBezTo>
                  <a:pt x="252" y="189"/>
                  <a:pt x="225" y="182"/>
                  <a:pt x="220" y="198"/>
                </a:cubicBezTo>
                <a:close/>
                <a:moveTo>
                  <a:pt x="176" y="50"/>
                </a:moveTo>
                <a:cubicBezTo>
                  <a:pt x="187" y="54"/>
                  <a:pt x="187" y="68"/>
                  <a:pt x="196" y="74"/>
                </a:cubicBezTo>
                <a:cubicBezTo>
                  <a:pt x="184" y="87"/>
                  <a:pt x="176" y="63"/>
                  <a:pt x="176" y="50"/>
                </a:cubicBezTo>
                <a:close/>
                <a:moveTo>
                  <a:pt x="184" y="82"/>
                </a:moveTo>
                <a:cubicBezTo>
                  <a:pt x="205" y="76"/>
                  <a:pt x="201" y="94"/>
                  <a:pt x="212" y="98"/>
                </a:cubicBezTo>
                <a:cubicBezTo>
                  <a:pt x="206" y="105"/>
                  <a:pt x="184" y="94"/>
                  <a:pt x="184" y="82"/>
                </a:cubicBezTo>
                <a:close/>
                <a:moveTo>
                  <a:pt x="192" y="102"/>
                </a:moveTo>
                <a:cubicBezTo>
                  <a:pt x="203" y="103"/>
                  <a:pt x="204" y="114"/>
                  <a:pt x="216" y="114"/>
                </a:cubicBezTo>
                <a:cubicBezTo>
                  <a:pt x="213" y="122"/>
                  <a:pt x="205" y="125"/>
                  <a:pt x="196" y="126"/>
                </a:cubicBezTo>
                <a:cubicBezTo>
                  <a:pt x="196" y="116"/>
                  <a:pt x="189" y="114"/>
                  <a:pt x="192" y="102"/>
                </a:cubicBezTo>
                <a:close/>
                <a:moveTo>
                  <a:pt x="200" y="138"/>
                </a:moveTo>
                <a:cubicBezTo>
                  <a:pt x="201" y="127"/>
                  <a:pt x="217" y="131"/>
                  <a:pt x="220" y="122"/>
                </a:cubicBezTo>
                <a:cubicBezTo>
                  <a:pt x="235" y="128"/>
                  <a:pt x="236" y="149"/>
                  <a:pt x="248" y="158"/>
                </a:cubicBezTo>
                <a:cubicBezTo>
                  <a:pt x="237" y="162"/>
                  <a:pt x="215" y="143"/>
                  <a:pt x="200" y="138"/>
                </a:cubicBezTo>
                <a:close/>
                <a:moveTo>
                  <a:pt x="56" y="234"/>
                </a:moveTo>
                <a:cubicBezTo>
                  <a:pt x="65" y="227"/>
                  <a:pt x="80" y="225"/>
                  <a:pt x="96" y="226"/>
                </a:cubicBezTo>
                <a:cubicBezTo>
                  <a:pt x="92" y="243"/>
                  <a:pt x="71" y="237"/>
                  <a:pt x="56" y="234"/>
                </a:cubicBezTo>
                <a:close/>
                <a:moveTo>
                  <a:pt x="100" y="230"/>
                </a:moveTo>
                <a:cubicBezTo>
                  <a:pt x="109" y="229"/>
                  <a:pt x="105" y="241"/>
                  <a:pt x="112" y="242"/>
                </a:cubicBezTo>
                <a:cubicBezTo>
                  <a:pt x="106" y="255"/>
                  <a:pt x="88" y="237"/>
                  <a:pt x="100" y="230"/>
                </a:cubicBezTo>
                <a:close/>
                <a:moveTo>
                  <a:pt x="108" y="222"/>
                </a:moveTo>
                <a:cubicBezTo>
                  <a:pt x="136" y="222"/>
                  <a:pt x="136" y="222"/>
                  <a:pt x="136" y="222"/>
                </a:cubicBezTo>
                <a:cubicBezTo>
                  <a:pt x="135" y="232"/>
                  <a:pt x="124" y="234"/>
                  <a:pt x="124" y="246"/>
                </a:cubicBezTo>
                <a:cubicBezTo>
                  <a:pt x="116" y="241"/>
                  <a:pt x="111" y="233"/>
                  <a:pt x="108" y="222"/>
                </a:cubicBezTo>
                <a:close/>
                <a:moveTo>
                  <a:pt x="128" y="250"/>
                </a:moveTo>
                <a:cubicBezTo>
                  <a:pt x="134" y="241"/>
                  <a:pt x="140" y="232"/>
                  <a:pt x="144" y="222"/>
                </a:cubicBezTo>
                <a:cubicBezTo>
                  <a:pt x="156" y="228"/>
                  <a:pt x="157" y="247"/>
                  <a:pt x="168" y="254"/>
                </a:cubicBezTo>
                <a:cubicBezTo>
                  <a:pt x="158" y="265"/>
                  <a:pt x="141" y="249"/>
                  <a:pt x="128" y="250"/>
                </a:cubicBezTo>
                <a:close/>
                <a:moveTo>
                  <a:pt x="156" y="218"/>
                </a:moveTo>
                <a:cubicBezTo>
                  <a:pt x="173" y="218"/>
                  <a:pt x="184" y="211"/>
                  <a:pt x="204" y="214"/>
                </a:cubicBezTo>
                <a:cubicBezTo>
                  <a:pt x="196" y="229"/>
                  <a:pt x="185" y="240"/>
                  <a:pt x="180" y="258"/>
                </a:cubicBezTo>
                <a:cubicBezTo>
                  <a:pt x="168" y="248"/>
                  <a:pt x="161" y="235"/>
                  <a:pt x="156" y="218"/>
                </a:cubicBezTo>
                <a:close/>
                <a:moveTo>
                  <a:pt x="184" y="266"/>
                </a:moveTo>
                <a:cubicBezTo>
                  <a:pt x="191" y="248"/>
                  <a:pt x="197" y="230"/>
                  <a:pt x="212" y="222"/>
                </a:cubicBezTo>
                <a:cubicBezTo>
                  <a:pt x="214" y="242"/>
                  <a:pt x="223" y="253"/>
                  <a:pt x="224" y="274"/>
                </a:cubicBezTo>
                <a:cubicBezTo>
                  <a:pt x="211" y="271"/>
                  <a:pt x="199" y="267"/>
                  <a:pt x="184" y="266"/>
                </a:cubicBezTo>
                <a:close/>
                <a:moveTo>
                  <a:pt x="220" y="214"/>
                </a:moveTo>
                <a:cubicBezTo>
                  <a:pt x="235" y="211"/>
                  <a:pt x="260" y="219"/>
                  <a:pt x="268" y="210"/>
                </a:cubicBezTo>
                <a:cubicBezTo>
                  <a:pt x="274" y="231"/>
                  <a:pt x="244" y="249"/>
                  <a:pt x="240" y="274"/>
                </a:cubicBezTo>
                <a:cubicBezTo>
                  <a:pt x="226" y="262"/>
                  <a:pt x="228" y="233"/>
                  <a:pt x="220" y="214"/>
                </a:cubicBezTo>
                <a:close/>
                <a:moveTo>
                  <a:pt x="240" y="290"/>
                </a:moveTo>
                <a:cubicBezTo>
                  <a:pt x="256" y="281"/>
                  <a:pt x="286" y="288"/>
                  <a:pt x="308" y="286"/>
                </a:cubicBezTo>
                <a:cubicBezTo>
                  <a:pt x="294" y="304"/>
                  <a:pt x="271" y="313"/>
                  <a:pt x="248" y="322"/>
                </a:cubicBezTo>
                <a:cubicBezTo>
                  <a:pt x="246" y="311"/>
                  <a:pt x="242" y="301"/>
                  <a:pt x="240" y="290"/>
                </a:cubicBezTo>
                <a:close/>
                <a:moveTo>
                  <a:pt x="252" y="334"/>
                </a:moveTo>
                <a:cubicBezTo>
                  <a:pt x="269" y="316"/>
                  <a:pt x="297" y="309"/>
                  <a:pt x="316" y="294"/>
                </a:cubicBezTo>
                <a:cubicBezTo>
                  <a:pt x="332" y="303"/>
                  <a:pt x="316" y="346"/>
                  <a:pt x="316" y="366"/>
                </a:cubicBezTo>
                <a:cubicBezTo>
                  <a:pt x="294" y="356"/>
                  <a:pt x="274" y="344"/>
                  <a:pt x="252" y="334"/>
                </a:cubicBezTo>
                <a:close/>
                <a:moveTo>
                  <a:pt x="284" y="402"/>
                </a:moveTo>
                <a:cubicBezTo>
                  <a:pt x="288" y="390"/>
                  <a:pt x="306" y="392"/>
                  <a:pt x="312" y="382"/>
                </a:cubicBezTo>
                <a:cubicBezTo>
                  <a:pt x="318" y="383"/>
                  <a:pt x="315" y="392"/>
                  <a:pt x="316" y="398"/>
                </a:cubicBezTo>
                <a:cubicBezTo>
                  <a:pt x="310" y="404"/>
                  <a:pt x="296" y="401"/>
                  <a:pt x="284" y="402"/>
                </a:cubicBezTo>
                <a:close/>
                <a:moveTo>
                  <a:pt x="312" y="406"/>
                </a:moveTo>
                <a:cubicBezTo>
                  <a:pt x="312" y="426"/>
                  <a:pt x="312" y="426"/>
                  <a:pt x="312" y="426"/>
                </a:cubicBezTo>
                <a:cubicBezTo>
                  <a:pt x="300" y="421"/>
                  <a:pt x="291" y="412"/>
                  <a:pt x="276" y="410"/>
                </a:cubicBezTo>
                <a:cubicBezTo>
                  <a:pt x="280" y="401"/>
                  <a:pt x="301" y="408"/>
                  <a:pt x="312" y="406"/>
                </a:cubicBezTo>
                <a:close/>
                <a:moveTo>
                  <a:pt x="256" y="342"/>
                </a:moveTo>
                <a:cubicBezTo>
                  <a:pt x="273" y="353"/>
                  <a:pt x="291" y="363"/>
                  <a:pt x="312" y="370"/>
                </a:cubicBezTo>
                <a:cubicBezTo>
                  <a:pt x="304" y="386"/>
                  <a:pt x="283" y="389"/>
                  <a:pt x="268" y="398"/>
                </a:cubicBezTo>
                <a:cubicBezTo>
                  <a:pt x="267" y="377"/>
                  <a:pt x="256" y="365"/>
                  <a:pt x="256" y="342"/>
                </a:cubicBezTo>
                <a:close/>
                <a:moveTo>
                  <a:pt x="280" y="446"/>
                </a:moveTo>
                <a:cubicBezTo>
                  <a:pt x="283" y="432"/>
                  <a:pt x="274" y="430"/>
                  <a:pt x="276" y="418"/>
                </a:cubicBezTo>
                <a:cubicBezTo>
                  <a:pt x="288" y="422"/>
                  <a:pt x="303" y="423"/>
                  <a:pt x="304" y="438"/>
                </a:cubicBezTo>
                <a:cubicBezTo>
                  <a:pt x="292" y="437"/>
                  <a:pt x="292" y="447"/>
                  <a:pt x="280" y="446"/>
                </a:cubicBezTo>
                <a:close/>
                <a:moveTo>
                  <a:pt x="304" y="518"/>
                </a:moveTo>
                <a:cubicBezTo>
                  <a:pt x="293" y="501"/>
                  <a:pt x="291" y="475"/>
                  <a:pt x="284" y="454"/>
                </a:cubicBezTo>
                <a:cubicBezTo>
                  <a:pt x="322" y="420"/>
                  <a:pt x="303" y="488"/>
                  <a:pt x="304" y="518"/>
                </a:cubicBezTo>
                <a:close/>
                <a:moveTo>
                  <a:pt x="340" y="654"/>
                </a:moveTo>
                <a:cubicBezTo>
                  <a:pt x="355" y="659"/>
                  <a:pt x="363" y="671"/>
                  <a:pt x="380" y="674"/>
                </a:cubicBezTo>
                <a:cubicBezTo>
                  <a:pt x="373" y="684"/>
                  <a:pt x="361" y="689"/>
                  <a:pt x="348" y="694"/>
                </a:cubicBezTo>
                <a:cubicBezTo>
                  <a:pt x="346" y="680"/>
                  <a:pt x="339" y="671"/>
                  <a:pt x="340" y="654"/>
                </a:cubicBezTo>
                <a:close/>
                <a:moveTo>
                  <a:pt x="316" y="574"/>
                </a:moveTo>
                <a:cubicBezTo>
                  <a:pt x="339" y="602"/>
                  <a:pt x="360" y="631"/>
                  <a:pt x="376" y="666"/>
                </a:cubicBezTo>
                <a:cubicBezTo>
                  <a:pt x="333" y="658"/>
                  <a:pt x="325" y="616"/>
                  <a:pt x="316" y="574"/>
                </a:cubicBezTo>
                <a:close/>
                <a:moveTo>
                  <a:pt x="384" y="682"/>
                </a:moveTo>
                <a:cubicBezTo>
                  <a:pt x="403" y="695"/>
                  <a:pt x="413" y="717"/>
                  <a:pt x="424" y="738"/>
                </a:cubicBezTo>
                <a:cubicBezTo>
                  <a:pt x="401" y="728"/>
                  <a:pt x="382" y="714"/>
                  <a:pt x="356" y="706"/>
                </a:cubicBezTo>
                <a:cubicBezTo>
                  <a:pt x="356" y="688"/>
                  <a:pt x="378" y="693"/>
                  <a:pt x="384" y="682"/>
                </a:cubicBezTo>
                <a:close/>
                <a:moveTo>
                  <a:pt x="352" y="710"/>
                </a:moveTo>
                <a:cubicBezTo>
                  <a:pt x="379" y="721"/>
                  <a:pt x="400" y="737"/>
                  <a:pt x="428" y="746"/>
                </a:cubicBezTo>
                <a:cubicBezTo>
                  <a:pt x="418" y="766"/>
                  <a:pt x="393" y="772"/>
                  <a:pt x="372" y="782"/>
                </a:cubicBezTo>
                <a:cubicBezTo>
                  <a:pt x="365" y="758"/>
                  <a:pt x="359" y="733"/>
                  <a:pt x="352" y="710"/>
                </a:cubicBezTo>
                <a:close/>
                <a:moveTo>
                  <a:pt x="432" y="758"/>
                </a:moveTo>
                <a:cubicBezTo>
                  <a:pt x="462" y="782"/>
                  <a:pt x="479" y="820"/>
                  <a:pt x="500" y="854"/>
                </a:cubicBezTo>
                <a:cubicBezTo>
                  <a:pt x="458" y="836"/>
                  <a:pt x="423" y="811"/>
                  <a:pt x="380" y="794"/>
                </a:cubicBezTo>
                <a:cubicBezTo>
                  <a:pt x="390" y="774"/>
                  <a:pt x="417" y="772"/>
                  <a:pt x="432" y="758"/>
                </a:cubicBezTo>
                <a:close/>
                <a:moveTo>
                  <a:pt x="376" y="806"/>
                </a:moveTo>
                <a:cubicBezTo>
                  <a:pt x="415" y="807"/>
                  <a:pt x="452" y="845"/>
                  <a:pt x="492" y="858"/>
                </a:cubicBezTo>
                <a:cubicBezTo>
                  <a:pt x="467" y="867"/>
                  <a:pt x="424" y="859"/>
                  <a:pt x="392" y="862"/>
                </a:cubicBezTo>
                <a:cubicBezTo>
                  <a:pt x="388" y="842"/>
                  <a:pt x="386" y="820"/>
                  <a:pt x="376" y="806"/>
                </a:cubicBezTo>
                <a:close/>
                <a:moveTo>
                  <a:pt x="396" y="878"/>
                </a:moveTo>
                <a:cubicBezTo>
                  <a:pt x="424" y="869"/>
                  <a:pt x="469" y="876"/>
                  <a:pt x="504" y="874"/>
                </a:cubicBezTo>
                <a:cubicBezTo>
                  <a:pt x="475" y="898"/>
                  <a:pt x="450" y="926"/>
                  <a:pt x="416" y="946"/>
                </a:cubicBezTo>
                <a:cubicBezTo>
                  <a:pt x="408" y="925"/>
                  <a:pt x="406" y="898"/>
                  <a:pt x="396" y="878"/>
                </a:cubicBezTo>
                <a:close/>
                <a:moveTo>
                  <a:pt x="540" y="1178"/>
                </a:moveTo>
                <a:cubicBezTo>
                  <a:pt x="558" y="1120"/>
                  <a:pt x="603" y="1160"/>
                  <a:pt x="644" y="1174"/>
                </a:cubicBezTo>
                <a:cubicBezTo>
                  <a:pt x="617" y="1183"/>
                  <a:pt x="574" y="1175"/>
                  <a:pt x="540" y="1178"/>
                </a:cubicBezTo>
                <a:close/>
                <a:moveTo>
                  <a:pt x="624" y="1214"/>
                </a:moveTo>
                <a:cubicBezTo>
                  <a:pt x="612" y="1225"/>
                  <a:pt x="600" y="1239"/>
                  <a:pt x="588" y="1242"/>
                </a:cubicBezTo>
                <a:cubicBezTo>
                  <a:pt x="564" y="1228"/>
                  <a:pt x="546" y="1210"/>
                  <a:pt x="532" y="1186"/>
                </a:cubicBezTo>
                <a:cubicBezTo>
                  <a:pt x="644" y="1186"/>
                  <a:pt x="644" y="1186"/>
                  <a:pt x="644" y="1186"/>
                </a:cubicBezTo>
                <a:cubicBezTo>
                  <a:pt x="658" y="1192"/>
                  <a:pt x="633" y="1206"/>
                  <a:pt x="624" y="1214"/>
                </a:cubicBezTo>
                <a:close/>
                <a:moveTo>
                  <a:pt x="516" y="1178"/>
                </a:moveTo>
                <a:cubicBezTo>
                  <a:pt x="483" y="1136"/>
                  <a:pt x="438" y="1107"/>
                  <a:pt x="408" y="1062"/>
                </a:cubicBezTo>
                <a:cubicBezTo>
                  <a:pt x="430" y="1046"/>
                  <a:pt x="448" y="1027"/>
                  <a:pt x="468" y="1010"/>
                </a:cubicBezTo>
                <a:cubicBezTo>
                  <a:pt x="572" y="1010"/>
                  <a:pt x="572" y="1010"/>
                  <a:pt x="572" y="1010"/>
                </a:cubicBezTo>
                <a:cubicBezTo>
                  <a:pt x="593" y="1026"/>
                  <a:pt x="609" y="1048"/>
                  <a:pt x="632" y="1062"/>
                </a:cubicBezTo>
                <a:cubicBezTo>
                  <a:pt x="598" y="1106"/>
                  <a:pt x="560" y="1144"/>
                  <a:pt x="516" y="1178"/>
                </a:cubicBezTo>
                <a:close/>
                <a:moveTo>
                  <a:pt x="504" y="1186"/>
                </a:moveTo>
                <a:cubicBezTo>
                  <a:pt x="493" y="1212"/>
                  <a:pt x="467" y="1223"/>
                  <a:pt x="452" y="1246"/>
                </a:cubicBezTo>
                <a:cubicBezTo>
                  <a:pt x="431" y="1226"/>
                  <a:pt x="405" y="1210"/>
                  <a:pt x="388" y="1186"/>
                </a:cubicBezTo>
                <a:lnTo>
                  <a:pt x="504" y="1186"/>
                </a:lnTo>
                <a:close/>
                <a:moveTo>
                  <a:pt x="396" y="1178"/>
                </a:moveTo>
                <a:cubicBezTo>
                  <a:pt x="431" y="1158"/>
                  <a:pt x="484" y="1121"/>
                  <a:pt x="500" y="1178"/>
                </a:cubicBezTo>
                <a:lnTo>
                  <a:pt x="396" y="1178"/>
                </a:lnTo>
                <a:close/>
                <a:moveTo>
                  <a:pt x="416" y="970"/>
                </a:moveTo>
                <a:cubicBezTo>
                  <a:pt x="434" y="973"/>
                  <a:pt x="437" y="991"/>
                  <a:pt x="452" y="998"/>
                </a:cubicBezTo>
                <a:cubicBezTo>
                  <a:pt x="447" y="1007"/>
                  <a:pt x="424" y="999"/>
                  <a:pt x="412" y="1002"/>
                </a:cubicBezTo>
                <a:cubicBezTo>
                  <a:pt x="409" y="987"/>
                  <a:pt x="417" y="983"/>
                  <a:pt x="416" y="970"/>
                </a:cubicBezTo>
                <a:close/>
                <a:moveTo>
                  <a:pt x="468" y="998"/>
                </a:moveTo>
                <a:cubicBezTo>
                  <a:pt x="449" y="992"/>
                  <a:pt x="443" y="973"/>
                  <a:pt x="424" y="966"/>
                </a:cubicBezTo>
                <a:cubicBezTo>
                  <a:pt x="443" y="957"/>
                  <a:pt x="479" y="964"/>
                  <a:pt x="504" y="962"/>
                </a:cubicBezTo>
                <a:cubicBezTo>
                  <a:pt x="497" y="978"/>
                  <a:pt x="477" y="983"/>
                  <a:pt x="468" y="998"/>
                </a:cubicBezTo>
                <a:close/>
                <a:moveTo>
                  <a:pt x="516" y="966"/>
                </a:moveTo>
                <a:cubicBezTo>
                  <a:pt x="535" y="972"/>
                  <a:pt x="544" y="988"/>
                  <a:pt x="560" y="998"/>
                </a:cubicBezTo>
                <a:cubicBezTo>
                  <a:pt x="541" y="1007"/>
                  <a:pt x="506" y="999"/>
                  <a:pt x="480" y="1002"/>
                </a:cubicBezTo>
                <a:cubicBezTo>
                  <a:pt x="488" y="985"/>
                  <a:pt x="507" y="981"/>
                  <a:pt x="516" y="966"/>
                </a:cubicBezTo>
                <a:close/>
                <a:moveTo>
                  <a:pt x="572" y="998"/>
                </a:moveTo>
                <a:cubicBezTo>
                  <a:pt x="561" y="987"/>
                  <a:pt x="549" y="976"/>
                  <a:pt x="536" y="966"/>
                </a:cubicBezTo>
                <a:cubicBezTo>
                  <a:pt x="555" y="957"/>
                  <a:pt x="591" y="964"/>
                  <a:pt x="616" y="962"/>
                </a:cubicBezTo>
                <a:cubicBezTo>
                  <a:pt x="601" y="973"/>
                  <a:pt x="592" y="991"/>
                  <a:pt x="572" y="998"/>
                </a:cubicBezTo>
                <a:close/>
                <a:moveTo>
                  <a:pt x="628" y="1002"/>
                </a:moveTo>
                <a:cubicBezTo>
                  <a:pt x="584" y="1002"/>
                  <a:pt x="584" y="1002"/>
                  <a:pt x="584" y="1002"/>
                </a:cubicBezTo>
                <a:cubicBezTo>
                  <a:pt x="591" y="988"/>
                  <a:pt x="610" y="985"/>
                  <a:pt x="616" y="970"/>
                </a:cubicBezTo>
                <a:cubicBezTo>
                  <a:pt x="629" y="971"/>
                  <a:pt x="626" y="989"/>
                  <a:pt x="628" y="1002"/>
                </a:cubicBezTo>
                <a:close/>
                <a:moveTo>
                  <a:pt x="436" y="950"/>
                </a:moveTo>
                <a:cubicBezTo>
                  <a:pt x="458" y="920"/>
                  <a:pt x="494" y="904"/>
                  <a:pt x="516" y="874"/>
                </a:cubicBezTo>
                <a:cubicBezTo>
                  <a:pt x="549" y="895"/>
                  <a:pt x="574" y="923"/>
                  <a:pt x="604" y="946"/>
                </a:cubicBezTo>
                <a:cubicBezTo>
                  <a:pt x="556" y="955"/>
                  <a:pt x="491" y="947"/>
                  <a:pt x="436" y="950"/>
                </a:cubicBezTo>
                <a:close/>
                <a:moveTo>
                  <a:pt x="412" y="1010"/>
                </a:moveTo>
                <a:cubicBezTo>
                  <a:pt x="448" y="1010"/>
                  <a:pt x="448" y="1010"/>
                  <a:pt x="448" y="1010"/>
                </a:cubicBezTo>
                <a:cubicBezTo>
                  <a:pt x="435" y="1024"/>
                  <a:pt x="424" y="1042"/>
                  <a:pt x="404" y="1050"/>
                </a:cubicBezTo>
                <a:cubicBezTo>
                  <a:pt x="403" y="1033"/>
                  <a:pt x="408" y="1022"/>
                  <a:pt x="412" y="1010"/>
                </a:cubicBezTo>
                <a:close/>
                <a:moveTo>
                  <a:pt x="396" y="1074"/>
                </a:moveTo>
                <a:cubicBezTo>
                  <a:pt x="421" y="1089"/>
                  <a:pt x="441" y="1109"/>
                  <a:pt x="456" y="1134"/>
                </a:cubicBezTo>
                <a:cubicBezTo>
                  <a:pt x="434" y="1132"/>
                  <a:pt x="404" y="1138"/>
                  <a:pt x="388" y="1130"/>
                </a:cubicBezTo>
                <a:cubicBezTo>
                  <a:pt x="392" y="1112"/>
                  <a:pt x="397" y="1096"/>
                  <a:pt x="396" y="1074"/>
                </a:cubicBezTo>
                <a:close/>
                <a:moveTo>
                  <a:pt x="388" y="1138"/>
                </a:moveTo>
                <a:cubicBezTo>
                  <a:pt x="452" y="1138"/>
                  <a:pt x="452" y="1138"/>
                  <a:pt x="452" y="1138"/>
                </a:cubicBezTo>
                <a:cubicBezTo>
                  <a:pt x="434" y="1155"/>
                  <a:pt x="405" y="1162"/>
                  <a:pt x="380" y="1174"/>
                </a:cubicBezTo>
                <a:cubicBezTo>
                  <a:pt x="384" y="1163"/>
                  <a:pt x="385" y="1149"/>
                  <a:pt x="388" y="1138"/>
                </a:cubicBezTo>
                <a:close/>
                <a:moveTo>
                  <a:pt x="376" y="1194"/>
                </a:moveTo>
                <a:cubicBezTo>
                  <a:pt x="403" y="1204"/>
                  <a:pt x="415" y="1230"/>
                  <a:pt x="440" y="1242"/>
                </a:cubicBezTo>
                <a:cubicBezTo>
                  <a:pt x="424" y="1251"/>
                  <a:pt x="391" y="1243"/>
                  <a:pt x="368" y="1246"/>
                </a:cubicBezTo>
                <a:cubicBezTo>
                  <a:pt x="371" y="1229"/>
                  <a:pt x="376" y="1214"/>
                  <a:pt x="376" y="1194"/>
                </a:cubicBezTo>
                <a:close/>
                <a:moveTo>
                  <a:pt x="368" y="1254"/>
                </a:moveTo>
                <a:cubicBezTo>
                  <a:pt x="440" y="1254"/>
                  <a:pt x="440" y="1254"/>
                  <a:pt x="440" y="1254"/>
                </a:cubicBezTo>
                <a:cubicBezTo>
                  <a:pt x="414" y="1286"/>
                  <a:pt x="382" y="1310"/>
                  <a:pt x="356" y="1342"/>
                </a:cubicBezTo>
                <a:cubicBezTo>
                  <a:pt x="350" y="1319"/>
                  <a:pt x="365" y="1282"/>
                  <a:pt x="368" y="1254"/>
                </a:cubicBezTo>
                <a:close/>
                <a:moveTo>
                  <a:pt x="348" y="1362"/>
                </a:moveTo>
                <a:cubicBezTo>
                  <a:pt x="368" y="1372"/>
                  <a:pt x="382" y="1386"/>
                  <a:pt x="392" y="1406"/>
                </a:cubicBezTo>
                <a:cubicBezTo>
                  <a:pt x="372" y="1423"/>
                  <a:pt x="353" y="1442"/>
                  <a:pt x="336" y="1462"/>
                </a:cubicBezTo>
                <a:cubicBezTo>
                  <a:pt x="329" y="1433"/>
                  <a:pt x="347" y="1395"/>
                  <a:pt x="348" y="1362"/>
                </a:cubicBezTo>
                <a:close/>
                <a:moveTo>
                  <a:pt x="328" y="1486"/>
                </a:moveTo>
                <a:cubicBezTo>
                  <a:pt x="342" y="1496"/>
                  <a:pt x="350" y="1512"/>
                  <a:pt x="360" y="1526"/>
                </a:cubicBezTo>
                <a:cubicBezTo>
                  <a:pt x="352" y="1549"/>
                  <a:pt x="328" y="1558"/>
                  <a:pt x="316" y="1578"/>
                </a:cubicBezTo>
                <a:cubicBezTo>
                  <a:pt x="310" y="1553"/>
                  <a:pt x="324" y="1514"/>
                  <a:pt x="328" y="1486"/>
                </a:cubicBezTo>
                <a:close/>
                <a:moveTo>
                  <a:pt x="364" y="1538"/>
                </a:moveTo>
                <a:cubicBezTo>
                  <a:pt x="382" y="1550"/>
                  <a:pt x="394" y="1569"/>
                  <a:pt x="404" y="1590"/>
                </a:cubicBezTo>
                <a:cubicBezTo>
                  <a:pt x="320" y="1590"/>
                  <a:pt x="320" y="1590"/>
                  <a:pt x="320" y="1590"/>
                </a:cubicBezTo>
                <a:cubicBezTo>
                  <a:pt x="329" y="1566"/>
                  <a:pt x="352" y="1558"/>
                  <a:pt x="364" y="1538"/>
                </a:cubicBezTo>
                <a:close/>
                <a:moveTo>
                  <a:pt x="304" y="1606"/>
                </a:moveTo>
                <a:cubicBezTo>
                  <a:pt x="322" y="1614"/>
                  <a:pt x="323" y="1641"/>
                  <a:pt x="332" y="1658"/>
                </a:cubicBezTo>
                <a:cubicBezTo>
                  <a:pt x="325" y="1675"/>
                  <a:pt x="303" y="1697"/>
                  <a:pt x="292" y="1698"/>
                </a:cubicBezTo>
                <a:cubicBezTo>
                  <a:pt x="292" y="1663"/>
                  <a:pt x="305" y="1642"/>
                  <a:pt x="304" y="1606"/>
                </a:cubicBezTo>
                <a:close/>
                <a:moveTo>
                  <a:pt x="352" y="1710"/>
                </a:moveTo>
                <a:cubicBezTo>
                  <a:pt x="296" y="1710"/>
                  <a:pt x="296" y="1710"/>
                  <a:pt x="296" y="1710"/>
                </a:cubicBezTo>
                <a:cubicBezTo>
                  <a:pt x="310" y="1695"/>
                  <a:pt x="320" y="1678"/>
                  <a:pt x="340" y="1670"/>
                </a:cubicBezTo>
                <a:cubicBezTo>
                  <a:pt x="338" y="1689"/>
                  <a:pt x="354" y="1691"/>
                  <a:pt x="352" y="1710"/>
                </a:cubicBezTo>
                <a:close/>
                <a:moveTo>
                  <a:pt x="284" y="1730"/>
                </a:moveTo>
                <a:cubicBezTo>
                  <a:pt x="295" y="1744"/>
                  <a:pt x="291" y="1774"/>
                  <a:pt x="300" y="1790"/>
                </a:cubicBezTo>
                <a:cubicBezTo>
                  <a:pt x="295" y="1802"/>
                  <a:pt x="282" y="1806"/>
                  <a:pt x="276" y="1818"/>
                </a:cubicBezTo>
                <a:cubicBezTo>
                  <a:pt x="266" y="1792"/>
                  <a:pt x="285" y="1760"/>
                  <a:pt x="284" y="1730"/>
                </a:cubicBezTo>
                <a:close/>
                <a:moveTo>
                  <a:pt x="248" y="1978"/>
                </a:moveTo>
                <a:cubicBezTo>
                  <a:pt x="244" y="1936"/>
                  <a:pt x="260" y="1880"/>
                  <a:pt x="268" y="1838"/>
                </a:cubicBezTo>
                <a:cubicBezTo>
                  <a:pt x="304" y="1838"/>
                  <a:pt x="304" y="1838"/>
                  <a:pt x="304" y="1838"/>
                </a:cubicBezTo>
                <a:cubicBezTo>
                  <a:pt x="288" y="1887"/>
                  <a:pt x="263" y="1927"/>
                  <a:pt x="248" y="1978"/>
                </a:cubicBezTo>
                <a:close/>
                <a:moveTo>
                  <a:pt x="304" y="1830"/>
                </a:moveTo>
                <a:cubicBezTo>
                  <a:pt x="276" y="1830"/>
                  <a:pt x="276" y="1830"/>
                  <a:pt x="276" y="1830"/>
                </a:cubicBezTo>
                <a:cubicBezTo>
                  <a:pt x="280" y="1819"/>
                  <a:pt x="292" y="1816"/>
                  <a:pt x="296" y="1806"/>
                </a:cubicBezTo>
                <a:cubicBezTo>
                  <a:pt x="306" y="1806"/>
                  <a:pt x="304" y="1819"/>
                  <a:pt x="304" y="1830"/>
                </a:cubicBezTo>
                <a:close/>
                <a:moveTo>
                  <a:pt x="316" y="1818"/>
                </a:moveTo>
                <a:cubicBezTo>
                  <a:pt x="299" y="1793"/>
                  <a:pt x="302" y="1750"/>
                  <a:pt x="292" y="1718"/>
                </a:cubicBezTo>
                <a:cubicBezTo>
                  <a:pt x="356" y="1718"/>
                  <a:pt x="356" y="1718"/>
                  <a:pt x="356" y="1718"/>
                </a:cubicBezTo>
                <a:cubicBezTo>
                  <a:pt x="344" y="1752"/>
                  <a:pt x="326" y="1781"/>
                  <a:pt x="316" y="1818"/>
                </a:cubicBezTo>
                <a:close/>
                <a:moveTo>
                  <a:pt x="356" y="1702"/>
                </a:moveTo>
                <a:cubicBezTo>
                  <a:pt x="348" y="1661"/>
                  <a:pt x="325" y="1635"/>
                  <a:pt x="316" y="1594"/>
                </a:cubicBezTo>
                <a:cubicBezTo>
                  <a:pt x="408" y="1594"/>
                  <a:pt x="408" y="1594"/>
                  <a:pt x="408" y="1594"/>
                </a:cubicBezTo>
                <a:cubicBezTo>
                  <a:pt x="391" y="1630"/>
                  <a:pt x="382" y="1675"/>
                  <a:pt x="356" y="1702"/>
                </a:cubicBezTo>
                <a:close/>
                <a:moveTo>
                  <a:pt x="416" y="1582"/>
                </a:moveTo>
                <a:cubicBezTo>
                  <a:pt x="384" y="1552"/>
                  <a:pt x="360" y="1515"/>
                  <a:pt x="336" y="1478"/>
                </a:cubicBezTo>
                <a:cubicBezTo>
                  <a:pt x="456" y="1478"/>
                  <a:pt x="456" y="1478"/>
                  <a:pt x="456" y="1478"/>
                </a:cubicBezTo>
                <a:cubicBezTo>
                  <a:pt x="446" y="1516"/>
                  <a:pt x="425" y="1543"/>
                  <a:pt x="416" y="1582"/>
                </a:cubicBezTo>
                <a:close/>
                <a:moveTo>
                  <a:pt x="340" y="1470"/>
                </a:moveTo>
                <a:cubicBezTo>
                  <a:pt x="351" y="1444"/>
                  <a:pt x="378" y="1433"/>
                  <a:pt x="392" y="1410"/>
                </a:cubicBezTo>
                <a:cubicBezTo>
                  <a:pt x="422" y="1421"/>
                  <a:pt x="439" y="1445"/>
                  <a:pt x="456" y="1470"/>
                </a:cubicBezTo>
                <a:lnTo>
                  <a:pt x="340" y="1470"/>
                </a:lnTo>
                <a:close/>
                <a:moveTo>
                  <a:pt x="468" y="1458"/>
                </a:moveTo>
                <a:cubicBezTo>
                  <a:pt x="428" y="1428"/>
                  <a:pt x="394" y="1394"/>
                  <a:pt x="364" y="1354"/>
                </a:cubicBezTo>
                <a:cubicBezTo>
                  <a:pt x="508" y="1354"/>
                  <a:pt x="508" y="1354"/>
                  <a:pt x="508" y="1354"/>
                </a:cubicBezTo>
                <a:cubicBezTo>
                  <a:pt x="498" y="1392"/>
                  <a:pt x="479" y="1421"/>
                  <a:pt x="468" y="1458"/>
                </a:cubicBezTo>
                <a:close/>
                <a:moveTo>
                  <a:pt x="376" y="1346"/>
                </a:moveTo>
                <a:cubicBezTo>
                  <a:pt x="362" y="1339"/>
                  <a:pt x="390" y="1324"/>
                  <a:pt x="400" y="1314"/>
                </a:cubicBezTo>
                <a:cubicBezTo>
                  <a:pt x="436" y="1278"/>
                  <a:pt x="480" y="1232"/>
                  <a:pt x="516" y="1194"/>
                </a:cubicBezTo>
                <a:cubicBezTo>
                  <a:pt x="570" y="1238"/>
                  <a:pt x="630" y="1298"/>
                  <a:pt x="668" y="1346"/>
                </a:cubicBezTo>
                <a:lnTo>
                  <a:pt x="376" y="1346"/>
                </a:lnTo>
                <a:close/>
                <a:moveTo>
                  <a:pt x="532" y="1354"/>
                </a:moveTo>
                <a:cubicBezTo>
                  <a:pt x="676" y="1354"/>
                  <a:pt x="676" y="1354"/>
                  <a:pt x="676" y="1354"/>
                </a:cubicBezTo>
                <a:cubicBezTo>
                  <a:pt x="646" y="1394"/>
                  <a:pt x="612" y="1428"/>
                  <a:pt x="572" y="1458"/>
                </a:cubicBezTo>
                <a:cubicBezTo>
                  <a:pt x="561" y="1421"/>
                  <a:pt x="541" y="1393"/>
                  <a:pt x="532" y="1354"/>
                </a:cubicBezTo>
                <a:close/>
                <a:moveTo>
                  <a:pt x="636" y="1410"/>
                </a:moveTo>
                <a:cubicBezTo>
                  <a:pt x="663" y="1424"/>
                  <a:pt x="681" y="1448"/>
                  <a:pt x="700" y="1470"/>
                </a:cubicBezTo>
                <a:cubicBezTo>
                  <a:pt x="584" y="1470"/>
                  <a:pt x="584" y="1470"/>
                  <a:pt x="584" y="1470"/>
                </a:cubicBezTo>
                <a:cubicBezTo>
                  <a:pt x="595" y="1444"/>
                  <a:pt x="622" y="1433"/>
                  <a:pt x="636" y="1410"/>
                </a:cubicBezTo>
                <a:close/>
                <a:moveTo>
                  <a:pt x="584" y="1478"/>
                </a:moveTo>
                <a:cubicBezTo>
                  <a:pt x="704" y="1478"/>
                  <a:pt x="704" y="1478"/>
                  <a:pt x="704" y="1478"/>
                </a:cubicBezTo>
                <a:cubicBezTo>
                  <a:pt x="679" y="1514"/>
                  <a:pt x="655" y="1552"/>
                  <a:pt x="624" y="1582"/>
                </a:cubicBezTo>
                <a:cubicBezTo>
                  <a:pt x="613" y="1545"/>
                  <a:pt x="594" y="1516"/>
                  <a:pt x="584" y="1478"/>
                </a:cubicBezTo>
                <a:close/>
                <a:moveTo>
                  <a:pt x="668" y="1538"/>
                </a:moveTo>
                <a:cubicBezTo>
                  <a:pt x="690" y="1550"/>
                  <a:pt x="708" y="1568"/>
                  <a:pt x="720" y="1590"/>
                </a:cubicBezTo>
                <a:cubicBezTo>
                  <a:pt x="636" y="1590"/>
                  <a:pt x="636" y="1590"/>
                  <a:pt x="636" y="1590"/>
                </a:cubicBezTo>
                <a:cubicBezTo>
                  <a:pt x="641" y="1567"/>
                  <a:pt x="661" y="1558"/>
                  <a:pt x="668" y="1538"/>
                </a:cubicBezTo>
                <a:close/>
                <a:moveTo>
                  <a:pt x="632" y="1594"/>
                </a:moveTo>
                <a:cubicBezTo>
                  <a:pt x="724" y="1594"/>
                  <a:pt x="724" y="1594"/>
                  <a:pt x="724" y="1594"/>
                </a:cubicBezTo>
                <a:cubicBezTo>
                  <a:pt x="713" y="1633"/>
                  <a:pt x="695" y="1666"/>
                  <a:pt x="680" y="1702"/>
                </a:cubicBezTo>
                <a:cubicBezTo>
                  <a:pt x="660" y="1670"/>
                  <a:pt x="647" y="1631"/>
                  <a:pt x="632" y="1594"/>
                </a:cubicBezTo>
                <a:close/>
                <a:moveTo>
                  <a:pt x="700" y="1670"/>
                </a:moveTo>
                <a:cubicBezTo>
                  <a:pt x="718" y="1678"/>
                  <a:pt x="732" y="1692"/>
                  <a:pt x="740" y="1710"/>
                </a:cubicBezTo>
                <a:cubicBezTo>
                  <a:pt x="684" y="1710"/>
                  <a:pt x="684" y="1710"/>
                  <a:pt x="684" y="1710"/>
                </a:cubicBezTo>
                <a:cubicBezTo>
                  <a:pt x="690" y="1697"/>
                  <a:pt x="697" y="1686"/>
                  <a:pt x="700" y="1670"/>
                </a:cubicBezTo>
                <a:close/>
                <a:moveTo>
                  <a:pt x="684" y="1718"/>
                </a:moveTo>
                <a:cubicBezTo>
                  <a:pt x="748" y="1718"/>
                  <a:pt x="748" y="1718"/>
                  <a:pt x="748" y="1718"/>
                </a:cubicBezTo>
                <a:cubicBezTo>
                  <a:pt x="741" y="1751"/>
                  <a:pt x="736" y="1786"/>
                  <a:pt x="728" y="1818"/>
                </a:cubicBezTo>
                <a:cubicBezTo>
                  <a:pt x="711" y="1787"/>
                  <a:pt x="698" y="1752"/>
                  <a:pt x="684" y="1718"/>
                </a:cubicBezTo>
                <a:close/>
                <a:moveTo>
                  <a:pt x="736" y="1806"/>
                </a:moveTo>
                <a:cubicBezTo>
                  <a:pt x="752" y="1806"/>
                  <a:pt x="752" y="1822"/>
                  <a:pt x="764" y="1826"/>
                </a:cubicBezTo>
                <a:cubicBezTo>
                  <a:pt x="762" y="1835"/>
                  <a:pt x="744" y="1827"/>
                  <a:pt x="736" y="1830"/>
                </a:cubicBezTo>
                <a:lnTo>
                  <a:pt x="736" y="1806"/>
                </a:lnTo>
                <a:close/>
                <a:moveTo>
                  <a:pt x="796" y="1978"/>
                </a:moveTo>
                <a:cubicBezTo>
                  <a:pt x="773" y="1934"/>
                  <a:pt x="754" y="1886"/>
                  <a:pt x="736" y="1838"/>
                </a:cubicBezTo>
                <a:cubicBezTo>
                  <a:pt x="772" y="1838"/>
                  <a:pt x="772" y="1838"/>
                  <a:pt x="772" y="1838"/>
                </a:cubicBezTo>
                <a:cubicBezTo>
                  <a:pt x="782" y="1883"/>
                  <a:pt x="790" y="1930"/>
                  <a:pt x="796" y="1978"/>
                </a:cubicBezTo>
                <a:close/>
                <a:moveTo>
                  <a:pt x="768" y="1818"/>
                </a:moveTo>
                <a:cubicBezTo>
                  <a:pt x="733" y="1805"/>
                  <a:pt x="744" y="1767"/>
                  <a:pt x="752" y="1730"/>
                </a:cubicBezTo>
                <a:cubicBezTo>
                  <a:pt x="761" y="1755"/>
                  <a:pt x="765" y="1787"/>
                  <a:pt x="768" y="1818"/>
                </a:cubicBezTo>
                <a:close/>
                <a:moveTo>
                  <a:pt x="708" y="1662"/>
                </a:moveTo>
                <a:cubicBezTo>
                  <a:pt x="711" y="1639"/>
                  <a:pt x="724" y="1627"/>
                  <a:pt x="728" y="1606"/>
                </a:cubicBezTo>
                <a:cubicBezTo>
                  <a:pt x="744" y="1629"/>
                  <a:pt x="742" y="1669"/>
                  <a:pt x="748" y="1702"/>
                </a:cubicBezTo>
                <a:cubicBezTo>
                  <a:pt x="733" y="1690"/>
                  <a:pt x="720" y="1677"/>
                  <a:pt x="708" y="1662"/>
                </a:cubicBezTo>
                <a:close/>
                <a:moveTo>
                  <a:pt x="676" y="1530"/>
                </a:moveTo>
                <a:cubicBezTo>
                  <a:pt x="687" y="1515"/>
                  <a:pt x="699" y="1502"/>
                  <a:pt x="708" y="1486"/>
                </a:cubicBezTo>
                <a:cubicBezTo>
                  <a:pt x="722" y="1510"/>
                  <a:pt x="721" y="1548"/>
                  <a:pt x="728" y="1578"/>
                </a:cubicBezTo>
                <a:cubicBezTo>
                  <a:pt x="705" y="1568"/>
                  <a:pt x="693" y="1546"/>
                  <a:pt x="676" y="1530"/>
                </a:cubicBezTo>
                <a:close/>
                <a:moveTo>
                  <a:pt x="692" y="1366"/>
                </a:moveTo>
                <a:cubicBezTo>
                  <a:pt x="697" y="1398"/>
                  <a:pt x="703" y="1430"/>
                  <a:pt x="708" y="1462"/>
                </a:cubicBezTo>
                <a:cubicBezTo>
                  <a:pt x="686" y="1446"/>
                  <a:pt x="671" y="1422"/>
                  <a:pt x="648" y="1406"/>
                </a:cubicBezTo>
                <a:cubicBezTo>
                  <a:pt x="654" y="1385"/>
                  <a:pt x="675" y="1379"/>
                  <a:pt x="684" y="1362"/>
                </a:cubicBezTo>
                <a:cubicBezTo>
                  <a:pt x="689" y="1361"/>
                  <a:pt x="691" y="1363"/>
                  <a:pt x="692" y="1366"/>
                </a:cubicBezTo>
                <a:close/>
                <a:moveTo>
                  <a:pt x="600" y="1254"/>
                </a:moveTo>
                <a:cubicBezTo>
                  <a:pt x="672" y="1254"/>
                  <a:pt x="672" y="1254"/>
                  <a:pt x="672" y="1254"/>
                </a:cubicBezTo>
                <a:cubicBezTo>
                  <a:pt x="679" y="1282"/>
                  <a:pt x="681" y="1314"/>
                  <a:pt x="688" y="1342"/>
                </a:cubicBezTo>
                <a:cubicBezTo>
                  <a:pt x="654" y="1318"/>
                  <a:pt x="624" y="1288"/>
                  <a:pt x="600" y="1254"/>
                </a:cubicBezTo>
                <a:close/>
                <a:moveTo>
                  <a:pt x="672" y="1242"/>
                </a:moveTo>
                <a:cubicBezTo>
                  <a:pt x="656" y="1251"/>
                  <a:pt x="623" y="1243"/>
                  <a:pt x="600" y="1246"/>
                </a:cubicBezTo>
                <a:cubicBezTo>
                  <a:pt x="616" y="1225"/>
                  <a:pt x="640" y="1214"/>
                  <a:pt x="656" y="1194"/>
                </a:cubicBezTo>
                <a:cubicBezTo>
                  <a:pt x="673" y="1198"/>
                  <a:pt x="661" y="1232"/>
                  <a:pt x="672" y="1242"/>
                </a:cubicBezTo>
                <a:close/>
                <a:moveTo>
                  <a:pt x="656" y="1174"/>
                </a:moveTo>
                <a:cubicBezTo>
                  <a:pt x="635" y="1162"/>
                  <a:pt x="609" y="1154"/>
                  <a:pt x="588" y="1142"/>
                </a:cubicBezTo>
                <a:cubicBezTo>
                  <a:pt x="602" y="1133"/>
                  <a:pt x="632" y="1140"/>
                  <a:pt x="652" y="1138"/>
                </a:cubicBezTo>
                <a:cubicBezTo>
                  <a:pt x="652" y="1151"/>
                  <a:pt x="659" y="1158"/>
                  <a:pt x="656" y="1174"/>
                </a:cubicBezTo>
                <a:close/>
                <a:moveTo>
                  <a:pt x="648" y="1134"/>
                </a:moveTo>
                <a:cubicBezTo>
                  <a:pt x="584" y="1134"/>
                  <a:pt x="584" y="1134"/>
                  <a:pt x="584" y="1134"/>
                </a:cubicBezTo>
                <a:cubicBezTo>
                  <a:pt x="595" y="1108"/>
                  <a:pt x="622" y="1097"/>
                  <a:pt x="636" y="1074"/>
                </a:cubicBezTo>
                <a:cubicBezTo>
                  <a:pt x="649" y="1084"/>
                  <a:pt x="650" y="1123"/>
                  <a:pt x="648" y="1134"/>
                </a:cubicBezTo>
                <a:close/>
                <a:moveTo>
                  <a:pt x="636" y="1050"/>
                </a:moveTo>
                <a:cubicBezTo>
                  <a:pt x="618" y="1040"/>
                  <a:pt x="603" y="1027"/>
                  <a:pt x="592" y="1010"/>
                </a:cubicBezTo>
                <a:cubicBezTo>
                  <a:pt x="628" y="1010"/>
                  <a:pt x="628" y="1010"/>
                  <a:pt x="628" y="1010"/>
                </a:cubicBezTo>
                <a:cubicBezTo>
                  <a:pt x="633" y="1021"/>
                  <a:pt x="635" y="1035"/>
                  <a:pt x="636" y="1050"/>
                </a:cubicBezTo>
                <a:close/>
                <a:moveTo>
                  <a:pt x="624" y="946"/>
                </a:moveTo>
                <a:cubicBezTo>
                  <a:pt x="589" y="929"/>
                  <a:pt x="570" y="896"/>
                  <a:pt x="536" y="878"/>
                </a:cubicBezTo>
                <a:cubicBezTo>
                  <a:pt x="564" y="869"/>
                  <a:pt x="609" y="876"/>
                  <a:pt x="644" y="874"/>
                </a:cubicBezTo>
                <a:cubicBezTo>
                  <a:pt x="636" y="897"/>
                  <a:pt x="630" y="921"/>
                  <a:pt x="624" y="946"/>
                </a:cubicBezTo>
                <a:close/>
                <a:moveTo>
                  <a:pt x="648" y="862"/>
                </a:moveTo>
                <a:cubicBezTo>
                  <a:pt x="548" y="862"/>
                  <a:pt x="548" y="862"/>
                  <a:pt x="548" y="862"/>
                </a:cubicBezTo>
                <a:cubicBezTo>
                  <a:pt x="578" y="837"/>
                  <a:pt x="621" y="825"/>
                  <a:pt x="652" y="802"/>
                </a:cubicBezTo>
                <a:cubicBezTo>
                  <a:pt x="673" y="814"/>
                  <a:pt x="644" y="840"/>
                  <a:pt x="648" y="862"/>
                </a:cubicBezTo>
                <a:close/>
                <a:moveTo>
                  <a:pt x="540" y="854"/>
                </a:moveTo>
                <a:cubicBezTo>
                  <a:pt x="558" y="819"/>
                  <a:pt x="581" y="791"/>
                  <a:pt x="600" y="758"/>
                </a:cubicBezTo>
                <a:cubicBezTo>
                  <a:pt x="623" y="767"/>
                  <a:pt x="646" y="776"/>
                  <a:pt x="660" y="794"/>
                </a:cubicBezTo>
                <a:cubicBezTo>
                  <a:pt x="617" y="810"/>
                  <a:pt x="583" y="836"/>
                  <a:pt x="540" y="854"/>
                </a:cubicBezTo>
                <a:close/>
                <a:moveTo>
                  <a:pt x="668" y="782"/>
                </a:moveTo>
                <a:cubicBezTo>
                  <a:pt x="643" y="777"/>
                  <a:pt x="632" y="759"/>
                  <a:pt x="608" y="754"/>
                </a:cubicBezTo>
                <a:cubicBezTo>
                  <a:pt x="626" y="733"/>
                  <a:pt x="662" y="731"/>
                  <a:pt x="680" y="710"/>
                </a:cubicBezTo>
                <a:cubicBezTo>
                  <a:pt x="689" y="731"/>
                  <a:pt x="670" y="758"/>
                  <a:pt x="668" y="782"/>
                </a:cubicBezTo>
                <a:close/>
                <a:moveTo>
                  <a:pt x="620" y="738"/>
                </a:moveTo>
                <a:cubicBezTo>
                  <a:pt x="615" y="721"/>
                  <a:pt x="644" y="703"/>
                  <a:pt x="648" y="682"/>
                </a:cubicBezTo>
                <a:cubicBezTo>
                  <a:pt x="663" y="684"/>
                  <a:pt x="672" y="693"/>
                  <a:pt x="684" y="698"/>
                </a:cubicBezTo>
                <a:cubicBezTo>
                  <a:pt x="669" y="718"/>
                  <a:pt x="639" y="722"/>
                  <a:pt x="620" y="738"/>
                </a:cubicBezTo>
                <a:close/>
                <a:moveTo>
                  <a:pt x="692" y="694"/>
                </a:moveTo>
                <a:cubicBezTo>
                  <a:pt x="679" y="691"/>
                  <a:pt x="673" y="681"/>
                  <a:pt x="660" y="678"/>
                </a:cubicBezTo>
                <a:cubicBezTo>
                  <a:pt x="670" y="668"/>
                  <a:pt x="686" y="664"/>
                  <a:pt x="696" y="654"/>
                </a:cubicBezTo>
                <a:cubicBezTo>
                  <a:pt x="709" y="665"/>
                  <a:pt x="689" y="679"/>
                  <a:pt x="692" y="694"/>
                </a:cubicBezTo>
                <a:close/>
                <a:moveTo>
                  <a:pt x="668" y="666"/>
                </a:moveTo>
                <a:cubicBezTo>
                  <a:pt x="662" y="652"/>
                  <a:pt x="679" y="626"/>
                  <a:pt x="708" y="634"/>
                </a:cubicBezTo>
                <a:cubicBezTo>
                  <a:pt x="703" y="653"/>
                  <a:pt x="678" y="652"/>
                  <a:pt x="668" y="666"/>
                </a:cubicBezTo>
                <a:close/>
                <a:moveTo>
                  <a:pt x="708" y="630"/>
                </a:moveTo>
                <a:cubicBezTo>
                  <a:pt x="684" y="630"/>
                  <a:pt x="684" y="630"/>
                  <a:pt x="684" y="630"/>
                </a:cubicBezTo>
                <a:cubicBezTo>
                  <a:pt x="697" y="612"/>
                  <a:pt x="708" y="593"/>
                  <a:pt x="720" y="574"/>
                </a:cubicBezTo>
                <a:cubicBezTo>
                  <a:pt x="724" y="584"/>
                  <a:pt x="713" y="614"/>
                  <a:pt x="708" y="630"/>
                </a:cubicBezTo>
                <a:close/>
                <a:moveTo>
                  <a:pt x="416" y="406"/>
                </a:moveTo>
                <a:cubicBezTo>
                  <a:pt x="441" y="434"/>
                  <a:pt x="469" y="460"/>
                  <a:pt x="488" y="494"/>
                </a:cubicBezTo>
                <a:cubicBezTo>
                  <a:pt x="509" y="484"/>
                  <a:pt x="509" y="509"/>
                  <a:pt x="516" y="510"/>
                </a:cubicBezTo>
                <a:cubicBezTo>
                  <a:pt x="527" y="510"/>
                  <a:pt x="525" y="488"/>
                  <a:pt x="548" y="494"/>
                </a:cubicBezTo>
                <a:cubicBezTo>
                  <a:pt x="597" y="436"/>
                  <a:pt x="642" y="375"/>
                  <a:pt x="696" y="322"/>
                </a:cubicBezTo>
                <a:cubicBezTo>
                  <a:pt x="694" y="306"/>
                  <a:pt x="693" y="305"/>
                  <a:pt x="700" y="294"/>
                </a:cubicBezTo>
                <a:cubicBezTo>
                  <a:pt x="705" y="293"/>
                  <a:pt x="707" y="295"/>
                  <a:pt x="708" y="298"/>
                </a:cubicBezTo>
                <a:cubicBezTo>
                  <a:pt x="707" y="340"/>
                  <a:pt x="716" y="385"/>
                  <a:pt x="720" y="430"/>
                </a:cubicBezTo>
                <a:cubicBezTo>
                  <a:pt x="723" y="465"/>
                  <a:pt x="733" y="509"/>
                  <a:pt x="728" y="538"/>
                </a:cubicBezTo>
                <a:cubicBezTo>
                  <a:pt x="721" y="578"/>
                  <a:pt x="683" y="596"/>
                  <a:pt x="672" y="630"/>
                </a:cubicBezTo>
                <a:cubicBezTo>
                  <a:pt x="668" y="634"/>
                  <a:pt x="668" y="634"/>
                  <a:pt x="668" y="634"/>
                </a:cubicBezTo>
                <a:cubicBezTo>
                  <a:pt x="622" y="710"/>
                  <a:pt x="570" y="781"/>
                  <a:pt x="524" y="858"/>
                </a:cubicBezTo>
                <a:cubicBezTo>
                  <a:pt x="483" y="817"/>
                  <a:pt x="455" y="761"/>
                  <a:pt x="416" y="702"/>
                </a:cubicBezTo>
                <a:cubicBezTo>
                  <a:pt x="402" y="680"/>
                  <a:pt x="383" y="651"/>
                  <a:pt x="364" y="622"/>
                </a:cubicBezTo>
                <a:cubicBezTo>
                  <a:pt x="347" y="596"/>
                  <a:pt x="317" y="565"/>
                  <a:pt x="312" y="542"/>
                </a:cubicBezTo>
                <a:cubicBezTo>
                  <a:pt x="303" y="496"/>
                  <a:pt x="326" y="456"/>
                  <a:pt x="324" y="406"/>
                </a:cubicBezTo>
                <a:cubicBezTo>
                  <a:pt x="324" y="402"/>
                  <a:pt x="324" y="402"/>
                  <a:pt x="324" y="402"/>
                </a:cubicBezTo>
                <a:cubicBezTo>
                  <a:pt x="326" y="365"/>
                  <a:pt x="333" y="333"/>
                  <a:pt x="332" y="294"/>
                </a:cubicBezTo>
                <a:cubicBezTo>
                  <a:pt x="345" y="298"/>
                  <a:pt x="349" y="306"/>
                  <a:pt x="344" y="318"/>
                </a:cubicBezTo>
                <a:cubicBezTo>
                  <a:pt x="370" y="342"/>
                  <a:pt x="416" y="406"/>
                  <a:pt x="416" y="406"/>
                </a:cubicBezTo>
                <a:close/>
                <a:moveTo>
                  <a:pt x="740" y="518"/>
                </a:moveTo>
                <a:cubicBezTo>
                  <a:pt x="728" y="502"/>
                  <a:pt x="737" y="465"/>
                  <a:pt x="728" y="446"/>
                </a:cubicBezTo>
                <a:cubicBezTo>
                  <a:pt x="735" y="436"/>
                  <a:pt x="747" y="453"/>
                  <a:pt x="756" y="454"/>
                </a:cubicBezTo>
                <a:cubicBezTo>
                  <a:pt x="751" y="475"/>
                  <a:pt x="743" y="494"/>
                  <a:pt x="740" y="518"/>
                </a:cubicBezTo>
                <a:close/>
                <a:moveTo>
                  <a:pt x="724" y="382"/>
                </a:moveTo>
                <a:cubicBezTo>
                  <a:pt x="738" y="391"/>
                  <a:pt x="759" y="393"/>
                  <a:pt x="764" y="410"/>
                </a:cubicBezTo>
                <a:cubicBezTo>
                  <a:pt x="751" y="413"/>
                  <a:pt x="741" y="418"/>
                  <a:pt x="732" y="426"/>
                </a:cubicBezTo>
                <a:cubicBezTo>
                  <a:pt x="726" y="415"/>
                  <a:pt x="724" y="399"/>
                  <a:pt x="724" y="382"/>
                </a:cubicBezTo>
                <a:close/>
                <a:moveTo>
                  <a:pt x="760" y="446"/>
                </a:moveTo>
                <a:cubicBezTo>
                  <a:pt x="748" y="447"/>
                  <a:pt x="748" y="437"/>
                  <a:pt x="736" y="438"/>
                </a:cubicBezTo>
                <a:cubicBezTo>
                  <a:pt x="737" y="423"/>
                  <a:pt x="753" y="422"/>
                  <a:pt x="764" y="418"/>
                </a:cubicBezTo>
                <a:cubicBezTo>
                  <a:pt x="766" y="430"/>
                  <a:pt x="757" y="432"/>
                  <a:pt x="760" y="446"/>
                </a:cubicBezTo>
                <a:close/>
                <a:moveTo>
                  <a:pt x="772" y="398"/>
                </a:moveTo>
                <a:cubicBezTo>
                  <a:pt x="757" y="389"/>
                  <a:pt x="736" y="386"/>
                  <a:pt x="728" y="370"/>
                </a:cubicBezTo>
                <a:cubicBezTo>
                  <a:pt x="749" y="364"/>
                  <a:pt x="764" y="353"/>
                  <a:pt x="780" y="342"/>
                </a:cubicBezTo>
                <a:cubicBezTo>
                  <a:pt x="789" y="356"/>
                  <a:pt x="771" y="378"/>
                  <a:pt x="772" y="398"/>
                </a:cubicBezTo>
                <a:close/>
                <a:moveTo>
                  <a:pt x="720" y="362"/>
                </a:moveTo>
                <a:cubicBezTo>
                  <a:pt x="723" y="335"/>
                  <a:pt x="716" y="318"/>
                  <a:pt x="716" y="294"/>
                </a:cubicBezTo>
                <a:cubicBezTo>
                  <a:pt x="744" y="302"/>
                  <a:pt x="762" y="320"/>
                  <a:pt x="788" y="330"/>
                </a:cubicBezTo>
                <a:cubicBezTo>
                  <a:pt x="768" y="341"/>
                  <a:pt x="742" y="365"/>
                  <a:pt x="720" y="362"/>
                </a:cubicBezTo>
                <a:close/>
                <a:moveTo>
                  <a:pt x="792" y="322"/>
                </a:moveTo>
                <a:cubicBezTo>
                  <a:pt x="769" y="313"/>
                  <a:pt x="745" y="305"/>
                  <a:pt x="732" y="286"/>
                </a:cubicBezTo>
                <a:cubicBezTo>
                  <a:pt x="754" y="288"/>
                  <a:pt x="785" y="281"/>
                  <a:pt x="800" y="290"/>
                </a:cubicBezTo>
                <a:cubicBezTo>
                  <a:pt x="800" y="303"/>
                  <a:pt x="791" y="307"/>
                  <a:pt x="792" y="322"/>
                </a:cubicBezTo>
                <a:close/>
                <a:moveTo>
                  <a:pt x="804" y="274"/>
                </a:moveTo>
                <a:cubicBezTo>
                  <a:pt x="791" y="254"/>
                  <a:pt x="775" y="236"/>
                  <a:pt x="768" y="210"/>
                </a:cubicBezTo>
                <a:cubicBezTo>
                  <a:pt x="779" y="218"/>
                  <a:pt x="803" y="212"/>
                  <a:pt x="820" y="214"/>
                </a:cubicBezTo>
                <a:cubicBezTo>
                  <a:pt x="816" y="235"/>
                  <a:pt x="809" y="253"/>
                  <a:pt x="804" y="274"/>
                </a:cubicBezTo>
                <a:close/>
                <a:moveTo>
                  <a:pt x="816" y="274"/>
                </a:moveTo>
                <a:cubicBezTo>
                  <a:pt x="818" y="255"/>
                  <a:pt x="825" y="240"/>
                  <a:pt x="828" y="222"/>
                </a:cubicBezTo>
                <a:cubicBezTo>
                  <a:pt x="842" y="232"/>
                  <a:pt x="850" y="248"/>
                  <a:pt x="856" y="266"/>
                </a:cubicBezTo>
                <a:cubicBezTo>
                  <a:pt x="839" y="265"/>
                  <a:pt x="830" y="272"/>
                  <a:pt x="816" y="274"/>
                </a:cubicBezTo>
                <a:close/>
                <a:moveTo>
                  <a:pt x="836" y="218"/>
                </a:moveTo>
                <a:cubicBezTo>
                  <a:pt x="848" y="206"/>
                  <a:pt x="869" y="219"/>
                  <a:pt x="884" y="218"/>
                </a:cubicBezTo>
                <a:cubicBezTo>
                  <a:pt x="881" y="235"/>
                  <a:pt x="869" y="242"/>
                  <a:pt x="864" y="258"/>
                </a:cubicBezTo>
                <a:cubicBezTo>
                  <a:pt x="852" y="247"/>
                  <a:pt x="848" y="228"/>
                  <a:pt x="836" y="218"/>
                </a:cubicBezTo>
                <a:close/>
                <a:moveTo>
                  <a:pt x="872" y="258"/>
                </a:moveTo>
                <a:cubicBezTo>
                  <a:pt x="878" y="245"/>
                  <a:pt x="887" y="235"/>
                  <a:pt x="892" y="222"/>
                </a:cubicBezTo>
                <a:cubicBezTo>
                  <a:pt x="904" y="224"/>
                  <a:pt x="900" y="243"/>
                  <a:pt x="912" y="246"/>
                </a:cubicBezTo>
                <a:cubicBezTo>
                  <a:pt x="904" y="255"/>
                  <a:pt x="888" y="257"/>
                  <a:pt x="872" y="258"/>
                </a:cubicBezTo>
                <a:close/>
                <a:moveTo>
                  <a:pt x="904" y="226"/>
                </a:moveTo>
                <a:cubicBezTo>
                  <a:pt x="906" y="217"/>
                  <a:pt x="924" y="224"/>
                  <a:pt x="932" y="222"/>
                </a:cubicBezTo>
                <a:cubicBezTo>
                  <a:pt x="931" y="232"/>
                  <a:pt x="920" y="234"/>
                  <a:pt x="920" y="246"/>
                </a:cubicBezTo>
                <a:cubicBezTo>
                  <a:pt x="909" y="245"/>
                  <a:pt x="913" y="229"/>
                  <a:pt x="904" y="226"/>
                </a:cubicBezTo>
                <a:close/>
                <a:moveTo>
                  <a:pt x="928" y="246"/>
                </a:moveTo>
                <a:cubicBezTo>
                  <a:pt x="930" y="240"/>
                  <a:pt x="934" y="236"/>
                  <a:pt x="936" y="230"/>
                </a:cubicBezTo>
                <a:cubicBezTo>
                  <a:pt x="940" y="231"/>
                  <a:pt x="939" y="238"/>
                  <a:pt x="944" y="238"/>
                </a:cubicBezTo>
                <a:cubicBezTo>
                  <a:pt x="943" y="245"/>
                  <a:pt x="937" y="247"/>
                  <a:pt x="928" y="246"/>
                </a:cubicBezTo>
                <a:close/>
                <a:moveTo>
                  <a:pt x="944" y="230"/>
                </a:moveTo>
                <a:cubicBezTo>
                  <a:pt x="954" y="218"/>
                  <a:pt x="970" y="233"/>
                  <a:pt x="984" y="230"/>
                </a:cubicBezTo>
                <a:cubicBezTo>
                  <a:pt x="974" y="238"/>
                  <a:pt x="952" y="242"/>
                  <a:pt x="944" y="230"/>
                </a:cubicBezTo>
                <a:close/>
              </a:path>
            </a:pathLst>
          </a:custGeom>
          <a:solidFill>
            <a:schemeClr val="bg1"/>
          </a:solidFill>
          <a:ln w="9525">
            <a:solidFill>
              <a:schemeClr val="hlink"/>
            </a:solidFill>
            <a:round/>
            <a:headEnd/>
            <a:tailEnd/>
          </a:ln>
        </p:spPr>
        <p:txBody>
          <a:bodyPr/>
          <a:lstStyle/>
          <a:p>
            <a:endParaRPr lang="cs-CZ"/>
          </a:p>
        </p:txBody>
      </p:sp>
      <p:sp>
        <p:nvSpPr>
          <p:cNvPr id="164" name="Freeform 163"/>
          <p:cNvSpPr>
            <a:spLocks noEditPoints="1"/>
          </p:cNvSpPr>
          <p:nvPr/>
        </p:nvSpPr>
        <p:spPr bwMode="gray">
          <a:xfrm>
            <a:off x="5207000" y="2605088"/>
            <a:ext cx="266700" cy="527050"/>
          </a:xfrm>
          <a:custGeom>
            <a:avLst/>
            <a:gdLst>
              <a:gd name="T0" fmla="*/ 28 w 1041"/>
              <a:gd name="T1" fmla="*/ 518 h 2060"/>
              <a:gd name="T2" fmla="*/ 508 w 1041"/>
              <a:gd name="T3" fmla="*/ 534 h 2060"/>
              <a:gd name="T4" fmla="*/ 0 w 1041"/>
              <a:gd name="T5" fmla="*/ 538 h 2060"/>
              <a:gd name="T6" fmla="*/ 1004 w 1041"/>
              <a:gd name="T7" fmla="*/ 526 h 2060"/>
              <a:gd name="T8" fmla="*/ 500 w 1041"/>
              <a:gd name="T9" fmla="*/ 542 h 2060"/>
              <a:gd name="T10" fmla="*/ 752 w 1041"/>
              <a:gd name="T11" fmla="*/ 202 h 2060"/>
              <a:gd name="T12" fmla="*/ 8 w 1041"/>
              <a:gd name="T13" fmla="*/ 318 h 2060"/>
              <a:gd name="T14" fmla="*/ 224 w 1041"/>
              <a:gd name="T15" fmla="*/ 2030 h 2060"/>
              <a:gd name="T16" fmla="*/ 820 w 1041"/>
              <a:gd name="T17" fmla="*/ 2050 h 2060"/>
              <a:gd name="T18" fmla="*/ 1008 w 1041"/>
              <a:gd name="T19" fmla="*/ 262 h 2060"/>
              <a:gd name="T20" fmla="*/ 844 w 1041"/>
              <a:gd name="T21" fmla="*/ 102 h 2060"/>
              <a:gd name="T22" fmla="*/ 812 w 1041"/>
              <a:gd name="T23" fmla="*/ 198 h 2060"/>
              <a:gd name="T24" fmla="*/ 740 w 1041"/>
              <a:gd name="T25" fmla="*/ 210 h 2060"/>
              <a:gd name="T26" fmla="*/ 676 w 1041"/>
              <a:gd name="T27" fmla="*/ 302 h 2060"/>
              <a:gd name="T28" fmla="*/ 640 w 1041"/>
              <a:gd name="T29" fmla="*/ 278 h 2060"/>
              <a:gd name="T30" fmla="*/ 480 w 1041"/>
              <a:gd name="T31" fmla="*/ 270 h 2060"/>
              <a:gd name="T32" fmla="*/ 424 w 1041"/>
              <a:gd name="T33" fmla="*/ 214 h 2060"/>
              <a:gd name="T34" fmla="*/ 244 w 1041"/>
              <a:gd name="T35" fmla="*/ 278 h 2060"/>
              <a:gd name="T36" fmla="*/ 220 w 1041"/>
              <a:gd name="T37" fmla="*/ 198 h 2060"/>
              <a:gd name="T38" fmla="*/ 192 w 1041"/>
              <a:gd name="T39" fmla="*/ 102 h 2060"/>
              <a:gd name="T40" fmla="*/ 100 w 1041"/>
              <a:gd name="T41" fmla="*/ 230 h 2060"/>
              <a:gd name="T42" fmla="*/ 204 w 1041"/>
              <a:gd name="T43" fmla="*/ 214 h 2060"/>
              <a:gd name="T44" fmla="*/ 220 w 1041"/>
              <a:gd name="T45" fmla="*/ 214 h 2060"/>
              <a:gd name="T46" fmla="*/ 312 w 1041"/>
              <a:gd name="T47" fmla="*/ 382 h 2060"/>
              <a:gd name="T48" fmla="*/ 256 w 1041"/>
              <a:gd name="T49" fmla="*/ 342 h 2060"/>
              <a:gd name="T50" fmla="*/ 348 w 1041"/>
              <a:gd name="T51" fmla="*/ 694 h 2060"/>
              <a:gd name="T52" fmla="*/ 428 w 1041"/>
              <a:gd name="T53" fmla="*/ 746 h 2060"/>
              <a:gd name="T54" fmla="*/ 376 w 1041"/>
              <a:gd name="T55" fmla="*/ 806 h 2060"/>
              <a:gd name="T56" fmla="*/ 532 w 1041"/>
              <a:gd name="T57" fmla="*/ 1186 h 2060"/>
              <a:gd name="T58" fmla="*/ 452 w 1041"/>
              <a:gd name="T59" fmla="*/ 1246 h 2060"/>
              <a:gd name="T60" fmla="*/ 468 w 1041"/>
              <a:gd name="T61" fmla="*/ 998 h 2060"/>
              <a:gd name="T62" fmla="*/ 616 w 1041"/>
              <a:gd name="T63" fmla="*/ 962 h 2060"/>
              <a:gd name="T64" fmla="*/ 412 w 1041"/>
              <a:gd name="T65" fmla="*/ 1010 h 2060"/>
              <a:gd name="T66" fmla="*/ 380 w 1041"/>
              <a:gd name="T67" fmla="*/ 1174 h 2060"/>
              <a:gd name="T68" fmla="*/ 348 w 1041"/>
              <a:gd name="T69" fmla="*/ 1362 h 2060"/>
              <a:gd name="T70" fmla="*/ 320 w 1041"/>
              <a:gd name="T71" fmla="*/ 1590 h 2060"/>
              <a:gd name="T72" fmla="*/ 284 w 1041"/>
              <a:gd name="T73" fmla="*/ 1730 h 2060"/>
              <a:gd name="T74" fmla="*/ 296 w 1041"/>
              <a:gd name="T75" fmla="*/ 1806 h 2060"/>
              <a:gd name="T76" fmla="*/ 416 w 1041"/>
              <a:gd name="T77" fmla="*/ 1582 h 2060"/>
              <a:gd name="T78" fmla="*/ 508 w 1041"/>
              <a:gd name="T79" fmla="*/ 1354 h 2060"/>
              <a:gd name="T80" fmla="*/ 532 w 1041"/>
              <a:gd name="T81" fmla="*/ 1354 h 2060"/>
              <a:gd name="T82" fmla="*/ 720 w 1041"/>
              <a:gd name="T83" fmla="*/ 1590 h 2060"/>
              <a:gd name="T84" fmla="*/ 700 w 1041"/>
              <a:gd name="T85" fmla="*/ 1670 h 2060"/>
              <a:gd name="T86" fmla="*/ 736 w 1041"/>
              <a:gd name="T87" fmla="*/ 1838 h 2060"/>
              <a:gd name="T88" fmla="*/ 676 w 1041"/>
              <a:gd name="T89" fmla="*/ 1530 h 2060"/>
              <a:gd name="T90" fmla="*/ 672 w 1041"/>
              <a:gd name="T91" fmla="*/ 1254 h 2060"/>
              <a:gd name="T92" fmla="*/ 656 w 1041"/>
              <a:gd name="T93" fmla="*/ 1174 h 2060"/>
              <a:gd name="T94" fmla="*/ 536 w 1041"/>
              <a:gd name="T95" fmla="*/ 878 h 2060"/>
              <a:gd name="T96" fmla="*/ 540 w 1041"/>
              <a:gd name="T97" fmla="*/ 854 h 2060"/>
              <a:gd name="T98" fmla="*/ 660 w 1041"/>
              <a:gd name="T99" fmla="*/ 678 h 2060"/>
              <a:gd name="T100" fmla="*/ 416 w 1041"/>
              <a:gd name="T101" fmla="*/ 406 h 2060"/>
              <a:gd name="T102" fmla="*/ 668 w 1041"/>
              <a:gd name="T103" fmla="*/ 634 h 2060"/>
              <a:gd name="T104" fmla="*/ 740 w 1041"/>
              <a:gd name="T105" fmla="*/ 518 h 2060"/>
              <a:gd name="T106" fmla="*/ 764 w 1041"/>
              <a:gd name="T107" fmla="*/ 418 h 2060"/>
              <a:gd name="T108" fmla="*/ 792 w 1041"/>
              <a:gd name="T109" fmla="*/ 322 h 2060"/>
              <a:gd name="T110" fmla="*/ 856 w 1041"/>
              <a:gd name="T111" fmla="*/ 266 h 2060"/>
              <a:gd name="T112" fmla="*/ 904 w 1041"/>
              <a:gd name="T113" fmla="*/ 226 h 2060"/>
              <a:gd name="T114" fmla="*/ 944 w 1041"/>
              <a:gd name="T115" fmla="*/ 230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41" h="2060">
                <a:moveTo>
                  <a:pt x="12" y="502"/>
                </a:moveTo>
                <a:cubicBezTo>
                  <a:pt x="4" y="502"/>
                  <a:pt x="4" y="502"/>
                  <a:pt x="4" y="502"/>
                </a:cubicBezTo>
                <a:cubicBezTo>
                  <a:pt x="4" y="504"/>
                  <a:pt x="4" y="507"/>
                  <a:pt x="0" y="506"/>
                </a:cubicBezTo>
                <a:cubicBezTo>
                  <a:pt x="0" y="514"/>
                  <a:pt x="0" y="514"/>
                  <a:pt x="0" y="514"/>
                </a:cubicBezTo>
                <a:cubicBezTo>
                  <a:pt x="3" y="514"/>
                  <a:pt x="5" y="514"/>
                  <a:pt x="4" y="518"/>
                </a:cubicBezTo>
                <a:cubicBezTo>
                  <a:pt x="12" y="518"/>
                  <a:pt x="12" y="518"/>
                  <a:pt x="12" y="518"/>
                </a:cubicBezTo>
                <a:cubicBezTo>
                  <a:pt x="12" y="515"/>
                  <a:pt x="13" y="513"/>
                  <a:pt x="16" y="514"/>
                </a:cubicBezTo>
                <a:cubicBezTo>
                  <a:pt x="16" y="506"/>
                  <a:pt x="16" y="506"/>
                  <a:pt x="16" y="506"/>
                </a:cubicBezTo>
                <a:cubicBezTo>
                  <a:pt x="14" y="506"/>
                  <a:pt x="11" y="505"/>
                  <a:pt x="12" y="502"/>
                </a:cubicBezTo>
                <a:close/>
                <a:moveTo>
                  <a:pt x="28" y="518"/>
                </a:moveTo>
                <a:cubicBezTo>
                  <a:pt x="39" y="519"/>
                  <a:pt x="41" y="512"/>
                  <a:pt x="40" y="502"/>
                </a:cubicBezTo>
                <a:cubicBezTo>
                  <a:pt x="24" y="501"/>
                  <a:pt x="24" y="507"/>
                  <a:pt x="28" y="518"/>
                </a:cubicBezTo>
                <a:close/>
                <a:moveTo>
                  <a:pt x="1012" y="518"/>
                </a:moveTo>
                <a:cubicBezTo>
                  <a:pt x="1012" y="502"/>
                  <a:pt x="1012" y="502"/>
                  <a:pt x="1012" y="502"/>
                </a:cubicBezTo>
                <a:cubicBezTo>
                  <a:pt x="1000" y="502"/>
                  <a:pt x="1000" y="502"/>
                  <a:pt x="1000" y="502"/>
                </a:cubicBezTo>
                <a:cubicBezTo>
                  <a:pt x="999" y="512"/>
                  <a:pt x="999" y="522"/>
                  <a:pt x="1012" y="518"/>
                </a:cubicBezTo>
                <a:close/>
                <a:moveTo>
                  <a:pt x="1040" y="514"/>
                </a:moveTo>
                <a:cubicBezTo>
                  <a:pt x="1041" y="503"/>
                  <a:pt x="1035" y="501"/>
                  <a:pt x="1024" y="502"/>
                </a:cubicBezTo>
                <a:cubicBezTo>
                  <a:pt x="1021" y="516"/>
                  <a:pt x="1033" y="522"/>
                  <a:pt x="1040" y="514"/>
                </a:cubicBezTo>
                <a:close/>
                <a:moveTo>
                  <a:pt x="508" y="534"/>
                </a:moveTo>
                <a:cubicBezTo>
                  <a:pt x="509" y="528"/>
                  <a:pt x="515" y="527"/>
                  <a:pt x="516" y="522"/>
                </a:cubicBezTo>
                <a:cubicBezTo>
                  <a:pt x="511" y="521"/>
                  <a:pt x="509" y="516"/>
                  <a:pt x="500" y="518"/>
                </a:cubicBezTo>
                <a:cubicBezTo>
                  <a:pt x="499" y="527"/>
                  <a:pt x="501" y="533"/>
                  <a:pt x="508" y="534"/>
                </a:cubicBezTo>
                <a:close/>
                <a:moveTo>
                  <a:pt x="524" y="518"/>
                </a:moveTo>
                <a:cubicBezTo>
                  <a:pt x="516" y="533"/>
                  <a:pt x="545" y="536"/>
                  <a:pt x="540" y="522"/>
                </a:cubicBezTo>
                <a:cubicBezTo>
                  <a:pt x="539" y="516"/>
                  <a:pt x="530" y="518"/>
                  <a:pt x="524" y="518"/>
                </a:cubicBezTo>
                <a:close/>
                <a:moveTo>
                  <a:pt x="12" y="526"/>
                </a:moveTo>
                <a:cubicBezTo>
                  <a:pt x="4" y="526"/>
                  <a:pt x="4" y="526"/>
                  <a:pt x="4" y="526"/>
                </a:cubicBezTo>
                <a:cubicBezTo>
                  <a:pt x="4" y="528"/>
                  <a:pt x="4" y="531"/>
                  <a:pt x="0" y="530"/>
                </a:cubicBezTo>
                <a:cubicBezTo>
                  <a:pt x="0" y="538"/>
                  <a:pt x="0" y="538"/>
                  <a:pt x="0" y="538"/>
                </a:cubicBezTo>
                <a:cubicBezTo>
                  <a:pt x="3" y="538"/>
                  <a:pt x="5" y="538"/>
                  <a:pt x="4" y="542"/>
                </a:cubicBezTo>
                <a:cubicBezTo>
                  <a:pt x="12" y="542"/>
                  <a:pt x="12" y="542"/>
                  <a:pt x="12" y="542"/>
                </a:cubicBezTo>
                <a:cubicBezTo>
                  <a:pt x="12" y="539"/>
                  <a:pt x="13" y="537"/>
                  <a:pt x="16" y="538"/>
                </a:cubicBezTo>
                <a:cubicBezTo>
                  <a:pt x="16" y="530"/>
                  <a:pt x="16" y="530"/>
                  <a:pt x="16" y="530"/>
                </a:cubicBezTo>
                <a:cubicBezTo>
                  <a:pt x="14" y="530"/>
                  <a:pt x="11" y="529"/>
                  <a:pt x="12" y="526"/>
                </a:cubicBezTo>
                <a:close/>
                <a:moveTo>
                  <a:pt x="28" y="526"/>
                </a:moveTo>
                <a:cubicBezTo>
                  <a:pt x="28" y="531"/>
                  <a:pt x="26" y="535"/>
                  <a:pt x="24" y="538"/>
                </a:cubicBezTo>
                <a:cubicBezTo>
                  <a:pt x="30" y="539"/>
                  <a:pt x="32" y="544"/>
                  <a:pt x="40" y="542"/>
                </a:cubicBezTo>
                <a:cubicBezTo>
                  <a:pt x="41" y="531"/>
                  <a:pt x="39" y="525"/>
                  <a:pt x="28" y="526"/>
                </a:cubicBezTo>
                <a:close/>
                <a:moveTo>
                  <a:pt x="1004" y="526"/>
                </a:moveTo>
                <a:cubicBezTo>
                  <a:pt x="1003" y="531"/>
                  <a:pt x="998" y="533"/>
                  <a:pt x="1000" y="542"/>
                </a:cubicBezTo>
                <a:cubicBezTo>
                  <a:pt x="1012" y="542"/>
                  <a:pt x="1012" y="542"/>
                  <a:pt x="1012" y="542"/>
                </a:cubicBezTo>
                <a:cubicBezTo>
                  <a:pt x="1011" y="535"/>
                  <a:pt x="1016" y="522"/>
                  <a:pt x="1004" y="526"/>
                </a:cubicBezTo>
                <a:close/>
                <a:moveTo>
                  <a:pt x="1028" y="526"/>
                </a:moveTo>
                <a:cubicBezTo>
                  <a:pt x="1027" y="531"/>
                  <a:pt x="1022" y="533"/>
                  <a:pt x="1024" y="542"/>
                </a:cubicBezTo>
                <a:cubicBezTo>
                  <a:pt x="1035" y="543"/>
                  <a:pt x="1041" y="540"/>
                  <a:pt x="1040" y="530"/>
                </a:cubicBezTo>
                <a:cubicBezTo>
                  <a:pt x="1035" y="530"/>
                  <a:pt x="1035" y="525"/>
                  <a:pt x="1028" y="526"/>
                </a:cubicBezTo>
                <a:close/>
                <a:moveTo>
                  <a:pt x="500" y="542"/>
                </a:moveTo>
                <a:cubicBezTo>
                  <a:pt x="497" y="556"/>
                  <a:pt x="509" y="562"/>
                  <a:pt x="516" y="554"/>
                </a:cubicBezTo>
                <a:cubicBezTo>
                  <a:pt x="517" y="543"/>
                  <a:pt x="511" y="541"/>
                  <a:pt x="500" y="542"/>
                </a:cubicBezTo>
                <a:close/>
                <a:moveTo>
                  <a:pt x="1028" y="438"/>
                </a:moveTo>
                <a:cubicBezTo>
                  <a:pt x="1028" y="377"/>
                  <a:pt x="1031" y="316"/>
                  <a:pt x="1032" y="254"/>
                </a:cubicBezTo>
                <a:cubicBezTo>
                  <a:pt x="1015" y="255"/>
                  <a:pt x="1024" y="230"/>
                  <a:pt x="1016" y="222"/>
                </a:cubicBezTo>
                <a:cubicBezTo>
                  <a:pt x="954" y="216"/>
                  <a:pt x="889" y="213"/>
                  <a:pt x="836" y="198"/>
                </a:cubicBezTo>
                <a:cubicBezTo>
                  <a:pt x="849" y="151"/>
                  <a:pt x="860" y="97"/>
                  <a:pt x="872" y="54"/>
                </a:cubicBezTo>
                <a:cubicBezTo>
                  <a:pt x="877" y="38"/>
                  <a:pt x="879" y="19"/>
                  <a:pt x="892" y="10"/>
                </a:cubicBezTo>
                <a:cubicBezTo>
                  <a:pt x="901" y="13"/>
                  <a:pt x="882" y="37"/>
                  <a:pt x="904" y="34"/>
                </a:cubicBezTo>
                <a:cubicBezTo>
                  <a:pt x="913" y="19"/>
                  <a:pt x="902" y="8"/>
                  <a:pt x="892" y="6"/>
                </a:cubicBezTo>
                <a:cubicBezTo>
                  <a:pt x="868" y="0"/>
                  <a:pt x="833" y="71"/>
                  <a:pt x="816" y="98"/>
                </a:cubicBezTo>
                <a:cubicBezTo>
                  <a:pt x="788" y="143"/>
                  <a:pt x="771" y="179"/>
                  <a:pt x="752" y="202"/>
                </a:cubicBezTo>
                <a:cubicBezTo>
                  <a:pt x="284" y="202"/>
                  <a:pt x="284" y="202"/>
                  <a:pt x="284" y="202"/>
                </a:cubicBezTo>
                <a:cubicBezTo>
                  <a:pt x="266" y="160"/>
                  <a:pt x="226" y="119"/>
                  <a:pt x="216" y="82"/>
                </a:cubicBezTo>
                <a:cubicBezTo>
                  <a:pt x="223" y="82"/>
                  <a:pt x="214" y="81"/>
                  <a:pt x="208" y="78"/>
                </a:cubicBezTo>
                <a:cubicBezTo>
                  <a:pt x="203" y="75"/>
                  <a:pt x="191" y="52"/>
                  <a:pt x="184" y="42"/>
                </a:cubicBezTo>
                <a:cubicBezTo>
                  <a:pt x="174" y="26"/>
                  <a:pt x="174" y="7"/>
                  <a:pt x="156" y="6"/>
                </a:cubicBezTo>
                <a:cubicBezTo>
                  <a:pt x="133" y="4"/>
                  <a:pt x="129" y="24"/>
                  <a:pt x="136" y="34"/>
                </a:cubicBezTo>
                <a:cubicBezTo>
                  <a:pt x="161" y="37"/>
                  <a:pt x="133" y="8"/>
                  <a:pt x="152" y="10"/>
                </a:cubicBezTo>
                <a:cubicBezTo>
                  <a:pt x="159" y="28"/>
                  <a:pt x="198" y="160"/>
                  <a:pt x="204" y="202"/>
                </a:cubicBezTo>
                <a:cubicBezTo>
                  <a:pt x="142" y="208"/>
                  <a:pt x="85" y="219"/>
                  <a:pt x="20" y="222"/>
                </a:cubicBezTo>
                <a:cubicBezTo>
                  <a:pt x="11" y="266"/>
                  <a:pt x="8" y="284"/>
                  <a:pt x="8" y="318"/>
                </a:cubicBezTo>
                <a:cubicBezTo>
                  <a:pt x="8" y="363"/>
                  <a:pt x="12" y="404"/>
                  <a:pt x="12" y="442"/>
                </a:cubicBezTo>
                <a:cubicBezTo>
                  <a:pt x="12" y="461"/>
                  <a:pt x="1" y="487"/>
                  <a:pt x="24" y="498"/>
                </a:cubicBezTo>
                <a:cubicBezTo>
                  <a:pt x="38" y="427"/>
                  <a:pt x="37" y="305"/>
                  <a:pt x="24" y="234"/>
                </a:cubicBezTo>
                <a:cubicBezTo>
                  <a:pt x="91" y="253"/>
                  <a:pt x="160" y="268"/>
                  <a:pt x="228" y="286"/>
                </a:cubicBezTo>
                <a:cubicBezTo>
                  <a:pt x="237" y="323"/>
                  <a:pt x="256" y="370"/>
                  <a:pt x="256" y="402"/>
                </a:cubicBezTo>
                <a:cubicBezTo>
                  <a:pt x="260" y="406"/>
                  <a:pt x="260" y="406"/>
                  <a:pt x="260" y="406"/>
                </a:cubicBezTo>
                <a:cubicBezTo>
                  <a:pt x="298" y="545"/>
                  <a:pt x="335" y="679"/>
                  <a:pt x="372" y="818"/>
                </a:cubicBezTo>
                <a:cubicBezTo>
                  <a:pt x="384" y="863"/>
                  <a:pt x="407" y="916"/>
                  <a:pt x="408" y="958"/>
                </a:cubicBezTo>
                <a:cubicBezTo>
                  <a:pt x="409" y="996"/>
                  <a:pt x="392" y="1044"/>
                  <a:pt x="384" y="1090"/>
                </a:cubicBezTo>
                <a:cubicBezTo>
                  <a:pt x="327" y="1407"/>
                  <a:pt x="279" y="1724"/>
                  <a:pt x="224" y="2030"/>
                </a:cubicBezTo>
                <a:cubicBezTo>
                  <a:pt x="211" y="2034"/>
                  <a:pt x="179" y="2020"/>
                  <a:pt x="184" y="2042"/>
                </a:cubicBezTo>
                <a:cubicBezTo>
                  <a:pt x="184" y="2058"/>
                  <a:pt x="212" y="2046"/>
                  <a:pt x="224" y="2050"/>
                </a:cubicBezTo>
                <a:cubicBezTo>
                  <a:pt x="238" y="2046"/>
                  <a:pt x="269" y="2060"/>
                  <a:pt x="264" y="2038"/>
                </a:cubicBezTo>
                <a:cubicBezTo>
                  <a:pt x="269" y="2020"/>
                  <a:pt x="237" y="2038"/>
                  <a:pt x="236" y="2026"/>
                </a:cubicBezTo>
                <a:cubicBezTo>
                  <a:pt x="318" y="1834"/>
                  <a:pt x="404" y="1632"/>
                  <a:pt x="484" y="1442"/>
                </a:cubicBezTo>
                <a:cubicBezTo>
                  <a:pt x="496" y="1414"/>
                  <a:pt x="503" y="1384"/>
                  <a:pt x="524" y="1362"/>
                </a:cubicBezTo>
                <a:cubicBezTo>
                  <a:pt x="614" y="1588"/>
                  <a:pt x="712" y="1806"/>
                  <a:pt x="804" y="2030"/>
                </a:cubicBezTo>
                <a:cubicBezTo>
                  <a:pt x="791" y="2031"/>
                  <a:pt x="769" y="2025"/>
                  <a:pt x="772" y="2042"/>
                </a:cubicBezTo>
                <a:cubicBezTo>
                  <a:pt x="774" y="2056"/>
                  <a:pt x="798" y="2048"/>
                  <a:pt x="812" y="2050"/>
                </a:cubicBezTo>
                <a:cubicBezTo>
                  <a:pt x="820" y="2050"/>
                  <a:pt x="820" y="2050"/>
                  <a:pt x="820" y="2050"/>
                </a:cubicBezTo>
                <a:cubicBezTo>
                  <a:pt x="831" y="2046"/>
                  <a:pt x="858" y="2058"/>
                  <a:pt x="856" y="2042"/>
                </a:cubicBezTo>
                <a:cubicBezTo>
                  <a:pt x="860" y="2019"/>
                  <a:pt x="823" y="2038"/>
                  <a:pt x="816" y="2026"/>
                </a:cubicBezTo>
                <a:cubicBezTo>
                  <a:pt x="763" y="1729"/>
                  <a:pt x="709" y="1397"/>
                  <a:pt x="656" y="1094"/>
                </a:cubicBezTo>
                <a:cubicBezTo>
                  <a:pt x="648" y="1047"/>
                  <a:pt x="631" y="997"/>
                  <a:pt x="632" y="958"/>
                </a:cubicBezTo>
                <a:cubicBezTo>
                  <a:pt x="633" y="932"/>
                  <a:pt x="645" y="904"/>
                  <a:pt x="652" y="878"/>
                </a:cubicBezTo>
                <a:cubicBezTo>
                  <a:pt x="674" y="795"/>
                  <a:pt x="695" y="712"/>
                  <a:pt x="720" y="634"/>
                </a:cubicBezTo>
                <a:cubicBezTo>
                  <a:pt x="729" y="633"/>
                  <a:pt x="737" y="569"/>
                  <a:pt x="744" y="542"/>
                </a:cubicBezTo>
                <a:cubicBezTo>
                  <a:pt x="768" y="451"/>
                  <a:pt x="792" y="349"/>
                  <a:pt x="812" y="286"/>
                </a:cubicBezTo>
                <a:cubicBezTo>
                  <a:pt x="878" y="271"/>
                  <a:pt x="956" y="246"/>
                  <a:pt x="1016" y="238"/>
                </a:cubicBezTo>
                <a:cubicBezTo>
                  <a:pt x="1021" y="254"/>
                  <a:pt x="1003" y="246"/>
                  <a:pt x="1008" y="262"/>
                </a:cubicBezTo>
                <a:cubicBezTo>
                  <a:pt x="1008" y="386"/>
                  <a:pt x="1008" y="386"/>
                  <a:pt x="1008" y="386"/>
                </a:cubicBezTo>
                <a:cubicBezTo>
                  <a:pt x="1008" y="428"/>
                  <a:pt x="1000" y="472"/>
                  <a:pt x="1020" y="498"/>
                </a:cubicBezTo>
                <a:cubicBezTo>
                  <a:pt x="1038" y="481"/>
                  <a:pt x="1028" y="458"/>
                  <a:pt x="1028" y="438"/>
                </a:cubicBezTo>
                <a:close/>
                <a:moveTo>
                  <a:pt x="860" y="50"/>
                </a:moveTo>
                <a:cubicBezTo>
                  <a:pt x="865" y="67"/>
                  <a:pt x="855" y="103"/>
                  <a:pt x="828" y="102"/>
                </a:cubicBezTo>
                <a:cubicBezTo>
                  <a:pt x="839" y="84"/>
                  <a:pt x="850" y="68"/>
                  <a:pt x="860" y="50"/>
                </a:cubicBezTo>
                <a:close/>
                <a:moveTo>
                  <a:pt x="844" y="102"/>
                </a:moveTo>
                <a:cubicBezTo>
                  <a:pt x="855" y="106"/>
                  <a:pt x="843" y="119"/>
                  <a:pt x="844" y="126"/>
                </a:cubicBezTo>
                <a:cubicBezTo>
                  <a:pt x="834" y="126"/>
                  <a:pt x="832" y="120"/>
                  <a:pt x="824" y="118"/>
                </a:cubicBezTo>
                <a:cubicBezTo>
                  <a:pt x="825" y="107"/>
                  <a:pt x="841" y="111"/>
                  <a:pt x="844" y="102"/>
                </a:cubicBezTo>
                <a:close/>
                <a:moveTo>
                  <a:pt x="816" y="122"/>
                </a:moveTo>
                <a:cubicBezTo>
                  <a:pt x="824" y="126"/>
                  <a:pt x="832" y="130"/>
                  <a:pt x="840" y="134"/>
                </a:cubicBezTo>
                <a:cubicBezTo>
                  <a:pt x="831" y="149"/>
                  <a:pt x="807" y="149"/>
                  <a:pt x="796" y="162"/>
                </a:cubicBezTo>
                <a:cubicBezTo>
                  <a:pt x="789" y="150"/>
                  <a:pt x="812" y="135"/>
                  <a:pt x="816" y="122"/>
                </a:cubicBezTo>
                <a:close/>
                <a:moveTo>
                  <a:pt x="836" y="150"/>
                </a:moveTo>
                <a:cubicBezTo>
                  <a:pt x="834" y="167"/>
                  <a:pt x="829" y="183"/>
                  <a:pt x="824" y="198"/>
                </a:cubicBezTo>
                <a:cubicBezTo>
                  <a:pt x="812" y="190"/>
                  <a:pt x="801" y="181"/>
                  <a:pt x="784" y="178"/>
                </a:cubicBezTo>
                <a:cubicBezTo>
                  <a:pt x="797" y="164"/>
                  <a:pt x="817" y="157"/>
                  <a:pt x="836" y="150"/>
                </a:cubicBezTo>
                <a:close/>
                <a:moveTo>
                  <a:pt x="776" y="182"/>
                </a:moveTo>
                <a:cubicBezTo>
                  <a:pt x="791" y="184"/>
                  <a:pt x="800" y="193"/>
                  <a:pt x="812" y="198"/>
                </a:cubicBezTo>
                <a:cubicBezTo>
                  <a:pt x="805" y="207"/>
                  <a:pt x="782" y="199"/>
                  <a:pt x="768" y="202"/>
                </a:cubicBezTo>
                <a:cubicBezTo>
                  <a:pt x="765" y="190"/>
                  <a:pt x="779" y="194"/>
                  <a:pt x="776" y="182"/>
                </a:cubicBezTo>
                <a:close/>
                <a:moveTo>
                  <a:pt x="796" y="274"/>
                </a:moveTo>
                <a:cubicBezTo>
                  <a:pt x="779" y="283"/>
                  <a:pt x="744" y="275"/>
                  <a:pt x="720" y="278"/>
                </a:cubicBezTo>
                <a:cubicBezTo>
                  <a:pt x="727" y="254"/>
                  <a:pt x="746" y="242"/>
                  <a:pt x="752" y="218"/>
                </a:cubicBezTo>
                <a:cubicBezTo>
                  <a:pt x="777" y="226"/>
                  <a:pt x="778" y="259"/>
                  <a:pt x="796" y="274"/>
                </a:cubicBezTo>
                <a:close/>
                <a:moveTo>
                  <a:pt x="740" y="210"/>
                </a:moveTo>
                <a:cubicBezTo>
                  <a:pt x="744" y="227"/>
                  <a:pt x="723" y="254"/>
                  <a:pt x="708" y="266"/>
                </a:cubicBezTo>
                <a:cubicBezTo>
                  <a:pt x="708" y="244"/>
                  <a:pt x="698" y="233"/>
                  <a:pt x="696" y="214"/>
                </a:cubicBezTo>
                <a:cubicBezTo>
                  <a:pt x="710" y="211"/>
                  <a:pt x="733" y="219"/>
                  <a:pt x="740" y="210"/>
                </a:cubicBezTo>
                <a:close/>
                <a:moveTo>
                  <a:pt x="704" y="278"/>
                </a:moveTo>
                <a:cubicBezTo>
                  <a:pt x="652" y="278"/>
                  <a:pt x="652" y="278"/>
                  <a:pt x="652" y="278"/>
                </a:cubicBezTo>
                <a:cubicBezTo>
                  <a:pt x="662" y="258"/>
                  <a:pt x="675" y="242"/>
                  <a:pt x="684" y="222"/>
                </a:cubicBezTo>
                <a:cubicBezTo>
                  <a:pt x="700" y="231"/>
                  <a:pt x="700" y="257"/>
                  <a:pt x="704" y="278"/>
                </a:cubicBezTo>
                <a:close/>
                <a:moveTo>
                  <a:pt x="524" y="502"/>
                </a:moveTo>
                <a:cubicBezTo>
                  <a:pt x="511" y="501"/>
                  <a:pt x="507" y="493"/>
                  <a:pt x="508" y="478"/>
                </a:cubicBezTo>
                <a:cubicBezTo>
                  <a:pt x="459" y="421"/>
                  <a:pt x="412" y="363"/>
                  <a:pt x="364" y="306"/>
                </a:cubicBezTo>
                <a:cubicBezTo>
                  <a:pt x="357" y="298"/>
                  <a:pt x="338" y="303"/>
                  <a:pt x="340" y="286"/>
                </a:cubicBezTo>
                <a:cubicBezTo>
                  <a:pt x="700" y="286"/>
                  <a:pt x="700" y="286"/>
                  <a:pt x="700" y="286"/>
                </a:cubicBezTo>
                <a:cubicBezTo>
                  <a:pt x="700" y="299"/>
                  <a:pt x="691" y="303"/>
                  <a:pt x="676" y="302"/>
                </a:cubicBezTo>
                <a:cubicBezTo>
                  <a:pt x="630" y="361"/>
                  <a:pt x="584" y="420"/>
                  <a:pt x="532" y="474"/>
                </a:cubicBezTo>
                <a:cubicBezTo>
                  <a:pt x="527" y="482"/>
                  <a:pt x="536" y="494"/>
                  <a:pt x="524" y="502"/>
                </a:cubicBezTo>
                <a:close/>
                <a:moveTo>
                  <a:pt x="676" y="210"/>
                </a:moveTo>
                <a:cubicBezTo>
                  <a:pt x="683" y="230"/>
                  <a:pt x="656" y="251"/>
                  <a:pt x="648" y="270"/>
                </a:cubicBezTo>
                <a:cubicBezTo>
                  <a:pt x="634" y="255"/>
                  <a:pt x="629" y="231"/>
                  <a:pt x="612" y="218"/>
                </a:cubicBezTo>
                <a:cubicBezTo>
                  <a:pt x="624" y="206"/>
                  <a:pt x="664" y="222"/>
                  <a:pt x="676" y="210"/>
                </a:cubicBezTo>
                <a:close/>
                <a:moveTo>
                  <a:pt x="640" y="278"/>
                </a:moveTo>
                <a:cubicBezTo>
                  <a:pt x="572" y="278"/>
                  <a:pt x="572" y="278"/>
                  <a:pt x="572" y="278"/>
                </a:cubicBezTo>
                <a:cubicBezTo>
                  <a:pt x="579" y="254"/>
                  <a:pt x="596" y="240"/>
                  <a:pt x="604" y="218"/>
                </a:cubicBezTo>
                <a:cubicBezTo>
                  <a:pt x="619" y="235"/>
                  <a:pt x="631" y="255"/>
                  <a:pt x="640" y="278"/>
                </a:cubicBezTo>
                <a:close/>
                <a:moveTo>
                  <a:pt x="600" y="214"/>
                </a:moveTo>
                <a:cubicBezTo>
                  <a:pt x="585" y="231"/>
                  <a:pt x="581" y="259"/>
                  <a:pt x="560" y="270"/>
                </a:cubicBezTo>
                <a:cubicBezTo>
                  <a:pt x="550" y="252"/>
                  <a:pt x="541" y="233"/>
                  <a:pt x="528" y="218"/>
                </a:cubicBezTo>
                <a:cubicBezTo>
                  <a:pt x="544" y="209"/>
                  <a:pt x="577" y="216"/>
                  <a:pt x="600" y="214"/>
                </a:cubicBezTo>
                <a:close/>
                <a:moveTo>
                  <a:pt x="556" y="278"/>
                </a:moveTo>
                <a:cubicBezTo>
                  <a:pt x="484" y="278"/>
                  <a:pt x="484" y="278"/>
                  <a:pt x="484" y="278"/>
                </a:cubicBezTo>
                <a:cubicBezTo>
                  <a:pt x="492" y="255"/>
                  <a:pt x="508" y="241"/>
                  <a:pt x="516" y="218"/>
                </a:cubicBezTo>
                <a:cubicBezTo>
                  <a:pt x="535" y="232"/>
                  <a:pt x="545" y="256"/>
                  <a:pt x="556" y="278"/>
                </a:cubicBezTo>
                <a:close/>
                <a:moveTo>
                  <a:pt x="512" y="214"/>
                </a:moveTo>
                <a:cubicBezTo>
                  <a:pt x="503" y="234"/>
                  <a:pt x="487" y="248"/>
                  <a:pt x="480" y="270"/>
                </a:cubicBezTo>
                <a:cubicBezTo>
                  <a:pt x="460" y="260"/>
                  <a:pt x="457" y="232"/>
                  <a:pt x="440" y="218"/>
                </a:cubicBezTo>
                <a:cubicBezTo>
                  <a:pt x="456" y="209"/>
                  <a:pt x="489" y="216"/>
                  <a:pt x="512" y="214"/>
                </a:cubicBezTo>
                <a:close/>
                <a:moveTo>
                  <a:pt x="468" y="278"/>
                </a:moveTo>
                <a:cubicBezTo>
                  <a:pt x="400" y="278"/>
                  <a:pt x="400" y="278"/>
                  <a:pt x="400" y="278"/>
                </a:cubicBezTo>
                <a:cubicBezTo>
                  <a:pt x="406" y="253"/>
                  <a:pt x="423" y="239"/>
                  <a:pt x="432" y="218"/>
                </a:cubicBezTo>
                <a:cubicBezTo>
                  <a:pt x="446" y="236"/>
                  <a:pt x="458" y="256"/>
                  <a:pt x="468" y="278"/>
                </a:cubicBezTo>
                <a:close/>
                <a:moveTo>
                  <a:pt x="424" y="214"/>
                </a:moveTo>
                <a:cubicBezTo>
                  <a:pt x="415" y="235"/>
                  <a:pt x="406" y="257"/>
                  <a:pt x="388" y="270"/>
                </a:cubicBezTo>
                <a:cubicBezTo>
                  <a:pt x="384" y="245"/>
                  <a:pt x="362" y="237"/>
                  <a:pt x="360" y="210"/>
                </a:cubicBezTo>
                <a:cubicBezTo>
                  <a:pt x="375" y="218"/>
                  <a:pt x="403" y="212"/>
                  <a:pt x="424" y="214"/>
                </a:cubicBezTo>
                <a:close/>
                <a:moveTo>
                  <a:pt x="384" y="278"/>
                </a:moveTo>
                <a:cubicBezTo>
                  <a:pt x="336" y="278"/>
                  <a:pt x="336" y="278"/>
                  <a:pt x="336" y="278"/>
                </a:cubicBezTo>
                <a:cubicBezTo>
                  <a:pt x="336" y="255"/>
                  <a:pt x="347" y="243"/>
                  <a:pt x="348" y="222"/>
                </a:cubicBezTo>
                <a:cubicBezTo>
                  <a:pt x="367" y="234"/>
                  <a:pt x="375" y="256"/>
                  <a:pt x="384" y="278"/>
                </a:cubicBezTo>
                <a:close/>
                <a:moveTo>
                  <a:pt x="344" y="214"/>
                </a:moveTo>
                <a:cubicBezTo>
                  <a:pt x="342" y="233"/>
                  <a:pt x="332" y="244"/>
                  <a:pt x="332" y="266"/>
                </a:cubicBezTo>
                <a:cubicBezTo>
                  <a:pt x="314" y="253"/>
                  <a:pt x="304" y="233"/>
                  <a:pt x="296" y="210"/>
                </a:cubicBezTo>
                <a:cubicBezTo>
                  <a:pt x="306" y="218"/>
                  <a:pt x="328" y="212"/>
                  <a:pt x="344" y="214"/>
                </a:cubicBezTo>
                <a:close/>
                <a:moveTo>
                  <a:pt x="320" y="278"/>
                </a:moveTo>
                <a:cubicBezTo>
                  <a:pt x="244" y="278"/>
                  <a:pt x="244" y="278"/>
                  <a:pt x="244" y="278"/>
                </a:cubicBezTo>
                <a:cubicBezTo>
                  <a:pt x="256" y="257"/>
                  <a:pt x="268" y="237"/>
                  <a:pt x="280" y="218"/>
                </a:cubicBezTo>
                <a:cubicBezTo>
                  <a:pt x="298" y="233"/>
                  <a:pt x="309" y="256"/>
                  <a:pt x="320" y="278"/>
                </a:cubicBezTo>
                <a:close/>
                <a:moveTo>
                  <a:pt x="256" y="182"/>
                </a:moveTo>
                <a:cubicBezTo>
                  <a:pt x="267" y="183"/>
                  <a:pt x="270" y="192"/>
                  <a:pt x="272" y="202"/>
                </a:cubicBezTo>
                <a:cubicBezTo>
                  <a:pt x="228" y="202"/>
                  <a:pt x="228" y="202"/>
                  <a:pt x="228" y="202"/>
                </a:cubicBezTo>
                <a:cubicBezTo>
                  <a:pt x="232" y="190"/>
                  <a:pt x="250" y="192"/>
                  <a:pt x="256" y="182"/>
                </a:cubicBezTo>
                <a:close/>
                <a:moveTo>
                  <a:pt x="220" y="198"/>
                </a:moveTo>
                <a:cubicBezTo>
                  <a:pt x="209" y="188"/>
                  <a:pt x="207" y="169"/>
                  <a:pt x="204" y="150"/>
                </a:cubicBezTo>
                <a:cubicBezTo>
                  <a:pt x="223" y="153"/>
                  <a:pt x="233" y="166"/>
                  <a:pt x="252" y="170"/>
                </a:cubicBezTo>
                <a:cubicBezTo>
                  <a:pt x="252" y="189"/>
                  <a:pt x="225" y="182"/>
                  <a:pt x="220" y="198"/>
                </a:cubicBezTo>
                <a:close/>
                <a:moveTo>
                  <a:pt x="176" y="50"/>
                </a:moveTo>
                <a:cubicBezTo>
                  <a:pt x="187" y="54"/>
                  <a:pt x="187" y="68"/>
                  <a:pt x="196" y="74"/>
                </a:cubicBezTo>
                <a:cubicBezTo>
                  <a:pt x="184" y="87"/>
                  <a:pt x="176" y="63"/>
                  <a:pt x="176" y="50"/>
                </a:cubicBezTo>
                <a:close/>
                <a:moveTo>
                  <a:pt x="184" y="82"/>
                </a:moveTo>
                <a:cubicBezTo>
                  <a:pt x="205" y="76"/>
                  <a:pt x="201" y="94"/>
                  <a:pt x="212" y="98"/>
                </a:cubicBezTo>
                <a:cubicBezTo>
                  <a:pt x="206" y="105"/>
                  <a:pt x="184" y="94"/>
                  <a:pt x="184" y="82"/>
                </a:cubicBezTo>
                <a:close/>
                <a:moveTo>
                  <a:pt x="192" y="102"/>
                </a:moveTo>
                <a:cubicBezTo>
                  <a:pt x="203" y="103"/>
                  <a:pt x="204" y="114"/>
                  <a:pt x="216" y="114"/>
                </a:cubicBezTo>
                <a:cubicBezTo>
                  <a:pt x="213" y="122"/>
                  <a:pt x="205" y="125"/>
                  <a:pt x="196" y="126"/>
                </a:cubicBezTo>
                <a:cubicBezTo>
                  <a:pt x="196" y="116"/>
                  <a:pt x="189" y="114"/>
                  <a:pt x="192" y="102"/>
                </a:cubicBezTo>
                <a:close/>
                <a:moveTo>
                  <a:pt x="200" y="138"/>
                </a:moveTo>
                <a:cubicBezTo>
                  <a:pt x="201" y="127"/>
                  <a:pt x="217" y="131"/>
                  <a:pt x="220" y="122"/>
                </a:cubicBezTo>
                <a:cubicBezTo>
                  <a:pt x="235" y="128"/>
                  <a:pt x="236" y="149"/>
                  <a:pt x="248" y="158"/>
                </a:cubicBezTo>
                <a:cubicBezTo>
                  <a:pt x="237" y="162"/>
                  <a:pt x="215" y="143"/>
                  <a:pt x="200" y="138"/>
                </a:cubicBezTo>
                <a:close/>
                <a:moveTo>
                  <a:pt x="56" y="234"/>
                </a:moveTo>
                <a:cubicBezTo>
                  <a:pt x="65" y="227"/>
                  <a:pt x="80" y="225"/>
                  <a:pt x="96" y="226"/>
                </a:cubicBezTo>
                <a:cubicBezTo>
                  <a:pt x="92" y="243"/>
                  <a:pt x="71" y="237"/>
                  <a:pt x="56" y="234"/>
                </a:cubicBezTo>
                <a:close/>
                <a:moveTo>
                  <a:pt x="100" y="230"/>
                </a:moveTo>
                <a:cubicBezTo>
                  <a:pt x="109" y="229"/>
                  <a:pt x="105" y="241"/>
                  <a:pt x="112" y="242"/>
                </a:cubicBezTo>
                <a:cubicBezTo>
                  <a:pt x="106" y="255"/>
                  <a:pt x="88" y="237"/>
                  <a:pt x="100" y="230"/>
                </a:cubicBezTo>
                <a:close/>
                <a:moveTo>
                  <a:pt x="108" y="222"/>
                </a:moveTo>
                <a:cubicBezTo>
                  <a:pt x="136" y="222"/>
                  <a:pt x="136" y="222"/>
                  <a:pt x="136" y="222"/>
                </a:cubicBezTo>
                <a:cubicBezTo>
                  <a:pt x="135" y="232"/>
                  <a:pt x="124" y="234"/>
                  <a:pt x="124" y="246"/>
                </a:cubicBezTo>
                <a:cubicBezTo>
                  <a:pt x="116" y="241"/>
                  <a:pt x="111" y="233"/>
                  <a:pt x="108" y="222"/>
                </a:cubicBezTo>
                <a:close/>
                <a:moveTo>
                  <a:pt x="128" y="250"/>
                </a:moveTo>
                <a:cubicBezTo>
                  <a:pt x="134" y="241"/>
                  <a:pt x="140" y="232"/>
                  <a:pt x="144" y="222"/>
                </a:cubicBezTo>
                <a:cubicBezTo>
                  <a:pt x="156" y="228"/>
                  <a:pt x="157" y="247"/>
                  <a:pt x="168" y="254"/>
                </a:cubicBezTo>
                <a:cubicBezTo>
                  <a:pt x="158" y="265"/>
                  <a:pt x="141" y="249"/>
                  <a:pt x="128" y="250"/>
                </a:cubicBezTo>
                <a:close/>
                <a:moveTo>
                  <a:pt x="156" y="218"/>
                </a:moveTo>
                <a:cubicBezTo>
                  <a:pt x="173" y="218"/>
                  <a:pt x="184" y="211"/>
                  <a:pt x="204" y="214"/>
                </a:cubicBezTo>
                <a:cubicBezTo>
                  <a:pt x="196" y="229"/>
                  <a:pt x="185" y="240"/>
                  <a:pt x="180" y="258"/>
                </a:cubicBezTo>
                <a:cubicBezTo>
                  <a:pt x="168" y="248"/>
                  <a:pt x="161" y="235"/>
                  <a:pt x="156" y="218"/>
                </a:cubicBezTo>
                <a:close/>
                <a:moveTo>
                  <a:pt x="184" y="266"/>
                </a:moveTo>
                <a:cubicBezTo>
                  <a:pt x="191" y="248"/>
                  <a:pt x="197" y="230"/>
                  <a:pt x="212" y="222"/>
                </a:cubicBezTo>
                <a:cubicBezTo>
                  <a:pt x="214" y="242"/>
                  <a:pt x="223" y="253"/>
                  <a:pt x="224" y="274"/>
                </a:cubicBezTo>
                <a:cubicBezTo>
                  <a:pt x="211" y="271"/>
                  <a:pt x="199" y="267"/>
                  <a:pt x="184" y="266"/>
                </a:cubicBezTo>
                <a:close/>
                <a:moveTo>
                  <a:pt x="220" y="214"/>
                </a:moveTo>
                <a:cubicBezTo>
                  <a:pt x="235" y="211"/>
                  <a:pt x="260" y="219"/>
                  <a:pt x="268" y="210"/>
                </a:cubicBezTo>
                <a:cubicBezTo>
                  <a:pt x="274" y="231"/>
                  <a:pt x="244" y="249"/>
                  <a:pt x="240" y="274"/>
                </a:cubicBezTo>
                <a:cubicBezTo>
                  <a:pt x="226" y="262"/>
                  <a:pt x="228" y="233"/>
                  <a:pt x="220" y="214"/>
                </a:cubicBezTo>
                <a:close/>
                <a:moveTo>
                  <a:pt x="240" y="290"/>
                </a:moveTo>
                <a:cubicBezTo>
                  <a:pt x="256" y="281"/>
                  <a:pt x="286" y="288"/>
                  <a:pt x="308" y="286"/>
                </a:cubicBezTo>
                <a:cubicBezTo>
                  <a:pt x="294" y="304"/>
                  <a:pt x="271" y="313"/>
                  <a:pt x="248" y="322"/>
                </a:cubicBezTo>
                <a:cubicBezTo>
                  <a:pt x="246" y="311"/>
                  <a:pt x="242" y="301"/>
                  <a:pt x="240" y="290"/>
                </a:cubicBezTo>
                <a:close/>
                <a:moveTo>
                  <a:pt x="252" y="334"/>
                </a:moveTo>
                <a:cubicBezTo>
                  <a:pt x="269" y="316"/>
                  <a:pt x="297" y="309"/>
                  <a:pt x="316" y="294"/>
                </a:cubicBezTo>
                <a:cubicBezTo>
                  <a:pt x="332" y="303"/>
                  <a:pt x="316" y="346"/>
                  <a:pt x="316" y="366"/>
                </a:cubicBezTo>
                <a:cubicBezTo>
                  <a:pt x="294" y="356"/>
                  <a:pt x="274" y="344"/>
                  <a:pt x="252" y="334"/>
                </a:cubicBezTo>
                <a:close/>
                <a:moveTo>
                  <a:pt x="284" y="402"/>
                </a:moveTo>
                <a:cubicBezTo>
                  <a:pt x="288" y="390"/>
                  <a:pt x="306" y="392"/>
                  <a:pt x="312" y="382"/>
                </a:cubicBezTo>
                <a:cubicBezTo>
                  <a:pt x="318" y="383"/>
                  <a:pt x="315" y="392"/>
                  <a:pt x="316" y="398"/>
                </a:cubicBezTo>
                <a:cubicBezTo>
                  <a:pt x="310" y="404"/>
                  <a:pt x="296" y="401"/>
                  <a:pt x="284" y="402"/>
                </a:cubicBezTo>
                <a:close/>
                <a:moveTo>
                  <a:pt x="312" y="406"/>
                </a:moveTo>
                <a:cubicBezTo>
                  <a:pt x="312" y="426"/>
                  <a:pt x="312" y="426"/>
                  <a:pt x="312" y="426"/>
                </a:cubicBezTo>
                <a:cubicBezTo>
                  <a:pt x="300" y="421"/>
                  <a:pt x="291" y="412"/>
                  <a:pt x="276" y="410"/>
                </a:cubicBezTo>
                <a:cubicBezTo>
                  <a:pt x="280" y="401"/>
                  <a:pt x="301" y="408"/>
                  <a:pt x="312" y="406"/>
                </a:cubicBezTo>
                <a:close/>
                <a:moveTo>
                  <a:pt x="256" y="342"/>
                </a:moveTo>
                <a:cubicBezTo>
                  <a:pt x="273" y="353"/>
                  <a:pt x="291" y="363"/>
                  <a:pt x="312" y="370"/>
                </a:cubicBezTo>
                <a:cubicBezTo>
                  <a:pt x="304" y="386"/>
                  <a:pt x="283" y="389"/>
                  <a:pt x="268" y="398"/>
                </a:cubicBezTo>
                <a:cubicBezTo>
                  <a:pt x="267" y="377"/>
                  <a:pt x="256" y="365"/>
                  <a:pt x="256" y="342"/>
                </a:cubicBezTo>
                <a:close/>
                <a:moveTo>
                  <a:pt x="280" y="446"/>
                </a:moveTo>
                <a:cubicBezTo>
                  <a:pt x="283" y="432"/>
                  <a:pt x="274" y="430"/>
                  <a:pt x="276" y="418"/>
                </a:cubicBezTo>
                <a:cubicBezTo>
                  <a:pt x="288" y="422"/>
                  <a:pt x="303" y="423"/>
                  <a:pt x="304" y="438"/>
                </a:cubicBezTo>
                <a:cubicBezTo>
                  <a:pt x="292" y="437"/>
                  <a:pt x="292" y="447"/>
                  <a:pt x="280" y="446"/>
                </a:cubicBezTo>
                <a:close/>
                <a:moveTo>
                  <a:pt x="304" y="518"/>
                </a:moveTo>
                <a:cubicBezTo>
                  <a:pt x="293" y="501"/>
                  <a:pt x="291" y="475"/>
                  <a:pt x="284" y="454"/>
                </a:cubicBezTo>
                <a:cubicBezTo>
                  <a:pt x="322" y="420"/>
                  <a:pt x="303" y="488"/>
                  <a:pt x="304" y="518"/>
                </a:cubicBezTo>
                <a:close/>
                <a:moveTo>
                  <a:pt x="340" y="654"/>
                </a:moveTo>
                <a:cubicBezTo>
                  <a:pt x="355" y="659"/>
                  <a:pt x="363" y="671"/>
                  <a:pt x="380" y="674"/>
                </a:cubicBezTo>
                <a:cubicBezTo>
                  <a:pt x="373" y="684"/>
                  <a:pt x="361" y="689"/>
                  <a:pt x="348" y="694"/>
                </a:cubicBezTo>
                <a:cubicBezTo>
                  <a:pt x="346" y="680"/>
                  <a:pt x="339" y="671"/>
                  <a:pt x="340" y="654"/>
                </a:cubicBezTo>
                <a:close/>
                <a:moveTo>
                  <a:pt x="316" y="574"/>
                </a:moveTo>
                <a:cubicBezTo>
                  <a:pt x="339" y="602"/>
                  <a:pt x="360" y="631"/>
                  <a:pt x="376" y="666"/>
                </a:cubicBezTo>
                <a:cubicBezTo>
                  <a:pt x="333" y="658"/>
                  <a:pt x="325" y="616"/>
                  <a:pt x="316" y="574"/>
                </a:cubicBezTo>
                <a:close/>
                <a:moveTo>
                  <a:pt x="384" y="682"/>
                </a:moveTo>
                <a:cubicBezTo>
                  <a:pt x="403" y="695"/>
                  <a:pt x="413" y="717"/>
                  <a:pt x="424" y="738"/>
                </a:cubicBezTo>
                <a:cubicBezTo>
                  <a:pt x="401" y="728"/>
                  <a:pt x="382" y="714"/>
                  <a:pt x="356" y="706"/>
                </a:cubicBezTo>
                <a:cubicBezTo>
                  <a:pt x="356" y="688"/>
                  <a:pt x="378" y="693"/>
                  <a:pt x="384" y="682"/>
                </a:cubicBezTo>
                <a:close/>
                <a:moveTo>
                  <a:pt x="352" y="710"/>
                </a:moveTo>
                <a:cubicBezTo>
                  <a:pt x="379" y="721"/>
                  <a:pt x="400" y="737"/>
                  <a:pt x="428" y="746"/>
                </a:cubicBezTo>
                <a:cubicBezTo>
                  <a:pt x="418" y="766"/>
                  <a:pt x="393" y="772"/>
                  <a:pt x="372" y="782"/>
                </a:cubicBezTo>
                <a:cubicBezTo>
                  <a:pt x="365" y="758"/>
                  <a:pt x="359" y="733"/>
                  <a:pt x="352" y="710"/>
                </a:cubicBezTo>
                <a:close/>
                <a:moveTo>
                  <a:pt x="432" y="758"/>
                </a:moveTo>
                <a:cubicBezTo>
                  <a:pt x="462" y="782"/>
                  <a:pt x="479" y="820"/>
                  <a:pt x="500" y="854"/>
                </a:cubicBezTo>
                <a:cubicBezTo>
                  <a:pt x="458" y="836"/>
                  <a:pt x="423" y="811"/>
                  <a:pt x="380" y="794"/>
                </a:cubicBezTo>
                <a:cubicBezTo>
                  <a:pt x="390" y="774"/>
                  <a:pt x="417" y="772"/>
                  <a:pt x="432" y="758"/>
                </a:cubicBezTo>
                <a:close/>
                <a:moveTo>
                  <a:pt x="376" y="806"/>
                </a:moveTo>
                <a:cubicBezTo>
                  <a:pt x="415" y="807"/>
                  <a:pt x="452" y="845"/>
                  <a:pt x="492" y="858"/>
                </a:cubicBezTo>
                <a:cubicBezTo>
                  <a:pt x="467" y="867"/>
                  <a:pt x="424" y="859"/>
                  <a:pt x="392" y="862"/>
                </a:cubicBezTo>
                <a:cubicBezTo>
                  <a:pt x="388" y="842"/>
                  <a:pt x="386" y="820"/>
                  <a:pt x="376" y="806"/>
                </a:cubicBezTo>
                <a:close/>
                <a:moveTo>
                  <a:pt x="396" y="878"/>
                </a:moveTo>
                <a:cubicBezTo>
                  <a:pt x="424" y="869"/>
                  <a:pt x="469" y="876"/>
                  <a:pt x="504" y="874"/>
                </a:cubicBezTo>
                <a:cubicBezTo>
                  <a:pt x="475" y="898"/>
                  <a:pt x="450" y="926"/>
                  <a:pt x="416" y="946"/>
                </a:cubicBezTo>
                <a:cubicBezTo>
                  <a:pt x="408" y="925"/>
                  <a:pt x="406" y="898"/>
                  <a:pt x="396" y="878"/>
                </a:cubicBezTo>
                <a:close/>
                <a:moveTo>
                  <a:pt x="540" y="1178"/>
                </a:moveTo>
                <a:cubicBezTo>
                  <a:pt x="558" y="1120"/>
                  <a:pt x="603" y="1160"/>
                  <a:pt x="644" y="1174"/>
                </a:cubicBezTo>
                <a:cubicBezTo>
                  <a:pt x="617" y="1183"/>
                  <a:pt x="574" y="1175"/>
                  <a:pt x="540" y="1178"/>
                </a:cubicBezTo>
                <a:close/>
                <a:moveTo>
                  <a:pt x="624" y="1214"/>
                </a:moveTo>
                <a:cubicBezTo>
                  <a:pt x="612" y="1225"/>
                  <a:pt x="600" y="1239"/>
                  <a:pt x="588" y="1242"/>
                </a:cubicBezTo>
                <a:cubicBezTo>
                  <a:pt x="564" y="1228"/>
                  <a:pt x="546" y="1210"/>
                  <a:pt x="532" y="1186"/>
                </a:cubicBezTo>
                <a:cubicBezTo>
                  <a:pt x="644" y="1186"/>
                  <a:pt x="644" y="1186"/>
                  <a:pt x="644" y="1186"/>
                </a:cubicBezTo>
                <a:cubicBezTo>
                  <a:pt x="658" y="1192"/>
                  <a:pt x="633" y="1206"/>
                  <a:pt x="624" y="1214"/>
                </a:cubicBezTo>
                <a:close/>
                <a:moveTo>
                  <a:pt x="516" y="1178"/>
                </a:moveTo>
                <a:cubicBezTo>
                  <a:pt x="483" y="1136"/>
                  <a:pt x="438" y="1107"/>
                  <a:pt x="408" y="1062"/>
                </a:cubicBezTo>
                <a:cubicBezTo>
                  <a:pt x="430" y="1046"/>
                  <a:pt x="448" y="1027"/>
                  <a:pt x="468" y="1010"/>
                </a:cubicBezTo>
                <a:cubicBezTo>
                  <a:pt x="572" y="1010"/>
                  <a:pt x="572" y="1010"/>
                  <a:pt x="572" y="1010"/>
                </a:cubicBezTo>
                <a:cubicBezTo>
                  <a:pt x="593" y="1026"/>
                  <a:pt x="609" y="1048"/>
                  <a:pt x="632" y="1062"/>
                </a:cubicBezTo>
                <a:cubicBezTo>
                  <a:pt x="598" y="1106"/>
                  <a:pt x="560" y="1144"/>
                  <a:pt x="516" y="1178"/>
                </a:cubicBezTo>
                <a:close/>
                <a:moveTo>
                  <a:pt x="504" y="1186"/>
                </a:moveTo>
                <a:cubicBezTo>
                  <a:pt x="493" y="1212"/>
                  <a:pt x="467" y="1223"/>
                  <a:pt x="452" y="1246"/>
                </a:cubicBezTo>
                <a:cubicBezTo>
                  <a:pt x="431" y="1226"/>
                  <a:pt x="405" y="1210"/>
                  <a:pt x="388" y="1186"/>
                </a:cubicBezTo>
                <a:lnTo>
                  <a:pt x="504" y="1186"/>
                </a:lnTo>
                <a:close/>
                <a:moveTo>
                  <a:pt x="396" y="1178"/>
                </a:moveTo>
                <a:cubicBezTo>
                  <a:pt x="431" y="1158"/>
                  <a:pt x="484" y="1121"/>
                  <a:pt x="500" y="1178"/>
                </a:cubicBezTo>
                <a:lnTo>
                  <a:pt x="396" y="1178"/>
                </a:lnTo>
                <a:close/>
                <a:moveTo>
                  <a:pt x="416" y="970"/>
                </a:moveTo>
                <a:cubicBezTo>
                  <a:pt x="434" y="973"/>
                  <a:pt x="437" y="991"/>
                  <a:pt x="452" y="998"/>
                </a:cubicBezTo>
                <a:cubicBezTo>
                  <a:pt x="447" y="1007"/>
                  <a:pt x="424" y="999"/>
                  <a:pt x="412" y="1002"/>
                </a:cubicBezTo>
                <a:cubicBezTo>
                  <a:pt x="409" y="987"/>
                  <a:pt x="417" y="983"/>
                  <a:pt x="416" y="970"/>
                </a:cubicBezTo>
                <a:close/>
                <a:moveTo>
                  <a:pt x="468" y="998"/>
                </a:moveTo>
                <a:cubicBezTo>
                  <a:pt x="449" y="992"/>
                  <a:pt x="443" y="973"/>
                  <a:pt x="424" y="966"/>
                </a:cubicBezTo>
                <a:cubicBezTo>
                  <a:pt x="443" y="957"/>
                  <a:pt x="479" y="964"/>
                  <a:pt x="504" y="962"/>
                </a:cubicBezTo>
                <a:cubicBezTo>
                  <a:pt x="497" y="978"/>
                  <a:pt x="477" y="983"/>
                  <a:pt x="468" y="998"/>
                </a:cubicBezTo>
                <a:close/>
                <a:moveTo>
                  <a:pt x="516" y="966"/>
                </a:moveTo>
                <a:cubicBezTo>
                  <a:pt x="535" y="972"/>
                  <a:pt x="544" y="988"/>
                  <a:pt x="560" y="998"/>
                </a:cubicBezTo>
                <a:cubicBezTo>
                  <a:pt x="541" y="1007"/>
                  <a:pt x="506" y="999"/>
                  <a:pt x="480" y="1002"/>
                </a:cubicBezTo>
                <a:cubicBezTo>
                  <a:pt x="488" y="985"/>
                  <a:pt x="507" y="981"/>
                  <a:pt x="516" y="966"/>
                </a:cubicBezTo>
                <a:close/>
                <a:moveTo>
                  <a:pt x="572" y="998"/>
                </a:moveTo>
                <a:cubicBezTo>
                  <a:pt x="561" y="987"/>
                  <a:pt x="549" y="976"/>
                  <a:pt x="536" y="966"/>
                </a:cubicBezTo>
                <a:cubicBezTo>
                  <a:pt x="555" y="957"/>
                  <a:pt x="591" y="964"/>
                  <a:pt x="616" y="962"/>
                </a:cubicBezTo>
                <a:cubicBezTo>
                  <a:pt x="601" y="973"/>
                  <a:pt x="592" y="991"/>
                  <a:pt x="572" y="998"/>
                </a:cubicBezTo>
                <a:close/>
                <a:moveTo>
                  <a:pt x="628" y="1002"/>
                </a:moveTo>
                <a:cubicBezTo>
                  <a:pt x="584" y="1002"/>
                  <a:pt x="584" y="1002"/>
                  <a:pt x="584" y="1002"/>
                </a:cubicBezTo>
                <a:cubicBezTo>
                  <a:pt x="591" y="988"/>
                  <a:pt x="610" y="985"/>
                  <a:pt x="616" y="970"/>
                </a:cubicBezTo>
                <a:cubicBezTo>
                  <a:pt x="629" y="971"/>
                  <a:pt x="626" y="989"/>
                  <a:pt x="628" y="1002"/>
                </a:cubicBezTo>
                <a:close/>
                <a:moveTo>
                  <a:pt x="436" y="950"/>
                </a:moveTo>
                <a:cubicBezTo>
                  <a:pt x="458" y="920"/>
                  <a:pt x="494" y="904"/>
                  <a:pt x="516" y="874"/>
                </a:cubicBezTo>
                <a:cubicBezTo>
                  <a:pt x="549" y="895"/>
                  <a:pt x="574" y="923"/>
                  <a:pt x="604" y="946"/>
                </a:cubicBezTo>
                <a:cubicBezTo>
                  <a:pt x="556" y="955"/>
                  <a:pt x="491" y="947"/>
                  <a:pt x="436" y="950"/>
                </a:cubicBezTo>
                <a:close/>
                <a:moveTo>
                  <a:pt x="412" y="1010"/>
                </a:moveTo>
                <a:cubicBezTo>
                  <a:pt x="448" y="1010"/>
                  <a:pt x="448" y="1010"/>
                  <a:pt x="448" y="1010"/>
                </a:cubicBezTo>
                <a:cubicBezTo>
                  <a:pt x="435" y="1024"/>
                  <a:pt x="424" y="1042"/>
                  <a:pt x="404" y="1050"/>
                </a:cubicBezTo>
                <a:cubicBezTo>
                  <a:pt x="403" y="1033"/>
                  <a:pt x="408" y="1022"/>
                  <a:pt x="412" y="1010"/>
                </a:cubicBezTo>
                <a:close/>
                <a:moveTo>
                  <a:pt x="396" y="1074"/>
                </a:moveTo>
                <a:cubicBezTo>
                  <a:pt x="421" y="1089"/>
                  <a:pt x="441" y="1109"/>
                  <a:pt x="456" y="1134"/>
                </a:cubicBezTo>
                <a:cubicBezTo>
                  <a:pt x="434" y="1132"/>
                  <a:pt x="404" y="1138"/>
                  <a:pt x="388" y="1130"/>
                </a:cubicBezTo>
                <a:cubicBezTo>
                  <a:pt x="392" y="1112"/>
                  <a:pt x="397" y="1096"/>
                  <a:pt x="396" y="1074"/>
                </a:cubicBezTo>
                <a:close/>
                <a:moveTo>
                  <a:pt x="388" y="1138"/>
                </a:moveTo>
                <a:cubicBezTo>
                  <a:pt x="452" y="1138"/>
                  <a:pt x="452" y="1138"/>
                  <a:pt x="452" y="1138"/>
                </a:cubicBezTo>
                <a:cubicBezTo>
                  <a:pt x="434" y="1155"/>
                  <a:pt x="405" y="1162"/>
                  <a:pt x="380" y="1174"/>
                </a:cubicBezTo>
                <a:cubicBezTo>
                  <a:pt x="384" y="1163"/>
                  <a:pt x="385" y="1149"/>
                  <a:pt x="388" y="1138"/>
                </a:cubicBezTo>
                <a:close/>
                <a:moveTo>
                  <a:pt x="376" y="1194"/>
                </a:moveTo>
                <a:cubicBezTo>
                  <a:pt x="403" y="1204"/>
                  <a:pt x="415" y="1230"/>
                  <a:pt x="440" y="1242"/>
                </a:cubicBezTo>
                <a:cubicBezTo>
                  <a:pt x="424" y="1251"/>
                  <a:pt x="391" y="1243"/>
                  <a:pt x="368" y="1246"/>
                </a:cubicBezTo>
                <a:cubicBezTo>
                  <a:pt x="371" y="1229"/>
                  <a:pt x="376" y="1214"/>
                  <a:pt x="376" y="1194"/>
                </a:cubicBezTo>
                <a:close/>
                <a:moveTo>
                  <a:pt x="368" y="1254"/>
                </a:moveTo>
                <a:cubicBezTo>
                  <a:pt x="440" y="1254"/>
                  <a:pt x="440" y="1254"/>
                  <a:pt x="440" y="1254"/>
                </a:cubicBezTo>
                <a:cubicBezTo>
                  <a:pt x="414" y="1286"/>
                  <a:pt x="382" y="1310"/>
                  <a:pt x="356" y="1342"/>
                </a:cubicBezTo>
                <a:cubicBezTo>
                  <a:pt x="350" y="1319"/>
                  <a:pt x="365" y="1282"/>
                  <a:pt x="368" y="1254"/>
                </a:cubicBezTo>
                <a:close/>
                <a:moveTo>
                  <a:pt x="348" y="1362"/>
                </a:moveTo>
                <a:cubicBezTo>
                  <a:pt x="368" y="1372"/>
                  <a:pt x="382" y="1386"/>
                  <a:pt x="392" y="1406"/>
                </a:cubicBezTo>
                <a:cubicBezTo>
                  <a:pt x="372" y="1423"/>
                  <a:pt x="353" y="1442"/>
                  <a:pt x="336" y="1462"/>
                </a:cubicBezTo>
                <a:cubicBezTo>
                  <a:pt x="329" y="1433"/>
                  <a:pt x="347" y="1395"/>
                  <a:pt x="348" y="1362"/>
                </a:cubicBezTo>
                <a:close/>
                <a:moveTo>
                  <a:pt x="328" y="1486"/>
                </a:moveTo>
                <a:cubicBezTo>
                  <a:pt x="342" y="1496"/>
                  <a:pt x="350" y="1512"/>
                  <a:pt x="360" y="1526"/>
                </a:cubicBezTo>
                <a:cubicBezTo>
                  <a:pt x="352" y="1549"/>
                  <a:pt x="328" y="1558"/>
                  <a:pt x="316" y="1578"/>
                </a:cubicBezTo>
                <a:cubicBezTo>
                  <a:pt x="310" y="1553"/>
                  <a:pt x="324" y="1514"/>
                  <a:pt x="328" y="1486"/>
                </a:cubicBezTo>
                <a:close/>
                <a:moveTo>
                  <a:pt x="364" y="1538"/>
                </a:moveTo>
                <a:cubicBezTo>
                  <a:pt x="382" y="1550"/>
                  <a:pt x="394" y="1569"/>
                  <a:pt x="404" y="1590"/>
                </a:cubicBezTo>
                <a:cubicBezTo>
                  <a:pt x="320" y="1590"/>
                  <a:pt x="320" y="1590"/>
                  <a:pt x="320" y="1590"/>
                </a:cubicBezTo>
                <a:cubicBezTo>
                  <a:pt x="329" y="1566"/>
                  <a:pt x="352" y="1558"/>
                  <a:pt x="364" y="1538"/>
                </a:cubicBezTo>
                <a:close/>
                <a:moveTo>
                  <a:pt x="304" y="1606"/>
                </a:moveTo>
                <a:cubicBezTo>
                  <a:pt x="322" y="1614"/>
                  <a:pt x="323" y="1641"/>
                  <a:pt x="332" y="1658"/>
                </a:cubicBezTo>
                <a:cubicBezTo>
                  <a:pt x="325" y="1675"/>
                  <a:pt x="303" y="1697"/>
                  <a:pt x="292" y="1698"/>
                </a:cubicBezTo>
                <a:cubicBezTo>
                  <a:pt x="292" y="1663"/>
                  <a:pt x="305" y="1642"/>
                  <a:pt x="304" y="1606"/>
                </a:cubicBezTo>
                <a:close/>
                <a:moveTo>
                  <a:pt x="352" y="1710"/>
                </a:moveTo>
                <a:cubicBezTo>
                  <a:pt x="296" y="1710"/>
                  <a:pt x="296" y="1710"/>
                  <a:pt x="296" y="1710"/>
                </a:cubicBezTo>
                <a:cubicBezTo>
                  <a:pt x="310" y="1695"/>
                  <a:pt x="320" y="1678"/>
                  <a:pt x="340" y="1670"/>
                </a:cubicBezTo>
                <a:cubicBezTo>
                  <a:pt x="338" y="1689"/>
                  <a:pt x="354" y="1691"/>
                  <a:pt x="352" y="1710"/>
                </a:cubicBezTo>
                <a:close/>
                <a:moveTo>
                  <a:pt x="284" y="1730"/>
                </a:moveTo>
                <a:cubicBezTo>
                  <a:pt x="295" y="1744"/>
                  <a:pt x="291" y="1774"/>
                  <a:pt x="300" y="1790"/>
                </a:cubicBezTo>
                <a:cubicBezTo>
                  <a:pt x="295" y="1802"/>
                  <a:pt x="282" y="1806"/>
                  <a:pt x="276" y="1818"/>
                </a:cubicBezTo>
                <a:cubicBezTo>
                  <a:pt x="266" y="1792"/>
                  <a:pt x="285" y="1760"/>
                  <a:pt x="284" y="1730"/>
                </a:cubicBezTo>
                <a:close/>
                <a:moveTo>
                  <a:pt x="248" y="1978"/>
                </a:moveTo>
                <a:cubicBezTo>
                  <a:pt x="244" y="1936"/>
                  <a:pt x="260" y="1880"/>
                  <a:pt x="268" y="1838"/>
                </a:cubicBezTo>
                <a:cubicBezTo>
                  <a:pt x="304" y="1838"/>
                  <a:pt x="304" y="1838"/>
                  <a:pt x="304" y="1838"/>
                </a:cubicBezTo>
                <a:cubicBezTo>
                  <a:pt x="288" y="1887"/>
                  <a:pt x="263" y="1927"/>
                  <a:pt x="248" y="1978"/>
                </a:cubicBezTo>
                <a:close/>
                <a:moveTo>
                  <a:pt x="304" y="1830"/>
                </a:moveTo>
                <a:cubicBezTo>
                  <a:pt x="276" y="1830"/>
                  <a:pt x="276" y="1830"/>
                  <a:pt x="276" y="1830"/>
                </a:cubicBezTo>
                <a:cubicBezTo>
                  <a:pt x="280" y="1819"/>
                  <a:pt x="292" y="1816"/>
                  <a:pt x="296" y="1806"/>
                </a:cubicBezTo>
                <a:cubicBezTo>
                  <a:pt x="306" y="1806"/>
                  <a:pt x="304" y="1819"/>
                  <a:pt x="304" y="1830"/>
                </a:cubicBezTo>
                <a:close/>
                <a:moveTo>
                  <a:pt x="316" y="1818"/>
                </a:moveTo>
                <a:cubicBezTo>
                  <a:pt x="299" y="1793"/>
                  <a:pt x="302" y="1750"/>
                  <a:pt x="292" y="1718"/>
                </a:cubicBezTo>
                <a:cubicBezTo>
                  <a:pt x="356" y="1718"/>
                  <a:pt x="356" y="1718"/>
                  <a:pt x="356" y="1718"/>
                </a:cubicBezTo>
                <a:cubicBezTo>
                  <a:pt x="344" y="1752"/>
                  <a:pt x="326" y="1781"/>
                  <a:pt x="316" y="1818"/>
                </a:cubicBezTo>
                <a:close/>
                <a:moveTo>
                  <a:pt x="356" y="1702"/>
                </a:moveTo>
                <a:cubicBezTo>
                  <a:pt x="348" y="1661"/>
                  <a:pt x="325" y="1635"/>
                  <a:pt x="316" y="1594"/>
                </a:cubicBezTo>
                <a:cubicBezTo>
                  <a:pt x="408" y="1594"/>
                  <a:pt x="408" y="1594"/>
                  <a:pt x="408" y="1594"/>
                </a:cubicBezTo>
                <a:cubicBezTo>
                  <a:pt x="391" y="1630"/>
                  <a:pt x="382" y="1675"/>
                  <a:pt x="356" y="1702"/>
                </a:cubicBezTo>
                <a:close/>
                <a:moveTo>
                  <a:pt x="416" y="1582"/>
                </a:moveTo>
                <a:cubicBezTo>
                  <a:pt x="384" y="1552"/>
                  <a:pt x="360" y="1515"/>
                  <a:pt x="336" y="1478"/>
                </a:cubicBezTo>
                <a:cubicBezTo>
                  <a:pt x="456" y="1478"/>
                  <a:pt x="456" y="1478"/>
                  <a:pt x="456" y="1478"/>
                </a:cubicBezTo>
                <a:cubicBezTo>
                  <a:pt x="446" y="1516"/>
                  <a:pt x="425" y="1543"/>
                  <a:pt x="416" y="1582"/>
                </a:cubicBezTo>
                <a:close/>
                <a:moveTo>
                  <a:pt x="340" y="1470"/>
                </a:moveTo>
                <a:cubicBezTo>
                  <a:pt x="351" y="1444"/>
                  <a:pt x="378" y="1433"/>
                  <a:pt x="392" y="1410"/>
                </a:cubicBezTo>
                <a:cubicBezTo>
                  <a:pt x="422" y="1421"/>
                  <a:pt x="439" y="1445"/>
                  <a:pt x="456" y="1470"/>
                </a:cubicBezTo>
                <a:lnTo>
                  <a:pt x="340" y="1470"/>
                </a:lnTo>
                <a:close/>
                <a:moveTo>
                  <a:pt x="468" y="1458"/>
                </a:moveTo>
                <a:cubicBezTo>
                  <a:pt x="428" y="1428"/>
                  <a:pt x="394" y="1394"/>
                  <a:pt x="364" y="1354"/>
                </a:cubicBezTo>
                <a:cubicBezTo>
                  <a:pt x="508" y="1354"/>
                  <a:pt x="508" y="1354"/>
                  <a:pt x="508" y="1354"/>
                </a:cubicBezTo>
                <a:cubicBezTo>
                  <a:pt x="498" y="1392"/>
                  <a:pt x="479" y="1421"/>
                  <a:pt x="468" y="1458"/>
                </a:cubicBezTo>
                <a:close/>
                <a:moveTo>
                  <a:pt x="376" y="1346"/>
                </a:moveTo>
                <a:cubicBezTo>
                  <a:pt x="362" y="1339"/>
                  <a:pt x="390" y="1324"/>
                  <a:pt x="400" y="1314"/>
                </a:cubicBezTo>
                <a:cubicBezTo>
                  <a:pt x="436" y="1278"/>
                  <a:pt x="480" y="1232"/>
                  <a:pt x="516" y="1194"/>
                </a:cubicBezTo>
                <a:cubicBezTo>
                  <a:pt x="570" y="1238"/>
                  <a:pt x="630" y="1298"/>
                  <a:pt x="668" y="1346"/>
                </a:cubicBezTo>
                <a:lnTo>
                  <a:pt x="376" y="1346"/>
                </a:lnTo>
                <a:close/>
                <a:moveTo>
                  <a:pt x="532" y="1354"/>
                </a:moveTo>
                <a:cubicBezTo>
                  <a:pt x="676" y="1354"/>
                  <a:pt x="676" y="1354"/>
                  <a:pt x="676" y="1354"/>
                </a:cubicBezTo>
                <a:cubicBezTo>
                  <a:pt x="646" y="1394"/>
                  <a:pt x="612" y="1428"/>
                  <a:pt x="572" y="1458"/>
                </a:cubicBezTo>
                <a:cubicBezTo>
                  <a:pt x="561" y="1421"/>
                  <a:pt x="541" y="1393"/>
                  <a:pt x="532" y="1354"/>
                </a:cubicBezTo>
                <a:close/>
                <a:moveTo>
                  <a:pt x="636" y="1410"/>
                </a:moveTo>
                <a:cubicBezTo>
                  <a:pt x="663" y="1424"/>
                  <a:pt x="681" y="1448"/>
                  <a:pt x="700" y="1470"/>
                </a:cubicBezTo>
                <a:cubicBezTo>
                  <a:pt x="584" y="1470"/>
                  <a:pt x="584" y="1470"/>
                  <a:pt x="584" y="1470"/>
                </a:cubicBezTo>
                <a:cubicBezTo>
                  <a:pt x="595" y="1444"/>
                  <a:pt x="622" y="1433"/>
                  <a:pt x="636" y="1410"/>
                </a:cubicBezTo>
                <a:close/>
                <a:moveTo>
                  <a:pt x="584" y="1478"/>
                </a:moveTo>
                <a:cubicBezTo>
                  <a:pt x="704" y="1478"/>
                  <a:pt x="704" y="1478"/>
                  <a:pt x="704" y="1478"/>
                </a:cubicBezTo>
                <a:cubicBezTo>
                  <a:pt x="679" y="1514"/>
                  <a:pt x="655" y="1552"/>
                  <a:pt x="624" y="1582"/>
                </a:cubicBezTo>
                <a:cubicBezTo>
                  <a:pt x="613" y="1545"/>
                  <a:pt x="594" y="1516"/>
                  <a:pt x="584" y="1478"/>
                </a:cubicBezTo>
                <a:close/>
                <a:moveTo>
                  <a:pt x="668" y="1538"/>
                </a:moveTo>
                <a:cubicBezTo>
                  <a:pt x="690" y="1550"/>
                  <a:pt x="708" y="1568"/>
                  <a:pt x="720" y="1590"/>
                </a:cubicBezTo>
                <a:cubicBezTo>
                  <a:pt x="636" y="1590"/>
                  <a:pt x="636" y="1590"/>
                  <a:pt x="636" y="1590"/>
                </a:cubicBezTo>
                <a:cubicBezTo>
                  <a:pt x="641" y="1567"/>
                  <a:pt x="661" y="1558"/>
                  <a:pt x="668" y="1538"/>
                </a:cubicBezTo>
                <a:close/>
                <a:moveTo>
                  <a:pt x="632" y="1594"/>
                </a:moveTo>
                <a:cubicBezTo>
                  <a:pt x="724" y="1594"/>
                  <a:pt x="724" y="1594"/>
                  <a:pt x="724" y="1594"/>
                </a:cubicBezTo>
                <a:cubicBezTo>
                  <a:pt x="713" y="1633"/>
                  <a:pt x="695" y="1666"/>
                  <a:pt x="680" y="1702"/>
                </a:cubicBezTo>
                <a:cubicBezTo>
                  <a:pt x="660" y="1670"/>
                  <a:pt x="647" y="1631"/>
                  <a:pt x="632" y="1594"/>
                </a:cubicBezTo>
                <a:close/>
                <a:moveTo>
                  <a:pt x="700" y="1670"/>
                </a:moveTo>
                <a:cubicBezTo>
                  <a:pt x="718" y="1678"/>
                  <a:pt x="732" y="1692"/>
                  <a:pt x="740" y="1710"/>
                </a:cubicBezTo>
                <a:cubicBezTo>
                  <a:pt x="684" y="1710"/>
                  <a:pt x="684" y="1710"/>
                  <a:pt x="684" y="1710"/>
                </a:cubicBezTo>
                <a:cubicBezTo>
                  <a:pt x="690" y="1697"/>
                  <a:pt x="697" y="1686"/>
                  <a:pt x="700" y="1670"/>
                </a:cubicBezTo>
                <a:close/>
                <a:moveTo>
                  <a:pt x="684" y="1718"/>
                </a:moveTo>
                <a:cubicBezTo>
                  <a:pt x="748" y="1718"/>
                  <a:pt x="748" y="1718"/>
                  <a:pt x="748" y="1718"/>
                </a:cubicBezTo>
                <a:cubicBezTo>
                  <a:pt x="741" y="1751"/>
                  <a:pt x="736" y="1786"/>
                  <a:pt x="728" y="1818"/>
                </a:cubicBezTo>
                <a:cubicBezTo>
                  <a:pt x="711" y="1787"/>
                  <a:pt x="698" y="1752"/>
                  <a:pt x="684" y="1718"/>
                </a:cubicBezTo>
                <a:close/>
                <a:moveTo>
                  <a:pt x="736" y="1806"/>
                </a:moveTo>
                <a:cubicBezTo>
                  <a:pt x="752" y="1806"/>
                  <a:pt x="752" y="1822"/>
                  <a:pt x="764" y="1826"/>
                </a:cubicBezTo>
                <a:cubicBezTo>
                  <a:pt x="762" y="1835"/>
                  <a:pt x="744" y="1827"/>
                  <a:pt x="736" y="1830"/>
                </a:cubicBezTo>
                <a:lnTo>
                  <a:pt x="736" y="1806"/>
                </a:lnTo>
                <a:close/>
                <a:moveTo>
                  <a:pt x="796" y="1978"/>
                </a:moveTo>
                <a:cubicBezTo>
                  <a:pt x="773" y="1934"/>
                  <a:pt x="754" y="1886"/>
                  <a:pt x="736" y="1838"/>
                </a:cubicBezTo>
                <a:cubicBezTo>
                  <a:pt x="772" y="1838"/>
                  <a:pt x="772" y="1838"/>
                  <a:pt x="772" y="1838"/>
                </a:cubicBezTo>
                <a:cubicBezTo>
                  <a:pt x="782" y="1883"/>
                  <a:pt x="790" y="1930"/>
                  <a:pt x="796" y="1978"/>
                </a:cubicBezTo>
                <a:close/>
                <a:moveTo>
                  <a:pt x="768" y="1818"/>
                </a:moveTo>
                <a:cubicBezTo>
                  <a:pt x="733" y="1805"/>
                  <a:pt x="744" y="1767"/>
                  <a:pt x="752" y="1730"/>
                </a:cubicBezTo>
                <a:cubicBezTo>
                  <a:pt x="761" y="1755"/>
                  <a:pt x="765" y="1787"/>
                  <a:pt x="768" y="1818"/>
                </a:cubicBezTo>
                <a:close/>
                <a:moveTo>
                  <a:pt x="708" y="1662"/>
                </a:moveTo>
                <a:cubicBezTo>
                  <a:pt x="711" y="1639"/>
                  <a:pt x="724" y="1627"/>
                  <a:pt x="728" y="1606"/>
                </a:cubicBezTo>
                <a:cubicBezTo>
                  <a:pt x="744" y="1629"/>
                  <a:pt x="742" y="1669"/>
                  <a:pt x="748" y="1702"/>
                </a:cubicBezTo>
                <a:cubicBezTo>
                  <a:pt x="733" y="1690"/>
                  <a:pt x="720" y="1677"/>
                  <a:pt x="708" y="1662"/>
                </a:cubicBezTo>
                <a:close/>
                <a:moveTo>
                  <a:pt x="676" y="1530"/>
                </a:moveTo>
                <a:cubicBezTo>
                  <a:pt x="687" y="1515"/>
                  <a:pt x="699" y="1502"/>
                  <a:pt x="708" y="1486"/>
                </a:cubicBezTo>
                <a:cubicBezTo>
                  <a:pt x="722" y="1510"/>
                  <a:pt x="721" y="1548"/>
                  <a:pt x="728" y="1578"/>
                </a:cubicBezTo>
                <a:cubicBezTo>
                  <a:pt x="705" y="1568"/>
                  <a:pt x="693" y="1546"/>
                  <a:pt x="676" y="1530"/>
                </a:cubicBezTo>
                <a:close/>
                <a:moveTo>
                  <a:pt x="692" y="1366"/>
                </a:moveTo>
                <a:cubicBezTo>
                  <a:pt x="697" y="1398"/>
                  <a:pt x="703" y="1430"/>
                  <a:pt x="708" y="1462"/>
                </a:cubicBezTo>
                <a:cubicBezTo>
                  <a:pt x="686" y="1446"/>
                  <a:pt x="671" y="1422"/>
                  <a:pt x="648" y="1406"/>
                </a:cubicBezTo>
                <a:cubicBezTo>
                  <a:pt x="654" y="1385"/>
                  <a:pt x="675" y="1379"/>
                  <a:pt x="684" y="1362"/>
                </a:cubicBezTo>
                <a:cubicBezTo>
                  <a:pt x="689" y="1361"/>
                  <a:pt x="691" y="1363"/>
                  <a:pt x="692" y="1366"/>
                </a:cubicBezTo>
                <a:close/>
                <a:moveTo>
                  <a:pt x="600" y="1254"/>
                </a:moveTo>
                <a:cubicBezTo>
                  <a:pt x="672" y="1254"/>
                  <a:pt x="672" y="1254"/>
                  <a:pt x="672" y="1254"/>
                </a:cubicBezTo>
                <a:cubicBezTo>
                  <a:pt x="679" y="1282"/>
                  <a:pt x="681" y="1314"/>
                  <a:pt x="688" y="1342"/>
                </a:cubicBezTo>
                <a:cubicBezTo>
                  <a:pt x="654" y="1318"/>
                  <a:pt x="624" y="1288"/>
                  <a:pt x="600" y="1254"/>
                </a:cubicBezTo>
                <a:close/>
                <a:moveTo>
                  <a:pt x="672" y="1242"/>
                </a:moveTo>
                <a:cubicBezTo>
                  <a:pt x="656" y="1251"/>
                  <a:pt x="623" y="1243"/>
                  <a:pt x="600" y="1246"/>
                </a:cubicBezTo>
                <a:cubicBezTo>
                  <a:pt x="616" y="1225"/>
                  <a:pt x="640" y="1214"/>
                  <a:pt x="656" y="1194"/>
                </a:cubicBezTo>
                <a:cubicBezTo>
                  <a:pt x="673" y="1198"/>
                  <a:pt x="661" y="1232"/>
                  <a:pt x="672" y="1242"/>
                </a:cubicBezTo>
                <a:close/>
                <a:moveTo>
                  <a:pt x="656" y="1174"/>
                </a:moveTo>
                <a:cubicBezTo>
                  <a:pt x="635" y="1162"/>
                  <a:pt x="609" y="1154"/>
                  <a:pt x="588" y="1142"/>
                </a:cubicBezTo>
                <a:cubicBezTo>
                  <a:pt x="602" y="1133"/>
                  <a:pt x="632" y="1140"/>
                  <a:pt x="652" y="1138"/>
                </a:cubicBezTo>
                <a:cubicBezTo>
                  <a:pt x="652" y="1151"/>
                  <a:pt x="659" y="1158"/>
                  <a:pt x="656" y="1174"/>
                </a:cubicBezTo>
                <a:close/>
                <a:moveTo>
                  <a:pt x="648" y="1134"/>
                </a:moveTo>
                <a:cubicBezTo>
                  <a:pt x="584" y="1134"/>
                  <a:pt x="584" y="1134"/>
                  <a:pt x="584" y="1134"/>
                </a:cubicBezTo>
                <a:cubicBezTo>
                  <a:pt x="595" y="1108"/>
                  <a:pt x="622" y="1097"/>
                  <a:pt x="636" y="1074"/>
                </a:cubicBezTo>
                <a:cubicBezTo>
                  <a:pt x="649" y="1084"/>
                  <a:pt x="650" y="1123"/>
                  <a:pt x="648" y="1134"/>
                </a:cubicBezTo>
                <a:close/>
                <a:moveTo>
                  <a:pt x="636" y="1050"/>
                </a:moveTo>
                <a:cubicBezTo>
                  <a:pt x="618" y="1040"/>
                  <a:pt x="603" y="1027"/>
                  <a:pt x="592" y="1010"/>
                </a:cubicBezTo>
                <a:cubicBezTo>
                  <a:pt x="628" y="1010"/>
                  <a:pt x="628" y="1010"/>
                  <a:pt x="628" y="1010"/>
                </a:cubicBezTo>
                <a:cubicBezTo>
                  <a:pt x="633" y="1021"/>
                  <a:pt x="635" y="1035"/>
                  <a:pt x="636" y="1050"/>
                </a:cubicBezTo>
                <a:close/>
                <a:moveTo>
                  <a:pt x="624" y="946"/>
                </a:moveTo>
                <a:cubicBezTo>
                  <a:pt x="589" y="929"/>
                  <a:pt x="570" y="896"/>
                  <a:pt x="536" y="878"/>
                </a:cubicBezTo>
                <a:cubicBezTo>
                  <a:pt x="564" y="869"/>
                  <a:pt x="609" y="876"/>
                  <a:pt x="644" y="874"/>
                </a:cubicBezTo>
                <a:cubicBezTo>
                  <a:pt x="636" y="897"/>
                  <a:pt x="630" y="921"/>
                  <a:pt x="624" y="946"/>
                </a:cubicBezTo>
                <a:close/>
                <a:moveTo>
                  <a:pt x="648" y="862"/>
                </a:moveTo>
                <a:cubicBezTo>
                  <a:pt x="548" y="862"/>
                  <a:pt x="548" y="862"/>
                  <a:pt x="548" y="862"/>
                </a:cubicBezTo>
                <a:cubicBezTo>
                  <a:pt x="578" y="837"/>
                  <a:pt x="621" y="825"/>
                  <a:pt x="652" y="802"/>
                </a:cubicBezTo>
                <a:cubicBezTo>
                  <a:pt x="673" y="814"/>
                  <a:pt x="644" y="840"/>
                  <a:pt x="648" y="862"/>
                </a:cubicBezTo>
                <a:close/>
                <a:moveTo>
                  <a:pt x="540" y="854"/>
                </a:moveTo>
                <a:cubicBezTo>
                  <a:pt x="558" y="819"/>
                  <a:pt x="581" y="791"/>
                  <a:pt x="600" y="758"/>
                </a:cubicBezTo>
                <a:cubicBezTo>
                  <a:pt x="623" y="767"/>
                  <a:pt x="646" y="776"/>
                  <a:pt x="660" y="794"/>
                </a:cubicBezTo>
                <a:cubicBezTo>
                  <a:pt x="617" y="810"/>
                  <a:pt x="583" y="836"/>
                  <a:pt x="540" y="854"/>
                </a:cubicBezTo>
                <a:close/>
                <a:moveTo>
                  <a:pt x="668" y="782"/>
                </a:moveTo>
                <a:cubicBezTo>
                  <a:pt x="643" y="777"/>
                  <a:pt x="632" y="759"/>
                  <a:pt x="608" y="754"/>
                </a:cubicBezTo>
                <a:cubicBezTo>
                  <a:pt x="626" y="733"/>
                  <a:pt x="662" y="731"/>
                  <a:pt x="680" y="710"/>
                </a:cubicBezTo>
                <a:cubicBezTo>
                  <a:pt x="689" y="731"/>
                  <a:pt x="670" y="758"/>
                  <a:pt x="668" y="782"/>
                </a:cubicBezTo>
                <a:close/>
                <a:moveTo>
                  <a:pt x="620" y="738"/>
                </a:moveTo>
                <a:cubicBezTo>
                  <a:pt x="615" y="721"/>
                  <a:pt x="644" y="703"/>
                  <a:pt x="648" y="682"/>
                </a:cubicBezTo>
                <a:cubicBezTo>
                  <a:pt x="663" y="684"/>
                  <a:pt x="672" y="693"/>
                  <a:pt x="684" y="698"/>
                </a:cubicBezTo>
                <a:cubicBezTo>
                  <a:pt x="669" y="718"/>
                  <a:pt x="639" y="722"/>
                  <a:pt x="620" y="738"/>
                </a:cubicBezTo>
                <a:close/>
                <a:moveTo>
                  <a:pt x="692" y="694"/>
                </a:moveTo>
                <a:cubicBezTo>
                  <a:pt x="679" y="691"/>
                  <a:pt x="673" y="681"/>
                  <a:pt x="660" y="678"/>
                </a:cubicBezTo>
                <a:cubicBezTo>
                  <a:pt x="670" y="668"/>
                  <a:pt x="686" y="664"/>
                  <a:pt x="696" y="654"/>
                </a:cubicBezTo>
                <a:cubicBezTo>
                  <a:pt x="709" y="665"/>
                  <a:pt x="689" y="679"/>
                  <a:pt x="692" y="694"/>
                </a:cubicBezTo>
                <a:close/>
                <a:moveTo>
                  <a:pt x="668" y="666"/>
                </a:moveTo>
                <a:cubicBezTo>
                  <a:pt x="662" y="652"/>
                  <a:pt x="679" y="626"/>
                  <a:pt x="708" y="634"/>
                </a:cubicBezTo>
                <a:cubicBezTo>
                  <a:pt x="703" y="653"/>
                  <a:pt x="678" y="652"/>
                  <a:pt x="668" y="666"/>
                </a:cubicBezTo>
                <a:close/>
                <a:moveTo>
                  <a:pt x="708" y="630"/>
                </a:moveTo>
                <a:cubicBezTo>
                  <a:pt x="684" y="630"/>
                  <a:pt x="684" y="630"/>
                  <a:pt x="684" y="630"/>
                </a:cubicBezTo>
                <a:cubicBezTo>
                  <a:pt x="697" y="612"/>
                  <a:pt x="708" y="593"/>
                  <a:pt x="720" y="574"/>
                </a:cubicBezTo>
                <a:cubicBezTo>
                  <a:pt x="724" y="584"/>
                  <a:pt x="713" y="614"/>
                  <a:pt x="708" y="630"/>
                </a:cubicBezTo>
                <a:close/>
                <a:moveTo>
                  <a:pt x="416" y="406"/>
                </a:moveTo>
                <a:cubicBezTo>
                  <a:pt x="441" y="434"/>
                  <a:pt x="469" y="460"/>
                  <a:pt x="488" y="494"/>
                </a:cubicBezTo>
                <a:cubicBezTo>
                  <a:pt x="509" y="484"/>
                  <a:pt x="509" y="509"/>
                  <a:pt x="516" y="510"/>
                </a:cubicBezTo>
                <a:cubicBezTo>
                  <a:pt x="527" y="510"/>
                  <a:pt x="525" y="488"/>
                  <a:pt x="548" y="494"/>
                </a:cubicBezTo>
                <a:cubicBezTo>
                  <a:pt x="597" y="436"/>
                  <a:pt x="642" y="375"/>
                  <a:pt x="696" y="322"/>
                </a:cubicBezTo>
                <a:cubicBezTo>
                  <a:pt x="694" y="306"/>
                  <a:pt x="693" y="305"/>
                  <a:pt x="700" y="294"/>
                </a:cubicBezTo>
                <a:cubicBezTo>
                  <a:pt x="705" y="293"/>
                  <a:pt x="707" y="295"/>
                  <a:pt x="708" y="298"/>
                </a:cubicBezTo>
                <a:cubicBezTo>
                  <a:pt x="707" y="340"/>
                  <a:pt x="716" y="385"/>
                  <a:pt x="720" y="430"/>
                </a:cubicBezTo>
                <a:cubicBezTo>
                  <a:pt x="723" y="465"/>
                  <a:pt x="733" y="509"/>
                  <a:pt x="728" y="538"/>
                </a:cubicBezTo>
                <a:cubicBezTo>
                  <a:pt x="721" y="578"/>
                  <a:pt x="683" y="596"/>
                  <a:pt x="672" y="630"/>
                </a:cubicBezTo>
                <a:cubicBezTo>
                  <a:pt x="668" y="634"/>
                  <a:pt x="668" y="634"/>
                  <a:pt x="668" y="634"/>
                </a:cubicBezTo>
                <a:cubicBezTo>
                  <a:pt x="622" y="710"/>
                  <a:pt x="570" y="781"/>
                  <a:pt x="524" y="858"/>
                </a:cubicBezTo>
                <a:cubicBezTo>
                  <a:pt x="483" y="817"/>
                  <a:pt x="455" y="761"/>
                  <a:pt x="416" y="702"/>
                </a:cubicBezTo>
                <a:cubicBezTo>
                  <a:pt x="402" y="680"/>
                  <a:pt x="383" y="651"/>
                  <a:pt x="364" y="622"/>
                </a:cubicBezTo>
                <a:cubicBezTo>
                  <a:pt x="347" y="596"/>
                  <a:pt x="317" y="565"/>
                  <a:pt x="312" y="542"/>
                </a:cubicBezTo>
                <a:cubicBezTo>
                  <a:pt x="303" y="496"/>
                  <a:pt x="326" y="456"/>
                  <a:pt x="324" y="406"/>
                </a:cubicBezTo>
                <a:cubicBezTo>
                  <a:pt x="324" y="402"/>
                  <a:pt x="324" y="402"/>
                  <a:pt x="324" y="402"/>
                </a:cubicBezTo>
                <a:cubicBezTo>
                  <a:pt x="326" y="365"/>
                  <a:pt x="333" y="333"/>
                  <a:pt x="332" y="294"/>
                </a:cubicBezTo>
                <a:cubicBezTo>
                  <a:pt x="345" y="298"/>
                  <a:pt x="349" y="306"/>
                  <a:pt x="344" y="318"/>
                </a:cubicBezTo>
                <a:cubicBezTo>
                  <a:pt x="370" y="342"/>
                  <a:pt x="416" y="406"/>
                  <a:pt x="416" y="406"/>
                </a:cubicBezTo>
                <a:close/>
                <a:moveTo>
                  <a:pt x="740" y="518"/>
                </a:moveTo>
                <a:cubicBezTo>
                  <a:pt x="728" y="502"/>
                  <a:pt x="737" y="465"/>
                  <a:pt x="728" y="446"/>
                </a:cubicBezTo>
                <a:cubicBezTo>
                  <a:pt x="735" y="436"/>
                  <a:pt x="747" y="453"/>
                  <a:pt x="756" y="454"/>
                </a:cubicBezTo>
                <a:cubicBezTo>
                  <a:pt x="751" y="475"/>
                  <a:pt x="743" y="494"/>
                  <a:pt x="740" y="518"/>
                </a:cubicBezTo>
                <a:close/>
                <a:moveTo>
                  <a:pt x="724" y="382"/>
                </a:moveTo>
                <a:cubicBezTo>
                  <a:pt x="738" y="391"/>
                  <a:pt x="759" y="393"/>
                  <a:pt x="764" y="410"/>
                </a:cubicBezTo>
                <a:cubicBezTo>
                  <a:pt x="751" y="413"/>
                  <a:pt x="741" y="418"/>
                  <a:pt x="732" y="426"/>
                </a:cubicBezTo>
                <a:cubicBezTo>
                  <a:pt x="726" y="415"/>
                  <a:pt x="724" y="399"/>
                  <a:pt x="724" y="382"/>
                </a:cubicBezTo>
                <a:close/>
                <a:moveTo>
                  <a:pt x="760" y="446"/>
                </a:moveTo>
                <a:cubicBezTo>
                  <a:pt x="748" y="447"/>
                  <a:pt x="748" y="437"/>
                  <a:pt x="736" y="438"/>
                </a:cubicBezTo>
                <a:cubicBezTo>
                  <a:pt x="737" y="423"/>
                  <a:pt x="753" y="422"/>
                  <a:pt x="764" y="418"/>
                </a:cubicBezTo>
                <a:cubicBezTo>
                  <a:pt x="766" y="430"/>
                  <a:pt x="757" y="432"/>
                  <a:pt x="760" y="446"/>
                </a:cubicBezTo>
                <a:close/>
                <a:moveTo>
                  <a:pt x="772" y="398"/>
                </a:moveTo>
                <a:cubicBezTo>
                  <a:pt x="757" y="389"/>
                  <a:pt x="736" y="386"/>
                  <a:pt x="728" y="370"/>
                </a:cubicBezTo>
                <a:cubicBezTo>
                  <a:pt x="749" y="364"/>
                  <a:pt x="764" y="353"/>
                  <a:pt x="780" y="342"/>
                </a:cubicBezTo>
                <a:cubicBezTo>
                  <a:pt x="789" y="356"/>
                  <a:pt x="771" y="378"/>
                  <a:pt x="772" y="398"/>
                </a:cubicBezTo>
                <a:close/>
                <a:moveTo>
                  <a:pt x="720" y="362"/>
                </a:moveTo>
                <a:cubicBezTo>
                  <a:pt x="723" y="335"/>
                  <a:pt x="716" y="318"/>
                  <a:pt x="716" y="294"/>
                </a:cubicBezTo>
                <a:cubicBezTo>
                  <a:pt x="744" y="302"/>
                  <a:pt x="762" y="320"/>
                  <a:pt x="788" y="330"/>
                </a:cubicBezTo>
                <a:cubicBezTo>
                  <a:pt x="768" y="341"/>
                  <a:pt x="742" y="365"/>
                  <a:pt x="720" y="362"/>
                </a:cubicBezTo>
                <a:close/>
                <a:moveTo>
                  <a:pt x="792" y="322"/>
                </a:moveTo>
                <a:cubicBezTo>
                  <a:pt x="769" y="313"/>
                  <a:pt x="745" y="305"/>
                  <a:pt x="732" y="286"/>
                </a:cubicBezTo>
                <a:cubicBezTo>
                  <a:pt x="754" y="288"/>
                  <a:pt x="785" y="281"/>
                  <a:pt x="800" y="290"/>
                </a:cubicBezTo>
                <a:cubicBezTo>
                  <a:pt x="800" y="303"/>
                  <a:pt x="791" y="307"/>
                  <a:pt x="792" y="322"/>
                </a:cubicBezTo>
                <a:close/>
                <a:moveTo>
                  <a:pt x="804" y="274"/>
                </a:moveTo>
                <a:cubicBezTo>
                  <a:pt x="791" y="254"/>
                  <a:pt x="775" y="236"/>
                  <a:pt x="768" y="210"/>
                </a:cubicBezTo>
                <a:cubicBezTo>
                  <a:pt x="779" y="218"/>
                  <a:pt x="803" y="212"/>
                  <a:pt x="820" y="214"/>
                </a:cubicBezTo>
                <a:cubicBezTo>
                  <a:pt x="816" y="235"/>
                  <a:pt x="809" y="253"/>
                  <a:pt x="804" y="274"/>
                </a:cubicBezTo>
                <a:close/>
                <a:moveTo>
                  <a:pt x="816" y="274"/>
                </a:moveTo>
                <a:cubicBezTo>
                  <a:pt x="818" y="255"/>
                  <a:pt x="825" y="240"/>
                  <a:pt x="828" y="222"/>
                </a:cubicBezTo>
                <a:cubicBezTo>
                  <a:pt x="842" y="232"/>
                  <a:pt x="850" y="248"/>
                  <a:pt x="856" y="266"/>
                </a:cubicBezTo>
                <a:cubicBezTo>
                  <a:pt x="839" y="265"/>
                  <a:pt x="830" y="272"/>
                  <a:pt x="816" y="274"/>
                </a:cubicBezTo>
                <a:close/>
                <a:moveTo>
                  <a:pt x="836" y="218"/>
                </a:moveTo>
                <a:cubicBezTo>
                  <a:pt x="848" y="206"/>
                  <a:pt x="869" y="219"/>
                  <a:pt x="884" y="218"/>
                </a:cubicBezTo>
                <a:cubicBezTo>
                  <a:pt x="881" y="235"/>
                  <a:pt x="869" y="242"/>
                  <a:pt x="864" y="258"/>
                </a:cubicBezTo>
                <a:cubicBezTo>
                  <a:pt x="852" y="247"/>
                  <a:pt x="848" y="228"/>
                  <a:pt x="836" y="218"/>
                </a:cubicBezTo>
                <a:close/>
                <a:moveTo>
                  <a:pt x="872" y="258"/>
                </a:moveTo>
                <a:cubicBezTo>
                  <a:pt x="878" y="245"/>
                  <a:pt x="887" y="235"/>
                  <a:pt x="892" y="222"/>
                </a:cubicBezTo>
                <a:cubicBezTo>
                  <a:pt x="904" y="224"/>
                  <a:pt x="900" y="243"/>
                  <a:pt x="912" y="246"/>
                </a:cubicBezTo>
                <a:cubicBezTo>
                  <a:pt x="904" y="255"/>
                  <a:pt x="888" y="257"/>
                  <a:pt x="872" y="258"/>
                </a:cubicBezTo>
                <a:close/>
                <a:moveTo>
                  <a:pt x="904" y="226"/>
                </a:moveTo>
                <a:cubicBezTo>
                  <a:pt x="906" y="217"/>
                  <a:pt x="924" y="224"/>
                  <a:pt x="932" y="222"/>
                </a:cubicBezTo>
                <a:cubicBezTo>
                  <a:pt x="931" y="232"/>
                  <a:pt x="920" y="234"/>
                  <a:pt x="920" y="246"/>
                </a:cubicBezTo>
                <a:cubicBezTo>
                  <a:pt x="909" y="245"/>
                  <a:pt x="913" y="229"/>
                  <a:pt x="904" y="226"/>
                </a:cubicBezTo>
                <a:close/>
                <a:moveTo>
                  <a:pt x="928" y="246"/>
                </a:moveTo>
                <a:cubicBezTo>
                  <a:pt x="930" y="240"/>
                  <a:pt x="934" y="236"/>
                  <a:pt x="936" y="230"/>
                </a:cubicBezTo>
                <a:cubicBezTo>
                  <a:pt x="940" y="231"/>
                  <a:pt x="939" y="238"/>
                  <a:pt x="944" y="238"/>
                </a:cubicBezTo>
                <a:cubicBezTo>
                  <a:pt x="943" y="245"/>
                  <a:pt x="937" y="247"/>
                  <a:pt x="928" y="246"/>
                </a:cubicBezTo>
                <a:close/>
                <a:moveTo>
                  <a:pt x="944" y="230"/>
                </a:moveTo>
                <a:cubicBezTo>
                  <a:pt x="954" y="218"/>
                  <a:pt x="970" y="233"/>
                  <a:pt x="984" y="230"/>
                </a:cubicBezTo>
                <a:cubicBezTo>
                  <a:pt x="974" y="238"/>
                  <a:pt x="952" y="242"/>
                  <a:pt x="944" y="230"/>
                </a:cubicBezTo>
                <a:close/>
              </a:path>
            </a:pathLst>
          </a:custGeom>
          <a:solidFill>
            <a:schemeClr val="bg1"/>
          </a:solidFill>
          <a:ln w="9525">
            <a:solidFill>
              <a:schemeClr val="hlink"/>
            </a:solidFill>
            <a:round/>
            <a:headEnd/>
            <a:tailEnd/>
          </a:ln>
        </p:spPr>
        <p:txBody>
          <a:bodyPr/>
          <a:lstStyle/>
          <a:p>
            <a:endParaRPr lang="cs-CZ"/>
          </a:p>
        </p:txBody>
      </p:sp>
      <p:grpSp>
        <p:nvGrpSpPr>
          <p:cNvPr id="165" name="Group 164"/>
          <p:cNvGrpSpPr>
            <a:grpSpLocks/>
          </p:cNvGrpSpPr>
          <p:nvPr/>
        </p:nvGrpSpPr>
        <p:grpSpPr bwMode="auto">
          <a:xfrm>
            <a:off x="4846638" y="2605088"/>
            <a:ext cx="1152525" cy="993775"/>
            <a:chOff x="3651" y="1122"/>
            <a:chExt cx="597" cy="514"/>
          </a:xfrm>
        </p:grpSpPr>
        <p:sp>
          <p:nvSpPr>
            <p:cNvPr id="166" name="Freeform 165"/>
            <p:cNvSpPr>
              <a:spLocks/>
            </p:cNvSpPr>
            <p:nvPr/>
          </p:nvSpPr>
          <p:spPr bwMode="gray">
            <a:xfrm>
              <a:off x="3696" y="1128"/>
              <a:ext cx="363" cy="352"/>
            </a:xfrm>
            <a:custGeom>
              <a:avLst/>
              <a:gdLst>
                <a:gd name="T0" fmla="*/ 0 w 363"/>
                <a:gd name="T1" fmla="*/ 352 h 352"/>
                <a:gd name="T2" fmla="*/ 363 w 363"/>
                <a:gd name="T3" fmla="*/ 216 h 352"/>
                <a:gd name="T4" fmla="*/ 159 w 363"/>
                <a:gd name="T5" fmla="*/ 0 h 352"/>
              </a:gdLst>
              <a:ahLst/>
              <a:cxnLst>
                <a:cxn ang="0">
                  <a:pos x="T0" y="T1"/>
                </a:cxn>
                <a:cxn ang="0">
                  <a:pos x="T2" y="T3"/>
                </a:cxn>
                <a:cxn ang="0">
                  <a:pos x="T4" y="T5"/>
                </a:cxn>
              </a:cxnLst>
              <a:rect l="0" t="0" r="r" b="b"/>
              <a:pathLst>
                <a:path w="363" h="352">
                  <a:moveTo>
                    <a:pt x="0" y="352"/>
                  </a:moveTo>
                  <a:lnTo>
                    <a:pt x="363" y="216"/>
                  </a:lnTo>
                  <a:lnTo>
                    <a:pt x="159" y="0"/>
                  </a:lnTo>
                </a:path>
              </a:pathLst>
            </a:custGeom>
            <a:noFill/>
            <a:ln w="31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cs-CZ"/>
            </a:p>
          </p:txBody>
        </p:sp>
        <p:sp>
          <p:nvSpPr>
            <p:cNvPr id="167" name="Freeform 166"/>
            <p:cNvSpPr>
              <a:spLocks/>
            </p:cNvSpPr>
            <p:nvPr/>
          </p:nvSpPr>
          <p:spPr bwMode="gray">
            <a:xfrm>
              <a:off x="3920" y="1122"/>
              <a:ext cx="295" cy="358"/>
            </a:xfrm>
            <a:custGeom>
              <a:avLst/>
              <a:gdLst>
                <a:gd name="T0" fmla="*/ 0 w 295"/>
                <a:gd name="T1" fmla="*/ 358 h 358"/>
                <a:gd name="T2" fmla="*/ 295 w 295"/>
                <a:gd name="T3" fmla="*/ 225 h 358"/>
                <a:gd name="T4" fmla="*/ 25 w 295"/>
                <a:gd name="T5" fmla="*/ 0 h 358"/>
              </a:gdLst>
              <a:ahLst/>
              <a:cxnLst>
                <a:cxn ang="0">
                  <a:pos x="T0" y="T1"/>
                </a:cxn>
                <a:cxn ang="0">
                  <a:pos x="T2" y="T3"/>
                </a:cxn>
                <a:cxn ang="0">
                  <a:pos x="T4" y="T5"/>
                </a:cxn>
              </a:cxnLst>
              <a:rect l="0" t="0" r="r" b="b"/>
              <a:pathLst>
                <a:path w="295" h="358">
                  <a:moveTo>
                    <a:pt x="0" y="358"/>
                  </a:moveTo>
                  <a:lnTo>
                    <a:pt x="295" y="225"/>
                  </a:lnTo>
                  <a:lnTo>
                    <a:pt x="25" y="0"/>
                  </a:lnTo>
                </a:path>
              </a:pathLst>
            </a:custGeom>
            <a:noFill/>
            <a:ln w="31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cs-CZ"/>
            </a:p>
          </p:txBody>
        </p:sp>
        <p:sp>
          <p:nvSpPr>
            <p:cNvPr id="168" name="Freeform 167"/>
            <p:cNvSpPr>
              <a:spLocks/>
            </p:cNvSpPr>
            <p:nvPr/>
          </p:nvSpPr>
          <p:spPr bwMode="gray">
            <a:xfrm>
              <a:off x="3651" y="1173"/>
              <a:ext cx="366" cy="451"/>
            </a:xfrm>
            <a:custGeom>
              <a:avLst/>
              <a:gdLst>
                <a:gd name="T0" fmla="*/ 0 w 366"/>
                <a:gd name="T1" fmla="*/ 451 h 451"/>
                <a:gd name="T2" fmla="*/ 366 w 366"/>
                <a:gd name="T3" fmla="*/ 279 h 451"/>
                <a:gd name="T4" fmla="*/ 183 w 366"/>
                <a:gd name="T5" fmla="*/ 0 h 451"/>
              </a:gdLst>
              <a:ahLst/>
              <a:cxnLst>
                <a:cxn ang="0">
                  <a:pos x="T0" y="T1"/>
                </a:cxn>
                <a:cxn ang="0">
                  <a:pos x="T2" y="T3"/>
                </a:cxn>
                <a:cxn ang="0">
                  <a:pos x="T4" y="T5"/>
                </a:cxn>
              </a:cxnLst>
              <a:rect l="0" t="0" r="r" b="b"/>
              <a:pathLst>
                <a:path w="366" h="451">
                  <a:moveTo>
                    <a:pt x="0" y="451"/>
                  </a:moveTo>
                  <a:lnTo>
                    <a:pt x="366" y="279"/>
                  </a:lnTo>
                  <a:lnTo>
                    <a:pt x="183" y="0"/>
                  </a:lnTo>
                </a:path>
              </a:pathLst>
            </a:custGeom>
            <a:noFill/>
            <a:ln w="31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cs-CZ"/>
            </a:p>
          </p:txBody>
        </p:sp>
        <p:sp>
          <p:nvSpPr>
            <p:cNvPr id="169" name="Freeform 168"/>
            <p:cNvSpPr>
              <a:spLocks/>
            </p:cNvSpPr>
            <p:nvPr/>
          </p:nvSpPr>
          <p:spPr bwMode="gray">
            <a:xfrm>
              <a:off x="3948" y="1188"/>
              <a:ext cx="300" cy="436"/>
            </a:xfrm>
            <a:custGeom>
              <a:avLst/>
              <a:gdLst>
                <a:gd name="T0" fmla="*/ 0 w 300"/>
                <a:gd name="T1" fmla="*/ 436 h 436"/>
                <a:gd name="T2" fmla="*/ 300 w 300"/>
                <a:gd name="T3" fmla="*/ 270 h 436"/>
                <a:gd name="T4" fmla="*/ 18 w 300"/>
                <a:gd name="T5" fmla="*/ 0 h 436"/>
              </a:gdLst>
              <a:ahLst/>
              <a:cxnLst>
                <a:cxn ang="0">
                  <a:pos x="T0" y="T1"/>
                </a:cxn>
                <a:cxn ang="0">
                  <a:pos x="T2" y="T3"/>
                </a:cxn>
                <a:cxn ang="0">
                  <a:pos x="T4" y="T5"/>
                </a:cxn>
              </a:cxnLst>
              <a:rect l="0" t="0" r="r" b="b"/>
              <a:pathLst>
                <a:path w="300" h="436">
                  <a:moveTo>
                    <a:pt x="0" y="436"/>
                  </a:moveTo>
                  <a:lnTo>
                    <a:pt x="300" y="270"/>
                  </a:lnTo>
                  <a:lnTo>
                    <a:pt x="18" y="0"/>
                  </a:lnTo>
                </a:path>
              </a:pathLst>
            </a:custGeom>
            <a:noFill/>
            <a:ln w="31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cs-CZ"/>
            </a:p>
          </p:txBody>
        </p:sp>
        <p:sp>
          <p:nvSpPr>
            <p:cNvPr id="170" name="Freeform 169"/>
            <p:cNvSpPr>
              <a:spLocks/>
            </p:cNvSpPr>
            <p:nvPr/>
          </p:nvSpPr>
          <p:spPr bwMode="gray">
            <a:xfrm>
              <a:off x="3804" y="1185"/>
              <a:ext cx="327" cy="451"/>
            </a:xfrm>
            <a:custGeom>
              <a:avLst/>
              <a:gdLst>
                <a:gd name="T0" fmla="*/ 0 w 327"/>
                <a:gd name="T1" fmla="*/ 451 h 451"/>
                <a:gd name="T2" fmla="*/ 327 w 327"/>
                <a:gd name="T3" fmla="*/ 276 h 451"/>
                <a:gd name="T4" fmla="*/ 99 w 327"/>
                <a:gd name="T5" fmla="*/ 0 h 451"/>
              </a:gdLst>
              <a:ahLst/>
              <a:cxnLst>
                <a:cxn ang="0">
                  <a:pos x="T0" y="T1"/>
                </a:cxn>
                <a:cxn ang="0">
                  <a:pos x="T2" y="T3"/>
                </a:cxn>
                <a:cxn ang="0">
                  <a:pos x="T4" y="T5"/>
                </a:cxn>
              </a:cxnLst>
              <a:rect l="0" t="0" r="r" b="b"/>
              <a:pathLst>
                <a:path w="327" h="451">
                  <a:moveTo>
                    <a:pt x="0" y="451"/>
                  </a:moveTo>
                  <a:lnTo>
                    <a:pt x="327" y="276"/>
                  </a:lnTo>
                  <a:lnTo>
                    <a:pt x="99" y="0"/>
                  </a:lnTo>
                </a:path>
              </a:pathLst>
            </a:custGeom>
            <a:noFill/>
            <a:ln w="31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cs-CZ"/>
            </a:p>
          </p:txBody>
        </p:sp>
      </p:grpSp>
      <p:sp>
        <p:nvSpPr>
          <p:cNvPr id="171" name="Text Box 171"/>
          <p:cNvSpPr txBox="1">
            <a:spLocks noChangeArrowheads="1"/>
          </p:cNvSpPr>
          <p:nvPr/>
        </p:nvSpPr>
        <p:spPr bwMode="auto">
          <a:xfrm>
            <a:off x="4389438" y="6589713"/>
            <a:ext cx="349250" cy="254000"/>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eaLnBrk="0" hangingPunct="0">
              <a:lnSpc>
                <a:spcPct val="90000"/>
              </a:lnSpc>
              <a:tabLst>
                <a:tab pos="8001000" algn="l"/>
              </a:tabLst>
              <a:defRPr sz="3000">
                <a:solidFill>
                  <a:schemeClr val="bg1"/>
                </a:solidFill>
                <a:latin typeface="Arial" pitchFamily="34" charset="0"/>
              </a:defRPr>
            </a:lvl1pPr>
            <a:lvl2pPr defTabSz="900113" eaLnBrk="0" hangingPunct="0">
              <a:lnSpc>
                <a:spcPct val="90000"/>
              </a:lnSpc>
              <a:tabLst>
                <a:tab pos="8001000" algn="l"/>
              </a:tabLst>
              <a:defRPr sz="3000">
                <a:solidFill>
                  <a:schemeClr val="bg1"/>
                </a:solidFill>
                <a:latin typeface="Arial" pitchFamily="34" charset="0"/>
              </a:defRPr>
            </a:lvl2pPr>
            <a:lvl3pPr defTabSz="900113" eaLnBrk="0" hangingPunct="0">
              <a:lnSpc>
                <a:spcPct val="90000"/>
              </a:lnSpc>
              <a:tabLst>
                <a:tab pos="8001000" algn="l"/>
              </a:tabLst>
              <a:defRPr sz="3000">
                <a:solidFill>
                  <a:schemeClr val="bg1"/>
                </a:solidFill>
                <a:latin typeface="Arial" pitchFamily="34" charset="0"/>
              </a:defRPr>
            </a:lvl3pPr>
            <a:lvl4pPr defTabSz="900113" eaLnBrk="0" hangingPunct="0">
              <a:lnSpc>
                <a:spcPct val="90000"/>
              </a:lnSpc>
              <a:tabLst>
                <a:tab pos="8001000" algn="l"/>
              </a:tabLst>
              <a:defRPr sz="3000">
                <a:solidFill>
                  <a:schemeClr val="bg1"/>
                </a:solidFill>
                <a:latin typeface="Arial" pitchFamily="34" charset="0"/>
              </a:defRPr>
            </a:lvl4pPr>
            <a:lvl5pPr defTabSz="900113" eaLnBrk="0" hangingPunct="0">
              <a:lnSpc>
                <a:spcPct val="90000"/>
              </a:lnSpc>
              <a:tabLst>
                <a:tab pos="8001000" algn="l"/>
              </a:tabLst>
              <a:defRPr sz="3000">
                <a:solidFill>
                  <a:schemeClr val="bg1"/>
                </a:solidFill>
                <a:latin typeface="Arial" pitchFamily="34" charset="0"/>
              </a:defRPr>
            </a:lvl5pPr>
            <a:lvl6pPr algn="ctr" defTabSz="900113" eaLnBrk="0" fontAlgn="base" hangingPunct="0">
              <a:lnSpc>
                <a:spcPct val="90000"/>
              </a:lnSpc>
              <a:spcBef>
                <a:spcPct val="0"/>
              </a:spcBef>
              <a:spcAft>
                <a:spcPct val="0"/>
              </a:spcAft>
              <a:tabLst>
                <a:tab pos="8001000" algn="l"/>
              </a:tabLst>
              <a:defRPr sz="3000">
                <a:solidFill>
                  <a:schemeClr val="bg1"/>
                </a:solidFill>
                <a:latin typeface="Arial" pitchFamily="34" charset="0"/>
              </a:defRPr>
            </a:lvl6pPr>
            <a:lvl7pPr algn="ctr" defTabSz="900113" eaLnBrk="0" fontAlgn="base" hangingPunct="0">
              <a:lnSpc>
                <a:spcPct val="90000"/>
              </a:lnSpc>
              <a:spcBef>
                <a:spcPct val="0"/>
              </a:spcBef>
              <a:spcAft>
                <a:spcPct val="0"/>
              </a:spcAft>
              <a:tabLst>
                <a:tab pos="8001000" algn="l"/>
              </a:tabLst>
              <a:defRPr sz="3000">
                <a:solidFill>
                  <a:schemeClr val="bg1"/>
                </a:solidFill>
                <a:latin typeface="Arial" pitchFamily="34" charset="0"/>
              </a:defRPr>
            </a:lvl7pPr>
            <a:lvl8pPr algn="ctr" defTabSz="900113" eaLnBrk="0" fontAlgn="base" hangingPunct="0">
              <a:lnSpc>
                <a:spcPct val="90000"/>
              </a:lnSpc>
              <a:spcBef>
                <a:spcPct val="0"/>
              </a:spcBef>
              <a:spcAft>
                <a:spcPct val="0"/>
              </a:spcAft>
              <a:tabLst>
                <a:tab pos="8001000" algn="l"/>
              </a:tabLst>
              <a:defRPr sz="3000">
                <a:solidFill>
                  <a:schemeClr val="bg1"/>
                </a:solidFill>
                <a:latin typeface="Arial" pitchFamily="34" charset="0"/>
              </a:defRPr>
            </a:lvl8pPr>
            <a:lvl9pPr algn="ctr" defTabSz="900113" eaLnBrk="0" fontAlgn="base" hangingPunct="0">
              <a:lnSpc>
                <a:spcPct val="90000"/>
              </a:lnSpc>
              <a:spcBef>
                <a:spcPct val="0"/>
              </a:spcBef>
              <a:spcAft>
                <a:spcPct val="0"/>
              </a:spcAft>
              <a:tabLst>
                <a:tab pos="8001000" algn="l"/>
              </a:tabLst>
              <a:defRPr sz="3000">
                <a:solidFill>
                  <a:schemeClr val="bg1"/>
                </a:solidFill>
                <a:latin typeface="Arial" pitchFamily="34" charset="0"/>
              </a:defRPr>
            </a:lvl9pPr>
          </a:lstStyle>
          <a:p>
            <a:fld id="{010F00FB-FA30-4A72-9566-851645DF2ABE}" type="slidenum">
              <a:rPr lang="cs-CZ" sz="1200" b="1"/>
              <a:pPr/>
              <a:t>25</a:t>
            </a:fld>
            <a:endParaRPr lang="cs-CZ" sz="1200" b="1"/>
          </a:p>
        </p:txBody>
      </p:sp>
      <p:sp>
        <p:nvSpPr>
          <p:cNvPr id="2" name="Nadpis 1"/>
          <p:cNvSpPr>
            <a:spLocks noGrp="1"/>
          </p:cNvSpPr>
          <p:nvPr>
            <p:ph type="title"/>
          </p:nvPr>
        </p:nvSpPr>
        <p:spPr/>
        <p:txBody>
          <a:bodyPr>
            <a:normAutofit fontScale="90000"/>
          </a:bodyPr>
          <a:lstStyle/>
          <a:p>
            <a:r>
              <a:rPr lang="cs-CZ" dirty="0" smtClean="0"/>
              <a:t>Priority evropské </a:t>
            </a:r>
            <a:br>
              <a:rPr lang="cs-CZ" dirty="0" smtClean="0"/>
            </a:br>
            <a:r>
              <a:rPr lang="cs-CZ" dirty="0" smtClean="0"/>
              <a:t>infrastruktury</a:t>
            </a:r>
            <a:endParaRPr lang="cs-CZ" dirty="0"/>
          </a:p>
        </p:txBody>
      </p:sp>
    </p:spTree>
    <p:extLst>
      <p:ext uri="{BB962C8B-B14F-4D97-AF65-F5344CB8AC3E}">
        <p14:creationId xmlns:p14="http://schemas.microsoft.com/office/powerpoint/2010/main" val="228184088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2123728" y="260648"/>
            <a:ext cx="5256584" cy="792088"/>
          </a:xfrm>
        </p:spPr>
        <p:txBody>
          <a:bodyPr/>
          <a:lstStyle/>
          <a:p>
            <a:r>
              <a:rPr lang="cs-CZ" dirty="0" smtClean="0"/>
              <a:t>Rozmístění OZE v DE</a:t>
            </a:r>
            <a:endParaRPr lang="cs-CZ" dirty="0"/>
          </a:p>
        </p:txBody>
      </p:sp>
      <p:pic>
        <p:nvPicPr>
          <p:cNvPr id="4"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8200" y="1340768"/>
            <a:ext cx="7488956" cy="53150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983341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77" name="Picture 157" descr="tsc_map_v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79512" y="1192697"/>
            <a:ext cx="7343775" cy="4984580"/>
          </a:xfrm>
          <a:prstGeom prst="rect">
            <a:avLst/>
          </a:prstGeom>
          <a:noFill/>
        </p:spPr>
      </p:pic>
      <p:sp>
        <p:nvSpPr>
          <p:cNvPr id="5130" name="Rectangle 11"/>
          <p:cNvSpPr>
            <a:spLocks noChangeArrowheads="1"/>
          </p:cNvSpPr>
          <p:nvPr/>
        </p:nvSpPr>
        <p:spPr bwMode="auto">
          <a:xfrm>
            <a:off x="827088" y="188913"/>
            <a:ext cx="6500812" cy="476250"/>
          </a:xfrm>
          <a:prstGeom prst="rect">
            <a:avLst/>
          </a:prstGeom>
          <a:noFill/>
          <a:ln w="9525">
            <a:noFill/>
            <a:miter lim="800000"/>
            <a:headEnd/>
            <a:tailEnd/>
          </a:ln>
        </p:spPr>
        <p:txBody>
          <a:bodyPr anchor="ctr"/>
          <a:lstStyle/>
          <a:p>
            <a:pPr algn="l" eaLnBrk="1" hangingPunct="1">
              <a:lnSpc>
                <a:spcPts val="3200"/>
              </a:lnSpc>
            </a:pPr>
            <a:endParaRPr lang="en-GB" sz="1600" b="1" dirty="0">
              <a:latin typeface="Verdana" pitchFamily="34" charset="0"/>
            </a:endParaRPr>
          </a:p>
        </p:txBody>
      </p:sp>
      <p:sp>
        <p:nvSpPr>
          <p:cNvPr id="5184" name="Line 150"/>
          <p:cNvSpPr>
            <a:spLocks noChangeShapeType="1"/>
          </p:cNvSpPr>
          <p:nvPr/>
        </p:nvSpPr>
        <p:spPr bwMode="auto">
          <a:xfrm>
            <a:off x="3203575" y="1341438"/>
            <a:ext cx="3744913" cy="4895850"/>
          </a:xfrm>
          <a:prstGeom prst="line">
            <a:avLst/>
          </a:prstGeom>
          <a:noFill/>
          <a:ln w="9525">
            <a:noFill/>
            <a:round/>
            <a:headEnd/>
            <a:tailEnd type="triangle" w="med" len="med"/>
          </a:ln>
        </p:spPr>
        <p:txBody>
          <a:bodyPr lIns="0" tIns="137160" rIns="182880" bIns="137160"/>
          <a:lstStyle/>
          <a:p>
            <a:endParaRPr lang="cs-CZ"/>
          </a:p>
        </p:txBody>
      </p:sp>
      <p:sp>
        <p:nvSpPr>
          <p:cNvPr id="64664" name="Oval 152"/>
          <p:cNvSpPr>
            <a:spLocks noChangeArrowheads="1"/>
          </p:cNvSpPr>
          <p:nvPr/>
        </p:nvSpPr>
        <p:spPr bwMode="auto">
          <a:xfrm rot="-833307">
            <a:off x="1690129" y="1280520"/>
            <a:ext cx="2610714" cy="2062225"/>
          </a:xfrm>
          <a:prstGeom prst="ellipse">
            <a:avLst/>
          </a:prstGeom>
          <a:noFill/>
          <a:ln w="19050" algn="ctr">
            <a:solidFill>
              <a:srgbClr val="FF0000"/>
            </a:solidFill>
            <a:prstDash val="dash"/>
            <a:round/>
            <a:headEnd/>
            <a:tailEnd/>
          </a:ln>
        </p:spPr>
        <p:txBody>
          <a:bodyPr wrap="none" lIns="0" tIns="137160" rIns="182880" bIns="137160" anchor="ctr"/>
          <a:lstStyle/>
          <a:p>
            <a:pPr eaLnBrk="1" hangingPunct="1"/>
            <a:endParaRPr lang="cs-CZ" sz="1800" b="0">
              <a:latin typeface="Verdana" pitchFamily="34" charset="0"/>
            </a:endParaRPr>
          </a:p>
        </p:txBody>
      </p:sp>
      <p:sp>
        <p:nvSpPr>
          <p:cNvPr id="64665" name="Oval 153"/>
          <p:cNvSpPr>
            <a:spLocks noChangeArrowheads="1"/>
          </p:cNvSpPr>
          <p:nvPr/>
        </p:nvSpPr>
        <p:spPr bwMode="auto">
          <a:xfrm rot="-1186182">
            <a:off x="3518228" y="4975262"/>
            <a:ext cx="3788645" cy="1458927"/>
          </a:xfrm>
          <a:prstGeom prst="ellipse">
            <a:avLst/>
          </a:prstGeom>
          <a:noFill/>
          <a:ln w="19050" algn="ctr">
            <a:solidFill>
              <a:srgbClr val="FF0000"/>
            </a:solidFill>
            <a:prstDash val="dash"/>
            <a:round/>
            <a:headEnd/>
            <a:tailEnd/>
          </a:ln>
        </p:spPr>
        <p:txBody>
          <a:bodyPr wrap="none" lIns="0" tIns="137160" rIns="182880" bIns="137160" anchor="ctr"/>
          <a:lstStyle/>
          <a:p>
            <a:pPr eaLnBrk="1" hangingPunct="1"/>
            <a:endParaRPr lang="cs-CZ" sz="1800" b="0">
              <a:latin typeface="Verdana" pitchFamily="34" charset="0"/>
            </a:endParaRPr>
          </a:p>
        </p:txBody>
      </p:sp>
      <p:sp>
        <p:nvSpPr>
          <p:cNvPr id="2" name="AutoShape 33"/>
          <p:cNvSpPr>
            <a:spLocks noChangeArrowheads="1"/>
          </p:cNvSpPr>
          <p:nvPr/>
        </p:nvSpPr>
        <p:spPr bwMode="auto">
          <a:xfrm rot="5400000">
            <a:off x="1283736" y="3019282"/>
            <a:ext cx="2293690" cy="1407355"/>
          </a:xfrm>
          <a:prstGeom prst="rightArrow">
            <a:avLst>
              <a:gd name="adj1" fmla="val 50000"/>
              <a:gd name="adj2" fmla="val 69485"/>
            </a:avLst>
          </a:prstGeom>
          <a:solidFill>
            <a:srgbClr val="FF0000">
              <a:alpha val="20000"/>
            </a:srgbClr>
          </a:solidFill>
          <a:ln w="152400" algn="ctr">
            <a:noFill/>
            <a:prstDash val="dash"/>
            <a:miter lim="800000"/>
            <a:headEnd/>
            <a:tailEnd/>
          </a:ln>
        </p:spPr>
        <p:txBody>
          <a:bodyPr rot="10800000" vert="eaVert" wrap="none" lIns="0" tIns="137160" rIns="182880" bIns="137160" anchor="ctr"/>
          <a:lstStyle/>
          <a:p>
            <a:pPr eaLnBrk="1" hangingPunct="1"/>
            <a:endParaRPr lang="cs-CZ" sz="1800" b="0">
              <a:latin typeface="Verdana" pitchFamily="34" charset="0"/>
            </a:endParaRPr>
          </a:p>
        </p:txBody>
      </p:sp>
      <p:grpSp>
        <p:nvGrpSpPr>
          <p:cNvPr id="3" name="Group 1037"/>
          <p:cNvGrpSpPr>
            <a:grpSpLocks/>
          </p:cNvGrpSpPr>
          <p:nvPr/>
        </p:nvGrpSpPr>
        <p:grpSpPr bwMode="auto">
          <a:xfrm>
            <a:off x="3965990" y="5496722"/>
            <a:ext cx="239712" cy="628650"/>
            <a:chOff x="92" y="829"/>
            <a:chExt cx="428" cy="1062"/>
          </a:xfrm>
        </p:grpSpPr>
        <p:sp>
          <p:nvSpPr>
            <p:cNvPr id="5230" name="Rectangle 1038"/>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5231" name="Oval 1039"/>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5232" name="Oval 1040"/>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5233" name="Oval 1041"/>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5234" name="Oval 1042"/>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6" name="Group 1061"/>
          <p:cNvGrpSpPr>
            <a:grpSpLocks/>
          </p:cNvGrpSpPr>
          <p:nvPr/>
        </p:nvGrpSpPr>
        <p:grpSpPr bwMode="auto">
          <a:xfrm>
            <a:off x="3697327" y="4683919"/>
            <a:ext cx="239712" cy="628650"/>
            <a:chOff x="92" y="829"/>
            <a:chExt cx="428" cy="1062"/>
          </a:xfrm>
        </p:grpSpPr>
        <p:sp>
          <p:nvSpPr>
            <p:cNvPr id="5254" name="Rectangle 1062"/>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5255" name="Oval 1063"/>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5256" name="Oval 1064"/>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5257" name="Oval 1065"/>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5258" name="Oval 1066"/>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7" name="Group 1112"/>
          <p:cNvGrpSpPr>
            <a:grpSpLocks/>
          </p:cNvGrpSpPr>
          <p:nvPr/>
        </p:nvGrpSpPr>
        <p:grpSpPr bwMode="auto">
          <a:xfrm>
            <a:off x="5618162" y="1924562"/>
            <a:ext cx="239713" cy="628650"/>
            <a:chOff x="2424" y="951"/>
            <a:chExt cx="151" cy="396"/>
          </a:xfrm>
        </p:grpSpPr>
        <p:sp>
          <p:nvSpPr>
            <p:cNvPr id="5260" name="Rectangle 1113"/>
            <p:cNvSpPr>
              <a:spLocks noChangeArrowheads="1"/>
            </p:cNvSpPr>
            <p:nvPr/>
          </p:nvSpPr>
          <p:spPr bwMode="auto">
            <a:xfrm>
              <a:off x="2424" y="951"/>
              <a:ext cx="151" cy="396"/>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5261" name="Oval 1114"/>
            <p:cNvSpPr>
              <a:spLocks noChangeArrowheads="1"/>
            </p:cNvSpPr>
            <p:nvPr/>
          </p:nvSpPr>
          <p:spPr bwMode="auto">
            <a:xfrm>
              <a:off x="2442" y="968"/>
              <a:ext cx="113" cy="10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5262" name="Oval 1115"/>
            <p:cNvSpPr>
              <a:spLocks noChangeArrowheads="1"/>
            </p:cNvSpPr>
            <p:nvPr/>
          </p:nvSpPr>
          <p:spPr bwMode="auto">
            <a:xfrm>
              <a:off x="2442" y="1093"/>
              <a:ext cx="113" cy="106"/>
            </a:xfrm>
            <a:prstGeom prst="ellipse">
              <a:avLst/>
            </a:prstGeom>
            <a:solidFill>
              <a:srgbClr val="FFFF00"/>
            </a:solid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5263" name="Oval 1116"/>
            <p:cNvSpPr>
              <a:spLocks noChangeArrowheads="1"/>
            </p:cNvSpPr>
            <p:nvPr/>
          </p:nvSpPr>
          <p:spPr bwMode="auto">
            <a:xfrm>
              <a:off x="2442" y="1217"/>
              <a:ext cx="113" cy="107"/>
            </a:xfrm>
            <a:prstGeom prst="ellipse">
              <a:avLst/>
            </a:prstGeom>
            <a:noFill/>
            <a:ln w="9525">
              <a:solidFill>
                <a:srgbClr val="00FF00"/>
              </a:solidFill>
              <a:round/>
              <a:headEnd/>
              <a:tailEnd/>
            </a:ln>
          </p:spPr>
          <p:txBody>
            <a:bodyPr wrap="none" anchor="ctr"/>
            <a:lstStyle/>
            <a:p>
              <a:pPr eaLnBrk="1" hangingPunct="1"/>
              <a:endParaRPr lang="pl-PL" sz="1800" b="0">
                <a:latin typeface="Verdana" pitchFamily="34" charset="0"/>
              </a:endParaRPr>
            </a:p>
          </p:txBody>
        </p:sp>
      </p:grpSp>
      <p:grpSp>
        <p:nvGrpSpPr>
          <p:cNvPr id="8" name="Group 1117"/>
          <p:cNvGrpSpPr>
            <a:grpSpLocks/>
          </p:cNvGrpSpPr>
          <p:nvPr/>
        </p:nvGrpSpPr>
        <p:grpSpPr bwMode="auto">
          <a:xfrm>
            <a:off x="4067794" y="3375425"/>
            <a:ext cx="239712" cy="628650"/>
            <a:chOff x="2424" y="951"/>
            <a:chExt cx="151" cy="396"/>
          </a:xfrm>
        </p:grpSpPr>
        <p:sp>
          <p:nvSpPr>
            <p:cNvPr id="5265" name="Rectangle 1118"/>
            <p:cNvSpPr>
              <a:spLocks noChangeArrowheads="1"/>
            </p:cNvSpPr>
            <p:nvPr/>
          </p:nvSpPr>
          <p:spPr bwMode="auto">
            <a:xfrm>
              <a:off x="2424" y="951"/>
              <a:ext cx="151" cy="396"/>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5266" name="Oval 1119"/>
            <p:cNvSpPr>
              <a:spLocks noChangeArrowheads="1"/>
            </p:cNvSpPr>
            <p:nvPr/>
          </p:nvSpPr>
          <p:spPr bwMode="auto">
            <a:xfrm>
              <a:off x="2442" y="968"/>
              <a:ext cx="113" cy="10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5267" name="Oval 1120"/>
            <p:cNvSpPr>
              <a:spLocks noChangeArrowheads="1"/>
            </p:cNvSpPr>
            <p:nvPr/>
          </p:nvSpPr>
          <p:spPr bwMode="auto">
            <a:xfrm>
              <a:off x="2442" y="1093"/>
              <a:ext cx="113" cy="106"/>
            </a:xfrm>
            <a:prstGeom prst="ellipse">
              <a:avLst/>
            </a:prstGeom>
            <a:solidFill>
              <a:srgbClr val="FFFF00"/>
            </a:solid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5268" name="Oval 1121"/>
            <p:cNvSpPr>
              <a:spLocks noChangeArrowheads="1"/>
            </p:cNvSpPr>
            <p:nvPr/>
          </p:nvSpPr>
          <p:spPr bwMode="auto">
            <a:xfrm>
              <a:off x="2442" y="1217"/>
              <a:ext cx="113" cy="107"/>
            </a:xfrm>
            <a:prstGeom prst="ellipse">
              <a:avLst/>
            </a:prstGeom>
            <a:noFill/>
            <a:ln w="9525">
              <a:solidFill>
                <a:srgbClr val="00FF00"/>
              </a:solidFill>
              <a:round/>
              <a:headEnd/>
              <a:tailEnd/>
            </a:ln>
          </p:spPr>
          <p:txBody>
            <a:bodyPr wrap="none" anchor="ctr"/>
            <a:lstStyle/>
            <a:p>
              <a:pPr eaLnBrk="1" hangingPunct="1"/>
              <a:endParaRPr lang="pl-PL" sz="1800" b="0">
                <a:latin typeface="Verdana" pitchFamily="34" charset="0"/>
              </a:endParaRPr>
            </a:p>
          </p:txBody>
        </p:sp>
      </p:grpSp>
      <p:grpSp>
        <p:nvGrpSpPr>
          <p:cNvPr id="10" name="Group 1117"/>
          <p:cNvGrpSpPr>
            <a:grpSpLocks/>
          </p:cNvGrpSpPr>
          <p:nvPr/>
        </p:nvGrpSpPr>
        <p:grpSpPr bwMode="auto">
          <a:xfrm>
            <a:off x="6134564" y="3942142"/>
            <a:ext cx="239713" cy="628650"/>
            <a:chOff x="2424" y="951"/>
            <a:chExt cx="151" cy="396"/>
          </a:xfrm>
        </p:grpSpPr>
        <p:sp>
          <p:nvSpPr>
            <p:cNvPr id="5279" name="Rectangle 1118"/>
            <p:cNvSpPr>
              <a:spLocks noChangeArrowheads="1"/>
            </p:cNvSpPr>
            <p:nvPr/>
          </p:nvSpPr>
          <p:spPr bwMode="auto">
            <a:xfrm>
              <a:off x="2424" y="951"/>
              <a:ext cx="151" cy="396"/>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5280" name="Oval 1119"/>
            <p:cNvSpPr>
              <a:spLocks noChangeArrowheads="1"/>
            </p:cNvSpPr>
            <p:nvPr/>
          </p:nvSpPr>
          <p:spPr bwMode="auto">
            <a:xfrm>
              <a:off x="2442" y="968"/>
              <a:ext cx="113" cy="10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5281" name="Oval 1120"/>
            <p:cNvSpPr>
              <a:spLocks noChangeArrowheads="1"/>
            </p:cNvSpPr>
            <p:nvPr/>
          </p:nvSpPr>
          <p:spPr bwMode="auto">
            <a:xfrm>
              <a:off x="2442" y="1093"/>
              <a:ext cx="113" cy="106"/>
            </a:xfrm>
            <a:prstGeom prst="ellipse">
              <a:avLst/>
            </a:prstGeom>
            <a:solidFill>
              <a:srgbClr val="FFFF00"/>
            </a:solid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5282" name="Oval 1121"/>
            <p:cNvSpPr>
              <a:spLocks noChangeArrowheads="1"/>
            </p:cNvSpPr>
            <p:nvPr/>
          </p:nvSpPr>
          <p:spPr bwMode="auto">
            <a:xfrm>
              <a:off x="2442" y="1217"/>
              <a:ext cx="113" cy="107"/>
            </a:xfrm>
            <a:prstGeom prst="ellipse">
              <a:avLst/>
            </a:prstGeom>
            <a:noFill/>
            <a:ln w="9525">
              <a:solidFill>
                <a:srgbClr val="00FF00"/>
              </a:solidFill>
              <a:round/>
              <a:headEnd/>
              <a:tailEnd/>
            </a:ln>
          </p:spPr>
          <p:txBody>
            <a:bodyPr wrap="none" anchor="ctr"/>
            <a:lstStyle/>
            <a:p>
              <a:pPr eaLnBrk="1" hangingPunct="1"/>
              <a:endParaRPr lang="pl-PL" sz="1800" b="0">
                <a:latin typeface="Verdana" pitchFamily="34" charset="0"/>
              </a:endParaRPr>
            </a:p>
          </p:txBody>
        </p:sp>
      </p:grpSp>
      <p:grpSp>
        <p:nvGrpSpPr>
          <p:cNvPr id="64" name="Group 1055"/>
          <p:cNvGrpSpPr>
            <a:grpSpLocks/>
          </p:cNvGrpSpPr>
          <p:nvPr/>
        </p:nvGrpSpPr>
        <p:grpSpPr bwMode="auto">
          <a:xfrm>
            <a:off x="2928696" y="3606259"/>
            <a:ext cx="239712" cy="628650"/>
            <a:chOff x="92" y="829"/>
            <a:chExt cx="428" cy="1062"/>
          </a:xfrm>
        </p:grpSpPr>
        <p:sp>
          <p:nvSpPr>
            <p:cNvPr id="65"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66"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67"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68"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69"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70" name="Group 1055"/>
          <p:cNvGrpSpPr>
            <a:grpSpLocks/>
          </p:cNvGrpSpPr>
          <p:nvPr/>
        </p:nvGrpSpPr>
        <p:grpSpPr bwMode="auto">
          <a:xfrm>
            <a:off x="1810888" y="3748871"/>
            <a:ext cx="239712" cy="628650"/>
            <a:chOff x="92" y="829"/>
            <a:chExt cx="428" cy="1062"/>
          </a:xfrm>
        </p:grpSpPr>
        <p:sp>
          <p:nvSpPr>
            <p:cNvPr id="71"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72"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73"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74"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75"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76" name="Group 1112"/>
          <p:cNvGrpSpPr>
            <a:grpSpLocks/>
          </p:cNvGrpSpPr>
          <p:nvPr/>
        </p:nvGrpSpPr>
        <p:grpSpPr bwMode="auto">
          <a:xfrm>
            <a:off x="3330574" y="1691334"/>
            <a:ext cx="239713" cy="628650"/>
            <a:chOff x="2424" y="951"/>
            <a:chExt cx="151" cy="396"/>
          </a:xfrm>
        </p:grpSpPr>
        <p:sp>
          <p:nvSpPr>
            <p:cNvPr id="77" name="Rectangle 1113"/>
            <p:cNvSpPr>
              <a:spLocks noChangeArrowheads="1"/>
            </p:cNvSpPr>
            <p:nvPr/>
          </p:nvSpPr>
          <p:spPr bwMode="auto">
            <a:xfrm>
              <a:off x="2424" y="951"/>
              <a:ext cx="151" cy="396"/>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78" name="Oval 1114"/>
            <p:cNvSpPr>
              <a:spLocks noChangeArrowheads="1"/>
            </p:cNvSpPr>
            <p:nvPr/>
          </p:nvSpPr>
          <p:spPr bwMode="auto">
            <a:xfrm>
              <a:off x="2442" y="968"/>
              <a:ext cx="113" cy="10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79" name="Oval 1115"/>
            <p:cNvSpPr>
              <a:spLocks noChangeArrowheads="1"/>
            </p:cNvSpPr>
            <p:nvPr/>
          </p:nvSpPr>
          <p:spPr bwMode="auto">
            <a:xfrm>
              <a:off x="2442" y="1093"/>
              <a:ext cx="113" cy="106"/>
            </a:xfrm>
            <a:prstGeom prst="ellipse">
              <a:avLst/>
            </a:prstGeom>
            <a:solidFill>
              <a:srgbClr val="FFFF00"/>
            </a:solid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80" name="Oval 1116"/>
            <p:cNvSpPr>
              <a:spLocks noChangeArrowheads="1"/>
            </p:cNvSpPr>
            <p:nvPr/>
          </p:nvSpPr>
          <p:spPr bwMode="auto">
            <a:xfrm>
              <a:off x="2442" y="1217"/>
              <a:ext cx="113" cy="107"/>
            </a:xfrm>
            <a:prstGeom prst="ellipse">
              <a:avLst/>
            </a:prstGeom>
            <a:noFill/>
            <a:ln w="9525">
              <a:solidFill>
                <a:srgbClr val="00FF00"/>
              </a:solidFill>
              <a:round/>
              <a:headEnd/>
              <a:tailEnd/>
            </a:ln>
          </p:spPr>
          <p:txBody>
            <a:bodyPr wrap="none" anchor="ctr"/>
            <a:lstStyle/>
            <a:p>
              <a:pPr eaLnBrk="1" hangingPunct="1"/>
              <a:endParaRPr lang="pl-PL" sz="1800" b="0">
                <a:latin typeface="Verdana" pitchFamily="34" charset="0"/>
              </a:endParaRPr>
            </a:p>
          </p:txBody>
        </p:sp>
      </p:grpSp>
      <p:grpSp>
        <p:nvGrpSpPr>
          <p:cNvPr id="81" name="Group 1055"/>
          <p:cNvGrpSpPr>
            <a:grpSpLocks/>
          </p:cNvGrpSpPr>
          <p:nvPr/>
        </p:nvGrpSpPr>
        <p:grpSpPr bwMode="auto">
          <a:xfrm>
            <a:off x="1267575" y="2867276"/>
            <a:ext cx="239712" cy="628650"/>
            <a:chOff x="92" y="829"/>
            <a:chExt cx="428" cy="1062"/>
          </a:xfrm>
        </p:grpSpPr>
        <p:sp>
          <p:nvSpPr>
            <p:cNvPr id="82"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83"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84"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85"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86"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87" name="Group 1055"/>
          <p:cNvGrpSpPr>
            <a:grpSpLocks/>
          </p:cNvGrpSpPr>
          <p:nvPr/>
        </p:nvGrpSpPr>
        <p:grpSpPr bwMode="auto">
          <a:xfrm>
            <a:off x="764599" y="2121413"/>
            <a:ext cx="239712" cy="628650"/>
            <a:chOff x="92" y="829"/>
            <a:chExt cx="428" cy="1062"/>
          </a:xfrm>
        </p:grpSpPr>
        <p:sp>
          <p:nvSpPr>
            <p:cNvPr id="88"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89"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90"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91"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92"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93" name="Group 1055"/>
          <p:cNvGrpSpPr>
            <a:grpSpLocks/>
          </p:cNvGrpSpPr>
          <p:nvPr/>
        </p:nvGrpSpPr>
        <p:grpSpPr bwMode="auto">
          <a:xfrm>
            <a:off x="1116013" y="4768010"/>
            <a:ext cx="239712" cy="628650"/>
            <a:chOff x="92" y="829"/>
            <a:chExt cx="428" cy="1062"/>
          </a:xfrm>
        </p:grpSpPr>
        <p:sp>
          <p:nvSpPr>
            <p:cNvPr id="94"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95"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96"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97"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98"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99" name="Group 1055"/>
          <p:cNvGrpSpPr>
            <a:grpSpLocks/>
          </p:cNvGrpSpPr>
          <p:nvPr/>
        </p:nvGrpSpPr>
        <p:grpSpPr bwMode="auto">
          <a:xfrm>
            <a:off x="2220119" y="4644862"/>
            <a:ext cx="239712" cy="628650"/>
            <a:chOff x="92" y="829"/>
            <a:chExt cx="428" cy="1062"/>
          </a:xfrm>
        </p:grpSpPr>
        <p:sp>
          <p:nvSpPr>
            <p:cNvPr id="100" name="Rectangle 1056"/>
            <p:cNvSpPr>
              <a:spLocks noChangeArrowheads="1"/>
            </p:cNvSpPr>
            <p:nvPr/>
          </p:nvSpPr>
          <p:spPr bwMode="auto">
            <a:xfrm>
              <a:off x="92" y="829"/>
              <a:ext cx="428" cy="1062"/>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101" name="Oval 1057"/>
            <p:cNvSpPr>
              <a:spLocks noChangeArrowheads="1"/>
            </p:cNvSpPr>
            <p:nvPr/>
          </p:nvSpPr>
          <p:spPr bwMode="auto">
            <a:xfrm>
              <a:off x="142" y="875"/>
              <a:ext cx="322" cy="28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102" name="Oval 1058"/>
            <p:cNvSpPr>
              <a:spLocks noChangeArrowheads="1"/>
            </p:cNvSpPr>
            <p:nvPr/>
          </p:nvSpPr>
          <p:spPr bwMode="auto">
            <a:xfrm>
              <a:off x="142" y="1209"/>
              <a:ext cx="322" cy="285"/>
            </a:xfrm>
            <a:prstGeom prst="ellipse">
              <a:avLst/>
            </a:prstGeom>
            <a:no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103" name="Oval 1059"/>
            <p:cNvSpPr>
              <a:spLocks noChangeArrowheads="1"/>
            </p:cNvSpPr>
            <p:nvPr/>
          </p:nvSpPr>
          <p:spPr bwMode="auto">
            <a:xfrm>
              <a:off x="142" y="1543"/>
              <a:ext cx="322" cy="287"/>
            </a:xfrm>
            <a:prstGeom prst="ellipse">
              <a:avLst/>
            </a:prstGeom>
            <a:noFill/>
            <a:ln w="19050">
              <a:solidFill>
                <a:schemeClr val="tx1"/>
              </a:solidFill>
              <a:round/>
              <a:headEnd/>
              <a:tailEnd/>
            </a:ln>
          </p:spPr>
          <p:txBody>
            <a:bodyPr wrap="none" anchor="ctr"/>
            <a:lstStyle/>
            <a:p>
              <a:pPr eaLnBrk="1" hangingPunct="1"/>
              <a:endParaRPr lang="pl-PL" sz="1800" b="0">
                <a:latin typeface="Verdana" pitchFamily="34" charset="0"/>
              </a:endParaRPr>
            </a:p>
          </p:txBody>
        </p:sp>
        <p:sp>
          <p:nvSpPr>
            <p:cNvPr id="104" name="Oval 1060"/>
            <p:cNvSpPr>
              <a:spLocks noChangeArrowheads="1"/>
            </p:cNvSpPr>
            <p:nvPr/>
          </p:nvSpPr>
          <p:spPr bwMode="auto">
            <a:xfrm>
              <a:off x="142" y="1543"/>
              <a:ext cx="322" cy="287"/>
            </a:xfrm>
            <a:prstGeom prst="ellipse">
              <a:avLst/>
            </a:prstGeom>
            <a:solidFill>
              <a:srgbClr val="33CC33"/>
            </a:solidFill>
            <a:ln w="9525">
              <a:noFill/>
              <a:round/>
              <a:headEnd/>
              <a:tailEnd/>
            </a:ln>
          </p:spPr>
          <p:txBody>
            <a:bodyPr wrap="none" anchor="ctr"/>
            <a:lstStyle/>
            <a:p>
              <a:pPr eaLnBrk="1" hangingPunct="1"/>
              <a:endParaRPr lang="pl-PL" sz="1800" b="0">
                <a:latin typeface="Verdana" pitchFamily="34" charset="0"/>
              </a:endParaRPr>
            </a:p>
          </p:txBody>
        </p:sp>
      </p:grpSp>
      <p:grpSp>
        <p:nvGrpSpPr>
          <p:cNvPr id="105" name="Group 1112"/>
          <p:cNvGrpSpPr>
            <a:grpSpLocks/>
          </p:cNvGrpSpPr>
          <p:nvPr/>
        </p:nvGrpSpPr>
        <p:grpSpPr bwMode="auto">
          <a:xfrm>
            <a:off x="5647364" y="4987029"/>
            <a:ext cx="239713" cy="628650"/>
            <a:chOff x="2424" y="951"/>
            <a:chExt cx="151" cy="396"/>
          </a:xfrm>
        </p:grpSpPr>
        <p:sp>
          <p:nvSpPr>
            <p:cNvPr id="106" name="Rectangle 1113"/>
            <p:cNvSpPr>
              <a:spLocks noChangeArrowheads="1"/>
            </p:cNvSpPr>
            <p:nvPr/>
          </p:nvSpPr>
          <p:spPr bwMode="auto">
            <a:xfrm>
              <a:off x="2424" y="951"/>
              <a:ext cx="151" cy="396"/>
            </a:xfrm>
            <a:prstGeom prst="rect">
              <a:avLst/>
            </a:prstGeom>
            <a:solidFill>
              <a:srgbClr val="BFC0C4"/>
            </a:solidFill>
            <a:ln w="19050">
              <a:solidFill>
                <a:schemeClr val="tx1"/>
              </a:solidFill>
              <a:miter lim="800000"/>
              <a:headEnd/>
              <a:tailEnd/>
            </a:ln>
          </p:spPr>
          <p:txBody>
            <a:bodyPr wrap="none" anchor="ctr"/>
            <a:lstStyle/>
            <a:p>
              <a:pPr eaLnBrk="1" hangingPunct="1"/>
              <a:endParaRPr lang="pl-PL" sz="1800" b="0">
                <a:latin typeface="Verdana" pitchFamily="34" charset="0"/>
              </a:endParaRPr>
            </a:p>
          </p:txBody>
        </p:sp>
        <p:sp>
          <p:nvSpPr>
            <p:cNvPr id="107" name="Oval 1114"/>
            <p:cNvSpPr>
              <a:spLocks noChangeArrowheads="1"/>
            </p:cNvSpPr>
            <p:nvPr/>
          </p:nvSpPr>
          <p:spPr bwMode="auto">
            <a:xfrm>
              <a:off x="2442" y="968"/>
              <a:ext cx="113" cy="107"/>
            </a:xfrm>
            <a:prstGeom prst="ellipse">
              <a:avLst/>
            </a:prstGeom>
            <a:noFill/>
            <a:ln w="19050">
              <a:solidFill>
                <a:srgbClr val="FF3300"/>
              </a:solidFill>
              <a:round/>
              <a:headEnd/>
              <a:tailEnd/>
            </a:ln>
          </p:spPr>
          <p:txBody>
            <a:bodyPr wrap="none" anchor="ctr"/>
            <a:lstStyle/>
            <a:p>
              <a:pPr eaLnBrk="1" hangingPunct="1"/>
              <a:endParaRPr lang="pl-PL" sz="1800" b="0">
                <a:latin typeface="Verdana" pitchFamily="34" charset="0"/>
              </a:endParaRPr>
            </a:p>
          </p:txBody>
        </p:sp>
        <p:sp>
          <p:nvSpPr>
            <p:cNvPr id="108" name="Oval 1115"/>
            <p:cNvSpPr>
              <a:spLocks noChangeArrowheads="1"/>
            </p:cNvSpPr>
            <p:nvPr/>
          </p:nvSpPr>
          <p:spPr bwMode="auto">
            <a:xfrm>
              <a:off x="2442" y="1093"/>
              <a:ext cx="113" cy="106"/>
            </a:xfrm>
            <a:prstGeom prst="ellipse">
              <a:avLst/>
            </a:prstGeom>
            <a:solidFill>
              <a:srgbClr val="FFFF00"/>
            </a:solidFill>
            <a:ln w="19050">
              <a:solidFill>
                <a:srgbClr val="FFFF00"/>
              </a:solidFill>
              <a:round/>
              <a:headEnd/>
              <a:tailEnd/>
            </a:ln>
          </p:spPr>
          <p:txBody>
            <a:bodyPr wrap="none" anchor="ctr"/>
            <a:lstStyle/>
            <a:p>
              <a:pPr eaLnBrk="1" hangingPunct="1"/>
              <a:endParaRPr lang="pl-PL" sz="1800" b="0">
                <a:latin typeface="Verdana" pitchFamily="34" charset="0"/>
              </a:endParaRPr>
            </a:p>
          </p:txBody>
        </p:sp>
        <p:sp>
          <p:nvSpPr>
            <p:cNvPr id="109" name="Oval 1116"/>
            <p:cNvSpPr>
              <a:spLocks noChangeArrowheads="1"/>
            </p:cNvSpPr>
            <p:nvPr/>
          </p:nvSpPr>
          <p:spPr bwMode="auto">
            <a:xfrm>
              <a:off x="2442" y="1217"/>
              <a:ext cx="113" cy="107"/>
            </a:xfrm>
            <a:prstGeom prst="ellipse">
              <a:avLst/>
            </a:prstGeom>
            <a:noFill/>
            <a:ln w="9525">
              <a:solidFill>
                <a:srgbClr val="00FF00"/>
              </a:solidFill>
              <a:round/>
              <a:headEnd/>
              <a:tailEnd/>
            </a:ln>
          </p:spPr>
          <p:txBody>
            <a:bodyPr wrap="none" anchor="ctr"/>
            <a:lstStyle/>
            <a:p>
              <a:pPr eaLnBrk="1" hangingPunct="1"/>
              <a:endParaRPr lang="pl-PL" sz="1800" b="0">
                <a:latin typeface="Verdana" pitchFamily="34" charset="0"/>
              </a:endParaRPr>
            </a:p>
          </p:txBody>
        </p:sp>
      </p:grpSp>
      <p:sp>
        <p:nvSpPr>
          <p:cNvPr id="110" name="AutoShape 33"/>
          <p:cNvSpPr>
            <a:spLocks noChangeArrowheads="1"/>
          </p:cNvSpPr>
          <p:nvPr/>
        </p:nvSpPr>
        <p:spPr bwMode="auto">
          <a:xfrm rot="10143228">
            <a:off x="1173198" y="1925886"/>
            <a:ext cx="1068104" cy="244391"/>
          </a:xfrm>
          <a:prstGeom prst="rightArrow">
            <a:avLst>
              <a:gd name="adj1" fmla="val 50000"/>
              <a:gd name="adj2" fmla="val 69485"/>
            </a:avLst>
          </a:prstGeom>
          <a:solidFill>
            <a:srgbClr val="FF0000">
              <a:alpha val="20000"/>
            </a:srgbClr>
          </a:solidFill>
          <a:ln w="152400" algn="ctr">
            <a:noFill/>
            <a:prstDash val="dash"/>
            <a:miter lim="800000"/>
            <a:headEnd/>
            <a:tailEnd/>
          </a:ln>
        </p:spPr>
        <p:txBody>
          <a:bodyPr rot="10800000" vert="eaVert" wrap="none" lIns="0" tIns="137160" rIns="182880" bIns="137160" anchor="ctr"/>
          <a:lstStyle/>
          <a:p>
            <a:pPr eaLnBrk="1" hangingPunct="1"/>
            <a:endParaRPr lang="cs-CZ" sz="1800" b="0">
              <a:latin typeface="Verdana" pitchFamily="34" charset="0"/>
            </a:endParaRPr>
          </a:p>
        </p:txBody>
      </p:sp>
      <p:sp>
        <p:nvSpPr>
          <p:cNvPr id="9" name="TextovéPole 8"/>
          <p:cNvSpPr txBox="1"/>
          <p:nvPr/>
        </p:nvSpPr>
        <p:spPr>
          <a:xfrm>
            <a:off x="2098413" y="3231518"/>
            <a:ext cx="718768" cy="646331"/>
          </a:xfrm>
          <a:prstGeom prst="rect">
            <a:avLst/>
          </a:prstGeom>
          <a:noFill/>
        </p:spPr>
        <p:txBody>
          <a:bodyPr wrap="square" rtlCol="0">
            <a:spAutoFit/>
          </a:bodyPr>
          <a:lstStyle/>
          <a:p>
            <a:r>
              <a:rPr lang="cs-CZ" b="1" dirty="0">
                <a:solidFill>
                  <a:srgbClr val="008000"/>
                </a:solidFill>
              </a:rPr>
              <a:t>8</a:t>
            </a:r>
            <a:r>
              <a:rPr lang="cs-CZ" b="1" dirty="0" smtClean="0">
                <a:solidFill>
                  <a:srgbClr val="008000"/>
                </a:solidFill>
              </a:rPr>
              <a:t>500 MW</a:t>
            </a:r>
            <a:endParaRPr lang="cs-CZ" b="1" dirty="0">
              <a:solidFill>
                <a:srgbClr val="008000"/>
              </a:solidFill>
            </a:endParaRPr>
          </a:p>
        </p:txBody>
      </p:sp>
      <p:sp>
        <p:nvSpPr>
          <p:cNvPr id="11" name="TextovéPole 10"/>
          <p:cNvSpPr txBox="1"/>
          <p:nvPr/>
        </p:nvSpPr>
        <p:spPr>
          <a:xfrm>
            <a:off x="3304621" y="2836852"/>
            <a:ext cx="1172116" cy="369332"/>
          </a:xfrm>
          <a:prstGeom prst="rect">
            <a:avLst/>
          </a:prstGeom>
          <a:noFill/>
        </p:spPr>
        <p:txBody>
          <a:bodyPr wrap="none" rtlCol="0">
            <a:spAutoFit/>
          </a:bodyPr>
          <a:lstStyle/>
          <a:p>
            <a:r>
              <a:rPr lang="cs-CZ" b="1" dirty="0" smtClean="0">
                <a:solidFill>
                  <a:srgbClr val="FF0000"/>
                </a:solidFill>
              </a:rPr>
              <a:t>2000 MW</a:t>
            </a:r>
            <a:endParaRPr lang="cs-CZ" b="1" dirty="0">
              <a:solidFill>
                <a:srgbClr val="FF0000"/>
              </a:solidFill>
            </a:endParaRPr>
          </a:p>
        </p:txBody>
      </p:sp>
      <p:sp>
        <p:nvSpPr>
          <p:cNvPr id="111" name="TextovéPole 110"/>
          <p:cNvSpPr txBox="1"/>
          <p:nvPr/>
        </p:nvSpPr>
        <p:spPr>
          <a:xfrm>
            <a:off x="3578129" y="1892259"/>
            <a:ext cx="1063112" cy="338554"/>
          </a:xfrm>
          <a:prstGeom prst="rect">
            <a:avLst/>
          </a:prstGeom>
          <a:noFill/>
        </p:spPr>
        <p:txBody>
          <a:bodyPr wrap="none" rtlCol="0">
            <a:spAutoFit/>
          </a:bodyPr>
          <a:lstStyle/>
          <a:p>
            <a:r>
              <a:rPr lang="cs-CZ" sz="1600" b="1" dirty="0" smtClean="0">
                <a:solidFill>
                  <a:srgbClr val="FF0000"/>
                </a:solidFill>
              </a:rPr>
              <a:t>1500 MW</a:t>
            </a:r>
            <a:endParaRPr lang="cs-CZ" sz="1600" b="1" dirty="0">
              <a:solidFill>
                <a:srgbClr val="FF0000"/>
              </a:solidFill>
            </a:endParaRPr>
          </a:p>
        </p:txBody>
      </p:sp>
      <p:sp>
        <p:nvSpPr>
          <p:cNvPr id="112" name="TextovéPole 111"/>
          <p:cNvSpPr txBox="1"/>
          <p:nvPr/>
        </p:nvSpPr>
        <p:spPr>
          <a:xfrm>
            <a:off x="1772672" y="1922925"/>
            <a:ext cx="950901" cy="307777"/>
          </a:xfrm>
          <a:prstGeom prst="rect">
            <a:avLst/>
          </a:prstGeom>
          <a:noFill/>
        </p:spPr>
        <p:txBody>
          <a:bodyPr wrap="none" rtlCol="0">
            <a:spAutoFit/>
          </a:bodyPr>
          <a:lstStyle/>
          <a:p>
            <a:r>
              <a:rPr lang="cs-CZ" sz="1400" b="1" dirty="0" smtClean="0">
                <a:solidFill>
                  <a:srgbClr val="FF0000"/>
                </a:solidFill>
              </a:rPr>
              <a:t>1000 MW</a:t>
            </a:r>
            <a:endParaRPr lang="cs-CZ" sz="1400" b="1" dirty="0">
              <a:solidFill>
                <a:srgbClr val="FF0000"/>
              </a:solidFill>
            </a:endParaRPr>
          </a:p>
        </p:txBody>
      </p:sp>
      <p:sp>
        <p:nvSpPr>
          <p:cNvPr id="113" name="TextovéPole 112"/>
          <p:cNvSpPr txBox="1"/>
          <p:nvPr/>
        </p:nvSpPr>
        <p:spPr>
          <a:xfrm>
            <a:off x="2081767" y="2612764"/>
            <a:ext cx="1063112" cy="338554"/>
          </a:xfrm>
          <a:prstGeom prst="rect">
            <a:avLst/>
          </a:prstGeom>
          <a:noFill/>
        </p:spPr>
        <p:txBody>
          <a:bodyPr wrap="none" rtlCol="0">
            <a:spAutoFit/>
          </a:bodyPr>
          <a:lstStyle/>
          <a:p>
            <a:r>
              <a:rPr lang="cs-CZ" sz="1600" b="1" dirty="0" smtClean="0">
                <a:solidFill>
                  <a:srgbClr val="FF0000"/>
                </a:solidFill>
              </a:rPr>
              <a:t>4000 MW</a:t>
            </a:r>
            <a:endParaRPr lang="cs-CZ" sz="1600" b="1" dirty="0">
              <a:solidFill>
                <a:srgbClr val="FF0000"/>
              </a:solidFill>
            </a:endParaRPr>
          </a:p>
        </p:txBody>
      </p:sp>
      <p:grpSp>
        <p:nvGrpSpPr>
          <p:cNvPr id="116" name="Skupina 115"/>
          <p:cNvGrpSpPr/>
          <p:nvPr/>
        </p:nvGrpSpPr>
        <p:grpSpPr>
          <a:xfrm>
            <a:off x="3355846" y="2348880"/>
            <a:ext cx="3232378" cy="1259951"/>
            <a:chOff x="3401684" y="2425964"/>
            <a:chExt cx="3232378" cy="1259951"/>
          </a:xfrm>
        </p:grpSpPr>
        <p:sp>
          <p:nvSpPr>
            <p:cNvPr id="117" name="Ohnutá šipka 116"/>
            <p:cNvSpPr/>
            <p:nvPr/>
          </p:nvSpPr>
          <p:spPr>
            <a:xfrm rot="7024027">
              <a:off x="4413101" y="1464954"/>
              <a:ext cx="1209544" cy="3232378"/>
            </a:xfrm>
            <a:prstGeom prst="bentArrow">
              <a:avLst>
                <a:gd name="adj1" fmla="val 11878"/>
                <a:gd name="adj2" fmla="val 17042"/>
                <a:gd name="adj3" fmla="val 25000"/>
                <a:gd name="adj4" fmla="val 75000"/>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118" name="Ohnutá šipka 117"/>
            <p:cNvSpPr/>
            <p:nvPr/>
          </p:nvSpPr>
          <p:spPr>
            <a:xfrm rot="7024027">
              <a:off x="4072843" y="1764090"/>
              <a:ext cx="1089677" cy="2413426"/>
            </a:xfrm>
            <a:prstGeom prst="bentArrow">
              <a:avLst>
                <a:gd name="adj1" fmla="val 11878"/>
                <a:gd name="adj2" fmla="val 17042"/>
                <a:gd name="adj3" fmla="val 25000"/>
                <a:gd name="adj4" fmla="val 75000"/>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grpSp>
      <p:grpSp>
        <p:nvGrpSpPr>
          <p:cNvPr id="119" name="Skupina 118"/>
          <p:cNvGrpSpPr/>
          <p:nvPr/>
        </p:nvGrpSpPr>
        <p:grpSpPr>
          <a:xfrm>
            <a:off x="3102839" y="2652210"/>
            <a:ext cx="1273461" cy="2282608"/>
            <a:chOff x="3102839" y="2652210"/>
            <a:chExt cx="1273461" cy="2282608"/>
          </a:xfrm>
        </p:grpSpPr>
        <p:sp>
          <p:nvSpPr>
            <p:cNvPr id="120" name="Obdélník 119"/>
            <p:cNvSpPr/>
            <p:nvPr/>
          </p:nvSpPr>
          <p:spPr>
            <a:xfrm rot="4333460">
              <a:off x="3318380" y="2772308"/>
              <a:ext cx="687550" cy="447353"/>
            </a:xfrm>
            <a:prstGeom prst="rect">
              <a:avLst/>
            </a:prstGeom>
            <a:solidFill>
              <a:srgbClr val="FF0000">
                <a:alpha val="20000"/>
              </a:srgbClr>
            </a:solidFill>
            <a:ln w="152400" algn="ctr">
              <a:noFill/>
              <a:prstDash val="dash"/>
              <a:miter lim="800000"/>
              <a:headEnd/>
              <a:tailEnd/>
            </a:ln>
          </p:spPr>
          <p:txBody>
            <a:bodyPr rot="10800000" vert="eaVert" wrap="none" lIns="0" tIns="137160" rIns="182880" bIns="137160" anchor="ctr"/>
            <a:lstStyle/>
            <a:p>
              <a:endParaRPr lang="cs-CZ">
                <a:solidFill>
                  <a:schemeClr val="tx1"/>
                </a:solidFill>
                <a:latin typeface="Verdana" pitchFamily="34" charset="0"/>
              </a:endParaRPr>
            </a:p>
          </p:txBody>
        </p:sp>
        <p:sp>
          <p:nvSpPr>
            <p:cNvPr id="121" name="Ohnutá šipka 120"/>
            <p:cNvSpPr/>
            <p:nvPr/>
          </p:nvSpPr>
          <p:spPr>
            <a:xfrm rot="9705864">
              <a:off x="3102839" y="3434520"/>
              <a:ext cx="761286" cy="698850"/>
            </a:xfrm>
            <a:prstGeom prst="bentArrow">
              <a:avLst>
                <a:gd name="adj1" fmla="val 27313"/>
                <a:gd name="adj2" fmla="val 18211"/>
                <a:gd name="adj3" fmla="val 25000"/>
                <a:gd name="adj4" fmla="val 68676"/>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122" name="Šipka doprava 121"/>
            <p:cNvSpPr/>
            <p:nvPr/>
          </p:nvSpPr>
          <p:spPr>
            <a:xfrm rot="4310249">
              <a:off x="3278666" y="3837184"/>
              <a:ext cx="1683699" cy="511569"/>
            </a:xfrm>
            <a:prstGeom prst="rightArrow">
              <a:avLst/>
            </a:prstGeom>
            <a:solidFill>
              <a:srgbClr val="FF0000">
                <a:alpha val="20000"/>
              </a:srgbClr>
            </a:solidFill>
            <a:ln w="152400" algn="ctr">
              <a:noFill/>
              <a:prstDash val="dash"/>
              <a:miter lim="800000"/>
              <a:headEnd/>
              <a:tailEnd/>
            </a:ln>
          </p:spPr>
          <p:txBody>
            <a:bodyPr rot="10800000" vert="eaVert" wrap="none" lIns="0" tIns="137160" rIns="182880" bIns="137160" anchor="ctr"/>
            <a:lstStyle/>
            <a:p>
              <a:endParaRPr lang="cs-CZ">
                <a:solidFill>
                  <a:schemeClr val="tx1"/>
                </a:solidFill>
                <a:latin typeface="Verdana" pitchFamily="34" charset="0"/>
              </a:endParaRPr>
            </a:p>
          </p:txBody>
        </p:sp>
      </p:grpSp>
      <p:sp>
        <p:nvSpPr>
          <p:cNvPr id="4" name="Ohnutá šipka 3"/>
          <p:cNvSpPr/>
          <p:nvPr/>
        </p:nvSpPr>
        <p:spPr>
          <a:xfrm rot="12495132">
            <a:off x="1455329" y="2392389"/>
            <a:ext cx="3855633" cy="4201431"/>
          </a:xfrm>
          <a:prstGeom prst="bentArrow">
            <a:avLst>
              <a:gd name="adj1" fmla="val 38569"/>
              <a:gd name="adj2" fmla="val 30428"/>
              <a:gd name="adj3" fmla="val 28892"/>
              <a:gd name="adj4" fmla="val 60947"/>
            </a:avLst>
          </a:prstGeom>
          <a:solidFill>
            <a:srgbClr val="00B050">
              <a:alpha val="41000"/>
            </a:srgbClr>
          </a:solidFill>
          <a:ln>
            <a:noFill/>
          </a:ln>
          <a:scene3d>
            <a:camera prst="orthographic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115" name="Nadpis 1"/>
          <p:cNvSpPr txBox="1">
            <a:spLocks/>
          </p:cNvSpPr>
          <p:nvPr/>
        </p:nvSpPr>
        <p:spPr bwMode="auto">
          <a:xfrm>
            <a:off x="2098413" y="358717"/>
            <a:ext cx="5229487" cy="63861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200" b="1">
                <a:solidFill>
                  <a:schemeClr val="tx2"/>
                </a:solidFill>
                <a:latin typeface="Arial" charset="0"/>
              </a:defRPr>
            </a:lvl6pPr>
            <a:lvl7pPr marL="914400" algn="l" rtl="0" fontAlgn="base">
              <a:spcBef>
                <a:spcPct val="0"/>
              </a:spcBef>
              <a:spcAft>
                <a:spcPct val="0"/>
              </a:spcAft>
              <a:defRPr sz="3200" b="1">
                <a:solidFill>
                  <a:schemeClr val="tx2"/>
                </a:solidFill>
                <a:latin typeface="Arial" charset="0"/>
              </a:defRPr>
            </a:lvl7pPr>
            <a:lvl8pPr marL="1371600" algn="l" rtl="0" fontAlgn="base">
              <a:spcBef>
                <a:spcPct val="0"/>
              </a:spcBef>
              <a:spcAft>
                <a:spcPct val="0"/>
              </a:spcAft>
              <a:defRPr sz="3200" b="1">
                <a:solidFill>
                  <a:schemeClr val="tx2"/>
                </a:solidFill>
                <a:latin typeface="Arial" charset="0"/>
              </a:defRPr>
            </a:lvl8pPr>
            <a:lvl9pPr marL="1828800" algn="l" rtl="0" fontAlgn="base">
              <a:spcBef>
                <a:spcPct val="0"/>
              </a:spcBef>
              <a:spcAft>
                <a:spcPct val="0"/>
              </a:spcAft>
              <a:defRPr sz="3200" b="1">
                <a:solidFill>
                  <a:schemeClr val="tx2"/>
                </a:solidFill>
                <a:latin typeface="Arial" charset="0"/>
              </a:defRPr>
            </a:lvl9pPr>
          </a:lstStyle>
          <a:p>
            <a:pPr algn="ctr"/>
            <a:r>
              <a:rPr lang="cs-CZ" dirty="0" smtClean="0"/>
              <a:t>Kritická situace </a:t>
            </a:r>
            <a:r>
              <a:rPr lang="en-US" dirty="0" smtClean="0"/>
              <a:t>3.12.2011</a:t>
            </a:r>
            <a:endParaRPr lang="en-US" dirty="0"/>
          </a:p>
        </p:txBody>
      </p:sp>
      <p:sp>
        <p:nvSpPr>
          <p:cNvPr id="123" name="Text Box 155"/>
          <p:cNvSpPr txBox="1">
            <a:spLocks noChangeArrowheads="1"/>
          </p:cNvSpPr>
          <p:nvPr/>
        </p:nvSpPr>
        <p:spPr bwMode="auto">
          <a:xfrm>
            <a:off x="2766830" y="822467"/>
            <a:ext cx="1508926" cy="830997"/>
          </a:xfrm>
          <a:prstGeom prst="rect">
            <a:avLst/>
          </a:prstGeom>
          <a:noFill/>
          <a:ln w="152400" algn="ctr">
            <a:noFill/>
            <a:prstDash val="dash"/>
            <a:miter lim="800000"/>
            <a:headEnd/>
            <a:tailEnd/>
          </a:ln>
        </p:spPr>
        <p:txBody>
          <a:bodyPr wrap="square" lIns="0" tIns="137160" rIns="182880" bIns="137160">
            <a:spAutoFit/>
          </a:bodyPr>
          <a:lstStyle/>
          <a:p>
            <a:pPr eaLnBrk="1" hangingPunct="1"/>
            <a:r>
              <a:rPr lang="cs-CZ" dirty="0" smtClean="0">
                <a:solidFill>
                  <a:srgbClr val="FF0000"/>
                </a:solidFill>
                <a:latin typeface="Verdana" pitchFamily="34" charset="0"/>
              </a:rPr>
              <a:t>Přebytek výkonu</a:t>
            </a:r>
            <a:endParaRPr lang="en-US" sz="1800" b="0" dirty="0">
              <a:solidFill>
                <a:srgbClr val="FF0000"/>
              </a:solidFill>
              <a:latin typeface="Verdana" pitchFamily="34" charset="0"/>
            </a:endParaRPr>
          </a:p>
        </p:txBody>
      </p:sp>
      <p:sp>
        <p:nvSpPr>
          <p:cNvPr id="124" name="Text Box 156"/>
          <p:cNvSpPr txBox="1">
            <a:spLocks noChangeArrowheads="1"/>
          </p:cNvSpPr>
          <p:nvPr/>
        </p:nvSpPr>
        <p:spPr bwMode="auto">
          <a:xfrm>
            <a:off x="4740306" y="5950521"/>
            <a:ext cx="1315740" cy="349702"/>
          </a:xfrm>
          <a:prstGeom prst="rect">
            <a:avLst/>
          </a:prstGeom>
          <a:noFill/>
          <a:ln w="152400" algn="ctr">
            <a:noFill/>
            <a:prstDash val="dash"/>
            <a:miter lim="800000"/>
            <a:headEnd/>
            <a:tailEnd/>
          </a:ln>
        </p:spPr>
        <p:txBody>
          <a:bodyPr wrap="square" lIns="0" tIns="36000" rIns="0" bIns="36000">
            <a:spAutoFit/>
          </a:bodyPr>
          <a:lstStyle/>
          <a:p>
            <a:pPr eaLnBrk="1" hangingPunct="1"/>
            <a:r>
              <a:rPr lang="cs-CZ" sz="1800" b="0" dirty="0" smtClean="0">
                <a:solidFill>
                  <a:srgbClr val="FF0000"/>
                </a:solidFill>
                <a:latin typeface="Verdana" pitchFamily="34" charset="0"/>
              </a:rPr>
              <a:t>Poptávka</a:t>
            </a:r>
            <a:endParaRPr lang="en-US" sz="1800" b="0" dirty="0">
              <a:solidFill>
                <a:srgbClr val="FF0000"/>
              </a:solidFill>
              <a:latin typeface="Verdana" pitchFamily="34" charset="0"/>
            </a:endParaRPr>
          </a:p>
        </p:txBody>
      </p:sp>
      <p:sp>
        <p:nvSpPr>
          <p:cNvPr id="114" name="TextovéPole 113"/>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801896645"/>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466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46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500" fill="hold"/>
                                        <p:tgtEl>
                                          <p:spTgt spid="4"/>
                                        </p:tgtEl>
                                        <p:attrNameLst>
                                          <p:attrName>ppt_w</p:attrName>
                                        </p:attrNameLst>
                                      </p:cBhvr>
                                      <p:tavLst>
                                        <p:tav tm="0">
                                          <p:val>
                                            <p:fltVal val="0"/>
                                          </p:val>
                                        </p:tav>
                                        <p:tav tm="100000">
                                          <p:val>
                                            <p:strVal val="#ppt_w"/>
                                          </p:val>
                                        </p:tav>
                                      </p:tavLst>
                                    </p:anim>
                                    <p:anim calcmode="lin" valueType="num">
                                      <p:cBhvr>
                                        <p:cTn id="20" dur="500" fill="hold"/>
                                        <p:tgtEl>
                                          <p:spTgt spid="4"/>
                                        </p:tgtEl>
                                        <p:attrNameLst>
                                          <p:attrName>ppt_h</p:attrName>
                                        </p:attrNameLst>
                                      </p:cBhvr>
                                      <p:tavLst>
                                        <p:tav tm="0">
                                          <p:val>
                                            <p:fltVal val="0"/>
                                          </p:val>
                                        </p:tav>
                                        <p:tav tm="100000">
                                          <p:val>
                                            <p:strVal val="#ppt_h"/>
                                          </p:val>
                                        </p:tav>
                                      </p:tavLst>
                                    </p:anim>
                                    <p:animEffect transition="in" filter="fade">
                                      <p:cBhvr>
                                        <p:cTn id="21" dur="500"/>
                                        <p:tgtEl>
                                          <p:spTgt spid="4"/>
                                        </p:tgtEl>
                                      </p:cBhvr>
                                    </p:animEffect>
                                  </p:childTnLst>
                                </p:cTn>
                              </p:par>
                              <p:par>
                                <p:cTn id="22" presetID="53" presetClass="entr" presetSubtype="16" fill="hold" nodeType="withEffect">
                                  <p:stCondLst>
                                    <p:cond delay="0"/>
                                  </p:stCondLst>
                                  <p:childTnLst>
                                    <p:set>
                                      <p:cBhvr>
                                        <p:cTn id="23" dur="1" fill="hold">
                                          <p:stCondLst>
                                            <p:cond delay="0"/>
                                          </p:stCondLst>
                                        </p:cTn>
                                        <p:tgtEl>
                                          <p:spTgt spid="9">
                                            <p:txEl>
                                              <p:pRg st="0" end="0"/>
                                            </p:txEl>
                                          </p:spTgt>
                                        </p:tgtEl>
                                        <p:attrNameLst>
                                          <p:attrName>style.visibility</p:attrName>
                                        </p:attrNameLst>
                                      </p:cBhvr>
                                      <p:to>
                                        <p:strVal val="visible"/>
                                      </p:to>
                                    </p:set>
                                    <p:anim calcmode="lin" valueType="num">
                                      <p:cBhvr>
                                        <p:cTn id="24" dur="500" fill="hold"/>
                                        <p:tgtEl>
                                          <p:spTgt spid="9">
                                            <p:txEl>
                                              <p:pRg st="0" end="0"/>
                                            </p:txEl>
                                          </p:spTgt>
                                        </p:tgtEl>
                                        <p:attrNameLst>
                                          <p:attrName>ppt_w</p:attrName>
                                        </p:attrNameLst>
                                      </p:cBhvr>
                                      <p:tavLst>
                                        <p:tav tm="0">
                                          <p:val>
                                            <p:fltVal val="0"/>
                                          </p:val>
                                        </p:tav>
                                        <p:tav tm="100000">
                                          <p:val>
                                            <p:strVal val="#ppt_w"/>
                                          </p:val>
                                        </p:tav>
                                      </p:tavLst>
                                    </p:anim>
                                    <p:anim calcmode="lin" valueType="num">
                                      <p:cBhvr>
                                        <p:cTn id="25" dur="500" fill="hold"/>
                                        <p:tgtEl>
                                          <p:spTgt spid="9">
                                            <p:txEl>
                                              <p:pRg st="0" end="0"/>
                                            </p:txEl>
                                          </p:spTgt>
                                        </p:tgtEl>
                                        <p:attrNameLst>
                                          <p:attrName>ppt_h</p:attrName>
                                        </p:attrNameLst>
                                      </p:cBhvr>
                                      <p:tavLst>
                                        <p:tav tm="0">
                                          <p:val>
                                            <p:fltVal val="0"/>
                                          </p:val>
                                        </p:tav>
                                        <p:tav tm="100000">
                                          <p:val>
                                            <p:strVal val="#ppt_h"/>
                                          </p:val>
                                        </p:tav>
                                      </p:tavLst>
                                    </p:anim>
                                    <p:animEffect transition="in" filter="fade">
                                      <p:cBhvr>
                                        <p:cTn id="26" dur="500"/>
                                        <p:tgtEl>
                                          <p:spTgt spid="9">
                                            <p:txEl>
                                              <p:pRg st="0" end="0"/>
                                            </p:txEl>
                                          </p:spTgt>
                                        </p:tgtEl>
                                      </p:cBhvr>
                                    </p:animEffect>
                                  </p:childTnLst>
                                </p:cTn>
                              </p:par>
                              <p:par>
                                <p:cTn id="27" presetID="53" presetClass="entr" presetSubtype="16" fill="hold" nodeType="withEffect">
                                  <p:stCondLst>
                                    <p:cond delay="0"/>
                                  </p:stCondLst>
                                  <p:childTnLst>
                                    <p:set>
                                      <p:cBhvr>
                                        <p:cTn id="28" dur="1" fill="hold">
                                          <p:stCondLst>
                                            <p:cond delay="0"/>
                                          </p:stCondLst>
                                        </p:cTn>
                                        <p:tgtEl>
                                          <p:spTgt spid="116"/>
                                        </p:tgtEl>
                                        <p:attrNameLst>
                                          <p:attrName>style.visibility</p:attrName>
                                        </p:attrNameLst>
                                      </p:cBhvr>
                                      <p:to>
                                        <p:strVal val="visible"/>
                                      </p:to>
                                    </p:set>
                                    <p:anim calcmode="lin" valueType="num">
                                      <p:cBhvr>
                                        <p:cTn id="29" dur="500" fill="hold"/>
                                        <p:tgtEl>
                                          <p:spTgt spid="116"/>
                                        </p:tgtEl>
                                        <p:attrNameLst>
                                          <p:attrName>ppt_w</p:attrName>
                                        </p:attrNameLst>
                                      </p:cBhvr>
                                      <p:tavLst>
                                        <p:tav tm="0">
                                          <p:val>
                                            <p:fltVal val="0"/>
                                          </p:val>
                                        </p:tav>
                                        <p:tav tm="100000">
                                          <p:val>
                                            <p:strVal val="#ppt_w"/>
                                          </p:val>
                                        </p:tav>
                                      </p:tavLst>
                                    </p:anim>
                                    <p:anim calcmode="lin" valueType="num">
                                      <p:cBhvr>
                                        <p:cTn id="30" dur="500" fill="hold"/>
                                        <p:tgtEl>
                                          <p:spTgt spid="116"/>
                                        </p:tgtEl>
                                        <p:attrNameLst>
                                          <p:attrName>ppt_h</p:attrName>
                                        </p:attrNameLst>
                                      </p:cBhvr>
                                      <p:tavLst>
                                        <p:tav tm="0">
                                          <p:val>
                                            <p:fltVal val="0"/>
                                          </p:val>
                                        </p:tav>
                                        <p:tav tm="100000">
                                          <p:val>
                                            <p:strVal val="#ppt_h"/>
                                          </p:val>
                                        </p:tav>
                                      </p:tavLst>
                                    </p:anim>
                                    <p:animEffect transition="in" filter="fade">
                                      <p:cBhvr>
                                        <p:cTn id="31" dur="500"/>
                                        <p:tgtEl>
                                          <p:spTgt spid="116"/>
                                        </p:tgtEl>
                                      </p:cBhvr>
                                    </p:animEffect>
                                  </p:childTnLst>
                                </p:cTn>
                              </p:par>
                              <p:par>
                                <p:cTn id="32" presetID="53" presetClass="entr" presetSubtype="16" fill="hold" nodeType="withEffect">
                                  <p:stCondLst>
                                    <p:cond delay="0"/>
                                  </p:stCondLst>
                                  <p:childTnLst>
                                    <p:set>
                                      <p:cBhvr>
                                        <p:cTn id="33" dur="1" fill="hold">
                                          <p:stCondLst>
                                            <p:cond delay="0"/>
                                          </p:stCondLst>
                                        </p:cTn>
                                        <p:tgtEl>
                                          <p:spTgt spid="119"/>
                                        </p:tgtEl>
                                        <p:attrNameLst>
                                          <p:attrName>style.visibility</p:attrName>
                                        </p:attrNameLst>
                                      </p:cBhvr>
                                      <p:to>
                                        <p:strVal val="visible"/>
                                      </p:to>
                                    </p:set>
                                    <p:anim calcmode="lin" valueType="num">
                                      <p:cBhvr>
                                        <p:cTn id="34" dur="500" fill="hold"/>
                                        <p:tgtEl>
                                          <p:spTgt spid="119"/>
                                        </p:tgtEl>
                                        <p:attrNameLst>
                                          <p:attrName>ppt_w</p:attrName>
                                        </p:attrNameLst>
                                      </p:cBhvr>
                                      <p:tavLst>
                                        <p:tav tm="0">
                                          <p:val>
                                            <p:fltVal val="0"/>
                                          </p:val>
                                        </p:tav>
                                        <p:tav tm="100000">
                                          <p:val>
                                            <p:strVal val="#ppt_w"/>
                                          </p:val>
                                        </p:tav>
                                      </p:tavLst>
                                    </p:anim>
                                    <p:anim calcmode="lin" valueType="num">
                                      <p:cBhvr>
                                        <p:cTn id="35" dur="500" fill="hold"/>
                                        <p:tgtEl>
                                          <p:spTgt spid="119"/>
                                        </p:tgtEl>
                                        <p:attrNameLst>
                                          <p:attrName>ppt_h</p:attrName>
                                        </p:attrNameLst>
                                      </p:cBhvr>
                                      <p:tavLst>
                                        <p:tav tm="0">
                                          <p:val>
                                            <p:fltVal val="0"/>
                                          </p:val>
                                        </p:tav>
                                        <p:tav tm="100000">
                                          <p:val>
                                            <p:strVal val="#ppt_h"/>
                                          </p:val>
                                        </p:tav>
                                      </p:tavLst>
                                    </p:anim>
                                    <p:animEffect transition="in" filter="fade">
                                      <p:cBhvr>
                                        <p:cTn id="36" dur="500"/>
                                        <p:tgtEl>
                                          <p:spTgt spid="119"/>
                                        </p:tgtEl>
                                      </p:cBhvr>
                                    </p:animEffect>
                                  </p:childTnLst>
                                </p:cTn>
                              </p:par>
                              <p:par>
                                <p:cTn id="37" presetID="53" presetClass="entr" presetSubtype="16" fill="hold" grpId="0" nodeType="withEffect">
                                  <p:stCondLst>
                                    <p:cond delay="0"/>
                                  </p:stCondLst>
                                  <p:childTnLst>
                                    <p:set>
                                      <p:cBhvr>
                                        <p:cTn id="38" dur="1" fill="hold">
                                          <p:stCondLst>
                                            <p:cond delay="0"/>
                                          </p:stCondLst>
                                        </p:cTn>
                                        <p:tgtEl>
                                          <p:spTgt spid="2"/>
                                        </p:tgtEl>
                                        <p:attrNameLst>
                                          <p:attrName>style.visibility</p:attrName>
                                        </p:attrNameLst>
                                      </p:cBhvr>
                                      <p:to>
                                        <p:strVal val="visible"/>
                                      </p:to>
                                    </p:set>
                                    <p:anim calcmode="lin" valueType="num">
                                      <p:cBhvr>
                                        <p:cTn id="39" dur="500" fill="hold"/>
                                        <p:tgtEl>
                                          <p:spTgt spid="2"/>
                                        </p:tgtEl>
                                        <p:attrNameLst>
                                          <p:attrName>ppt_w</p:attrName>
                                        </p:attrNameLst>
                                      </p:cBhvr>
                                      <p:tavLst>
                                        <p:tav tm="0">
                                          <p:val>
                                            <p:fltVal val="0"/>
                                          </p:val>
                                        </p:tav>
                                        <p:tav tm="100000">
                                          <p:val>
                                            <p:strVal val="#ppt_w"/>
                                          </p:val>
                                        </p:tav>
                                      </p:tavLst>
                                    </p:anim>
                                    <p:anim calcmode="lin" valueType="num">
                                      <p:cBhvr>
                                        <p:cTn id="40" dur="500" fill="hold"/>
                                        <p:tgtEl>
                                          <p:spTgt spid="2"/>
                                        </p:tgtEl>
                                        <p:attrNameLst>
                                          <p:attrName>ppt_h</p:attrName>
                                        </p:attrNameLst>
                                      </p:cBhvr>
                                      <p:tavLst>
                                        <p:tav tm="0">
                                          <p:val>
                                            <p:fltVal val="0"/>
                                          </p:val>
                                        </p:tav>
                                        <p:tav tm="100000">
                                          <p:val>
                                            <p:strVal val="#ppt_h"/>
                                          </p:val>
                                        </p:tav>
                                      </p:tavLst>
                                    </p:anim>
                                    <p:animEffect transition="in" filter="fade">
                                      <p:cBhvr>
                                        <p:cTn id="41" dur="500"/>
                                        <p:tgtEl>
                                          <p:spTgt spid="2"/>
                                        </p:tgtEl>
                                      </p:cBhvr>
                                    </p:animEffect>
                                  </p:childTnLst>
                                </p:cTn>
                              </p:par>
                              <p:par>
                                <p:cTn id="42" presetID="53" presetClass="entr" presetSubtype="16" fill="hold" grpId="0" nodeType="withEffect">
                                  <p:stCondLst>
                                    <p:cond delay="0"/>
                                  </p:stCondLst>
                                  <p:childTnLst>
                                    <p:set>
                                      <p:cBhvr>
                                        <p:cTn id="43" dur="1" fill="hold">
                                          <p:stCondLst>
                                            <p:cond delay="0"/>
                                          </p:stCondLst>
                                        </p:cTn>
                                        <p:tgtEl>
                                          <p:spTgt spid="110"/>
                                        </p:tgtEl>
                                        <p:attrNameLst>
                                          <p:attrName>style.visibility</p:attrName>
                                        </p:attrNameLst>
                                      </p:cBhvr>
                                      <p:to>
                                        <p:strVal val="visible"/>
                                      </p:to>
                                    </p:set>
                                    <p:anim calcmode="lin" valueType="num">
                                      <p:cBhvr>
                                        <p:cTn id="44" dur="500" fill="hold"/>
                                        <p:tgtEl>
                                          <p:spTgt spid="110"/>
                                        </p:tgtEl>
                                        <p:attrNameLst>
                                          <p:attrName>ppt_w</p:attrName>
                                        </p:attrNameLst>
                                      </p:cBhvr>
                                      <p:tavLst>
                                        <p:tav tm="0">
                                          <p:val>
                                            <p:fltVal val="0"/>
                                          </p:val>
                                        </p:tav>
                                        <p:tav tm="100000">
                                          <p:val>
                                            <p:strVal val="#ppt_w"/>
                                          </p:val>
                                        </p:tav>
                                      </p:tavLst>
                                    </p:anim>
                                    <p:anim calcmode="lin" valueType="num">
                                      <p:cBhvr>
                                        <p:cTn id="45" dur="500" fill="hold"/>
                                        <p:tgtEl>
                                          <p:spTgt spid="110"/>
                                        </p:tgtEl>
                                        <p:attrNameLst>
                                          <p:attrName>ppt_h</p:attrName>
                                        </p:attrNameLst>
                                      </p:cBhvr>
                                      <p:tavLst>
                                        <p:tav tm="0">
                                          <p:val>
                                            <p:fltVal val="0"/>
                                          </p:val>
                                        </p:tav>
                                        <p:tav tm="100000">
                                          <p:val>
                                            <p:strVal val="#ppt_h"/>
                                          </p:val>
                                        </p:tav>
                                      </p:tavLst>
                                    </p:anim>
                                    <p:animEffect transition="in" filter="fade">
                                      <p:cBhvr>
                                        <p:cTn id="46" dur="500"/>
                                        <p:tgtEl>
                                          <p:spTgt spid="110"/>
                                        </p:tgtEl>
                                      </p:cBhvr>
                                    </p:animEffect>
                                  </p:childTnLst>
                                </p:cTn>
                              </p:par>
                              <p:par>
                                <p:cTn id="47" presetID="1" presetClass="entr" presetSubtype="0" fill="hold" grpId="0" nodeType="withEffect">
                                  <p:stCondLst>
                                    <p:cond delay="0"/>
                                  </p:stCondLst>
                                  <p:childTnLst>
                                    <p:set>
                                      <p:cBhvr>
                                        <p:cTn id="48" dur="1" fill="hold">
                                          <p:stCondLst>
                                            <p:cond delay="0"/>
                                          </p:stCondLst>
                                        </p:cTn>
                                        <p:tgtEl>
                                          <p:spTgt spid="113"/>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1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7"/>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6"/>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8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81"/>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4"/>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8"/>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9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99"/>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05"/>
                                        </p:tgtEl>
                                        <p:attrNameLst>
                                          <p:attrName>style.visibility</p:attrName>
                                        </p:attrNameLst>
                                      </p:cBhvr>
                                      <p:to>
                                        <p:strVal val="visible"/>
                                      </p:to>
                                    </p:set>
                                  </p:childTnLst>
                                </p:cTn>
                              </p:par>
                              <p:par>
                                <p:cTn id="83" presetID="35" presetClass="emph" presetSubtype="0" repeatCount="indefinite" fill="hold" nodeType="withEffect">
                                  <p:stCondLst>
                                    <p:cond delay="0"/>
                                  </p:stCondLst>
                                  <p:childTnLst>
                                    <p:anim calcmode="discrete" valueType="str">
                                      <p:cBhvr>
                                        <p:cTn id="84" dur="1000" fill="hold"/>
                                        <p:tgtEl>
                                          <p:spTgt spid="7"/>
                                        </p:tgtEl>
                                        <p:attrNameLst>
                                          <p:attrName>style.visibility</p:attrName>
                                        </p:attrNameLst>
                                      </p:cBhvr>
                                      <p:tavLst>
                                        <p:tav tm="0">
                                          <p:val>
                                            <p:strVal val="hidden"/>
                                          </p:val>
                                        </p:tav>
                                        <p:tav tm="50000">
                                          <p:val>
                                            <p:strVal val="visible"/>
                                          </p:val>
                                        </p:tav>
                                      </p:tavLst>
                                    </p:anim>
                                  </p:childTnLst>
                                </p:cTn>
                              </p:par>
                              <p:par>
                                <p:cTn id="85" presetID="35" presetClass="emph" presetSubtype="0" repeatCount="indefinite" fill="hold" nodeType="withEffect">
                                  <p:stCondLst>
                                    <p:cond delay="0"/>
                                  </p:stCondLst>
                                  <p:childTnLst>
                                    <p:anim calcmode="discrete" valueType="str">
                                      <p:cBhvr>
                                        <p:cTn id="86" dur="1000" fill="hold"/>
                                        <p:tgtEl>
                                          <p:spTgt spid="76"/>
                                        </p:tgtEl>
                                        <p:attrNameLst>
                                          <p:attrName>style.visibility</p:attrName>
                                        </p:attrNameLst>
                                      </p:cBhvr>
                                      <p:tavLst>
                                        <p:tav tm="0">
                                          <p:val>
                                            <p:strVal val="hidden"/>
                                          </p:val>
                                        </p:tav>
                                        <p:tav tm="50000">
                                          <p:val>
                                            <p:strVal val="visible"/>
                                          </p:val>
                                        </p:tav>
                                      </p:tavLst>
                                    </p:anim>
                                  </p:childTnLst>
                                </p:cTn>
                              </p:par>
                              <p:par>
                                <p:cTn id="87" presetID="35" presetClass="emph" presetSubtype="0" repeatCount="indefinite" fill="hold" nodeType="withEffect">
                                  <p:stCondLst>
                                    <p:cond delay="0"/>
                                  </p:stCondLst>
                                  <p:childTnLst>
                                    <p:anim calcmode="discrete" valueType="str">
                                      <p:cBhvr>
                                        <p:cTn id="88" dur="1000" fill="hold"/>
                                        <p:tgtEl>
                                          <p:spTgt spid="8"/>
                                        </p:tgtEl>
                                        <p:attrNameLst>
                                          <p:attrName>style.visibility</p:attrName>
                                        </p:attrNameLst>
                                      </p:cBhvr>
                                      <p:tavLst>
                                        <p:tav tm="0">
                                          <p:val>
                                            <p:strVal val="hidden"/>
                                          </p:val>
                                        </p:tav>
                                        <p:tav tm="50000">
                                          <p:val>
                                            <p:strVal val="visible"/>
                                          </p:val>
                                        </p:tav>
                                      </p:tavLst>
                                    </p:anim>
                                  </p:childTnLst>
                                </p:cTn>
                              </p:par>
                              <p:par>
                                <p:cTn id="89" presetID="35" presetClass="emph" presetSubtype="0" repeatCount="indefinite" fill="hold" nodeType="withEffect">
                                  <p:stCondLst>
                                    <p:cond delay="0"/>
                                  </p:stCondLst>
                                  <p:childTnLst>
                                    <p:anim calcmode="discrete" valueType="str">
                                      <p:cBhvr>
                                        <p:cTn id="90" dur="1000" fill="hold"/>
                                        <p:tgtEl>
                                          <p:spTgt spid="10"/>
                                        </p:tgtEl>
                                        <p:attrNameLst>
                                          <p:attrName>style.visibility</p:attrName>
                                        </p:attrNameLst>
                                      </p:cBhvr>
                                      <p:tavLst>
                                        <p:tav tm="0">
                                          <p:val>
                                            <p:strVal val="hidden"/>
                                          </p:val>
                                        </p:tav>
                                        <p:tav tm="50000">
                                          <p:val>
                                            <p:strVal val="visible"/>
                                          </p:val>
                                        </p:tav>
                                      </p:tavLst>
                                    </p:anim>
                                  </p:childTnLst>
                                </p:cTn>
                              </p:par>
                              <p:par>
                                <p:cTn id="91" presetID="35" presetClass="emph" presetSubtype="0" repeatCount="indefinite" fill="hold" nodeType="withEffect">
                                  <p:stCondLst>
                                    <p:cond delay="0"/>
                                  </p:stCondLst>
                                  <p:childTnLst>
                                    <p:anim calcmode="discrete" valueType="str">
                                      <p:cBhvr>
                                        <p:cTn id="92" dur="1000" fill="hold"/>
                                        <p:tgtEl>
                                          <p:spTgt spid="105"/>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664" grpId="0" animBg="1"/>
      <p:bldP spid="64665" grpId="0" animBg="1"/>
      <p:bldP spid="2" grpId="0" animBg="1"/>
      <p:bldP spid="110" grpId="0" animBg="1"/>
      <p:bldP spid="11" grpId="0"/>
      <p:bldP spid="111" grpId="0"/>
      <p:bldP spid="112" grpId="0"/>
      <p:bldP spid="113" grpId="0"/>
      <p:bldP spid="4" grpId="0" animBg="1"/>
      <p:bldP spid="123" grpId="0"/>
      <p:bldP spid="124" grpId="0"/>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a:xfrm>
            <a:off x="0" y="0"/>
            <a:ext cx="2484438" cy="346075"/>
          </a:xfrm>
        </p:spPr>
        <p:txBody>
          <a:bodyPr rtlCol="0">
            <a:normAutofit fontScale="90000"/>
          </a:bodyPr>
          <a:lstStyle/>
          <a:p>
            <a:pPr eaLnBrk="1" fontAlgn="auto" hangingPunct="1">
              <a:spcAft>
                <a:spcPts val="0"/>
              </a:spcAft>
              <a:defRPr/>
            </a:pPr>
            <a:r>
              <a:rPr lang="cs-CZ" sz="2000" dirty="0" smtClean="0"/>
              <a:t>21.3.2011 vyšší výroba</a:t>
            </a:r>
            <a:endParaRPr lang="cs-CZ" sz="2000" dirty="0"/>
          </a:p>
        </p:txBody>
      </p:sp>
      <p:pic>
        <p:nvPicPr>
          <p:cNvPr id="24579"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484438" y="2895600"/>
            <a:ext cx="4924425" cy="3962400"/>
          </a:xfrm>
        </p:spPr>
      </p:pic>
      <p:pic>
        <p:nvPicPr>
          <p:cNvPr id="2458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738" y="0"/>
            <a:ext cx="4981575" cy="335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33375"/>
            <a:ext cx="4211638" cy="324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8313" y="4581525"/>
            <a:ext cx="1533525"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790051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a:xfrm>
            <a:off x="0" y="0"/>
            <a:ext cx="2339975" cy="346075"/>
          </a:xfrm>
        </p:spPr>
        <p:txBody>
          <a:bodyPr rtlCol="0">
            <a:normAutofit fontScale="90000"/>
          </a:bodyPr>
          <a:lstStyle/>
          <a:p>
            <a:pPr eaLnBrk="1" fontAlgn="auto" hangingPunct="1">
              <a:spcAft>
                <a:spcPts val="0"/>
              </a:spcAft>
              <a:defRPr/>
            </a:pPr>
            <a:r>
              <a:rPr lang="cs-CZ" sz="2000" dirty="0" smtClean="0"/>
              <a:t>3.3.2011 nižší výroba</a:t>
            </a:r>
            <a:endParaRPr lang="cs-CZ" sz="2000" dirty="0"/>
          </a:p>
        </p:txBody>
      </p:sp>
      <p:pic>
        <p:nvPicPr>
          <p:cNvPr id="2560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24075" y="3716338"/>
            <a:ext cx="4914900" cy="3141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333375"/>
            <a:ext cx="4572000" cy="331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81475" y="0"/>
            <a:ext cx="4962525" cy="364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6"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5288" y="4508500"/>
            <a:ext cx="1533525"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83416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25286" y="2133134"/>
            <a:ext cx="6103311" cy="1390650"/>
          </a:xfrm>
        </p:spPr>
        <p:txBody>
          <a:bodyPr/>
          <a:lstStyle/>
          <a:p>
            <a:pPr algn="l"/>
            <a:r>
              <a:rPr lang="cs-CZ" sz="4400" dirty="0" smtClean="0"/>
              <a:t>Mezinárodní vlivy</a:t>
            </a:r>
            <a:endParaRPr lang="cs-CZ" sz="4400" dirty="0"/>
          </a:p>
        </p:txBody>
      </p:sp>
      <p:sp>
        <p:nvSpPr>
          <p:cNvPr id="4" name="Zástupný symbol pro text 3"/>
          <p:cNvSpPr>
            <a:spLocks noGrp="1"/>
          </p:cNvSpPr>
          <p:nvPr>
            <p:ph type="body" sz="quarter" idx="13"/>
          </p:nvPr>
        </p:nvSpPr>
        <p:spPr/>
        <p:txBody>
          <a:bodyPr/>
          <a:lstStyle/>
          <a:p>
            <a:r>
              <a:rPr lang="cs-CZ" dirty="0" smtClean="0"/>
              <a:t>1</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3</a:t>
            </a:fld>
            <a:endParaRPr lang="cs-CZ"/>
          </a:p>
        </p:txBody>
      </p:sp>
      <p:sp>
        <p:nvSpPr>
          <p:cNvPr id="6" name="Podnadpis 2"/>
          <p:cNvSpPr>
            <a:spLocks noGrp="1"/>
          </p:cNvSpPr>
          <p:nvPr>
            <p:ph type="subTitle" idx="1"/>
          </p:nvPr>
        </p:nvSpPr>
        <p:spPr>
          <a:xfrm>
            <a:off x="1079654" y="3505200"/>
            <a:ext cx="4682168" cy="1752600"/>
          </a:xfrm>
        </p:spPr>
        <p:txBody>
          <a:bodyPr/>
          <a:lstStyle/>
          <a:p>
            <a:pPr algn="l">
              <a:buFont typeface="Arial" pitchFamily="34" charset="0"/>
              <a:buNone/>
              <a:defRPr/>
            </a:pPr>
            <a:endParaRPr lang="cs-CZ" dirty="0"/>
          </a:p>
        </p:txBody>
      </p:sp>
    </p:spTree>
    <p:extLst>
      <p:ext uri="{BB962C8B-B14F-4D97-AF65-F5344CB8AC3E}">
        <p14:creationId xmlns:p14="http://schemas.microsoft.com/office/powerpoint/2010/main" val="408351668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7" name="Nadpis 1"/>
          <p:cNvSpPr>
            <a:spLocks noGrp="1"/>
          </p:cNvSpPr>
          <p:nvPr>
            <p:ph type="title"/>
          </p:nvPr>
        </p:nvSpPr>
        <p:spPr>
          <a:xfrm>
            <a:off x="0" y="404664"/>
            <a:ext cx="9144000" cy="457200"/>
          </a:xfrm>
        </p:spPr>
        <p:txBody>
          <a:bodyPr>
            <a:normAutofit fontScale="90000"/>
          </a:bodyPr>
          <a:lstStyle/>
          <a:p>
            <a:r>
              <a:rPr lang="cs-CZ" dirty="0" smtClean="0">
                <a:ea typeface="ＭＳ Ｐゴシック" pitchFamily="34" charset="-128"/>
              </a:rPr>
              <a:t>Ambice Bruselu</a:t>
            </a:r>
          </a:p>
        </p:txBody>
      </p:sp>
      <p:sp>
        <p:nvSpPr>
          <p:cNvPr id="14338" name="Zástupný symbol pro obsah 2"/>
          <p:cNvSpPr>
            <a:spLocks noGrp="1"/>
          </p:cNvSpPr>
          <p:nvPr>
            <p:ph idx="1"/>
          </p:nvPr>
        </p:nvSpPr>
        <p:spPr>
          <a:xfrm>
            <a:off x="2312377" y="1556792"/>
            <a:ext cx="6579577" cy="2232025"/>
          </a:xfrm>
        </p:spPr>
        <p:txBody>
          <a:bodyPr/>
          <a:lstStyle/>
          <a:p>
            <a:pPr marL="0" indent="0">
              <a:buFontTx/>
              <a:buNone/>
            </a:pPr>
            <a:r>
              <a:rPr lang="cs-CZ" sz="2000" smtClean="0">
                <a:ea typeface="ＭＳ Ｐゴシック" pitchFamily="34" charset="-128"/>
              </a:rPr>
              <a:t>„O co mi jde, je úplná pravomoc, a to včetně oblasti energetického mixu a rozhodování o tom, jak se má energie zpracovávat…. V roce 2014 možná bude doba na formální rozhodnutí o prohloubení primárních pravomocí.</a:t>
            </a:r>
            <a:r>
              <a:rPr lang="cs-CZ" altLang="en-US" sz="2000" smtClean="0">
                <a:ea typeface="ＭＳ Ｐゴシック" pitchFamily="34" charset="-128"/>
              </a:rPr>
              <a:t>“</a:t>
            </a:r>
            <a:endParaRPr lang="cs-CZ" sz="2000" smtClean="0">
              <a:ea typeface="ＭＳ Ｐゴシック" pitchFamily="34" charset="-128"/>
            </a:endParaRPr>
          </a:p>
          <a:p>
            <a:pPr marL="0" indent="0">
              <a:buFontTx/>
              <a:buNone/>
            </a:pPr>
            <a:endParaRPr lang="cs-CZ" sz="800" smtClean="0">
              <a:ea typeface="ＭＳ Ｐゴシック" pitchFamily="34" charset="-128"/>
            </a:endParaRPr>
          </a:p>
          <a:p>
            <a:pPr marL="0" indent="0">
              <a:buFontTx/>
              <a:buNone/>
            </a:pPr>
            <a:r>
              <a:rPr lang="cs-CZ" sz="2000" b="1" smtClean="0">
                <a:ea typeface="ＭＳ Ｐゴシック" pitchFamily="34" charset="-128"/>
              </a:rPr>
              <a:t>Günther Oettinger, komisař pro energetiku</a:t>
            </a:r>
          </a:p>
        </p:txBody>
      </p:sp>
      <p:pic>
        <p:nvPicPr>
          <p:cNvPr id="14339" name="Picture 5" descr="http://www.vorbildsein.de/cms/images/image1283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2531" y="1628230"/>
            <a:ext cx="1396512" cy="204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0" name="Picture 7" descr="http://t1.gstatic.com/images?q=tbn:ANd9GcS-jA-hlVD6cjU47ITeJDOahmV4hdQ5pXGH3mSUDbdCl5zSn4P_Rg"/>
          <p:cNvPicPr>
            <a:picLocks noChangeAspect="1" noChangeArrowheads="1"/>
          </p:cNvPicPr>
          <p:nvPr/>
        </p:nvPicPr>
        <p:blipFill>
          <a:blip r:embed="rId3">
            <a:extLst>
              <a:ext uri="{28A0092B-C50C-407E-A947-70E740481C1C}">
                <a14:useLocalDpi xmlns:a14="http://schemas.microsoft.com/office/drawing/2010/main" val="0"/>
              </a:ext>
            </a:extLst>
          </a:blip>
          <a:srcRect l="-5980" t="-18330" r="5980" b="18330"/>
          <a:stretch>
            <a:fillRect/>
          </a:stretch>
        </p:blipFill>
        <p:spPr bwMode="auto">
          <a:xfrm>
            <a:off x="517281" y="3614192"/>
            <a:ext cx="1491762" cy="252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TextovéPole 1"/>
          <p:cNvSpPr txBox="1">
            <a:spLocks noChangeArrowheads="1"/>
          </p:cNvSpPr>
          <p:nvPr/>
        </p:nvSpPr>
        <p:spPr bwMode="auto">
          <a:xfrm>
            <a:off x="2378320" y="3984079"/>
            <a:ext cx="5849815" cy="2446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rgbClr val="F8F86A"/>
                </a:solidFill>
                <a:latin typeface="Arial" pitchFamily="34" charset="0"/>
                <a:ea typeface="ＭＳ Ｐゴシック" pitchFamily="34" charset="-128"/>
              </a:defRPr>
            </a:lvl1pPr>
            <a:lvl2pPr marL="742950" indent="-285750">
              <a:defRPr sz="2400" b="1">
                <a:solidFill>
                  <a:srgbClr val="F8F86A"/>
                </a:solidFill>
                <a:latin typeface="Arial" pitchFamily="34" charset="0"/>
                <a:ea typeface="ＭＳ Ｐゴシック" pitchFamily="34" charset="-128"/>
              </a:defRPr>
            </a:lvl2pPr>
            <a:lvl3pPr marL="1143000" indent="-228600">
              <a:defRPr sz="2400" b="1">
                <a:solidFill>
                  <a:srgbClr val="F8F86A"/>
                </a:solidFill>
                <a:latin typeface="Arial" pitchFamily="34" charset="0"/>
                <a:ea typeface="ＭＳ Ｐゴシック" pitchFamily="34" charset="-128"/>
              </a:defRPr>
            </a:lvl3pPr>
            <a:lvl4pPr marL="1600200" indent="-228600">
              <a:defRPr sz="2400" b="1">
                <a:solidFill>
                  <a:srgbClr val="F8F86A"/>
                </a:solidFill>
                <a:latin typeface="Arial" pitchFamily="34" charset="0"/>
                <a:ea typeface="ＭＳ Ｐゴシック" pitchFamily="34" charset="-128"/>
              </a:defRPr>
            </a:lvl4pPr>
            <a:lvl5pPr marL="2057400" indent="-228600">
              <a:defRPr sz="2400" b="1">
                <a:solidFill>
                  <a:srgbClr val="F8F86A"/>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rgbClr val="F8F86A"/>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rgbClr val="F8F86A"/>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rgbClr val="F8F86A"/>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rgbClr val="F8F86A"/>
                </a:solidFill>
                <a:latin typeface="Arial" pitchFamily="34" charset="0"/>
                <a:ea typeface="ＭＳ Ｐゴシック" pitchFamily="34" charset="-128"/>
              </a:defRPr>
            </a:lvl9pPr>
          </a:lstStyle>
          <a:p>
            <a:r>
              <a:rPr lang="cs-CZ" sz="2000" b="0" dirty="0">
                <a:solidFill>
                  <a:schemeClr val="tx1"/>
                </a:solidFill>
              </a:rPr>
              <a:t>„Všichni ti, co se nám snaží namluvit, že řešení leží na národní úrovni, se mýlí… právo volby energetického mixu </a:t>
            </a:r>
            <a:r>
              <a:rPr lang="en-US" sz="2000" b="0" dirty="0">
                <a:solidFill>
                  <a:schemeClr val="tx1"/>
                </a:solidFill>
              </a:rPr>
              <a:t>[</a:t>
            </a:r>
            <a:r>
              <a:rPr lang="en-US" sz="2000" b="0" dirty="0" err="1">
                <a:solidFill>
                  <a:schemeClr val="tx1"/>
                </a:solidFill>
              </a:rPr>
              <a:t>na</a:t>
            </a:r>
            <a:r>
              <a:rPr lang="en-US" sz="2000" b="0" dirty="0">
                <a:solidFill>
                  <a:schemeClr val="tx1"/>
                </a:solidFill>
              </a:rPr>
              <a:t> </a:t>
            </a:r>
            <a:r>
              <a:rPr lang="cs-CZ" sz="2000" b="0" dirty="0">
                <a:solidFill>
                  <a:schemeClr val="tx1"/>
                </a:solidFill>
              </a:rPr>
              <a:t>národní úrovni</a:t>
            </a:r>
            <a:r>
              <a:rPr lang="en-US" sz="2000" b="0" dirty="0">
                <a:solidFill>
                  <a:schemeClr val="tx1"/>
                </a:solidFill>
              </a:rPr>
              <a:t>]</a:t>
            </a:r>
            <a:r>
              <a:rPr lang="cs-CZ" sz="2000" b="0" dirty="0">
                <a:solidFill>
                  <a:schemeClr val="tx1"/>
                </a:solidFill>
              </a:rPr>
              <a:t> je problém a budeme o tom hodně diskutovat.</a:t>
            </a:r>
            <a:r>
              <a:rPr lang="cs-CZ" altLang="en-US" sz="2000" b="0" dirty="0">
                <a:solidFill>
                  <a:schemeClr val="tx1"/>
                </a:solidFill>
              </a:rPr>
              <a:t>“</a:t>
            </a:r>
            <a:endParaRPr lang="cs-CZ" sz="2000" b="0" dirty="0">
              <a:solidFill>
                <a:schemeClr val="tx1"/>
              </a:solidFill>
            </a:endParaRPr>
          </a:p>
          <a:p>
            <a:endParaRPr lang="cs-CZ" sz="900" dirty="0">
              <a:solidFill>
                <a:schemeClr val="tx1"/>
              </a:solidFill>
            </a:endParaRPr>
          </a:p>
          <a:p>
            <a:r>
              <a:rPr lang="cs-CZ" sz="2000" dirty="0">
                <a:solidFill>
                  <a:schemeClr val="tx1"/>
                </a:solidFill>
              </a:rPr>
              <a:t>Martin Schulz, předseda Evropského parlamentu</a:t>
            </a:r>
          </a:p>
          <a:p>
            <a:endParaRPr lang="cs-CZ" dirty="0">
              <a:solidFill>
                <a:schemeClr val="tx1"/>
              </a:solidFill>
            </a:endParaRPr>
          </a:p>
        </p:txBody>
      </p:sp>
      <p:sp>
        <p:nvSpPr>
          <p:cNvPr id="7" name="TextovéPole 6"/>
          <p:cNvSpPr txBox="1"/>
          <p:nvPr/>
        </p:nvSpPr>
        <p:spPr>
          <a:xfrm>
            <a:off x="4043655" y="6510336"/>
            <a:ext cx="1079142" cy="253916"/>
          </a:xfrm>
          <a:prstGeom prst="rect">
            <a:avLst/>
          </a:prstGeom>
          <a:noFill/>
        </p:spPr>
        <p:txBody>
          <a:bodyPr wrap="none" rtlCol="0">
            <a:spAutoFit/>
          </a:bodyPr>
          <a:lstStyle/>
          <a:p>
            <a:r>
              <a:rPr lang="cs-CZ" sz="1050" dirty="0" smtClean="0">
                <a:solidFill>
                  <a:srgbClr val="000000"/>
                </a:solidFill>
                <a:latin typeface="Arial Narrow" pitchFamily="34" charset="0"/>
              </a:rPr>
              <a:t>2</a:t>
            </a:r>
            <a:r>
              <a:rPr lang="cs-CZ" sz="1050" dirty="0">
                <a:solidFill>
                  <a:srgbClr val="000000"/>
                </a:solidFill>
                <a:latin typeface="Arial Narrow" pitchFamily="34" charset="0"/>
              </a:rPr>
              <a:t>. </a:t>
            </a:r>
            <a:r>
              <a:rPr lang="cs-CZ" sz="1050" dirty="0" smtClean="0">
                <a:solidFill>
                  <a:srgbClr val="000000"/>
                </a:solidFill>
                <a:latin typeface="Arial Narrow" pitchFamily="34" charset="0"/>
              </a:rPr>
              <a:t>Evropské vazb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2849211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1173707" y="2133134"/>
            <a:ext cx="5439234" cy="1390650"/>
          </a:xfrm>
        </p:spPr>
        <p:txBody>
          <a:bodyPr/>
          <a:lstStyle/>
          <a:p>
            <a:pPr marL="457200" indent="-457200" algn="l"/>
            <a:r>
              <a:rPr lang="cs-CZ" dirty="0" smtClean="0"/>
              <a:t>Tuzemské možnosti</a:t>
            </a:r>
            <a:endParaRPr lang="cs-CZ" dirty="0"/>
          </a:p>
        </p:txBody>
      </p:sp>
      <p:sp>
        <p:nvSpPr>
          <p:cNvPr id="4" name="Zástupný symbol pro text 3"/>
          <p:cNvSpPr>
            <a:spLocks noGrp="1"/>
          </p:cNvSpPr>
          <p:nvPr>
            <p:ph type="body" sz="quarter" idx="13"/>
          </p:nvPr>
        </p:nvSpPr>
        <p:spPr/>
        <p:txBody>
          <a:bodyPr/>
          <a:lstStyle/>
          <a:p>
            <a:r>
              <a:rPr lang="cs-CZ" dirty="0" smtClean="0"/>
              <a:t>3</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31</a:t>
            </a:fld>
            <a:endParaRPr lang="cs-CZ"/>
          </a:p>
        </p:txBody>
      </p:sp>
      <p:sp>
        <p:nvSpPr>
          <p:cNvPr id="3" name="Podnadpis 2"/>
          <p:cNvSpPr>
            <a:spLocks noGrp="1"/>
          </p:cNvSpPr>
          <p:nvPr>
            <p:ph type="subTitle" idx="1"/>
          </p:nvPr>
        </p:nvSpPr>
        <p:spPr/>
        <p:txBody>
          <a:bodyPr/>
          <a:lstStyle/>
          <a:p>
            <a:endParaRPr lang="cs-CZ"/>
          </a:p>
        </p:txBody>
      </p:sp>
    </p:spTree>
    <p:extLst>
      <p:ext uri="{BB962C8B-B14F-4D97-AF65-F5344CB8AC3E}">
        <p14:creationId xmlns:p14="http://schemas.microsoft.com/office/powerpoint/2010/main" val="342774919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Východiska pro ČR</a:t>
            </a:r>
            <a:endParaRPr lang="cs-CZ" dirty="0"/>
          </a:p>
        </p:txBody>
      </p:sp>
      <p:sp>
        <p:nvSpPr>
          <p:cNvPr id="3" name="Zástupný symbol pro obsah 2"/>
          <p:cNvSpPr>
            <a:spLocks noGrp="1"/>
          </p:cNvSpPr>
          <p:nvPr>
            <p:ph idx="1"/>
          </p:nvPr>
        </p:nvSpPr>
        <p:spPr/>
        <p:txBody>
          <a:bodyPr>
            <a:normAutofit fontScale="92500" lnSpcReduction="10000"/>
          </a:bodyPr>
          <a:lstStyle/>
          <a:p>
            <a:r>
              <a:rPr lang="cs-CZ" dirty="0" smtClean="0"/>
              <a:t>ČR </a:t>
            </a:r>
            <a:r>
              <a:rPr lang="cs-CZ" dirty="0"/>
              <a:t>není (podobně jako většina evropských zemí) surovinově soběstačná</a:t>
            </a:r>
          </a:p>
          <a:p>
            <a:r>
              <a:rPr lang="cs-CZ" dirty="0"/>
              <a:t>ČR dováží téměř všechnu ropu a zemní plyn, všechny rudy, kovy i řadu nerudních a dalších surovin</a:t>
            </a:r>
          </a:p>
          <a:p>
            <a:r>
              <a:rPr lang="cs-CZ" dirty="0"/>
              <a:t>Dovozy ropy a plynu vytvářejí každoročně obrovský tlak na schodek českého zahraničního obchodu</a:t>
            </a:r>
          </a:p>
          <a:p>
            <a:r>
              <a:rPr lang="cs-CZ" dirty="0"/>
              <a:t>ČR proto musí využívat alespoň ty zdroje, jimiž disponuje, v maximální možné míře – hnědé uhlí, černé uhlí, uranová ruda, obnovitelné zdroje</a:t>
            </a:r>
          </a:p>
          <a:p>
            <a:r>
              <a:rPr lang="cs-CZ" dirty="0"/>
              <a:t>Z hlediska surovinové a energetické bezpečnosti jsou nejvíce bezpečné zdroje na vlastním teritoriu</a:t>
            </a:r>
          </a:p>
          <a:p>
            <a:r>
              <a:rPr lang="cs-CZ" dirty="0"/>
              <a:t>Na domácích zdrojích je i postavena výroba elektrické energie v ČR a je to bezesporu naše komparativní </a:t>
            </a:r>
            <a:r>
              <a:rPr lang="cs-CZ" dirty="0" smtClean="0"/>
              <a:t>výhoda</a:t>
            </a:r>
            <a:endParaRPr lang="cs-CZ" dirty="0"/>
          </a:p>
          <a:p>
            <a:pPr lvl="1"/>
            <a:endParaRPr lang="cs-CZ" dirty="0"/>
          </a:p>
        </p:txBody>
      </p:sp>
      <p:sp>
        <p:nvSpPr>
          <p:cNvPr id="7" name="TextovéPole 6"/>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14569585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Bilance elektřiny v regionu</a:t>
            </a:r>
            <a:endParaRPr lang="cs-CZ" dirty="0"/>
          </a:p>
        </p:txBody>
      </p:sp>
      <p:pic>
        <p:nvPicPr>
          <p:cNvPr id="3" name="Picture 155"/>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1852" y="1552574"/>
            <a:ext cx="8234163" cy="4324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p:cNvSpPr txBox="1">
            <a:spLocks/>
          </p:cNvSpPr>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33</a:t>
            </a:fld>
            <a:endParaRPr lang="en-US" dirty="0"/>
          </a:p>
        </p:txBody>
      </p:sp>
      <p:sp>
        <p:nvSpPr>
          <p:cNvPr id="7" name="Footer Placeholder 4"/>
          <p:cNvSpPr txBox="1">
            <a:spLocks/>
          </p:cNvSpPr>
          <p:nvPr/>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sp>
        <p:nvSpPr>
          <p:cNvPr id="9" name="TextovéPole 8"/>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20649711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p:cNvSpPr>
          <p:nvPr>
            <p:ph type="title"/>
          </p:nvPr>
        </p:nvSpPr>
        <p:spPr>
          <a:xfrm>
            <a:off x="1258888" y="380647"/>
            <a:ext cx="5761037" cy="476250"/>
          </a:xfrm>
          <a:noFill/>
          <a:ln>
            <a:noFill/>
          </a:ln>
        </p:spPr>
        <p:txBody>
          <a:bodyPr vert="horz" wrap="square" lIns="91440" tIns="45720" rIns="91440" bIns="45720" numCol="1" anchor="b" anchorCtr="0" compatLnSpc="1">
            <a:prstTxWarp prst="textNoShape">
              <a:avLst/>
            </a:prstTxWarp>
            <a:normAutofit fontScale="90000"/>
          </a:bodyPr>
          <a:lstStyle/>
          <a:p>
            <a:r>
              <a:rPr lang="cs-CZ" dirty="0"/>
              <a:t>Vliv okolních zemí na ES ČR</a:t>
            </a:r>
          </a:p>
        </p:txBody>
      </p:sp>
      <p:sp>
        <p:nvSpPr>
          <p:cNvPr id="40964" name="Text Box 4"/>
          <p:cNvSpPr txBox="1">
            <a:spLocks noChangeArrowheads="1"/>
          </p:cNvSpPr>
          <p:nvPr/>
        </p:nvSpPr>
        <p:spPr bwMode="auto">
          <a:xfrm>
            <a:off x="4438650" y="6613525"/>
            <a:ext cx="250825" cy="225425"/>
          </a:xfrm>
          <a:prstGeom prst="rect">
            <a:avLst/>
          </a:prstGeom>
          <a:noFill/>
          <a:ln w="12700">
            <a:noFill/>
            <a:miter lim="800000"/>
            <a:headEnd/>
            <a:tailEnd/>
          </a:ln>
          <a:effectLst/>
        </p:spPr>
        <p:txBody>
          <a:bodyPr wrap="none" lIns="90488" tIns="44450" rIns="90488" bIns="44450">
            <a:spAutoFit/>
          </a:bodyPr>
          <a:lstStyle/>
          <a:p>
            <a:pPr algn="ctr" defTabSz="900113" eaLnBrk="0" hangingPunct="0">
              <a:lnSpc>
                <a:spcPct val="90000"/>
              </a:lnSpc>
              <a:tabLst>
                <a:tab pos="8001000" algn="l"/>
              </a:tabLst>
            </a:pPr>
            <a:fld id="{32B5A5AA-8660-4C19-A57F-7790D1108EF2}" type="slidenum">
              <a:rPr lang="cs-CZ" sz="1000">
                <a:solidFill>
                  <a:schemeClr val="bg1"/>
                </a:solidFill>
                <a:latin typeface="Arial" pitchFamily="34" charset="0"/>
              </a:rPr>
              <a:pPr algn="ctr" defTabSz="900113" eaLnBrk="0" hangingPunct="0">
                <a:lnSpc>
                  <a:spcPct val="90000"/>
                </a:lnSpc>
                <a:tabLst>
                  <a:tab pos="8001000" algn="l"/>
                </a:tabLst>
              </a:pPr>
              <a:t>34</a:t>
            </a:fld>
            <a:endParaRPr lang="cs-CZ" sz="1000">
              <a:solidFill>
                <a:schemeClr val="bg1"/>
              </a:solidFill>
              <a:latin typeface="Arial" pitchFamily="34" charset="0"/>
            </a:endParaRPr>
          </a:p>
        </p:txBody>
      </p:sp>
      <p:grpSp>
        <p:nvGrpSpPr>
          <p:cNvPr id="6" name="Skupina 24"/>
          <p:cNvGrpSpPr>
            <a:grpSpLocks/>
          </p:cNvGrpSpPr>
          <p:nvPr/>
        </p:nvGrpSpPr>
        <p:grpSpPr bwMode="auto">
          <a:xfrm>
            <a:off x="1555844" y="2511188"/>
            <a:ext cx="6152065" cy="4013982"/>
            <a:chOff x="642938" y="1196975"/>
            <a:chExt cx="6665912" cy="5018088"/>
          </a:xfrm>
        </p:grpSpPr>
        <p:pic>
          <p:nvPicPr>
            <p:cNvPr id="7" name="Picture 4"/>
            <p:cNvPicPr>
              <a:picLocks noChangeAspect="1" noChangeArrowheads="1"/>
            </p:cNvPicPr>
            <p:nvPr/>
          </p:nvPicPr>
          <p:blipFill>
            <a:blip r:embed="rId2">
              <a:lum contrast="28000"/>
              <a:extLst>
                <a:ext uri="{28A0092B-C50C-407E-A947-70E740481C1C}">
                  <a14:useLocalDpi xmlns:a14="http://schemas.microsoft.com/office/drawing/2010/main" val="0"/>
                </a:ext>
              </a:extLst>
            </a:blip>
            <a:srcRect/>
            <a:stretch>
              <a:fillRect/>
            </a:stretch>
          </p:blipFill>
          <p:spPr bwMode="auto">
            <a:xfrm>
              <a:off x="642938" y="1196975"/>
              <a:ext cx="6665912" cy="501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7"/>
            <p:cNvSpPr>
              <a:spLocks noChangeShapeType="1"/>
            </p:cNvSpPr>
            <p:nvPr/>
          </p:nvSpPr>
          <p:spPr bwMode="auto">
            <a:xfrm flipH="1">
              <a:off x="5400675" y="5300663"/>
              <a:ext cx="0" cy="330200"/>
            </a:xfrm>
            <a:prstGeom prst="line">
              <a:avLst/>
            </a:prstGeom>
            <a:noFill/>
            <a:ln w="9525">
              <a:solidFill>
                <a:srgbClr val="FF00FF"/>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9" name="AutoShape 21"/>
            <p:cNvSpPr>
              <a:spLocks noChangeArrowheads="1"/>
            </p:cNvSpPr>
            <p:nvPr/>
          </p:nvSpPr>
          <p:spPr bwMode="auto">
            <a:xfrm rot="3788360">
              <a:off x="1696244" y="1440657"/>
              <a:ext cx="1447800" cy="1008062"/>
            </a:xfrm>
            <a:prstGeom prst="rightArrow">
              <a:avLst>
                <a:gd name="adj1" fmla="val 50000"/>
                <a:gd name="adj2" fmla="val 31384"/>
              </a:avLst>
            </a:prstGeom>
            <a:solidFill>
              <a:srgbClr val="FF0000"/>
            </a:solidFill>
            <a:ln w="12700" algn="ctr">
              <a:solidFill>
                <a:schemeClr val="tx1"/>
              </a:solidFill>
              <a:miter lim="800000"/>
              <a:headEnd/>
              <a:tailEnd/>
            </a:ln>
          </p:spPr>
          <p:txBody>
            <a:bodyPr wrap="none" lIns="0" tIns="137160" rIns="182880" bIns="137160" anchor="ctr"/>
            <a:lstStyle/>
            <a:p>
              <a:endParaRPr lang="sk-SK">
                <a:latin typeface="Verdana" pitchFamily="34" charset="0"/>
              </a:endParaRPr>
            </a:p>
          </p:txBody>
        </p:sp>
        <p:sp>
          <p:nvSpPr>
            <p:cNvPr id="11" name="AutoShape 22"/>
            <p:cNvSpPr>
              <a:spLocks noChangeArrowheads="1"/>
            </p:cNvSpPr>
            <p:nvPr/>
          </p:nvSpPr>
          <p:spPr bwMode="auto">
            <a:xfrm rot="9636172">
              <a:off x="1203325" y="3425825"/>
              <a:ext cx="833438" cy="741363"/>
            </a:xfrm>
            <a:prstGeom prst="rightArrow">
              <a:avLst>
                <a:gd name="adj1" fmla="val 50000"/>
                <a:gd name="adj2" fmla="val 32154"/>
              </a:avLst>
            </a:prstGeom>
            <a:solidFill>
              <a:srgbClr val="FF0000"/>
            </a:solidFill>
            <a:ln w="12700" algn="ctr">
              <a:solidFill>
                <a:schemeClr val="tx1"/>
              </a:solidFill>
              <a:miter lim="800000"/>
              <a:headEnd/>
              <a:tailEnd/>
            </a:ln>
          </p:spPr>
          <p:txBody>
            <a:bodyPr wrap="none" lIns="0" tIns="137160" rIns="182880" bIns="137160" anchor="ctr"/>
            <a:lstStyle/>
            <a:p>
              <a:endParaRPr lang="sk-SK">
                <a:latin typeface="Verdana" pitchFamily="34" charset="0"/>
              </a:endParaRPr>
            </a:p>
          </p:txBody>
        </p:sp>
        <p:sp>
          <p:nvSpPr>
            <p:cNvPr id="12" name="AutoShape 23"/>
            <p:cNvSpPr>
              <a:spLocks noChangeArrowheads="1"/>
            </p:cNvSpPr>
            <p:nvPr/>
          </p:nvSpPr>
          <p:spPr bwMode="auto">
            <a:xfrm rot="2436720">
              <a:off x="6027738" y="5029200"/>
              <a:ext cx="741362" cy="576263"/>
            </a:xfrm>
            <a:prstGeom prst="rightArrow">
              <a:avLst>
                <a:gd name="adj1" fmla="val 50000"/>
                <a:gd name="adj2" fmla="val 32222"/>
              </a:avLst>
            </a:prstGeom>
            <a:solidFill>
              <a:srgbClr val="FF0000"/>
            </a:solidFill>
            <a:ln w="12700" algn="ctr">
              <a:solidFill>
                <a:schemeClr val="tx1"/>
              </a:solidFill>
              <a:miter lim="800000"/>
              <a:headEnd/>
              <a:tailEnd/>
            </a:ln>
          </p:spPr>
          <p:txBody>
            <a:bodyPr wrap="none" lIns="0" tIns="137160" rIns="182880" bIns="137160" anchor="ctr"/>
            <a:lstStyle/>
            <a:p>
              <a:endParaRPr lang="sk-SK">
                <a:latin typeface="Verdana" pitchFamily="34" charset="0"/>
              </a:endParaRPr>
            </a:p>
          </p:txBody>
        </p:sp>
        <p:sp>
          <p:nvSpPr>
            <p:cNvPr id="13" name="AutoShape 32"/>
            <p:cNvSpPr>
              <a:spLocks noChangeArrowheads="1"/>
            </p:cNvSpPr>
            <p:nvPr/>
          </p:nvSpPr>
          <p:spPr bwMode="auto">
            <a:xfrm rot="9602836">
              <a:off x="1878013" y="2484438"/>
              <a:ext cx="1017587" cy="1436687"/>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FF0000">
                <a:alpha val="20000"/>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cs-CZ"/>
            </a:p>
          </p:txBody>
        </p:sp>
        <p:sp>
          <p:nvSpPr>
            <p:cNvPr id="14" name="AutoShape 33"/>
            <p:cNvSpPr>
              <a:spLocks noChangeArrowheads="1"/>
            </p:cNvSpPr>
            <p:nvPr/>
          </p:nvSpPr>
          <p:spPr bwMode="auto">
            <a:xfrm rot="2978712">
              <a:off x="1858962" y="3398838"/>
              <a:ext cx="3706813" cy="865188"/>
            </a:xfrm>
            <a:prstGeom prst="rightArrow">
              <a:avLst>
                <a:gd name="adj1" fmla="val 50000"/>
                <a:gd name="adj2" fmla="val 93622"/>
              </a:avLst>
            </a:prstGeom>
            <a:solidFill>
              <a:srgbClr val="FF0000">
                <a:alpha val="20000"/>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sk-SK">
                <a:latin typeface="Verdana" pitchFamily="34" charset="0"/>
              </a:endParaRPr>
            </a:p>
          </p:txBody>
        </p:sp>
        <p:sp>
          <p:nvSpPr>
            <p:cNvPr id="15" name="AutoShape 34"/>
            <p:cNvSpPr>
              <a:spLocks noChangeArrowheads="1"/>
            </p:cNvSpPr>
            <p:nvPr/>
          </p:nvSpPr>
          <p:spPr bwMode="auto">
            <a:xfrm rot="1851875">
              <a:off x="2241550" y="3214688"/>
              <a:ext cx="4103688" cy="493712"/>
            </a:xfrm>
            <a:prstGeom prst="rightArrow">
              <a:avLst>
                <a:gd name="adj1" fmla="val 50000"/>
                <a:gd name="adj2" fmla="val 237736"/>
              </a:avLst>
            </a:prstGeom>
            <a:solidFill>
              <a:srgbClr val="FF0000">
                <a:alpha val="20000"/>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sk-SK">
                <a:latin typeface="Verdana" pitchFamily="34" charset="0"/>
              </a:endParaRPr>
            </a:p>
          </p:txBody>
        </p:sp>
        <p:sp>
          <p:nvSpPr>
            <p:cNvPr id="16" name="AutoShape 36"/>
            <p:cNvSpPr>
              <a:spLocks noChangeArrowheads="1"/>
            </p:cNvSpPr>
            <p:nvPr/>
          </p:nvSpPr>
          <p:spPr bwMode="auto">
            <a:xfrm rot="14290353" flipH="1">
              <a:off x="5960270" y="3783806"/>
              <a:ext cx="576262" cy="86677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rgbClr val="FF0000">
                <a:alpha val="20000"/>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cs-CZ"/>
            </a:p>
          </p:txBody>
        </p:sp>
        <p:sp>
          <p:nvSpPr>
            <p:cNvPr id="17" name="AutoShape 37"/>
            <p:cNvSpPr>
              <a:spLocks noChangeArrowheads="1"/>
            </p:cNvSpPr>
            <p:nvPr/>
          </p:nvSpPr>
          <p:spPr bwMode="auto">
            <a:xfrm rot="8981579">
              <a:off x="4516438" y="4071938"/>
              <a:ext cx="2127250" cy="555625"/>
            </a:xfrm>
            <a:prstGeom prst="rightArrow">
              <a:avLst>
                <a:gd name="adj1" fmla="val 50000"/>
                <a:gd name="adj2" fmla="val 109504"/>
              </a:avLst>
            </a:prstGeom>
            <a:solidFill>
              <a:srgbClr val="FF0000">
                <a:alpha val="20000"/>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sk-SK">
                <a:latin typeface="Verdana" pitchFamily="34" charset="0"/>
              </a:endParaRPr>
            </a:p>
          </p:txBody>
        </p:sp>
        <p:sp>
          <p:nvSpPr>
            <p:cNvPr id="18" name="AutoShape 39"/>
            <p:cNvSpPr>
              <a:spLocks noChangeArrowheads="1"/>
            </p:cNvSpPr>
            <p:nvPr/>
          </p:nvSpPr>
          <p:spPr bwMode="auto">
            <a:xfrm rot="2531679">
              <a:off x="2690813" y="2749550"/>
              <a:ext cx="574675" cy="411163"/>
            </a:xfrm>
            <a:prstGeom prst="leftRightArrow">
              <a:avLst>
                <a:gd name="adj1" fmla="val 50000"/>
                <a:gd name="adj2" fmla="val 31978"/>
              </a:avLst>
            </a:prstGeom>
            <a:solidFill>
              <a:srgbClr val="3366FF">
                <a:alpha val="70195"/>
              </a:srgbClr>
            </a:solidFill>
            <a:ln>
              <a:noFill/>
            </a:ln>
            <a:extLst>
              <a:ext uri="{91240B29-F687-4F45-9708-019B960494DF}">
                <a14:hiddenLine xmlns:a14="http://schemas.microsoft.com/office/drawing/2010/main" w="152400" algn="ctr">
                  <a:solidFill>
                    <a:srgbClr val="000000"/>
                  </a:solidFill>
                  <a:prstDash val="dash"/>
                  <a:miter lim="800000"/>
                  <a:headEnd/>
                  <a:tailEnd/>
                </a14:hiddenLine>
              </a:ext>
            </a:extLst>
          </p:spPr>
          <p:txBody>
            <a:bodyPr wrap="none" lIns="0" tIns="137160" rIns="182880" bIns="137160" anchor="ctr"/>
            <a:lstStyle/>
            <a:p>
              <a:endParaRPr lang="sk-SK">
                <a:latin typeface="Verdana" pitchFamily="34" charset="0"/>
              </a:endParaRPr>
            </a:p>
          </p:txBody>
        </p:sp>
        <p:sp>
          <p:nvSpPr>
            <p:cNvPr id="19" name="AutoShape 23"/>
            <p:cNvSpPr>
              <a:spLocks noChangeArrowheads="1"/>
            </p:cNvSpPr>
            <p:nvPr/>
          </p:nvSpPr>
          <p:spPr bwMode="auto">
            <a:xfrm rot="8013977">
              <a:off x="6407151" y="3019425"/>
              <a:ext cx="722312" cy="642937"/>
            </a:xfrm>
            <a:prstGeom prst="rightArrow">
              <a:avLst>
                <a:gd name="adj1" fmla="val 50000"/>
                <a:gd name="adj2" fmla="val 32117"/>
              </a:avLst>
            </a:prstGeom>
            <a:solidFill>
              <a:srgbClr val="FF0000"/>
            </a:solidFill>
            <a:ln w="12700" algn="ctr">
              <a:solidFill>
                <a:schemeClr val="tx1"/>
              </a:solidFill>
              <a:miter lim="800000"/>
              <a:headEnd/>
              <a:tailEnd/>
            </a:ln>
          </p:spPr>
          <p:txBody>
            <a:bodyPr wrap="none" lIns="0" tIns="137160" rIns="182880" bIns="137160" anchor="ctr"/>
            <a:lstStyle/>
            <a:p>
              <a:endParaRPr lang="sk-SK">
                <a:latin typeface="Verdana" pitchFamily="34" charset="0"/>
              </a:endParaRPr>
            </a:p>
          </p:txBody>
        </p:sp>
        <p:sp>
          <p:nvSpPr>
            <p:cNvPr id="20" name="AutoShape 23"/>
            <p:cNvSpPr>
              <a:spLocks noChangeArrowheads="1"/>
            </p:cNvSpPr>
            <p:nvPr/>
          </p:nvSpPr>
          <p:spPr bwMode="auto">
            <a:xfrm rot="8013977">
              <a:off x="4124325" y="5283200"/>
              <a:ext cx="752475" cy="860425"/>
            </a:xfrm>
            <a:prstGeom prst="rightArrow">
              <a:avLst>
                <a:gd name="adj1" fmla="val 50000"/>
                <a:gd name="adj2" fmla="val 32171"/>
              </a:avLst>
            </a:prstGeom>
            <a:solidFill>
              <a:srgbClr val="FF0000"/>
            </a:solidFill>
            <a:ln w="12700" algn="ctr">
              <a:solidFill>
                <a:schemeClr val="tx1"/>
              </a:solidFill>
              <a:miter lim="800000"/>
              <a:headEnd/>
              <a:tailEnd/>
            </a:ln>
          </p:spPr>
          <p:txBody>
            <a:bodyPr wrap="none" lIns="0" tIns="137160" rIns="182880" bIns="137160" anchor="ctr"/>
            <a:lstStyle/>
            <a:p>
              <a:endParaRPr lang="sk-SK">
                <a:latin typeface="Verdana" pitchFamily="34" charset="0"/>
              </a:endParaRPr>
            </a:p>
          </p:txBody>
        </p:sp>
      </p:grpSp>
      <p:sp>
        <p:nvSpPr>
          <p:cNvPr id="21" name="Rectangle 3"/>
          <p:cNvSpPr>
            <a:spLocks noChangeArrowheads="1"/>
          </p:cNvSpPr>
          <p:nvPr/>
        </p:nvSpPr>
        <p:spPr bwMode="auto">
          <a:xfrm>
            <a:off x="494030" y="1264920"/>
            <a:ext cx="8353425" cy="5105400"/>
          </a:xfrm>
          <a:prstGeom prst="rect">
            <a:avLst/>
          </a:prstGeom>
          <a:noFill/>
          <a:ln w="9525">
            <a:noFill/>
            <a:miter lim="800000"/>
            <a:headEnd/>
            <a:tailEnd/>
          </a:ln>
        </p:spPr>
        <p:txBody>
          <a:bodyPr/>
          <a:lstStyle/>
          <a:p>
            <a:pPr marL="342900" lvl="1" indent="-342900" eaLnBrk="1" hangingPunct="1">
              <a:spcBef>
                <a:spcPct val="20000"/>
              </a:spcBef>
              <a:buFont typeface="Wingdings" pitchFamily="2" charset="2"/>
              <a:buChar char="§"/>
              <a:defRPr/>
            </a:pPr>
            <a:r>
              <a:rPr lang="cs-CZ" sz="2000" dirty="0" smtClean="0">
                <a:solidFill>
                  <a:srgbClr val="000000"/>
                </a:solidFill>
                <a:latin typeface="Arial" pitchFamily="34" charset="0"/>
              </a:rPr>
              <a:t>Podpora </a:t>
            </a:r>
            <a:r>
              <a:rPr lang="cs-CZ" sz="2000" dirty="0">
                <a:solidFill>
                  <a:srgbClr val="000000"/>
                </a:solidFill>
                <a:latin typeface="Arial" pitchFamily="34" charset="0"/>
              </a:rPr>
              <a:t>evropského energetického trhu s elektřinou</a:t>
            </a:r>
          </a:p>
          <a:p>
            <a:pPr marL="342900" lvl="1" indent="-342900" eaLnBrk="1" hangingPunct="1">
              <a:spcBef>
                <a:spcPct val="20000"/>
              </a:spcBef>
              <a:buFont typeface="Wingdings" pitchFamily="2" charset="2"/>
              <a:buChar char="§"/>
              <a:defRPr/>
            </a:pPr>
            <a:r>
              <a:rPr lang="cs-CZ" sz="2000" dirty="0">
                <a:solidFill>
                  <a:srgbClr val="000000"/>
                </a:solidFill>
                <a:latin typeface="Arial" pitchFamily="34" charset="0"/>
              </a:rPr>
              <a:t>Integrace obnovitelných zdrojů – Německo, proměnlivost toků</a:t>
            </a:r>
          </a:p>
          <a:p>
            <a:pPr marL="342900" lvl="1" indent="-342900" eaLnBrk="1" hangingPunct="1">
              <a:spcBef>
                <a:spcPct val="20000"/>
              </a:spcBef>
              <a:buFont typeface="Wingdings" pitchFamily="2" charset="2"/>
              <a:buChar char="§"/>
              <a:defRPr/>
            </a:pPr>
            <a:r>
              <a:rPr lang="cs-CZ" sz="2000" dirty="0">
                <a:solidFill>
                  <a:srgbClr val="000000"/>
                </a:solidFill>
                <a:latin typeface="Arial" pitchFamily="34" charset="0"/>
              </a:rPr>
              <a:t>PL - změna portfolia, instalace PST na hranice s DE </a:t>
            </a:r>
          </a:p>
          <a:p>
            <a:pPr marL="342900" lvl="1" indent="-342900">
              <a:spcBef>
                <a:spcPct val="20000"/>
              </a:spcBef>
              <a:buFont typeface="Wingdings" pitchFamily="2" charset="2"/>
              <a:buChar char="§"/>
            </a:pPr>
            <a:endParaRPr lang="cs-CZ" sz="2000" dirty="0">
              <a:solidFill>
                <a:srgbClr val="000000"/>
              </a:solidFill>
              <a:latin typeface="Arial" pitchFamily="34" charset="0"/>
            </a:endParaRPr>
          </a:p>
        </p:txBody>
      </p:sp>
      <p:sp>
        <p:nvSpPr>
          <p:cNvPr id="2" name="TextovéPole 1"/>
          <p:cNvSpPr txBox="1"/>
          <p:nvPr/>
        </p:nvSpPr>
        <p:spPr>
          <a:xfrm>
            <a:off x="585401" y="6386670"/>
            <a:ext cx="1114408" cy="261610"/>
          </a:xfrm>
          <a:prstGeom prst="rect">
            <a:avLst/>
          </a:prstGeom>
          <a:noFill/>
        </p:spPr>
        <p:txBody>
          <a:bodyPr wrap="none" rtlCol="0">
            <a:spAutoFit/>
          </a:bodyPr>
          <a:lstStyle/>
          <a:p>
            <a:pPr algn="r"/>
            <a:r>
              <a:rPr lang="cs-CZ" sz="1100" dirty="0" smtClean="0">
                <a:solidFill>
                  <a:srgbClr val="000000"/>
                </a:solidFill>
                <a:latin typeface="Arial Narrow" pitchFamily="34" charset="0"/>
              </a:rPr>
              <a:t>Zdroj: ČEPS, a.s.</a:t>
            </a:r>
          </a:p>
        </p:txBody>
      </p:sp>
      <p:sp>
        <p:nvSpPr>
          <p:cNvPr id="23" name="TextovéPole 22"/>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94676620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0963" name="Rectangle 3"/>
          <p:cNvSpPr>
            <a:spLocks noGrp="1"/>
          </p:cNvSpPr>
          <p:nvPr>
            <p:ph type="title"/>
          </p:nvPr>
        </p:nvSpPr>
        <p:spPr>
          <a:xfrm>
            <a:off x="1258888" y="380647"/>
            <a:ext cx="5761037" cy="476250"/>
          </a:xfrm>
        </p:spPr>
        <p:txBody>
          <a:bodyPr/>
          <a:lstStyle/>
          <a:p>
            <a:r>
              <a:rPr lang="cs-CZ" sz="2400" dirty="0" smtClean="0"/>
              <a:t>Vliv </a:t>
            </a:r>
            <a:r>
              <a:rPr lang="cs-CZ" sz="2400" dirty="0"/>
              <a:t>VTE v Německu na </a:t>
            </a:r>
            <a:r>
              <a:rPr lang="cs-CZ" sz="2400" dirty="0" smtClean="0"/>
              <a:t>ES ČR</a:t>
            </a:r>
            <a:endParaRPr lang="cs-CZ" sz="2400" dirty="0"/>
          </a:p>
        </p:txBody>
      </p:sp>
      <p:sp>
        <p:nvSpPr>
          <p:cNvPr id="40964" name="Text Box 4"/>
          <p:cNvSpPr txBox="1">
            <a:spLocks noChangeArrowheads="1"/>
          </p:cNvSpPr>
          <p:nvPr/>
        </p:nvSpPr>
        <p:spPr bwMode="auto">
          <a:xfrm>
            <a:off x="4438650" y="6613525"/>
            <a:ext cx="250825" cy="225425"/>
          </a:xfrm>
          <a:prstGeom prst="rect">
            <a:avLst/>
          </a:prstGeom>
          <a:noFill/>
          <a:ln w="12700">
            <a:noFill/>
            <a:miter lim="800000"/>
            <a:headEnd/>
            <a:tailEnd/>
          </a:ln>
          <a:effectLst/>
        </p:spPr>
        <p:txBody>
          <a:bodyPr wrap="none" lIns="90488" tIns="44450" rIns="90488" bIns="44450">
            <a:spAutoFit/>
          </a:bodyPr>
          <a:lstStyle/>
          <a:p>
            <a:pPr algn="ctr" defTabSz="900113" eaLnBrk="0" hangingPunct="0">
              <a:lnSpc>
                <a:spcPct val="90000"/>
              </a:lnSpc>
              <a:tabLst>
                <a:tab pos="8001000" algn="l"/>
              </a:tabLst>
            </a:pPr>
            <a:fld id="{32B5A5AA-8660-4C19-A57F-7790D1108EF2}" type="slidenum">
              <a:rPr lang="cs-CZ" sz="1000">
                <a:solidFill>
                  <a:schemeClr val="bg1"/>
                </a:solidFill>
                <a:latin typeface="Arial" pitchFamily="34" charset="0"/>
              </a:rPr>
              <a:pPr algn="ctr" defTabSz="900113" eaLnBrk="0" hangingPunct="0">
                <a:lnSpc>
                  <a:spcPct val="90000"/>
                </a:lnSpc>
                <a:tabLst>
                  <a:tab pos="8001000" algn="l"/>
                </a:tabLst>
              </a:pPr>
              <a:t>35</a:t>
            </a:fld>
            <a:endParaRPr lang="cs-CZ" sz="1000">
              <a:solidFill>
                <a:schemeClr val="bg1"/>
              </a:solidFill>
              <a:latin typeface="Arial" pitchFamily="34" charset="0"/>
            </a:endParaRPr>
          </a:p>
        </p:txBody>
      </p:sp>
      <p:grpSp>
        <p:nvGrpSpPr>
          <p:cNvPr id="22" name="Skupina 44"/>
          <p:cNvGrpSpPr>
            <a:grpSpLocks/>
          </p:cNvGrpSpPr>
          <p:nvPr/>
        </p:nvGrpSpPr>
        <p:grpSpPr bwMode="auto">
          <a:xfrm>
            <a:off x="1309553" y="1607145"/>
            <a:ext cx="6480175" cy="4824412"/>
            <a:chOff x="2328999" y="2882487"/>
            <a:chExt cx="3323121" cy="2590204"/>
          </a:xfrm>
        </p:grpSpPr>
        <p:pic>
          <p:nvPicPr>
            <p:cNvPr id="23" name="Picture 9" descr="C:\Users\lenka\Desktop\FINAL_CEPS_IKONKY\MAPY_ČEPS_ČERVENÁ\mapa_rusko2_červená.png"/>
            <p:cNvPicPr>
              <a:picLocks noChangeAspect="1" noChangeArrowheads="1"/>
            </p:cNvPicPr>
            <p:nvPr/>
          </p:nvPicPr>
          <p:blipFill>
            <a:blip r:embed="rId2">
              <a:lum bright="70000" contrast="-70000"/>
              <a:extLst>
                <a:ext uri="{28A0092B-C50C-407E-A947-70E740481C1C}">
                  <a14:useLocalDpi xmlns:a14="http://schemas.microsoft.com/office/drawing/2010/main" val="0"/>
                </a:ext>
              </a:extLst>
            </a:blip>
            <a:srcRect/>
            <a:stretch>
              <a:fillRect/>
            </a:stretch>
          </p:blipFill>
          <p:spPr bwMode="auto">
            <a:xfrm>
              <a:off x="4892874" y="2882487"/>
              <a:ext cx="531300" cy="30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4" descr="C:\Users\lenka\Desktop\FINAL_CEPS_IKONKY\MAPY_ČEPS_ČERVENÁ\mapa_polsko_červená.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3823545" y="3002015"/>
              <a:ext cx="1828575" cy="1659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 descr="C:\Users\lenka\Desktop\FINAL_CEPS_IKONKY\MAPY_ČEPS_ČERVENÁ\mapa_německo_červená.png"/>
            <p:cNvPicPr>
              <a:picLocks noChangeAspect="1" noChangeArrowheads="1"/>
            </p:cNvPicPr>
            <p:nvPr/>
          </p:nvPicPr>
          <p:blipFill>
            <a:blip r:embed="rId4" cstate="print">
              <a:duotone>
                <a:prstClr val="black"/>
                <a:schemeClr val="accent2">
                  <a:tint val="45000"/>
                  <a:satMod val="400000"/>
                </a:schemeClr>
              </a:duotone>
            </a:blip>
            <a:srcRect/>
            <a:stretch>
              <a:fillRect/>
            </a:stretch>
          </p:blipFill>
          <p:spPr bwMode="auto">
            <a:xfrm>
              <a:off x="2328999" y="2967758"/>
              <a:ext cx="1646042" cy="2125120"/>
            </a:xfrm>
            <a:prstGeom prst="rect">
              <a:avLst/>
            </a:prstGeom>
            <a:noFill/>
          </p:spPr>
        </p:pic>
        <p:pic>
          <p:nvPicPr>
            <p:cNvPr id="26" name="Picture 20" descr="C:\Users\lenka\Desktop\FINAL_CEPS_IKONKY\MAPY_ČEPS_ČERVENÁ\mapa_česká_republika_červená.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2740" y="4007775"/>
              <a:ext cx="1170158" cy="773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21" descr="C:\Users\lenka\Desktop\FINAL_CEPS_IKONKY\MAPY_ČEPS_ČERVENÁ\mapa_slovensko_červená.png"/>
            <p:cNvPicPr>
              <a:picLocks noChangeAspect="1" noChangeArrowheads="1"/>
            </p:cNvPicPr>
            <p:nvPr/>
          </p:nvPicPr>
          <p:blipFill>
            <a:blip r:embed="rId6">
              <a:lum bright="70000" contrast="-70000"/>
              <a:extLst>
                <a:ext uri="{28A0092B-C50C-407E-A947-70E740481C1C}">
                  <a14:useLocalDpi xmlns:a14="http://schemas.microsoft.com/office/drawing/2010/main" val="0"/>
                </a:ext>
              </a:extLst>
            </a:blip>
            <a:srcRect/>
            <a:stretch>
              <a:fillRect/>
            </a:stretch>
          </p:blipFill>
          <p:spPr bwMode="auto">
            <a:xfrm>
              <a:off x="4282567" y="4404056"/>
              <a:ext cx="1056075" cy="65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2" descr="C:\Users\lenka\Desktop\FINAL_CEPS_IKONKY\MAPY_ČEPS_ČERVENÁ\mapa_rakousko_červená.png"/>
            <p:cNvPicPr>
              <a:picLocks noChangeAspect="1" noChangeArrowheads="1"/>
            </p:cNvPicPr>
            <p:nvPr/>
          </p:nvPicPr>
          <p:blipFill>
            <a:blip r:embed="rId7" cstate="print">
              <a:duotone>
                <a:prstClr val="black"/>
                <a:schemeClr val="accent2">
                  <a:tint val="45000"/>
                  <a:satMod val="400000"/>
                </a:schemeClr>
              </a:duotone>
            </a:blip>
            <a:srcRect/>
            <a:stretch>
              <a:fillRect/>
            </a:stretch>
          </p:blipFill>
          <p:spPr bwMode="auto">
            <a:xfrm>
              <a:off x="2974423" y="4620210"/>
              <a:ext cx="1401584" cy="688831"/>
            </a:xfrm>
            <a:prstGeom prst="rect">
              <a:avLst/>
            </a:prstGeom>
            <a:noFill/>
          </p:spPr>
        </p:pic>
        <p:pic>
          <p:nvPicPr>
            <p:cNvPr id="29" name="Picture 34" descr="C:\Users\lenka\Desktop\FINAL_CEPS_IKONKY\MAPY_ČEPS_ČERVENÁ\mapa_maďarsko_červená.png"/>
            <p:cNvPicPr>
              <a:picLocks noChangeAspect="1" noChangeArrowheads="1"/>
            </p:cNvPicPr>
            <p:nvPr/>
          </p:nvPicPr>
          <p:blipFill>
            <a:blip r:embed="rId8">
              <a:lum bright="70000" contrast="-70000"/>
              <a:extLst>
                <a:ext uri="{28A0092B-C50C-407E-A947-70E740481C1C}">
                  <a14:useLocalDpi xmlns:a14="http://schemas.microsoft.com/office/drawing/2010/main" val="0"/>
                </a:ext>
              </a:extLst>
            </a:blip>
            <a:srcRect/>
            <a:stretch>
              <a:fillRect/>
            </a:stretch>
          </p:blipFill>
          <p:spPr bwMode="auto">
            <a:xfrm>
              <a:off x="4195510" y="4692261"/>
              <a:ext cx="1209271" cy="78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0" name="Zahnutá šipka doleva 29"/>
          <p:cNvSpPr/>
          <p:nvPr/>
        </p:nvSpPr>
        <p:spPr>
          <a:xfrm rot="20982008">
            <a:off x="3792403" y="2732682"/>
            <a:ext cx="1360487" cy="2916238"/>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schemeClr val="tx1"/>
              </a:solidFill>
            </a:endParaRPr>
          </a:p>
        </p:txBody>
      </p:sp>
      <p:pic>
        <p:nvPicPr>
          <p:cNvPr id="31" name="Obrázek 47"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460490" y="1896070"/>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Obrázek 50"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1741353" y="19675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Obrázek 51"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1596890" y="26152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Obrázek 52"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3036753" y="15357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Obrázek 53"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3252653" y="5855295"/>
            <a:ext cx="5334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Obrázek 54"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2100128" y="4920257"/>
            <a:ext cx="533400"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Obrázek 55"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4549640" y="5567957"/>
            <a:ext cx="533400"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Obrázek 56"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2460490" y="4920257"/>
            <a:ext cx="533400" cy="65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Obrázek 57"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2965315" y="5855295"/>
            <a:ext cx="5334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ovéPole 58"/>
          <p:cNvSpPr txBox="1">
            <a:spLocks noChangeArrowheads="1"/>
          </p:cNvSpPr>
          <p:nvPr/>
        </p:nvSpPr>
        <p:spPr bwMode="auto">
          <a:xfrm rot="-2790527">
            <a:off x="4232141" y="4123332"/>
            <a:ext cx="12954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1200" b="1">
                <a:latin typeface="Times New Roman" pitchFamily="18" charset="0"/>
                <a:cs typeface="Times New Roman" pitchFamily="18" charset="0"/>
              </a:rPr>
              <a:t>≈ </a:t>
            </a:r>
            <a:r>
              <a:rPr lang="cs-CZ" sz="1200" b="1"/>
              <a:t>3</a:t>
            </a:r>
            <a:r>
              <a:rPr lang="en-US" sz="1200" b="1"/>
              <a:t>0 - 40%</a:t>
            </a:r>
            <a:endParaRPr lang="en-GB" sz="1200" b="1"/>
          </a:p>
        </p:txBody>
      </p:sp>
      <p:sp>
        <p:nvSpPr>
          <p:cNvPr id="41" name="Obdélník 40"/>
          <p:cNvSpPr/>
          <p:nvPr/>
        </p:nvSpPr>
        <p:spPr>
          <a:xfrm>
            <a:off x="1380990" y="1175345"/>
            <a:ext cx="287338" cy="1368425"/>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GB"/>
          </a:p>
        </p:txBody>
      </p:sp>
      <p:sp>
        <p:nvSpPr>
          <p:cNvPr id="42" name="Obdélník 41"/>
          <p:cNvSpPr/>
          <p:nvPr/>
        </p:nvSpPr>
        <p:spPr>
          <a:xfrm>
            <a:off x="1380990" y="1607145"/>
            <a:ext cx="287338" cy="936625"/>
          </a:xfrm>
          <a:prstGeom prst="rect">
            <a:avLst/>
          </a:prstGeom>
        </p:spPr>
        <p:style>
          <a:lnRef idx="1">
            <a:schemeClr val="dk1"/>
          </a:lnRef>
          <a:fillRef idx="2">
            <a:schemeClr val="dk1"/>
          </a:fillRef>
          <a:effectRef idx="1">
            <a:schemeClr val="dk1"/>
          </a:effectRef>
          <a:fontRef idx="minor">
            <a:schemeClr val="dk1"/>
          </a:fontRef>
        </p:style>
        <p:txBody>
          <a:bodyPr anchor="ctr"/>
          <a:lstStyle/>
          <a:p>
            <a:pPr algn="ctr">
              <a:defRPr/>
            </a:pPr>
            <a:endParaRPr lang="en-GB"/>
          </a:p>
        </p:txBody>
      </p:sp>
      <p:sp>
        <p:nvSpPr>
          <p:cNvPr id="43" name="TextovéPole 27"/>
          <p:cNvSpPr txBox="1">
            <a:spLocks noChangeArrowheads="1"/>
          </p:cNvSpPr>
          <p:nvPr/>
        </p:nvSpPr>
        <p:spPr bwMode="auto">
          <a:xfrm>
            <a:off x="1093653" y="2327870"/>
            <a:ext cx="287337"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1100" b="1"/>
              <a:t>0</a:t>
            </a:r>
            <a:endParaRPr lang="en-GB" sz="1100" b="1"/>
          </a:p>
        </p:txBody>
      </p:sp>
      <p:sp>
        <p:nvSpPr>
          <p:cNvPr id="44" name="TextovéPole 28"/>
          <p:cNvSpPr txBox="1">
            <a:spLocks noChangeArrowheads="1"/>
          </p:cNvSpPr>
          <p:nvPr/>
        </p:nvSpPr>
        <p:spPr bwMode="auto">
          <a:xfrm rot="10800000" flipH="1" flipV="1">
            <a:off x="588828" y="1030882"/>
            <a:ext cx="10429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cs-CZ" sz="1000" b="1"/>
              <a:t>≈ 25 000 MW</a:t>
            </a:r>
            <a:endParaRPr lang="en-GB" sz="1000" b="1"/>
          </a:p>
        </p:txBody>
      </p:sp>
      <p:cxnSp>
        <p:nvCxnSpPr>
          <p:cNvPr id="45" name="Přímá spojovací šipka 31"/>
          <p:cNvCxnSpPr/>
          <p:nvPr/>
        </p:nvCxnSpPr>
        <p:spPr>
          <a:xfrm rot="5400000" flipH="1" flipV="1">
            <a:off x="733290" y="1751608"/>
            <a:ext cx="1006475" cy="0"/>
          </a:xfrm>
          <a:prstGeom prst="straightConnector1">
            <a:avLst/>
          </a:prstGeom>
          <a:ln>
            <a:headEnd type="arrow"/>
            <a:tailEnd type="arrow"/>
          </a:ln>
        </p:spPr>
        <p:style>
          <a:lnRef idx="1">
            <a:schemeClr val="accent4"/>
          </a:lnRef>
          <a:fillRef idx="0">
            <a:schemeClr val="accent4"/>
          </a:fillRef>
          <a:effectRef idx="0">
            <a:schemeClr val="accent4"/>
          </a:effectRef>
          <a:fontRef idx="minor">
            <a:schemeClr val="tx1"/>
          </a:fontRef>
        </p:style>
      </p:cxnSp>
      <p:pic>
        <p:nvPicPr>
          <p:cNvPr id="46" name="Obrázek 50"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028690" y="15357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Obrázek 50"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604953" y="1248370"/>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Obrázek 56"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1741353" y="4775795"/>
            <a:ext cx="5334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Obrázek 56"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3613015" y="5639395"/>
            <a:ext cx="5334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Obrázek 56" descr="spotřeba_černá.png"/>
          <p:cNvPicPr>
            <a:picLocks noChangeAspect="1"/>
          </p:cNvPicPr>
          <p:nvPr/>
        </p:nvPicPr>
        <p:blipFill>
          <a:blip r:embed="rId10">
            <a:extLst>
              <a:ext uri="{28A0092B-C50C-407E-A947-70E740481C1C}">
                <a14:useLocalDpi xmlns:a14="http://schemas.microsoft.com/office/drawing/2010/main" val="0"/>
              </a:ext>
            </a:extLst>
          </a:blip>
          <a:srcRect l="23141" t="14076" r="13165" b="21466"/>
          <a:stretch>
            <a:fillRect/>
          </a:stretch>
        </p:blipFill>
        <p:spPr bwMode="auto">
          <a:xfrm>
            <a:off x="4044815" y="5639395"/>
            <a:ext cx="533400"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Šipka dolů 50"/>
          <p:cNvSpPr/>
          <p:nvPr/>
        </p:nvSpPr>
        <p:spPr>
          <a:xfrm rot="1354351">
            <a:off x="2446203" y="3000970"/>
            <a:ext cx="585787" cy="1843087"/>
          </a:xfrm>
          <a:prstGeom prst="downArrow">
            <a:avLst/>
          </a:prstGeom>
        </p:spPr>
        <p:style>
          <a:lnRef idx="1">
            <a:schemeClr val="dk1"/>
          </a:lnRef>
          <a:fillRef idx="2">
            <a:schemeClr val="dk1"/>
          </a:fillRef>
          <a:effectRef idx="1">
            <a:schemeClr val="dk1"/>
          </a:effectRef>
          <a:fontRef idx="minor">
            <a:schemeClr val="dk1"/>
          </a:fontRef>
        </p:style>
        <p:txBody>
          <a:bodyPr vert="vert270" anchor="ctr"/>
          <a:lstStyle/>
          <a:p>
            <a:pPr algn="ctr">
              <a:defRPr/>
            </a:pPr>
            <a:endParaRPr lang="en-GB" sz="1200" b="1" dirty="0">
              <a:solidFill>
                <a:schemeClr val="tx1"/>
              </a:solidFill>
            </a:endParaRPr>
          </a:p>
        </p:txBody>
      </p:sp>
      <p:pic>
        <p:nvPicPr>
          <p:cNvPr id="52" name="Obrázek 48"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677978" y="2256432"/>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Obrázek 49"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3325678" y="2111970"/>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Šipka dolů 53"/>
          <p:cNvSpPr/>
          <p:nvPr/>
        </p:nvSpPr>
        <p:spPr>
          <a:xfrm rot="20444505">
            <a:off x="3143648" y="3074582"/>
            <a:ext cx="585195" cy="2491188"/>
          </a:xfrm>
          <a:prstGeom prst="downArrow">
            <a:avLst/>
          </a:prstGeom>
        </p:spPr>
        <p:style>
          <a:lnRef idx="1">
            <a:schemeClr val="dk1"/>
          </a:lnRef>
          <a:fillRef idx="2">
            <a:schemeClr val="dk1"/>
          </a:fillRef>
          <a:effectRef idx="1">
            <a:schemeClr val="dk1"/>
          </a:effectRef>
          <a:fontRef idx="minor">
            <a:schemeClr val="dk1"/>
          </a:fontRef>
        </p:style>
        <p:txBody>
          <a:bodyPr vert="vert270" anchor="ctr"/>
          <a:lstStyle/>
          <a:p>
            <a:pPr algn="ctr">
              <a:defRPr/>
            </a:pPr>
            <a:r>
              <a:rPr lang="en-US" sz="1200" b="1" dirty="0">
                <a:solidFill>
                  <a:schemeClr val="tx1"/>
                </a:solidFill>
              </a:rPr>
              <a:t>&gt;</a:t>
            </a:r>
            <a:r>
              <a:rPr lang="cs-CZ" sz="1200" b="1" dirty="0">
                <a:solidFill>
                  <a:schemeClr val="tx1"/>
                </a:solidFill>
              </a:rPr>
              <a:t> 3</a:t>
            </a:r>
            <a:r>
              <a:rPr lang="en-US" sz="1200" b="1" dirty="0">
                <a:solidFill>
                  <a:schemeClr val="tx1"/>
                </a:solidFill>
              </a:rPr>
              <a:t>0</a:t>
            </a:r>
            <a:r>
              <a:rPr lang="cs-CZ" sz="1200" b="1" dirty="0">
                <a:solidFill>
                  <a:schemeClr val="tx1"/>
                </a:solidFill>
              </a:rPr>
              <a:t>00 MW</a:t>
            </a:r>
            <a:endParaRPr lang="en-GB" sz="1200" b="1" dirty="0">
              <a:solidFill>
                <a:schemeClr val="tx1"/>
              </a:solidFill>
            </a:endParaRPr>
          </a:p>
        </p:txBody>
      </p:sp>
      <p:pic>
        <p:nvPicPr>
          <p:cNvPr id="55" name="Obrázek 48"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173153" y="23993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Obrázek 48"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2830378" y="2408832"/>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Obrázek 48"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3686040" y="1391245"/>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Obrázek 48" descr="větrná_elektrárna_černá.png"/>
          <p:cNvPicPr>
            <a:picLocks noChangeAspect="1"/>
          </p:cNvPicPr>
          <p:nvPr/>
        </p:nvPicPr>
        <p:blipFill>
          <a:blip r:embed="rId9">
            <a:extLst>
              <a:ext uri="{28A0092B-C50C-407E-A947-70E740481C1C}">
                <a14:useLocalDpi xmlns:a14="http://schemas.microsoft.com/office/drawing/2010/main" val="0"/>
              </a:ext>
            </a:extLst>
          </a:blip>
          <a:srcRect l="16949" t="12370" r="18239" b="16495"/>
          <a:stretch>
            <a:fillRect/>
          </a:stretch>
        </p:blipFill>
        <p:spPr bwMode="auto">
          <a:xfrm>
            <a:off x="3252653" y="1103907"/>
            <a:ext cx="61912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TextovéPole 58"/>
          <p:cNvSpPr txBox="1"/>
          <p:nvPr/>
        </p:nvSpPr>
        <p:spPr>
          <a:xfrm>
            <a:off x="585401" y="6386670"/>
            <a:ext cx="1114408" cy="261610"/>
          </a:xfrm>
          <a:prstGeom prst="rect">
            <a:avLst/>
          </a:prstGeom>
          <a:noFill/>
        </p:spPr>
        <p:txBody>
          <a:bodyPr wrap="none" rtlCol="0">
            <a:spAutoFit/>
          </a:bodyPr>
          <a:lstStyle/>
          <a:p>
            <a:pPr algn="r"/>
            <a:r>
              <a:rPr lang="cs-CZ" sz="1100" dirty="0" smtClean="0">
                <a:solidFill>
                  <a:srgbClr val="000000"/>
                </a:solidFill>
                <a:latin typeface="Arial Narrow" pitchFamily="34" charset="0"/>
              </a:rPr>
              <a:t>Zdroj: ČEPS, a.s.</a:t>
            </a:r>
          </a:p>
        </p:txBody>
      </p:sp>
      <p:sp>
        <p:nvSpPr>
          <p:cNvPr id="61" name="TextovéPole 60"/>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30267466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Vztah k jaderné energetice</a:t>
            </a:r>
            <a:endParaRPr lang="cs-CZ" dirty="0"/>
          </a:p>
        </p:txBody>
      </p:sp>
      <p:grpSp>
        <p:nvGrpSpPr>
          <p:cNvPr id="3" name="Group 11"/>
          <p:cNvGrpSpPr>
            <a:grpSpLocks/>
          </p:cNvGrpSpPr>
          <p:nvPr/>
        </p:nvGrpSpPr>
        <p:grpSpPr bwMode="auto">
          <a:xfrm>
            <a:off x="1595438" y="1288628"/>
            <a:ext cx="5610225" cy="4821237"/>
            <a:chOff x="997" y="876"/>
            <a:chExt cx="3534" cy="3037"/>
          </a:xfrm>
        </p:grpSpPr>
        <p:grpSp>
          <p:nvGrpSpPr>
            <p:cNvPr id="4" name="Group 12"/>
            <p:cNvGrpSpPr>
              <a:grpSpLocks/>
            </p:cNvGrpSpPr>
            <p:nvPr/>
          </p:nvGrpSpPr>
          <p:grpSpPr bwMode="auto">
            <a:xfrm>
              <a:off x="2913" y="876"/>
              <a:ext cx="1618" cy="2158"/>
              <a:chOff x="2913" y="876"/>
              <a:chExt cx="1618" cy="2158"/>
            </a:xfrm>
          </p:grpSpPr>
          <p:sp>
            <p:nvSpPr>
              <p:cNvPr id="131" name="Freeform 13"/>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 name="T106" fmla="*/ 1721 w 3236"/>
                  <a:gd name="T107" fmla="*/ 3755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lnTo>
                      <a:pt x="1721" y="3755"/>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32" name="Freeform 14"/>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5" name="Group 15"/>
            <p:cNvGrpSpPr>
              <a:grpSpLocks/>
            </p:cNvGrpSpPr>
            <p:nvPr/>
          </p:nvGrpSpPr>
          <p:grpSpPr bwMode="auto">
            <a:xfrm>
              <a:off x="1944" y="2419"/>
              <a:ext cx="192" cy="219"/>
              <a:chOff x="1944" y="2419"/>
              <a:chExt cx="192" cy="219"/>
            </a:xfrm>
          </p:grpSpPr>
          <p:sp>
            <p:nvSpPr>
              <p:cNvPr id="129" name="Freeform 16"/>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lnTo>
                      <a:pt x="236" y="43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30" name="Freeform 17"/>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6" name="Group 18"/>
            <p:cNvGrpSpPr>
              <a:grpSpLocks/>
            </p:cNvGrpSpPr>
            <p:nvPr/>
          </p:nvGrpSpPr>
          <p:grpSpPr bwMode="auto">
            <a:xfrm>
              <a:off x="2350" y="1174"/>
              <a:ext cx="465" cy="1142"/>
              <a:chOff x="2350" y="1174"/>
              <a:chExt cx="465" cy="1142"/>
            </a:xfrm>
          </p:grpSpPr>
          <p:sp>
            <p:nvSpPr>
              <p:cNvPr id="127" name="Freeform 19"/>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 name="T122" fmla="*/ 4 w 930"/>
                  <a:gd name="T123" fmla="*/ 1632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lnTo>
                      <a:pt x="4" y="1632"/>
                    </a:lnTo>
                    <a:close/>
                  </a:path>
                </a:pathLst>
              </a:custGeom>
              <a:solidFill>
                <a:srgbClr val="00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28" name="Freeform 20"/>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7" name="Group 21"/>
            <p:cNvGrpSpPr>
              <a:grpSpLocks/>
            </p:cNvGrpSpPr>
            <p:nvPr/>
          </p:nvGrpSpPr>
          <p:grpSpPr bwMode="auto">
            <a:xfrm>
              <a:off x="2115" y="988"/>
              <a:ext cx="843" cy="1081"/>
              <a:chOff x="2115" y="988"/>
              <a:chExt cx="843" cy="1081"/>
            </a:xfrm>
          </p:grpSpPr>
          <p:sp>
            <p:nvSpPr>
              <p:cNvPr id="125" name="Freeform 22"/>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 name="T102" fmla="*/ 1122 w 1686"/>
                  <a:gd name="T103" fmla="*/ 372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lnTo>
                      <a:pt x="1122" y="372"/>
                    </a:lnTo>
                    <a:close/>
                  </a:path>
                </a:pathLst>
              </a:custGeom>
              <a:solidFill>
                <a:srgbClr val="FA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26" name="Freeform 23"/>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8" name="Freeform 24"/>
            <p:cNvSpPr>
              <a:spLocks/>
            </p:cNvSpPr>
            <p:nvPr/>
          </p:nvSpPr>
          <p:spPr bwMode="auto">
            <a:xfrm>
              <a:off x="1465" y="1909"/>
              <a:ext cx="411" cy="677"/>
            </a:xfrm>
            <a:custGeom>
              <a:avLst/>
              <a:gdLst>
                <a:gd name="T0" fmla="*/ 546 w 821"/>
                <a:gd name="T1" fmla="*/ 409 h 1356"/>
                <a:gd name="T2" fmla="*/ 580 w 821"/>
                <a:gd name="T3" fmla="*/ 366 h 1356"/>
                <a:gd name="T4" fmla="*/ 652 w 821"/>
                <a:gd name="T5" fmla="*/ 273 h 1356"/>
                <a:gd name="T6" fmla="*/ 631 w 821"/>
                <a:gd name="T7" fmla="*/ 201 h 1356"/>
                <a:gd name="T8" fmla="*/ 487 w 821"/>
                <a:gd name="T9" fmla="*/ 183 h 1356"/>
                <a:gd name="T10" fmla="*/ 513 w 821"/>
                <a:gd name="T11" fmla="*/ 114 h 1356"/>
                <a:gd name="T12" fmla="*/ 576 w 821"/>
                <a:gd name="T13" fmla="*/ 81 h 1356"/>
                <a:gd name="T14" fmla="*/ 560 w 821"/>
                <a:gd name="T15" fmla="*/ 26 h 1356"/>
                <a:gd name="T16" fmla="*/ 440 w 821"/>
                <a:gd name="T17" fmla="*/ 28 h 1356"/>
                <a:gd name="T18" fmla="*/ 403 w 821"/>
                <a:gd name="T19" fmla="*/ 97 h 1356"/>
                <a:gd name="T20" fmla="*/ 356 w 821"/>
                <a:gd name="T21" fmla="*/ 142 h 1356"/>
                <a:gd name="T22" fmla="*/ 334 w 821"/>
                <a:gd name="T23" fmla="*/ 218 h 1356"/>
                <a:gd name="T24" fmla="*/ 289 w 821"/>
                <a:gd name="T25" fmla="*/ 299 h 1356"/>
                <a:gd name="T26" fmla="*/ 320 w 821"/>
                <a:gd name="T27" fmla="*/ 326 h 1356"/>
                <a:gd name="T28" fmla="*/ 287 w 821"/>
                <a:gd name="T29" fmla="*/ 423 h 1356"/>
                <a:gd name="T30" fmla="*/ 312 w 821"/>
                <a:gd name="T31" fmla="*/ 409 h 1356"/>
                <a:gd name="T32" fmla="*/ 350 w 821"/>
                <a:gd name="T33" fmla="*/ 435 h 1356"/>
                <a:gd name="T34" fmla="*/ 293 w 821"/>
                <a:gd name="T35" fmla="*/ 552 h 1356"/>
                <a:gd name="T36" fmla="*/ 299 w 821"/>
                <a:gd name="T37" fmla="*/ 603 h 1356"/>
                <a:gd name="T38" fmla="*/ 391 w 821"/>
                <a:gd name="T39" fmla="*/ 627 h 1356"/>
                <a:gd name="T40" fmla="*/ 391 w 821"/>
                <a:gd name="T41" fmla="*/ 678 h 1356"/>
                <a:gd name="T42" fmla="*/ 424 w 821"/>
                <a:gd name="T43" fmla="*/ 788 h 1356"/>
                <a:gd name="T44" fmla="*/ 377 w 821"/>
                <a:gd name="T45" fmla="*/ 882 h 1356"/>
                <a:gd name="T46" fmla="*/ 234 w 821"/>
                <a:gd name="T47" fmla="*/ 924 h 1356"/>
                <a:gd name="T48" fmla="*/ 267 w 821"/>
                <a:gd name="T49" fmla="*/ 989 h 1356"/>
                <a:gd name="T50" fmla="*/ 124 w 821"/>
                <a:gd name="T51" fmla="*/ 1059 h 1356"/>
                <a:gd name="T52" fmla="*/ 183 w 821"/>
                <a:gd name="T53" fmla="*/ 1087 h 1356"/>
                <a:gd name="T54" fmla="*/ 246 w 821"/>
                <a:gd name="T55" fmla="*/ 1122 h 1356"/>
                <a:gd name="T56" fmla="*/ 308 w 821"/>
                <a:gd name="T57" fmla="*/ 1171 h 1356"/>
                <a:gd name="T58" fmla="*/ 297 w 821"/>
                <a:gd name="T59" fmla="*/ 1213 h 1356"/>
                <a:gd name="T60" fmla="*/ 90 w 821"/>
                <a:gd name="T61" fmla="*/ 1279 h 1356"/>
                <a:gd name="T62" fmla="*/ 67 w 821"/>
                <a:gd name="T63" fmla="*/ 1348 h 1356"/>
                <a:gd name="T64" fmla="*/ 141 w 821"/>
                <a:gd name="T65" fmla="*/ 1313 h 1356"/>
                <a:gd name="T66" fmla="*/ 242 w 821"/>
                <a:gd name="T67" fmla="*/ 1309 h 1356"/>
                <a:gd name="T68" fmla="*/ 342 w 821"/>
                <a:gd name="T69" fmla="*/ 1342 h 1356"/>
                <a:gd name="T70" fmla="*/ 418 w 821"/>
                <a:gd name="T71" fmla="*/ 1323 h 1356"/>
                <a:gd name="T72" fmla="*/ 464 w 821"/>
                <a:gd name="T73" fmla="*/ 1332 h 1356"/>
                <a:gd name="T74" fmla="*/ 597 w 821"/>
                <a:gd name="T75" fmla="*/ 1348 h 1356"/>
                <a:gd name="T76" fmla="*/ 733 w 821"/>
                <a:gd name="T77" fmla="*/ 1326 h 1356"/>
                <a:gd name="T78" fmla="*/ 670 w 821"/>
                <a:gd name="T79" fmla="*/ 1271 h 1356"/>
                <a:gd name="T80" fmla="*/ 719 w 821"/>
                <a:gd name="T81" fmla="*/ 1213 h 1356"/>
                <a:gd name="T82" fmla="*/ 774 w 821"/>
                <a:gd name="T83" fmla="*/ 1175 h 1356"/>
                <a:gd name="T84" fmla="*/ 821 w 821"/>
                <a:gd name="T85" fmla="*/ 1087 h 1356"/>
                <a:gd name="T86" fmla="*/ 709 w 821"/>
                <a:gd name="T87" fmla="*/ 1028 h 1356"/>
                <a:gd name="T88" fmla="*/ 697 w 821"/>
                <a:gd name="T89" fmla="*/ 989 h 1356"/>
                <a:gd name="T90" fmla="*/ 672 w 821"/>
                <a:gd name="T91" fmla="*/ 879 h 1356"/>
                <a:gd name="T92" fmla="*/ 696 w 821"/>
                <a:gd name="T93" fmla="*/ 845 h 1356"/>
                <a:gd name="T94" fmla="*/ 662 w 821"/>
                <a:gd name="T95" fmla="*/ 739 h 1356"/>
                <a:gd name="T96" fmla="*/ 607 w 821"/>
                <a:gd name="T97" fmla="*/ 623 h 1356"/>
                <a:gd name="T98" fmla="*/ 595 w 821"/>
                <a:gd name="T99" fmla="*/ 517 h 1356"/>
                <a:gd name="T100" fmla="*/ 505 w 821"/>
                <a:gd name="T101" fmla="*/ 45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1" h="1356">
                  <a:moveTo>
                    <a:pt x="485" y="446"/>
                  </a:moveTo>
                  <a:lnTo>
                    <a:pt x="499" y="429"/>
                  </a:lnTo>
                  <a:lnTo>
                    <a:pt x="552" y="429"/>
                  </a:lnTo>
                  <a:lnTo>
                    <a:pt x="546" y="409"/>
                  </a:lnTo>
                  <a:lnTo>
                    <a:pt x="525" y="391"/>
                  </a:lnTo>
                  <a:lnTo>
                    <a:pt x="552" y="389"/>
                  </a:lnTo>
                  <a:lnTo>
                    <a:pt x="566" y="389"/>
                  </a:lnTo>
                  <a:lnTo>
                    <a:pt x="580" y="366"/>
                  </a:lnTo>
                  <a:lnTo>
                    <a:pt x="593" y="348"/>
                  </a:lnTo>
                  <a:lnTo>
                    <a:pt x="615" y="326"/>
                  </a:lnTo>
                  <a:lnTo>
                    <a:pt x="631" y="297"/>
                  </a:lnTo>
                  <a:lnTo>
                    <a:pt x="652" y="273"/>
                  </a:lnTo>
                  <a:lnTo>
                    <a:pt x="664" y="262"/>
                  </a:lnTo>
                  <a:lnTo>
                    <a:pt x="676" y="222"/>
                  </a:lnTo>
                  <a:lnTo>
                    <a:pt x="656" y="201"/>
                  </a:lnTo>
                  <a:lnTo>
                    <a:pt x="631" y="201"/>
                  </a:lnTo>
                  <a:lnTo>
                    <a:pt x="584" y="189"/>
                  </a:lnTo>
                  <a:lnTo>
                    <a:pt x="568" y="183"/>
                  </a:lnTo>
                  <a:lnTo>
                    <a:pt x="540" y="177"/>
                  </a:lnTo>
                  <a:lnTo>
                    <a:pt x="487" y="183"/>
                  </a:lnTo>
                  <a:lnTo>
                    <a:pt x="479" y="161"/>
                  </a:lnTo>
                  <a:lnTo>
                    <a:pt x="511" y="150"/>
                  </a:lnTo>
                  <a:lnTo>
                    <a:pt x="499" y="128"/>
                  </a:lnTo>
                  <a:lnTo>
                    <a:pt x="513" y="114"/>
                  </a:lnTo>
                  <a:lnTo>
                    <a:pt x="534" y="108"/>
                  </a:lnTo>
                  <a:lnTo>
                    <a:pt x="552" y="108"/>
                  </a:lnTo>
                  <a:lnTo>
                    <a:pt x="566" y="93"/>
                  </a:lnTo>
                  <a:lnTo>
                    <a:pt x="576" y="81"/>
                  </a:lnTo>
                  <a:lnTo>
                    <a:pt x="601" y="69"/>
                  </a:lnTo>
                  <a:lnTo>
                    <a:pt x="603" y="53"/>
                  </a:lnTo>
                  <a:lnTo>
                    <a:pt x="595" y="20"/>
                  </a:lnTo>
                  <a:lnTo>
                    <a:pt x="560" y="26"/>
                  </a:lnTo>
                  <a:lnTo>
                    <a:pt x="515" y="24"/>
                  </a:lnTo>
                  <a:lnTo>
                    <a:pt x="487" y="14"/>
                  </a:lnTo>
                  <a:lnTo>
                    <a:pt x="454" y="0"/>
                  </a:lnTo>
                  <a:lnTo>
                    <a:pt x="440" y="28"/>
                  </a:lnTo>
                  <a:lnTo>
                    <a:pt x="430" y="47"/>
                  </a:lnTo>
                  <a:lnTo>
                    <a:pt x="405" y="47"/>
                  </a:lnTo>
                  <a:lnTo>
                    <a:pt x="403" y="65"/>
                  </a:lnTo>
                  <a:lnTo>
                    <a:pt x="403" y="97"/>
                  </a:lnTo>
                  <a:lnTo>
                    <a:pt x="385" y="101"/>
                  </a:lnTo>
                  <a:lnTo>
                    <a:pt x="361" y="101"/>
                  </a:lnTo>
                  <a:lnTo>
                    <a:pt x="350" y="122"/>
                  </a:lnTo>
                  <a:lnTo>
                    <a:pt x="356" y="142"/>
                  </a:lnTo>
                  <a:lnTo>
                    <a:pt x="338" y="156"/>
                  </a:lnTo>
                  <a:lnTo>
                    <a:pt x="354" y="177"/>
                  </a:lnTo>
                  <a:lnTo>
                    <a:pt x="352" y="199"/>
                  </a:lnTo>
                  <a:lnTo>
                    <a:pt x="334" y="218"/>
                  </a:lnTo>
                  <a:lnTo>
                    <a:pt x="308" y="236"/>
                  </a:lnTo>
                  <a:lnTo>
                    <a:pt x="303" y="256"/>
                  </a:lnTo>
                  <a:lnTo>
                    <a:pt x="287" y="262"/>
                  </a:lnTo>
                  <a:lnTo>
                    <a:pt x="289" y="299"/>
                  </a:lnTo>
                  <a:lnTo>
                    <a:pt x="297" y="317"/>
                  </a:lnTo>
                  <a:lnTo>
                    <a:pt x="314" y="305"/>
                  </a:lnTo>
                  <a:lnTo>
                    <a:pt x="336" y="299"/>
                  </a:lnTo>
                  <a:lnTo>
                    <a:pt x="320" y="326"/>
                  </a:lnTo>
                  <a:lnTo>
                    <a:pt x="306" y="360"/>
                  </a:lnTo>
                  <a:lnTo>
                    <a:pt x="289" y="381"/>
                  </a:lnTo>
                  <a:lnTo>
                    <a:pt x="283" y="405"/>
                  </a:lnTo>
                  <a:lnTo>
                    <a:pt x="287" y="423"/>
                  </a:lnTo>
                  <a:lnTo>
                    <a:pt x="295" y="405"/>
                  </a:lnTo>
                  <a:lnTo>
                    <a:pt x="303" y="385"/>
                  </a:lnTo>
                  <a:lnTo>
                    <a:pt x="322" y="378"/>
                  </a:lnTo>
                  <a:lnTo>
                    <a:pt x="312" y="409"/>
                  </a:lnTo>
                  <a:lnTo>
                    <a:pt x="324" y="423"/>
                  </a:lnTo>
                  <a:lnTo>
                    <a:pt x="334" y="409"/>
                  </a:lnTo>
                  <a:lnTo>
                    <a:pt x="356" y="409"/>
                  </a:lnTo>
                  <a:lnTo>
                    <a:pt x="350" y="435"/>
                  </a:lnTo>
                  <a:lnTo>
                    <a:pt x="330" y="456"/>
                  </a:lnTo>
                  <a:lnTo>
                    <a:pt x="334" y="470"/>
                  </a:lnTo>
                  <a:lnTo>
                    <a:pt x="330" y="491"/>
                  </a:lnTo>
                  <a:lnTo>
                    <a:pt x="293" y="552"/>
                  </a:lnTo>
                  <a:lnTo>
                    <a:pt x="261" y="572"/>
                  </a:lnTo>
                  <a:lnTo>
                    <a:pt x="269" y="623"/>
                  </a:lnTo>
                  <a:lnTo>
                    <a:pt x="285" y="611"/>
                  </a:lnTo>
                  <a:lnTo>
                    <a:pt x="299" y="603"/>
                  </a:lnTo>
                  <a:lnTo>
                    <a:pt x="322" y="625"/>
                  </a:lnTo>
                  <a:lnTo>
                    <a:pt x="348" y="613"/>
                  </a:lnTo>
                  <a:lnTo>
                    <a:pt x="363" y="619"/>
                  </a:lnTo>
                  <a:lnTo>
                    <a:pt x="391" y="627"/>
                  </a:lnTo>
                  <a:lnTo>
                    <a:pt x="426" y="613"/>
                  </a:lnTo>
                  <a:lnTo>
                    <a:pt x="458" y="625"/>
                  </a:lnTo>
                  <a:lnTo>
                    <a:pt x="409" y="647"/>
                  </a:lnTo>
                  <a:lnTo>
                    <a:pt x="391" y="678"/>
                  </a:lnTo>
                  <a:lnTo>
                    <a:pt x="413" y="753"/>
                  </a:lnTo>
                  <a:lnTo>
                    <a:pt x="454" y="735"/>
                  </a:lnTo>
                  <a:lnTo>
                    <a:pt x="440" y="770"/>
                  </a:lnTo>
                  <a:lnTo>
                    <a:pt x="424" y="788"/>
                  </a:lnTo>
                  <a:lnTo>
                    <a:pt x="411" y="798"/>
                  </a:lnTo>
                  <a:lnTo>
                    <a:pt x="426" y="822"/>
                  </a:lnTo>
                  <a:lnTo>
                    <a:pt x="405" y="863"/>
                  </a:lnTo>
                  <a:lnTo>
                    <a:pt x="377" y="882"/>
                  </a:lnTo>
                  <a:lnTo>
                    <a:pt x="354" y="873"/>
                  </a:lnTo>
                  <a:lnTo>
                    <a:pt x="316" y="857"/>
                  </a:lnTo>
                  <a:lnTo>
                    <a:pt x="220" y="912"/>
                  </a:lnTo>
                  <a:lnTo>
                    <a:pt x="234" y="924"/>
                  </a:lnTo>
                  <a:lnTo>
                    <a:pt x="279" y="924"/>
                  </a:lnTo>
                  <a:lnTo>
                    <a:pt x="267" y="947"/>
                  </a:lnTo>
                  <a:lnTo>
                    <a:pt x="265" y="971"/>
                  </a:lnTo>
                  <a:lnTo>
                    <a:pt x="267" y="989"/>
                  </a:lnTo>
                  <a:lnTo>
                    <a:pt x="238" y="1018"/>
                  </a:lnTo>
                  <a:lnTo>
                    <a:pt x="183" y="1036"/>
                  </a:lnTo>
                  <a:lnTo>
                    <a:pt x="132" y="1047"/>
                  </a:lnTo>
                  <a:lnTo>
                    <a:pt x="124" y="1059"/>
                  </a:lnTo>
                  <a:lnTo>
                    <a:pt x="136" y="1089"/>
                  </a:lnTo>
                  <a:lnTo>
                    <a:pt x="143" y="1103"/>
                  </a:lnTo>
                  <a:lnTo>
                    <a:pt x="159" y="1101"/>
                  </a:lnTo>
                  <a:lnTo>
                    <a:pt x="183" y="1087"/>
                  </a:lnTo>
                  <a:lnTo>
                    <a:pt x="200" y="1097"/>
                  </a:lnTo>
                  <a:lnTo>
                    <a:pt x="200" y="1116"/>
                  </a:lnTo>
                  <a:lnTo>
                    <a:pt x="232" y="1130"/>
                  </a:lnTo>
                  <a:lnTo>
                    <a:pt x="246" y="1122"/>
                  </a:lnTo>
                  <a:lnTo>
                    <a:pt x="259" y="1148"/>
                  </a:lnTo>
                  <a:lnTo>
                    <a:pt x="271" y="1175"/>
                  </a:lnTo>
                  <a:lnTo>
                    <a:pt x="287" y="1179"/>
                  </a:lnTo>
                  <a:lnTo>
                    <a:pt x="308" y="1171"/>
                  </a:lnTo>
                  <a:lnTo>
                    <a:pt x="375" y="1138"/>
                  </a:lnTo>
                  <a:lnTo>
                    <a:pt x="358" y="1175"/>
                  </a:lnTo>
                  <a:lnTo>
                    <a:pt x="320" y="1197"/>
                  </a:lnTo>
                  <a:lnTo>
                    <a:pt x="297" y="1213"/>
                  </a:lnTo>
                  <a:lnTo>
                    <a:pt x="240" y="1199"/>
                  </a:lnTo>
                  <a:lnTo>
                    <a:pt x="204" y="1193"/>
                  </a:lnTo>
                  <a:lnTo>
                    <a:pt x="165" y="1222"/>
                  </a:lnTo>
                  <a:lnTo>
                    <a:pt x="90" y="1279"/>
                  </a:lnTo>
                  <a:lnTo>
                    <a:pt x="22" y="1311"/>
                  </a:lnTo>
                  <a:lnTo>
                    <a:pt x="0" y="1338"/>
                  </a:lnTo>
                  <a:lnTo>
                    <a:pt x="39" y="1338"/>
                  </a:lnTo>
                  <a:lnTo>
                    <a:pt x="67" y="1348"/>
                  </a:lnTo>
                  <a:lnTo>
                    <a:pt x="82" y="1321"/>
                  </a:lnTo>
                  <a:lnTo>
                    <a:pt x="108" y="1325"/>
                  </a:lnTo>
                  <a:lnTo>
                    <a:pt x="114" y="1309"/>
                  </a:lnTo>
                  <a:lnTo>
                    <a:pt x="141" y="1313"/>
                  </a:lnTo>
                  <a:lnTo>
                    <a:pt x="173" y="1336"/>
                  </a:lnTo>
                  <a:lnTo>
                    <a:pt x="206" y="1352"/>
                  </a:lnTo>
                  <a:lnTo>
                    <a:pt x="232" y="1338"/>
                  </a:lnTo>
                  <a:lnTo>
                    <a:pt x="242" y="1309"/>
                  </a:lnTo>
                  <a:lnTo>
                    <a:pt x="257" y="1293"/>
                  </a:lnTo>
                  <a:lnTo>
                    <a:pt x="306" y="1291"/>
                  </a:lnTo>
                  <a:lnTo>
                    <a:pt x="328" y="1307"/>
                  </a:lnTo>
                  <a:lnTo>
                    <a:pt x="342" y="1342"/>
                  </a:lnTo>
                  <a:lnTo>
                    <a:pt x="363" y="1328"/>
                  </a:lnTo>
                  <a:lnTo>
                    <a:pt x="383" y="1346"/>
                  </a:lnTo>
                  <a:lnTo>
                    <a:pt x="399" y="1328"/>
                  </a:lnTo>
                  <a:lnTo>
                    <a:pt x="418" y="1323"/>
                  </a:lnTo>
                  <a:lnTo>
                    <a:pt x="444" y="1323"/>
                  </a:lnTo>
                  <a:lnTo>
                    <a:pt x="458" y="1352"/>
                  </a:lnTo>
                  <a:lnTo>
                    <a:pt x="485" y="1352"/>
                  </a:lnTo>
                  <a:lnTo>
                    <a:pt x="464" y="1332"/>
                  </a:lnTo>
                  <a:lnTo>
                    <a:pt x="454" y="1315"/>
                  </a:lnTo>
                  <a:lnTo>
                    <a:pt x="505" y="1325"/>
                  </a:lnTo>
                  <a:lnTo>
                    <a:pt x="523" y="1342"/>
                  </a:lnTo>
                  <a:lnTo>
                    <a:pt x="597" y="1348"/>
                  </a:lnTo>
                  <a:lnTo>
                    <a:pt x="623" y="1356"/>
                  </a:lnTo>
                  <a:lnTo>
                    <a:pt x="670" y="1346"/>
                  </a:lnTo>
                  <a:lnTo>
                    <a:pt x="711" y="1336"/>
                  </a:lnTo>
                  <a:lnTo>
                    <a:pt x="733" y="1326"/>
                  </a:lnTo>
                  <a:lnTo>
                    <a:pt x="751" y="1309"/>
                  </a:lnTo>
                  <a:lnTo>
                    <a:pt x="754" y="1293"/>
                  </a:lnTo>
                  <a:lnTo>
                    <a:pt x="719" y="1277"/>
                  </a:lnTo>
                  <a:lnTo>
                    <a:pt x="670" y="1271"/>
                  </a:lnTo>
                  <a:lnTo>
                    <a:pt x="684" y="1254"/>
                  </a:lnTo>
                  <a:lnTo>
                    <a:pt x="696" y="1246"/>
                  </a:lnTo>
                  <a:lnTo>
                    <a:pt x="713" y="1232"/>
                  </a:lnTo>
                  <a:lnTo>
                    <a:pt x="719" y="1213"/>
                  </a:lnTo>
                  <a:lnTo>
                    <a:pt x="745" y="1218"/>
                  </a:lnTo>
                  <a:lnTo>
                    <a:pt x="758" y="1209"/>
                  </a:lnTo>
                  <a:lnTo>
                    <a:pt x="760" y="1183"/>
                  </a:lnTo>
                  <a:lnTo>
                    <a:pt x="774" y="1175"/>
                  </a:lnTo>
                  <a:lnTo>
                    <a:pt x="792" y="1169"/>
                  </a:lnTo>
                  <a:lnTo>
                    <a:pt x="800" y="1152"/>
                  </a:lnTo>
                  <a:lnTo>
                    <a:pt x="815" y="1122"/>
                  </a:lnTo>
                  <a:lnTo>
                    <a:pt x="821" y="1087"/>
                  </a:lnTo>
                  <a:lnTo>
                    <a:pt x="815" y="1044"/>
                  </a:lnTo>
                  <a:lnTo>
                    <a:pt x="786" y="1020"/>
                  </a:lnTo>
                  <a:lnTo>
                    <a:pt x="747" y="1016"/>
                  </a:lnTo>
                  <a:lnTo>
                    <a:pt x="709" y="1028"/>
                  </a:lnTo>
                  <a:lnTo>
                    <a:pt x="696" y="1044"/>
                  </a:lnTo>
                  <a:lnTo>
                    <a:pt x="672" y="1028"/>
                  </a:lnTo>
                  <a:lnTo>
                    <a:pt x="668" y="1014"/>
                  </a:lnTo>
                  <a:lnTo>
                    <a:pt x="697" y="989"/>
                  </a:lnTo>
                  <a:lnTo>
                    <a:pt x="713" y="965"/>
                  </a:lnTo>
                  <a:lnTo>
                    <a:pt x="696" y="937"/>
                  </a:lnTo>
                  <a:lnTo>
                    <a:pt x="676" y="900"/>
                  </a:lnTo>
                  <a:lnTo>
                    <a:pt x="672" y="879"/>
                  </a:lnTo>
                  <a:lnTo>
                    <a:pt x="690" y="884"/>
                  </a:lnTo>
                  <a:lnTo>
                    <a:pt x="703" y="906"/>
                  </a:lnTo>
                  <a:lnTo>
                    <a:pt x="709" y="886"/>
                  </a:lnTo>
                  <a:lnTo>
                    <a:pt x="696" y="845"/>
                  </a:lnTo>
                  <a:lnTo>
                    <a:pt x="684" y="824"/>
                  </a:lnTo>
                  <a:lnTo>
                    <a:pt x="690" y="788"/>
                  </a:lnTo>
                  <a:lnTo>
                    <a:pt x="678" y="770"/>
                  </a:lnTo>
                  <a:lnTo>
                    <a:pt x="662" y="739"/>
                  </a:lnTo>
                  <a:lnTo>
                    <a:pt x="629" y="715"/>
                  </a:lnTo>
                  <a:lnTo>
                    <a:pt x="617" y="688"/>
                  </a:lnTo>
                  <a:lnTo>
                    <a:pt x="609" y="653"/>
                  </a:lnTo>
                  <a:lnTo>
                    <a:pt x="607" y="623"/>
                  </a:lnTo>
                  <a:lnTo>
                    <a:pt x="615" y="582"/>
                  </a:lnTo>
                  <a:lnTo>
                    <a:pt x="617" y="558"/>
                  </a:lnTo>
                  <a:lnTo>
                    <a:pt x="603" y="545"/>
                  </a:lnTo>
                  <a:lnTo>
                    <a:pt x="595" y="517"/>
                  </a:lnTo>
                  <a:lnTo>
                    <a:pt x="570" y="478"/>
                  </a:lnTo>
                  <a:lnTo>
                    <a:pt x="552" y="462"/>
                  </a:lnTo>
                  <a:lnTo>
                    <a:pt x="527" y="450"/>
                  </a:lnTo>
                  <a:lnTo>
                    <a:pt x="505" y="454"/>
                  </a:lnTo>
                  <a:lnTo>
                    <a:pt x="485" y="446"/>
                  </a:lnTo>
                  <a:close/>
                </a:path>
              </a:pathLst>
            </a:custGeom>
            <a:solidFill>
              <a:srgbClr val="D0D0D0"/>
            </a:solidFill>
            <a:ln w="9525">
              <a:solidFill>
                <a:srgbClr val="000000"/>
              </a:solidFill>
              <a:prstDash val="solid"/>
              <a:round/>
              <a:headEnd/>
              <a:tailEnd/>
            </a:ln>
          </p:spPr>
          <p:txBody>
            <a:bodyPr/>
            <a:lstStyle/>
            <a:p>
              <a:endParaRPr lang="cs-CZ"/>
            </a:p>
          </p:txBody>
        </p:sp>
        <p:sp>
          <p:nvSpPr>
            <p:cNvPr id="9" name="Freeform 25"/>
            <p:cNvSpPr>
              <a:spLocks/>
            </p:cNvSpPr>
            <p:nvPr/>
          </p:nvSpPr>
          <p:spPr bwMode="auto">
            <a:xfrm>
              <a:off x="1285" y="2130"/>
              <a:ext cx="253" cy="273"/>
            </a:xfrm>
            <a:custGeom>
              <a:avLst/>
              <a:gdLst>
                <a:gd name="T0" fmla="*/ 370 w 505"/>
                <a:gd name="T1" fmla="*/ 138 h 547"/>
                <a:gd name="T2" fmla="*/ 386 w 505"/>
                <a:gd name="T3" fmla="*/ 191 h 547"/>
                <a:gd name="T4" fmla="*/ 446 w 505"/>
                <a:gd name="T5" fmla="*/ 167 h 547"/>
                <a:gd name="T6" fmla="*/ 505 w 505"/>
                <a:gd name="T7" fmla="*/ 185 h 547"/>
                <a:gd name="T8" fmla="*/ 472 w 505"/>
                <a:gd name="T9" fmla="*/ 266 h 547"/>
                <a:gd name="T10" fmla="*/ 474 w 505"/>
                <a:gd name="T11" fmla="*/ 346 h 547"/>
                <a:gd name="T12" fmla="*/ 460 w 505"/>
                <a:gd name="T13" fmla="*/ 399 h 547"/>
                <a:gd name="T14" fmla="*/ 415 w 505"/>
                <a:gd name="T15" fmla="*/ 470 h 547"/>
                <a:gd name="T16" fmla="*/ 391 w 505"/>
                <a:gd name="T17" fmla="*/ 537 h 547"/>
                <a:gd name="T18" fmla="*/ 295 w 505"/>
                <a:gd name="T19" fmla="*/ 507 h 547"/>
                <a:gd name="T20" fmla="*/ 258 w 505"/>
                <a:gd name="T21" fmla="*/ 533 h 547"/>
                <a:gd name="T22" fmla="*/ 207 w 505"/>
                <a:gd name="T23" fmla="*/ 535 h 547"/>
                <a:gd name="T24" fmla="*/ 185 w 505"/>
                <a:gd name="T25" fmla="*/ 505 h 547"/>
                <a:gd name="T26" fmla="*/ 146 w 505"/>
                <a:gd name="T27" fmla="*/ 547 h 547"/>
                <a:gd name="T28" fmla="*/ 55 w 505"/>
                <a:gd name="T29" fmla="*/ 527 h 547"/>
                <a:gd name="T30" fmla="*/ 18 w 505"/>
                <a:gd name="T31" fmla="*/ 503 h 547"/>
                <a:gd name="T32" fmla="*/ 26 w 505"/>
                <a:gd name="T33" fmla="*/ 482 h 547"/>
                <a:gd name="T34" fmla="*/ 0 w 505"/>
                <a:gd name="T35" fmla="*/ 452 h 547"/>
                <a:gd name="T36" fmla="*/ 44 w 505"/>
                <a:gd name="T37" fmla="*/ 431 h 547"/>
                <a:gd name="T38" fmla="*/ 16 w 505"/>
                <a:gd name="T39" fmla="*/ 405 h 547"/>
                <a:gd name="T40" fmla="*/ 63 w 505"/>
                <a:gd name="T41" fmla="*/ 397 h 547"/>
                <a:gd name="T42" fmla="*/ 85 w 505"/>
                <a:gd name="T43" fmla="*/ 380 h 547"/>
                <a:gd name="T44" fmla="*/ 128 w 505"/>
                <a:gd name="T45" fmla="*/ 370 h 547"/>
                <a:gd name="T46" fmla="*/ 189 w 505"/>
                <a:gd name="T47" fmla="*/ 380 h 547"/>
                <a:gd name="T48" fmla="*/ 187 w 505"/>
                <a:gd name="T49" fmla="*/ 364 h 547"/>
                <a:gd name="T50" fmla="*/ 163 w 505"/>
                <a:gd name="T51" fmla="*/ 354 h 547"/>
                <a:gd name="T52" fmla="*/ 112 w 505"/>
                <a:gd name="T53" fmla="*/ 344 h 547"/>
                <a:gd name="T54" fmla="*/ 154 w 505"/>
                <a:gd name="T55" fmla="*/ 313 h 547"/>
                <a:gd name="T56" fmla="*/ 193 w 505"/>
                <a:gd name="T57" fmla="*/ 287 h 547"/>
                <a:gd name="T58" fmla="*/ 173 w 505"/>
                <a:gd name="T59" fmla="*/ 268 h 547"/>
                <a:gd name="T60" fmla="*/ 148 w 505"/>
                <a:gd name="T61" fmla="*/ 252 h 547"/>
                <a:gd name="T62" fmla="*/ 126 w 505"/>
                <a:gd name="T63" fmla="*/ 234 h 547"/>
                <a:gd name="T64" fmla="*/ 138 w 505"/>
                <a:gd name="T65" fmla="*/ 189 h 547"/>
                <a:gd name="T66" fmla="*/ 156 w 505"/>
                <a:gd name="T67" fmla="*/ 177 h 547"/>
                <a:gd name="T68" fmla="*/ 173 w 505"/>
                <a:gd name="T69" fmla="*/ 160 h 547"/>
                <a:gd name="T70" fmla="*/ 142 w 505"/>
                <a:gd name="T71" fmla="*/ 124 h 547"/>
                <a:gd name="T72" fmla="*/ 171 w 505"/>
                <a:gd name="T73" fmla="*/ 97 h 547"/>
                <a:gd name="T74" fmla="*/ 213 w 505"/>
                <a:gd name="T75" fmla="*/ 87 h 547"/>
                <a:gd name="T76" fmla="*/ 246 w 505"/>
                <a:gd name="T77" fmla="*/ 118 h 547"/>
                <a:gd name="T78" fmla="*/ 297 w 505"/>
                <a:gd name="T79" fmla="*/ 128 h 547"/>
                <a:gd name="T80" fmla="*/ 323 w 505"/>
                <a:gd name="T81" fmla="*/ 108 h 547"/>
                <a:gd name="T82" fmla="*/ 329 w 505"/>
                <a:gd name="T83" fmla="*/ 83 h 547"/>
                <a:gd name="T84" fmla="*/ 299 w 505"/>
                <a:gd name="T85" fmla="*/ 73 h 547"/>
                <a:gd name="T86" fmla="*/ 321 w 505"/>
                <a:gd name="T87" fmla="*/ 51 h 547"/>
                <a:gd name="T88" fmla="*/ 342 w 505"/>
                <a:gd name="T89" fmla="*/ 40 h 547"/>
                <a:gd name="T90" fmla="*/ 356 w 505"/>
                <a:gd name="T91" fmla="*/ 20 h 547"/>
                <a:gd name="T92" fmla="*/ 378 w 505"/>
                <a:gd name="T93" fmla="*/ 6 h 547"/>
                <a:gd name="T94" fmla="*/ 433 w 505"/>
                <a:gd name="T95" fmla="*/ 0 h 547"/>
                <a:gd name="T96" fmla="*/ 433 w 505"/>
                <a:gd name="T97" fmla="*/ 40 h 547"/>
                <a:gd name="T98" fmla="*/ 413 w 505"/>
                <a:gd name="T99" fmla="*/ 59 h 547"/>
                <a:gd name="T100" fmla="*/ 393 w 505"/>
                <a:gd name="T101" fmla="*/ 81 h 547"/>
                <a:gd name="T102" fmla="*/ 368 w 505"/>
                <a:gd name="T103" fmla="*/ 9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547">
                  <a:moveTo>
                    <a:pt x="344" y="101"/>
                  </a:moveTo>
                  <a:lnTo>
                    <a:pt x="370" y="138"/>
                  </a:lnTo>
                  <a:lnTo>
                    <a:pt x="374" y="169"/>
                  </a:lnTo>
                  <a:lnTo>
                    <a:pt x="386" y="191"/>
                  </a:lnTo>
                  <a:lnTo>
                    <a:pt x="409" y="181"/>
                  </a:lnTo>
                  <a:lnTo>
                    <a:pt x="446" y="167"/>
                  </a:lnTo>
                  <a:lnTo>
                    <a:pt x="482" y="161"/>
                  </a:lnTo>
                  <a:lnTo>
                    <a:pt x="505" y="185"/>
                  </a:lnTo>
                  <a:lnTo>
                    <a:pt x="484" y="236"/>
                  </a:lnTo>
                  <a:lnTo>
                    <a:pt x="472" y="266"/>
                  </a:lnTo>
                  <a:lnTo>
                    <a:pt x="486" y="313"/>
                  </a:lnTo>
                  <a:lnTo>
                    <a:pt x="474" y="346"/>
                  </a:lnTo>
                  <a:lnTo>
                    <a:pt x="460" y="362"/>
                  </a:lnTo>
                  <a:lnTo>
                    <a:pt x="460" y="399"/>
                  </a:lnTo>
                  <a:lnTo>
                    <a:pt x="454" y="427"/>
                  </a:lnTo>
                  <a:lnTo>
                    <a:pt x="415" y="470"/>
                  </a:lnTo>
                  <a:lnTo>
                    <a:pt x="397" y="503"/>
                  </a:lnTo>
                  <a:lnTo>
                    <a:pt x="391" y="537"/>
                  </a:lnTo>
                  <a:lnTo>
                    <a:pt x="334" y="509"/>
                  </a:lnTo>
                  <a:lnTo>
                    <a:pt x="295" y="507"/>
                  </a:lnTo>
                  <a:lnTo>
                    <a:pt x="270" y="513"/>
                  </a:lnTo>
                  <a:lnTo>
                    <a:pt x="258" y="533"/>
                  </a:lnTo>
                  <a:lnTo>
                    <a:pt x="228" y="519"/>
                  </a:lnTo>
                  <a:lnTo>
                    <a:pt x="207" y="535"/>
                  </a:lnTo>
                  <a:lnTo>
                    <a:pt x="197" y="527"/>
                  </a:lnTo>
                  <a:lnTo>
                    <a:pt x="185" y="505"/>
                  </a:lnTo>
                  <a:lnTo>
                    <a:pt x="171" y="541"/>
                  </a:lnTo>
                  <a:lnTo>
                    <a:pt x="146" y="547"/>
                  </a:lnTo>
                  <a:lnTo>
                    <a:pt x="73" y="543"/>
                  </a:lnTo>
                  <a:lnTo>
                    <a:pt x="55" y="527"/>
                  </a:lnTo>
                  <a:lnTo>
                    <a:pt x="36" y="519"/>
                  </a:lnTo>
                  <a:lnTo>
                    <a:pt x="18" y="503"/>
                  </a:lnTo>
                  <a:lnTo>
                    <a:pt x="4" y="495"/>
                  </a:lnTo>
                  <a:lnTo>
                    <a:pt x="26" y="482"/>
                  </a:lnTo>
                  <a:lnTo>
                    <a:pt x="8" y="470"/>
                  </a:lnTo>
                  <a:lnTo>
                    <a:pt x="0" y="452"/>
                  </a:lnTo>
                  <a:lnTo>
                    <a:pt x="16" y="437"/>
                  </a:lnTo>
                  <a:lnTo>
                    <a:pt x="44" y="431"/>
                  </a:lnTo>
                  <a:lnTo>
                    <a:pt x="48" y="419"/>
                  </a:lnTo>
                  <a:lnTo>
                    <a:pt x="16" y="405"/>
                  </a:lnTo>
                  <a:lnTo>
                    <a:pt x="34" y="389"/>
                  </a:lnTo>
                  <a:lnTo>
                    <a:pt x="63" y="397"/>
                  </a:lnTo>
                  <a:lnTo>
                    <a:pt x="73" y="401"/>
                  </a:lnTo>
                  <a:lnTo>
                    <a:pt x="85" y="380"/>
                  </a:lnTo>
                  <a:lnTo>
                    <a:pt x="103" y="370"/>
                  </a:lnTo>
                  <a:lnTo>
                    <a:pt x="128" y="370"/>
                  </a:lnTo>
                  <a:lnTo>
                    <a:pt x="167" y="380"/>
                  </a:lnTo>
                  <a:lnTo>
                    <a:pt x="189" y="380"/>
                  </a:lnTo>
                  <a:lnTo>
                    <a:pt x="199" y="376"/>
                  </a:lnTo>
                  <a:lnTo>
                    <a:pt x="187" y="364"/>
                  </a:lnTo>
                  <a:lnTo>
                    <a:pt x="185" y="346"/>
                  </a:lnTo>
                  <a:lnTo>
                    <a:pt x="163" y="354"/>
                  </a:lnTo>
                  <a:lnTo>
                    <a:pt x="132" y="364"/>
                  </a:lnTo>
                  <a:lnTo>
                    <a:pt x="112" y="344"/>
                  </a:lnTo>
                  <a:lnTo>
                    <a:pt x="140" y="334"/>
                  </a:lnTo>
                  <a:lnTo>
                    <a:pt x="154" y="313"/>
                  </a:lnTo>
                  <a:lnTo>
                    <a:pt x="169" y="297"/>
                  </a:lnTo>
                  <a:lnTo>
                    <a:pt x="193" y="287"/>
                  </a:lnTo>
                  <a:lnTo>
                    <a:pt x="207" y="273"/>
                  </a:lnTo>
                  <a:lnTo>
                    <a:pt x="173" y="268"/>
                  </a:lnTo>
                  <a:lnTo>
                    <a:pt x="169" y="256"/>
                  </a:lnTo>
                  <a:lnTo>
                    <a:pt x="148" y="252"/>
                  </a:lnTo>
                  <a:lnTo>
                    <a:pt x="144" y="232"/>
                  </a:lnTo>
                  <a:lnTo>
                    <a:pt x="126" y="234"/>
                  </a:lnTo>
                  <a:lnTo>
                    <a:pt x="126" y="213"/>
                  </a:lnTo>
                  <a:lnTo>
                    <a:pt x="138" y="189"/>
                  </a:lnTo>
                  <a:lnTo>
                    <a:pt x="154" y="187"/>
                  </a:lnTo>
                  <a:lnTo>
                    <a:pt x="156" y="177"/>
                  </a:lnTo>
                  <a:lnTo>
                    <a:pt x="183" y="173"/>
                  </a:lnTo>
                  <a:lnTo>
                    <a:pt x="173" y="160"/>
                  </a:lnTo>
                  <a:lnTo>
                    <a:pt x="154" y="150"/>
                  </a:lnTo>
                  <a:lnTo>
                    <a:pt x="142" y="124"/>
                  </a:lnTo>
                  <a:lnTo>
                    <a:pt x="169" y="122"/>
                  </a:lnTo>
                  <a:lnTo>
                    <a:pt x="171" y="97"/>
                  </a:lnTo>
                  <a:lnTo>
                    <a:pt x="193" y="95"/>
                  </a:lnTo>
                  <a:lnTo>
                    <a:pt x="213" y="87"/>
                  </a:lnTo>
                  <a:lnTo>
                    <a:pt x="234" y="103"/>
                  </a:lnTo>
                  <a:lnTo>
                    <a:pt x="246" y="118"/>
                  </a:lnTo>
                  <a:lnTo>
                    <a:pt x="266" y="126"/>
                  </a:lnTo>
                  <a:lnTo>
                    <a:pt x="297" y="128"/>
                  </a:lnTo>
                  <a:lnTo>
                    <a:pt x="309" y="122"/>
                  </a:lnTo>
                  <a:lnTo>
                    <a:pt x="323" y="108"/>
                  </a:lnTo>
                  <a:lnTo>
                    <a:pt x="334" y="95"/>
                  </a:lnTo>
                  <a:lnTo>
                    <a:pt x="329" y="83"/>
                  </a:lnTo>
                  <a:lnTo>
                    <a:pt x="313" y="73"/>
                  </a:lnTo>
                  <a:lnTo>
                    <a:pt x="299" y="73"/>
                  </a:lnTo>
                  <a:lnTo>
                    <a:pt x="299" y="57"/>
                  </a:lnTo>
                  <a:lnTo>
                    <a:pt x="321" y="51"/>
                  </a:lnTo>
                  <a:lnTo>
                    <a:pt x="332" y="40"/>
                  </a:lnTo>
                  <a:lnTo>
                    <a:pt x="342" y="40"/>
                  </a:lnTo>
                  <a:lnTo>
                    <a:pt x="344" y="28"/>
                  </a:lnTo>
                  <a:lnTo>
                    <a:pt x="356" y="20"/>
                  </a:lnTo>
                  <a:lnTo>
                    <a:pt x="358" y="6"/>
                  </a:lnTo>
                  <a:lnTo>
                    <a:pt x="378" y="6"/>
                  </a:lnTo>
                  <a:lnTo>
                    <a:pt x="413" y="0"/>
                  </a:lnTo>
                  <a:lnTo>
                    <a:pt x="433" y="0"/>
                  </a:lnTo>
                  <a:lnTo>
                    <a:pt x="441" y="22"/>
                  </a:lnTo>
                  <a:lnTo>
                    <a:pt x="433" y="40"/>
                  </a:lnTo>
                  <a:lnTo>
                    <a:pt x="423" y="55"/>
                  </a:lnTo>
                  <a:lnTo>
                    <a:pt x="413" y="59"/>
                  </a:lnTo>
                  <a:lnTo>
                    <a:pt x="409" y="79"/>
                  </a:lnTo>
                  <a:lnTo>
                    <a:pt x="393" y="81"/>
                  </a:lnTo>
                  <a:lnTo>
                    <a:pt x="380" y="81"/>
                  </a:lnTo>
                  <a:lnTo>
                    <a:pt x="368" y="97"/>
                  </a:lnTo>
                  <a:lnTo>
                    <a:pt x="344" y="101"/>
                  </a:lnTo>
                  <a:close/>
                </a:path>
              </a:pathLst>
            </a:custGeom>
            <a:solidFill>
              <a:srgbClr val="FA0000"/>
            </a:solidFill>
            <a:ln w="9525">
              <a:solidFill>
                <a:srgbClr val="000000"/>
              </a:solidFill>
              <a:prstDash val="solid"/>
              <a:round/>
              <a:headEnd/>
              <a:tailEnd/>
            </a:ln>
          </p:spPr>
          <p:txBody>
            <a:bodyPr/>
            <a:lstStyle/>
            <a:p>
              <a:endParaRPr lang="cs-CZ"/>
            </a:p>
          </p:txBody>
        </p:sp>
        <p:sp>
          <p:nvSpPr>
            <p:cNvPr id="10" name="Freeform 26"/>
            <p:cNvSpPr>
              <a:spLocks/>
            </p:cNvSpPr>
            <p:nvPr/>
          </p:nvSpPr>
          <p:spPr bwMode="auto">
            <a:xfrm>
              <a:off x="1100" y="3039"/>
              <a:ext cx="727" cy="663"/>
            </a:xfrm>
            <a:custGeom>
              <a:avLst/>
              <a:gdLst>
                <a:gd name="T0" fmla="*/ 31 w 1452"/>
                <a:gd name="T1" fmla="*/ 226 h 1326"/>
                <a:gd name="T2" fmla="*/ 35 w 1452"/>
                <a:gd name="T3" fmla="*/ 175 h 1326"/>
                <a:gd name="T4" fmla="*/ 43 w 1452"/>
                <a:gd name="T5" fmla="*/ 137 h 1326"/>
                <a:gd name="T6" fmla="*/ 29 w 1452"/>
                <a:gd name="T7" fmla="*/ 90 h 1326"/>
                <a:gd name="T8" fmla="*/ 59 w 1452"/>
                <a:gd name="T9" fmla="*/ 41 h 1326"/>
                <a:gd name="T10" fmla="*/ 143 w 1452"/>
                <a:gd name="T11" fmla="*/ 53 h 1326"/>
                <a:gd name="T12" fmla="*/ 210 w 1452"/>
                <a:gd name="T13" fmla="*/ 0 h 1326"/>
                <a:gd name="T14" fmla="*/ 281 w 1452"/>
                <a:gd name="T15" fmla="*/ 45 h 1326"/>
                <a:gd name="T16" fmla="*/ 367 w 1452"/>
                <a:gd name="T17" fmla="*/ 82 h 1326"/>
                <a:gd name="T18" fmla="*/ 456 w 1452"/>
                <a:gd name="T19" fmla="*/ 100 h 1326"/>
                <a:gd name="T20" fmla="*/ 544 w 1452"/>
                <a:gd name="T21" fmla="*/ 145 h 1326"/>
                <a:gd name="T22" fmla="*/ 637 w 1452"/>
                <a:gd name="T23" fmla="*/ 165 h 1326"/>
                <a:gd name="T24" fmla="*/ 688 w 1452"/>
                <a:gd name="T25" fmla="*/ 178 h 1326"/>
                <a:gd name="T26" fmla="*/ 749 w 1452"/>
                <a:gd name="T27" fmla="*/ 200 h 1326"/>
                <a:gd name="T28" fmla="*/ 815 w 1452"/>
                <a:gd name="T29" fmla="*/ 228 h 1326"/>
                <a:gd name="T30" fmla="*/ 884 w 1452"/>
                <a:gd name="T31" fmla="*/ 245 h 1326"/>
                <a:gd name="T32" fmla="*/ 939 w 1452"/>
                <a:gd name="T33" fmla="*/ 316 h 1326"/>
                <a:gd name="T34" fmla="*/ 988 w 1452"/>
                <a:gd name="T35" fmla="*/ 367 h 1326"/>
                <a:gd name="T36" fmla="*/ 1204 w 1452"/>
                <a:gd name="T37" fmla="*/ 422 h 1326"/>
                <a:gd name="T38" fmla="*/ 1293 w 1452"/>
                <a:gd name="T39" fmla="*/ 485 h 1326"/>
                <a:gd name="T40" fmla="*/ 1450 w 1452"/>
                <a:gd name="T41" fmla="*/ 532 h 1326"/>
                <a:gd name="T42" fmla="*/ 1438 w 1452"/>
                <a:gd name="T43" fmla="*/ 568 h 1326"/>
                <a:gd name="T44" fmla="*/ 1277 w 1452"/>
                <a:gd name="T45" fmla="*/ 656 h 1326"/>
                <a:gd name="T46" fmla="*/ 1144 w 1452"/>
                <a:gd name="T47" fmla="*/ 681 h 1326"/>
                <a:gd name="T48" fmla="*/ 1008 w 1452"/>
                <a:gd name="T49" fmla="*/ 845 h 1326"/>
                <a:gd name="T50" fmla="*/ 941 w 1452"/>
                <a:gd name="T51" fmla="*/ 941 h 1326"/>
                <a:gd name="T52" fmla="*/ 986 w 1452"/>
                <a:gd name="T53" fmla="*/ 1015 h 1326"/>
                <a:gd name="T54" fmla="*/ 929 w 1452"/>
                <a:gd name="T55" fmla="*/ 1070 h 1326"/>
                <a:gd name="T56" fmla="*/ 861 w 1452"/>
                <a:gd name="T57" fmla="*/ 1137 h 1326"/>
                <a:gd name="T58" fmla="*/ 851 w 1452"/>
                <a:gd name="T59" fmla="*/ 1200 h 1326"/>
                <a:gd name="T60" fmla="*/ 772 w 1452"/>
                <a:gd name="T61" fmla="*/ 1202 h 1326"/>
                <a:gd name="T62" fmla="*/ 696 w 1452"/>
                <a:gd name="T63" fmla="*/ 1251 h 1326"/>
                <a:gd name="T64" fmla="*/ 637 w 1452"/>
                <a:gd name="T65" fmla="*/ 1304 h 1326"/>
                <a:gd name="T66" fmla="*/ 552 w 1452"/>
                <a:gd name="T67" fmla="*/ 1292 h 1326"/>
                <a:gd name="T68" fmla="*/ 470 w 1452"/>
                <a:gd name="T69" fmla="*/ 1269 h 1326"/>
                <a:gd name="T70" fmla="*/ 356 w 1452"/>
                <a:gd name="T71" fmla="*/ 1255 h 1326"/>
                <a:gd name="T72" fmla="*/ 220 w 1452"/>
                <a:gd name="T73" fmla="*/ 1316 h 1326"/>
                <a:gd name="T74" fmla="*/ 157 w 1452"/>
                <a:gd name="T75" fmla="*/ 1310 h 1326"/>
                <a:gd name="T76" fmla="*/ 118 w 1452"/>
                <a:gd name="T77" fmla="*/ 1214 h 1326"/>
                <a:gd name="T78" fmla="*/ 104 w 1452"/>
                <a:gd name="T79" fmla="*/ 1149 h 1326"/>
                <a:gd name="T80" fmla="*/ 16 w 1452"/>
                <a:gd name="T81" fmla="*/ 1078 h 1326"/>
                <a:gd name="T82" fmla="*/ 73 w 1452"/>
                <a:gd name="T83" fmla="*/ 970 h 1326"/>
                <a:gd name="T84" fmla="*/ 71 w 1452"/>
                <a:gd name="T85" fmla="*/ 876 h 1326"/>
                <a:gd name="T86" fmla="*/ 100 w 1452"/>
                <a:gd name="T87" fmla="*/ 705 h 1326"/>
                <a:gd name="T88" fmla="*/ 187 w 1452"/>
                <a:gd name="T89" fmla="*/ 644 h 1326"/>
                <a:gd name="T90" fmla="*/ 212 w 1452"/>
                <a:gd name="T91" fmla="*/ 516 h 1326"/>
                <a:gd name="T92" fmla="*/ 312 w 1452"/>
                <a:gd name="T93" fmla="*/ 424 h 1326"/>
                <a:gd name="T94" fmla="*/ 273 w 1452"/>
                <a:gd name="T95" fmla="*/ 328 h 1326"/>
                <a:gd name="T96" fmla="*/ 202 w 1452"/>
                <a:gd name="T97" fmla="*/ 318 h 1326"/>
                <a:gd name="T98" fmla="*/ 130 w 1452"/>
                <a:gd name="T99" fmla="*/ 298 h 1326"/>
                <a:gd name="T100" fmla="*/ 108 w 1452"/>
                <a:gd name="T101" fmla="*/ 25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52" h="1326">
                  <a:moveTo>
                    <a:pt x="22" y="267"/>
                  </a:moveTo>
                  <a:lnTo>
                    <a:pt x="20" y="243"/>
                  </a:lnTo>
                  <a:lnTo>
                    <a:pt x="31" y="226"/>
                  </a:lnTo>
                  <a:lnTo>
                    <a:pt x="49" y="212"/>
                  </a:lnTo>
                  <a:lnTo>
                    <a:pt x="53" y="192"/>
                  </a:lnTo>
                  <a:lnTo>
                    <a:pt x="35" y="175"/>
                  </a:lnTo>
                  <a:lnTo>
                    <a:pt x="39" y="157"/>
                  </a:lnTo>
                  <a:lnTo>
                    <a:pt x="57" y="155"/>
                  </a:lnTo>
                  <a:lnTo>
                    <a:pt x="43" y="137"/>
                  </a:lnTo>
                  <a:lnTo>
                    <a:pt x="29" y="123"/>
                  </a:lnTo>
                  <a:lnTo>
                    <a:pt x="41" y="114"/>
                  </a:lnTo>
                  <a:lnTo>
                    <a:pt x="29" y="90"/>
                  </a:lnTo>
                  <a:lnTo>
                    <a:pt x="26" y="66"/>
                  </a:lnTo>
                  <a:lnTo>
                    <a:pt x="39" y="49"/>
                  </a:lnTo>
                  <a:lnTo>
                    <a:pt x="59" y="41"/>
                  </a:lnTo>
                  <a:lnTo>
                    <a:pt x="94" y="39"/>
                  </a:lnTo>
                  <a:lnTo>
                    <a:pt x="122" y="47"/>
                  </a:lnTo>
                  <a:lnTo>
                    <a:pt x="143" y="53"/>
                  </a:lnTo>
                  <a:lnTo>
                    <a:pt x="159" y="29"/>
                  </a:lnTo>
                  <a:lnTo>
                    <a:pt x="185" y="6"/>
                  </a:lnTo>
                  <a:lnTo>
                    <a:pt x="210" y="0"/>
                  </a:lnTo>
                  <a:lnTo>
                    <a:pt x="238" y="15"/>
                  </a:lnTo>
                  <a:lnTo>
                    <a:pt x="259" y="29"/>
                  </a:lnTo>
                  <a:lnTo>
                    <a:pt x="281" y="45"/>
                  </a:lnTo>
                  <a:lnTo>
                    <a:pt x="314" y="63"/>
                  </a:lnTo>
                  <a:lnTo>
                    <a:pt x="342" y="74"/>
                  </a:lnTo>
                  <a:lnTo>
                    <a:pt x="367" y="82"/>
                  </a:lnTo>
                  <a:lnTo>
                    <a:pt x="397" y="84"/>
                  </a:lnTo>
                  <a:lnTo>
                    <a:pt x="428" y="84"/>
                  </a:lnTo>
                  <a:lnTo>
                    <a:pt x="456" y="100"/>
                  </a:lnTo>
                  <a:lnTo>
                    <a:pt x="477" y="110"/>
                  </a:lnTo>
                  <a:lnTo>
                    <a:pt x="499" y="123"/>
                  </a:lnTo>
                  <a:lnTo>
                    <a:pt x="544" y="145"/>
                  </a:lnTo>
                  <a:lnTo>
                    <a:pt x="580" y="157"/>
                  </a:lnTo>
                  <a:lnTo>
                    <a:pt x="607" y="165"/>
                  </a:lnTo>
                  <a:lnTo>
                    <a:pt x="637" y="165"/>
                  </a:lnTo>
                  <a:lnTo>
                    <a:pt x="660" y="169"/>
                  </a:lnTo>
                  <a:lnTo>
                    <a:pt x="674" y="169"/>
                  </a:lnTo>
                  <a:lnTo>
                    <a:pt x="688" y="178"/>
                  </a:lnTo>
                  <a:lnTo>
                    <a:pt x="699" y="190"/>
                  </a:lnTo>
                  <a:lnTo>
                    <a:pt x="725" y="198"/>
                  </a:lnTo>
                  <a:lnTo>
                    <a:pt x="749" y="200"/>
                  </a:lnTo>
                  <a:lnTo>
                    <a:pt x="768" y="204"/>
                  </a:lnTo>
                  <a:lnTo>
                    <a:pt x="792" y="210"/>
                  </a:lnTo>
                  <a:lnTo>
                    <a:pt x="815" y="228"/>
                  </a:lnTo>
                  <a:lnTo>
                    <a:pt x="837" y="237"/>
                  </a:lnTo>
                  <a:lnTo>
                    <a:pt x="859" y="239"/>
                  </a:lnTo>
                  <a:lnTo>
                    <a:pt x="884" y="245"/>
                  </a:lnTo>
                  <a:lnTo>
                    <a:pt x="892" y="267"/>
                  </a:lnTo>
                  <a:lnTo>
                    <a:pt x="908" y="292"/>
                  </a:lnTo>
                  <a:lnTo>
                    <a:pt x="939" y="316"/>
                  </a:lnTo>
                  <a:lnTo>
                    <a:pt x="959" y="328"/>
                  </a:lnTo>
                  <a:lnTo>
                    <a:pt x="980" y="340"/>
                  </a:lnTo>
                  <a:lnTo>
                    <a:pt x="988" y="367"/>
                  </a:lnTo>
                  <a:lnTo>
                    <a:pt x="1134" y="410"/>
                  </a:lnTo>
                  <a:lnTo>
                    <a:pt x="1175" y="397"/>
                  </a:lnTo>
                  <a:lnTo>
                    <a:pt x="1204" y="422"/>
                  </a:lnTo>
                  <a:lnTo>
                    <a:pt x="1222" y="448"/>
                  </a:lnTo>
                  <a:lnTo>
                    <a:pt x="1250" y="446"/>
                  </a:lnTo>
                  <a:lnTo>
                    <a:pt x="1293" y="485"/>
                  </a:lnTo>
                  <a:lnTo>
                    <a:pt x="1436" y="485"/>
                  </a:lnTo>
                  <a:lnTo>
                    <a:pt x="1452" y="505"/>
                  </a:lnTo>
                  <a:lnTo>
                    <a:pt x="1450" y="532"/>
                  </a:lnTo>
                  <a:lnTo>
                    <a:pt x="1425" y="530"/>
                  </a:lnTo>
                  <a:lnTo>
                    <a:pt x="1423" y="560"/>
                  </a:lnTo>
                  <a:lnTo>
                    <a:pt x="1438" y="568"/>
                  </a:lnTo>
                  <a:lnTo>
                    <a:pt x="1377" y="613"/>
                  </a:lnTo>
                  <a:lnTo>
                    <a:pt x="1316" y="636"/>
                  </a:lnTo>
                  <a:lnTo>
                    <a:pt x="1277" y="656"/>
                  </a:lnTo>
                  <a:lnTo>
                    <a:pt x="1220" y="670"/>
                  </a:lnTo>
                  <a:lnTo>
                    <a:pt x="1189" y="676"/>
                  </a:lnTo>
                  <a:lnTo>
                    <a:pt x="1144" y="681"/>
                  </a:lnTo>
                  <a:lnTo>
                    <a:pt x="1106" y="721"/>
                  </a:lnTo>
                  <a:lnTo>
                    <a:pt x="1085" y="750"/>
                  </a:lnTo>
                  <a:lnTo>
                    <a:pt x="1008" y="845"/>
                  </a:lnTo>
                  <a:lnTo>
                    <a:pt x="971" y="874"/>
                  </a:lnTo>
                  <a:lnTo>
                    <a:pt x="947" y="913"/>
                  </a:lnTo>
                  <a:lnTo>
                    <a:pt x="941" y="941"/>
                  </a:lnTo>
                  <a:lnTo>
                    <a:pt x="949" y="955"/>
                  </a:lnTo>
                  <a:lnTo>
                    <a:pt x="955" y="994"/>
                  </a:lnTo>
                  <a:lnTo>
                    <a:pt x="986" y="1015"/>
                  </a:lnTo>
                  <a:lnTo>
                    <a:pt x="996" y="1033"/>
                  </a:lnTo>
                  <a:lnTo>
                    <a:pt x="975" y="1051"/>
                  </a:lnTo>
                  <a:lnTo>
                    <a:pt x="929" y="1070"/>
                  </a:lnTo>
                  <a:lnTo>
                    <a:pt x="900" y="1094"/>
                  </a:lnTo>
                  <a:lnTo>
                    <a:pt x="880" y="1114"/>
                  </a:lnTo>
                  <a:lnTo>
                    <a:pt x="861" y="1137"/>
                  </a:lnTo>
                  <a:lnTo>
                    <a:pt x="859" y="1159"/>
                  </a:lnTo>
                  <a:lnTo>
                    <a:pt x="841" y="1175"/>
                  </a:lnTo>
                  <a:lnTo>
                    <a:pt x="851" y="1200"/>
                  </a:lnTo>
                  <a:lnTo>
                    <a:pt x="833" y="1208"/>
                  </a:lnTo>
                  <a:lnTo>
                    <a:pt x="790" y="1202"/>
                  </a:lnTo>
                  <a:lnTo>
                    <a:pt x="772" y="1202"/>
                  </a:lnTo>
                  <a:lnTo>
                    <a:pt x="739" y="1210"/>
                  </a:lnTo>
                  <a:lnTo>
                    <a:pt x="717" y="1224"/>
                  </a:lnTo>
                  <a:lnTo>
                    <a:pt x="696" y="1251"/>
                  </a:lnTo>
                  <a:lnTo>
                    <a:pt x="688" y="1283"/>
                  </a:lnTo>
                  <a:lnTo>
                    <a:pt x="660" y="1302"/>
                  </a:lnTo>
                  <a:lnTo>
                    <a:pt x="637" y="1304"/>
                  </a:lnTo>
                  <a:lnTo>
                    <a:pt x="597" y="1292"/>
                  </a:lnTo>
                  <a:lnTo>
                    <a:pt x="578" y="1292"/>
                  </a:lnTo>
                  <a:lnTo>
                    <a:pt x="552" y="1292"/>
                  </a:lnTo>
                  <a:lnTo>
                    <a:pt x="523" y="1285"/>
                  </a:lnTo>
                  <a:lnTo>
                    <a:pt x="503" y="1271"/>
                  </a:lnTo>
                  <a:lnTo>
                    <a:pt x="470" y="1269"/>
                  </a:lnTo>
                  <a:lnTo>
                    <a:pt x="452" y="1267"/>
                  </a:lnTo>
                  <a:lnTo>
                    <a:pt x="415" y="1257"/>
                  </a:lnTo>
                  <a:lnTo>
                    <a:pt x="356" y="1255"/>
                  </a:lnTo>
                  <a:lnTo>
                    <a:pt x="312" y="1283"/>
                  </a:lnTo>
                  <a:lnTo>
                    <a:pt x="261" y="1277"/>
                  </a:lnTo>
                  <a:lnTo>
                    <a:pt x="220" y="1316"/>
                  </a:lnTo>
                  <a:lnTo>
                    <a:pt x="185" y="1326"/>
                  </a:lnTo>
                  <a:lnTo>
                    <a:pt x="171" y="1322"/>
                  </a:lnTo>
                  <a:lnTo>
                    <a:pt x="157" y="1310"/>
                  </a:lnTo>
                  <a:lnTo>
                    <a:pt x="136" y="1291"/>
                  </a:lnTo>
                  <a:lnTo>
                    <a:pt x="118" y="1255"/>
                  </a:lnTo>
                  <a:lnTo>
                    <a:pt x="118" y="1214"/>
                  </a:lnTo>
                  <a:lnTo>
                    <a:pt x="110" y="1188"/>
                  </a:lnTo>
                  <a:lnTo>
                    <a:pt x="110" y="1169"/>
                  </a:lnTo>
                  <a:lnTo>
                    <a:pt x="104" y="1149"/>
                  </a:lnTo>
                  <a:lnTo>
                    <a:pt x="83" y="1112"/>
                  </a:lnTo>
                  <a:lnTo>
                    <a:pt x="49" y="1090"/>
                  </a:lnTo>
                  <a:lnTo>
                    <a:pt x="16" y="1078"/>
                  </a:lnTo>
                  <a:lnTo>
                    <a:pt x="0" y="1072"/>
                  </a:lnTo>
                  <a:lnTo>
                    <a:pt x="0" y="994"/>
                  </a:lnTo>
                  <a:lnTo>
                    <a:pt x="73" y="970"/>
                  </a:lnTo>
                  <a:lnTo>
                    <a:pt x="81" y="941"/>
                  </a:lnTo>
                  <a:lnTo>
                    <a:pt x="63" y="896"/>
                  </a:lnTo>
                  <a:lnTo>
                    <a:pt x="71" y="876"/>
                  </a:lnTo>
                  <a:lnTo>
                    <a:pt x="71" y="846"/>
                  </a:lnTo>
                  <a:lnTo>
                    <a:pt x="116" y="786"/>
                  </a:lnTo>
                  <a:lnTo>
                    <a:pt x="100" y="705"/>
                  </a:lnTo>
                  <a:lnTo>
                    <a:pt x="122" y="687"/>
                  </a:lnTo>
                  <a:lnTo>
                    <a:pt x="157" y="683"/>
                  </a:lnTo>
                  <a:lnTo>
                    <a:pt x="187" y="644"/>
                  </a:lnTo>
                  <a:lnTo>
                    <a:pt x="183" y="609"/>
                  </a:lnTo>
                  <a:lnTo>
                    <a:pt x="208" y="546"/>
                  </a:lnTo>
                  <a:lnTo>
                    <a:pt x="212" y="516"/>
                  </a:lnTo>
                  <a:lnTo>
                    <a:pt x="220" y="483"/>
                  </a:lnTo>
                  <a:lnTo>
                    <a:pt x="285" y="457"/>
                  </a:lnTo>
                  <a:lnTo>
                    <a:pt x="312" y="424"/>
                  </a:lnTo>
                  <a:lnTo>
                    <a:pt x="307" y="377"/>
                  </a:lnTo>
                  <a:lnTo>
                    <a:pt x="299" y="344"/>
                  </a:lnTo>
                  <a:lnTo>
                    <a:pt x="273" y="328"/>
                  </a:lnTo>
                  <a:lnTo>
                    <a:pt x="240" y="318"/>
                  </a:lnTo>
                  <a:lnTo>
                    <a:pt x="218" y="326"/>
                  </a:lnTo>
                  <a:lnTo>
                    <a:pt x="202" y="318"/>
                  </a:lnTo>
                  <a:lnTo>
                    <a:pt x="175" y="308"/>
                  </a:lnTo>
                  <a:lnTo>
                    <a:pt x="157" y="306"/>
                  </a:lnTo>
                  <a:lnTo>
                    <a:pt x="130" y="298"/>
                  </a:lnTo>
                  <a:lnTo>
                    <a:pt x="116" y="292"/>
                  </a:lnTo>
                  <a:lnTo>
                    <a:pt x="104" y="281"/>
                  </a:lnTo>
                  <a:lnTo>
                    <a:pt x="108" y="253"/>
                  </a:lnTo>
                  <a:lnTo>
                    <a:pt x="47" y="253"/>
                  </a:lnTo>
                  <a:lnTo>
                    <a:pt x="22" y="267"/>
                  </a:lnTo>
                  <a:close/>
                </a:path>
              </a:pathLst>
            </a:custGeom>
            <a:solidFill>
              <a:srgbClr val="D0D0D0"/>
            </a:solidFill>
            <a:ln w="9525">
              <a:solidFill>
                <a:srgbClr val="000000"/>
              </a:solidFill>
              <a:prstDash val="solid"/>
              <a:round/>
              <a:headEnd/>
              <a:tailEnd/>
            </a:ln>
          </p:spPr>
          <p:txBody>
            <a:bodyPr/>
            <a:lstStyle/>
            <a:p>
              <a:endParaRPr lang="cs-CZ"/>
            </a:p>
          </p:txBody>
        </p:sp>
        <p:sp>
          <p:nvSpPr>
            <p:cNvPr id="11" name="Freeform 27"/>
            <p:cNvSpPr>
              <a:spLocks/>
            </p:cNvSpPr>
            <p:nvPr/>
          </p:nvSpPr>
          <p:spPr bwMode="auto">
            <a:xfrm>
              <a:off x="2054" y="2310"/>
              <a:ext cx="458" cy="614"/>
            </a:xfrm>
            <a:custGeom>
              <a:avLst/>
              <a:gdLst>
                <a:gd name="T0" fmla="*/ 910 w 916"/>
                <a:gd name="T1" fmla="*/ 585 h 1228"/>
                <a:gd name="T2" fmla="*/ 868 w 916"/>
                <a:gd name="T3" fmla="*/ 528 h 1228"/>
                <a:gd name="T4" fmla="*/ 851 w 916"/>
                <a:gd name="T5" fmla="*/ 393 h 1228"/>
                <a:gd name="T6" fmla="*/ 849 w 916"/>
                <a:gd name="T7" fmla="*/ 320 h 1228"/>
                <a:gd name="T8" fmla="*/ 860 w 916"/>
                <a:gd name="T9" fmla="*/ 228 h 1228"/>
                <a:gd name="T10" fmla="*/ 809 w 916"/>
                <a:gd name="T11" fmla="*/ 208 h 1228"/>
                <a:gd name="T12" fmla="*/ 786 w 916"/>
                <a:gd name="T13" fmla="*/ 153 h 1228"/>
                <a:gd name="T14" fmla="*/ 782 w 916"/>
                <a:gd name="T15" fmla="*/ 120 h 1228"/>
                <a:gd name="T16" fmla="*/ 754 w 916"/>
                <a:gd name="T17" fmla="*/ 69 h 1228"/>
                <a:gd name="T18" fmla="*/ 739 w 916"/>
                <a:gd name="T19" fmla="*/ 122 h 1228"/>
                <a:gd name="T20" fmla="*/ 678 w 916"/>
                <a:gd name="T21" fmla="*/ 106 h 1228"/>
                <a:gd name="T22" fmla="*/ 642 w 916"/>
                <a:gd name="T23" fmla="*/ 149 h 1228"/>
                <a:gd name="T24" fmla="*/ 587 w 916"/>
                <a:gd name="T25" fmla="*/ 161 h 1228"/>
                <a:gd name="T26" fmla="*/ 528 w 916"/>
                <a:gd name="T27" fmla="*/ 169 h 1228"/>
                <a:gd name="T28" fmla="*/ 540 w 916"/>
                <a:gd name="T29" fmla="*/ 120 h 1228"/>
                <a:gd name="T30" fmla="*/ 491 w 916"/>
                <a:gd name="T31" fmla="*/ 108 h 1228"/>
                <a:gd name="T32" fmla="*/ 440 w 916"/>
                <a:gd name="T33" fmla="*/ 65 h 1228"/>
                <a:gd name="T34" fmla="*/ 371 w 916"/>
                <a:gd name="T35" fmla="*/ 12 h 1228"/>
                <a:gd name="T36" fmla="*/ 348 w 916"/>
                <a:gd name="T37" fmla="*/ 47 h 1228"/>
                <a:gd name="T38" fmla="*/ 334 w 916"/>
                <a:gd name="T39" fmla="*/ 88 h 1228"/>
                <a:gd name="T40" fmla="*/ 344 w 916"/>
                <a:gd name="T41" fmla="*/ 161 h 1228"/>
                <a:gd name="T42" fmla="*/ 304 w 916"/>
                <a:gd name="T43" fmla="*/ 204 h 1228"/>
                <a:gd name="T44" fmla="*/ 297 w 916"/>
                <a:gd name="T45" fmla="*/ 243 h 1228"/>
                <a:gd name="T46" fmla="*/ 218 w 916"/>
                <a:gd name="T47" fmla="*/ 187 h 1228"/>
                <a:gd name="T48" fmla="*/ 171 w 916"/>
                <a:gd name="T49" fmla="*/ 230 h 1228"/>
                <a:gd name="T50" fmla="*/ 175 w 916"/>
                <a:gd name="T51" fmla="*/ 263 h 1228"/>
                <a:gd name="T52" fmla="*/ 132 w 916"/>
                <a:gd name="T53" fmla="*/ 342 h 1228"/>
                <a:gd name="T54" fmla="*/ 137 w 916"/>
                <a:gd name="T55" fmla="*/ 395 h 1228"/>
                <a:gd name="T56" fmla="*/ 75 w 916"/>
                <a:gd name="T57" fmla="*/ 477 h 1228"/>
                <a:gd name="T58" fmla="*/ 27 w 916"/>
                <a:gd name="T59" fmla="*/ 497 h 1228"/>
                <a:gd name="T60" fmla="*/ 14 w 916"/>
                <a:gd name="T61" fmla="*/ 599 h 1228"/>
                <a:gd name="T62" fmla="*/ 21 w 916"/>
                <a:gd name="T63" fmla="*/ 682 h 1228"/>
                <a:gd name="T64" fmla="*/ 14 w 916"/>
                <a:gd name="T65" fmla="*/ 748 h 1228"/>
                <a:gd name="T66" fmla="*/ 18 w 916"/>
                <a:gd name="T67" fmla="*/ 851 h 1228"/>
                <a:gd name="T68" fmla="*/ 181 w 916"/>
                <a:gd name="T69" fmla="*/ 963 h 1228"/>
                <a:gd name="T70" fmla="*/ 112 w 916"/>
                <a:gd name="T71" fmla="*/ 1069 h 1228"/>
                <a:gd name="T72" fmla="*/ 126 w 916"/>
                <a:gd name="T73" fmla="*/ 1185 h 1228"/>
                <a:gd name="T74" fmla="*/ 361 w 916"/>
                <a:gd name="T75" fmla="*/ 1196 h 1228"/>
                <a:gd name="T76" fmla="*/ 440 w 916"/>
                <a:gd name="T77" fmla="*/ 1204 h 1228"/>
                <a:gd name="T78" fmla="*/ 515 w 916"/>
                <a:gd name="T79" fmla="*/ 1224 h 1228"/>
                <a:gd name="T80" fmla="*/ 615 w 916"/>
                <a:gd name="T81" fmla="*/ 1192 h 1228"/>
                <a:gd name="T82" fmla="*/ 686 w 916"/>
                <a:gd name="T83" fmla="*/ 1210 h 1228"/>
                <a:gd name="T84" fmla="*/ 686 w 916"/>
                <a:gd name="T85" fmla="*/ 1130 h 1228"/>
                <a:gd name="T86" fmla="*/ 739 w 916"/>
                <a:gd name="T87" fmla="*/ 1084 h 1228"/>
                <a:gd name="T88" fmla="*/ 786 w 916"/>
                <a:gd name="T89" fmla="*/ 1027 h 1228"/>
                <a:gd name="T90" fmla="*/ 733 w 916"/>
                <a:gd name="T91" fmla="*/ 963 h 1228"/>
                <a:gd name="T92" fmla="*/ 650 w 916"/>
                <a:gd name="T93" fmla="*/ 880 h 1228"/>
                <a:gd name="T94" fmla="*/ 609 w 916"/>
                <a:gd name="T95" fmla="*/ 788 h 1228"/>
                <a:gd name="T96" fmla="*/ 637 w 916"/>
                <a:gd name="T97" fmla="*/ 782 h 1228"/>
                <a:gd name="T98" fmla="*/ 735 w 916"/>
                <a:gd name="T99" fmla="*/ 743 h 1228"/>
                <a:gd name="T100" fmla="*/ 835 w 916"/>
                <a:gd name="T101" fmla="*/ 686 h 1228"/>
                <a:gd name="T102" fmla="*/ 870 w 916"/>
                <a:gd name="T103" fmla="*/ 666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6" h="1228">
                  <a:moveTo>
                    <a:pt x="904" y="686"/>
                  </a:moveTo>
                  <a:lnTo>
                    <a:pt x="916" y="625"/>
                  </a:lnTo>
                  <a:lnTo>
                    <a:pt x="910" y="585"/>
                  </a:lnTo>
                  <a:lnTo>
                    <a:pt x="890" y="564"/>
                  </a:lnTo>
                  <a:lnTo>
                    <a:pt x="890" y="550"/>
                  </a:lnTo>
                  <a:lnTo>
                    <a:pt x="868" y="528"/>
                  </a:lnTo>
                  <a:lnTo>
                    <a:pt x="876" y="497"/>
                  </a:lnTo>
                  <a:lnTo>
                    <a:pt x="870" y="456"/>
                  </a:lnTo>
                  <a:lnTo>
                    <a:pt x="851" y="393"/>
                  </a:lnTo>
                  <a:lnTo>
                    <a:pt x="829" y="365"/>
                  </a:lnTo>
                  <a:lnTo>
                    <a:pt x="835" y="342"/>
                  </a:lnTo>
                  <a:lnTo>
                    <a:pt x="849" y="320"/>
                  </a:lnTo>
                  <a:lnTo>
                    <a:pt x="843" y="285"/>
                  </a:lnTo>
                  <a:lnTo>
                    <a:pt x="847" y="242"/>
                  </a:lnTo>
                  <a:lnTo>
                    <a:pt x="860" y="228"/>
                  </a:lnTo>
                  <a:lnTo>
                    <a:pt x="843" y="222"/>
                  </a:lnTo>
                  <a:lnTo>
                    <a:pt x="823" y="200"/>
                  </a:lnTo>
                  <a:lnTo>
                    <a:pt x="809" y="208"/>
                  </a:lnTo>
                  <a:lnTo>
                    <a:pt x="800" y="196"/>
                  </a:lnTo>
                  <a:lnTo>
                    <a:pt x="800" y="181"/>
                  </a:lnTo>
                  <a:lnTo>
                    <a:pt x="786" y="153"/>
                  </a:lnTo>
                  <a:lnTo>
                    <a:pt x="754" y="153"/>
                  </a:lnTo>
                  <a:lnTo>
                    <a:pt x="758" y="139"/>
                  </a:lnTo>
                  <a:lnTo>
                    <a:pt x="782" y="120"/>
                  </a:lnTo>
                  <a:lnTo>
                    <a:pt x="790" y="96"/>
                  </a:lnTo>
                  <a:lnTo>
                    <a:pt x="776" y="71"/>
                  </a:lnTo>
                  <a:lnTo>
                    <a:pt x="754" y="69"/>
                  </a:lnTo>
                  <a:lnTo>
                    <a:pt x="747" y="86"/>
                  </a:lnTo>
                  <a:lnTo>
                    <a:pt x="739" y="110"/>
                  </a:lnTo>
                  <a:lnTo>
                    <a:pt x="739" y="122"/>
                  </a:lnTo>
                  <a:lnTo>
                    <a:pt x="707" y="110"/>
                  </a:lnTo>
                  <a:lnTo>
                    <a:pt x="690" y="120"/>
                  </a:lnTo>
                  <a:lnTo>
                    <a:pt x="678" y="106"/>
                  </a:lnTo>
                  <a:lnTo>
                    <a:pt x="666" y="126"/>
                  </a:lnTo>
                  <a:lnTo>
                    <a:pt x="652" y="128"/>
                  </a:lnTo>
                  <a:lnTo>
                    <a:pt x="642" y="149"/>
                  </a:lnTo>
                  <a:lnTo>
                    <a:pt x="619" y="139"/>
                  </a:lnTo>
                  <a:lnTo>
                    <a:pt x="597" y="149"/>
                  </a:lnTo>
                  <a:lnTo>
                    <a:pt x="587" y="161"/>
                  </a:lnTo>
                  <a:lnTo>
                    <a:pt x="570" y="183"/>
                  </a:lnTo>
                  <a:lnTo>
                    <a:pt x="550" y="169"/>
                  </a:lnTo>
                  <a:lnTo>
                    <a:pt x="528" y="169"/>
                  </a:lnTo>
                  <a:lnTo>
                    <a:pt x="509" y="169"/>
                  </a:lnTo>
                  <a:lnTo>
                    <a:pt x="517" y="143"/>
                  </a:lnTo>
                  <a:lnTo>
                    <a:pt x="540" y="120"/>
                  </a:lnTo>
                  <a:lnTo>
                    <a:pt x="532" y="106"/>
                  </a:lnTo>
                  <a:lnTo>
                    <a:pt x="503" y="122"/>
                  </a:lnTo>
                  <a:lnTo>
                    <a:pt x="491" y="108"/>
                  </a:lnTo>
                  <a:lnTo>
                    <a:pt x="477" y="96"/>
                  </a:lnTo>
                  <a:lnTo>
                    <a:pt x="452" y="92"/>
                  </a:lnTo>
                  <a:lnTo>
                    <a:pt x="440" y="65"/>
                  </a:lnTo>
                  <a:lnTo>
                    <a:pt x="438" y="31"/>
                  </a:lnTo>
                  <a:lnTo>
                    <a:pt x="405" y="23"/>
                  </a:lnTo>
                  <a:lnTo>
                    <a:pt x="371" y="12"/>
                  </a:lnTo>
                  <a:lnTo>
                    <a:pt x="346" y="0"/>
                  </a:lnTo>
                  <a:lnTo>
                    <a:pt x="330" y="18"/>
                  </a:lnTo>
                  <a:lnTo>
                    <a:pt x="348" y="47"/>
                  </a:lnTo>
                  <a:lnTo>
                    <a:pt x="357" y="69"/>
                  </a:lnTo>
                  <a:lnTo>
                    <a:pt x="350" y="82"/>
                  </a:lnTo>
                  <a:lnTo>
                    <a:pt x="334" y="88"/>
                  </a:lnTo>
                  <a:lnTo>
                    <a:pt x="334" y="106"/>
                  </a:lnTo>
                  <a:lnTo>
                    <a:pt x="344" y="126"/>
                  </a:lnTo>
                  <a:lnTo>
                    <a:pt x="344" y="161"/>
                  </a:lnTo>
                  <a:lnTo>
                    <a:pt x="344" y="175"/>
                  </a:lnTo>
                  <a:lnTo>
                    <a:pt x="318" y="181"/>
                  </a:lnTo>
                  <a:lnTo>
                    <a:pt x="304" y="204"/>
                  </a:lnTo>
                  <a:lnTo>
                    <a:pt x="304" y="236"/>
                  </a:lnTo>
                  <a:lnTo>
                    <a:pt x="308" y="259"/>
                  </a:lnTo>
                  <a:lnTo>
                    <a:pt x="297" y="243"/>
                  </a:lnTo>
                  <a:lnTo>
                    <a:pt x="269" y="230"/>
                  </a:lnTo>
                  <a:lnTo>
                    <a:pt x="247" y="194"/>
                  </a:lnTo>
                  <a:lnTo>
                    <a:pt x="218" y="187"/>
                  </a:lnTo>
                  <a:lnTo>
                    <a:pt x="189" y="194"/>
                  </a:lnTo>
                  <a:lnTo>
                    <a:pt x="167" y="212"/>
                  </a:lnTo>
                  <a:lnTo>
                    <a:pt x="171" y="230"/>
                  </a:lnTo>
                  <a:lnTo>
                    <a:pt x="190" y="249"/>
                  </a:lnTo>
                  <a:lnTo>
                    <a:pt x="200" y="269"/>
                  </a:lnTo>
                  <a:lnTo>
                    <a:pt x="175" y="263"/>
                  </a:lnTo>
                  <a:lnTo>
                    <a:pt x="161" y="259"/>
                  </a:lnTo>
                  <a:lnTo>
                    <a:pt x="147" y="304"/>
                  </a:lnTo>
                  <a:lnTo>
                    <a:pt x="132" y="342"/>
                  </a:lnTo>
                  <a:lnTo>
                    <a:pt x="106" y="352"/>
                  </a:lnTo>
                  <a:lnTo>
                    <a:pt x="124" y="379"/>
                  </a:lnTo>
                  <a:lnTo>
                    <a:pt x="137" y="395"/>
                  </a:lnTo>
                  <a:lnTo>
                    <a:pt x="124" y="426"/>
                  </a:lnTo>
                  <a:lnTo>
                    <a:pt x="92" y="446"/>
                  </a:lnTo>
                  <a:lnTo>
                    <a:pt x="75" y="477"/>
                  </a:lnTo>
                  <a:lnTo>
                    <a:pt x="45" y="467"/>
                  </a:lnTo>
                  <a:lnTo>
                    <a:pt x="27" y="471"/>
                  </a:lnTo>
                  <a:lnTo>
                    <a:pt x="27" y="497"/>
                  </a:lnTo>
                  <a:lnTo>
                    <a:pt x="21" y="542"/>
                  </a:lnTo>
                  <a:lnTo>
                    <a:pt x="21" y="579"/>
                  </a:lnTo>
                  <a:lnTo>
                    <a:pt x="14" y="599"/>
                  </a:lnTo>
                  <a:lnTo>
                    <a:pt x="14" y="633"/>
                  </a:lnTo>
                  <a:lnTo>
                    <a:pt x="14" y="660"/>
                  </a:lnTo>
                  <a:lnTo>
                    <a:pt x="21" y="682"/>
                  </a:lnTo>
                  <a:lnTo>
                    <a:pt x="14" y="717"/>
                  </a:lnTo>
                  <a:lnTo>
                    <a:pt x="0" y="741"/>
                  </a:lnTo>
                  <a:lnTo>
                    <a:pt x="14" y="748"/>
                  </a:lnTo>
                  <a:lnTo>
                    <a:pt x="0" y="776"/>
                  </a:lnTo>
                  <a:lnTo>
                    <a:pt x="20" y="796"/>
                  </a:lnTo>
                  <a:lnTo>
                    <a:pt x="18" y="851"/>
                  </a:lnTo>
                  <a:lnTo>
                    <a:pt x="47" y="900"/>
                  </a:lnTo>
                  <a:lnTo>
                    <a:pt x="159" y="931"/>
                  </a:lnTo>
                  <a:lnTo>
                    <a:pt x="181" y="963"/>
                  </a:lnTo>
                  <a:lnTo>
                    <a:pt x="161" y="1016"/>
                  </a:lnTo>
                  <a:lnTo>
                    <a:pt x="132" y="1033"/>
                  </a:lnTo>
                  <a:lnTo>
                    <a:pt x="112" y="1069"/>
                  </a:lnTo>
                  <a:lnTo>
                    <a:pt x="112" y="1110"/>
                  </a:lnTo>
                  <a:lnTo>
                    <a:pt x="110" y="1167"/>
                  </a:lnTo>
                  <a:lnTo>
                    <a:pt x="126" y="1185"/>
                  </a:lnTo>
                  <a:lnTo>
                    <a:pt x="259" y="1171"/>
                  </a:lnTo>
                  <a:lnTo>
                    <a:pt x="332" y="1206"/>
                  </a:lnTo>
                  <a:lnTo>
                    <a:pt x="361" y="1196"/>
                  </a:lnTo>
                  <a:lnTo>
                    <a:pt x="391" y="1228"/>
                  </a:lnTo>
                  <a:lnTo>
                    <a:pt x="416" y="1228"/>
                  </a:lnTo>
                  <a:lnTo>
                    <a:pt x="440" y="1204"/>
                  </a:lnTo>
                  <a:lnTo>
                    <a:pt x="458" y="1204"/>
                  </a:lnTo>
                  <a:lnTo>
                    <a:pt x="491" y="1226"/>
                  </a:lnTo>
                  <a:lnTo>
                    <a:pt x="515" y="1224"/>
                  </a:lnTo>
                  <a:lnTo>
                    <a:pt x="536" y="1210"/>
                  </a:lnTo>
                  <a:lnTo>
                    <a:pt x="560" y="1196"/>
                  </a:lnTo>
                  <a:lnTo>
                    <a:pt x="615" y="1192"/>
                  </a:lnTo>
                  <a:lnTo>
                    <a:pt x="652" y="1192"/>
                  </a:lnTo>
                  <a:lnTo>
                    <a:pt x="676" y="1196"/>
                  </a:lnTo>
                  <a:lnTo>
                    <a:pt x="686" y="1210"/>
                  </a:lnTo>
                  <a:lnTo>
                    <a:pt x="699" y="1194"/>
                  </a:lnTo>
                  <a:lnTo>
                    <a:pt x="692" y="1169"/>
                  </a:lnTo>
                  <a:lnTo>
                    <a:pt x="686" y="1130"/>
                  </a:lnTo>
                  <a:lnTo>
                    <a:pt x="697" y="1098"/>
                  </a:lnTo>
                  <a:lnTo>
                    <a:pt x="725" y="1088"/>
                  </a:lnTo>
                  <a:lnTo>
                    <a:pt x="739" y="1084"/>
                  </a:lnTo>
                  <a:lnTo>
                    <a:pt x="747" y="1061"/>
                  </a:lnTo>
                  <a:lnTo>
                    <a:pt x="764" y="1051"/>
                  </a:lnTo>
                  <a:lnTo>
                    <a:pt x="786" y="1027"/>
                  </a:lnTo>
                  <a:lnTo>
                    <a:pt x="786" y="1008"/>
                  </a:lnTo>
                  <a:lnTo>
                    <a:pt x="764" y="1000"/>
                  </a:lnTo>
                  <a:lnTo>
                    <a:pt x="733" y="963"/>
                  </a:lnTo>
                  <a:lnTo>
                    <a:pt x="693" y="927"/>
                  </a:lnTo>
                  <a:lnTo>
                    <a:pt x="666" y="906"/>
                  </a:lnTo>
                  <a:lnTo>
                    <a:pt x="650" y="880"/>
                  </a:lnTo>
                  <a:lnTo>
                    <a:pt x="635" y="843"/>
                  </a:lnTo>
                  <a:lnTo>
                    <a:pt x="631" y="803"/>
                  </a:lnTo>
                  <a:lnTo>
                    <a:pt x="609" y="788"/>
                  </a:lnTo>
                  <a:lnTo>
                    <a:pt x="603" y="774"/>
                  </a:lnTo>
                  <a:lnTo>
                    <a:pt x="619" y="762"/>
                  </a:lnTo>
                  <a:lnTo>
                    <a:pt x="637" y="782"/>
                  </a:lnTo>
                  <a:lnTo>
                    <a:pt x="660" y="768"/>
                  </a:lnTo>
                  <a:lnTo>
                    <a:pt x="690" y="748"/>
                  </a:lnTo>
                  <a:lnTo>
                    <a:pt x="735" y="743"/>
                  </a:lnTo>
                  <a:lnTo>
                    <a:pt x="764" y="701"/>
                  </a:lnTo>
                  <a:lnTo>
                    <a:pt x="790" y="699"/>
                  </a:lnTo>
                  <a:lnTo>
                    <a:pt x="835" y="686"/>
                  </a:lnTo>
                  <a:lnTo>
                    <a:pt x="837" y="652"/>
                  </a:lnTo>
                  <a:lnTo>
                    <a:pt x="855" y="652"/>
                  </a:lnTo>
                  <a:lnTo>
                    <a:pt x="870" y="666"/>
                  </a:lnTo>
                  <a:lnTo>
                    <a:pt x="884" y="678"/>
                  </a:lnTo>
                  <a:lnTo>
                    <a:pt x="904" y="686"/>
                  </a:lnTo>
                  <a:close/>
                </a:path>
              </a:pathLst>
            </a:custGeom>
            <a:solidFill>
              <a:srgbClr val="009900"/>
            </a:solidFill>
            <a:ln w="9525">
              <a:solidFill>
                <a:srgbClr val="000000"/>
              </a:solidFill>
              <a:prstDash val="solid"/>
              <a:round/>
              <a:headEnd/>
              <a:tailEnd/>
            </a:ln>
          </p:spPr>
          <p:txBody>
            <a:bodyPr/>
            <a:lstStyle/>
            <a:p>
              <a:endParaRPr lang="cs-CZ"/>
            </a:p>
          </p:txBody>
        </p:sp>
        <p:sp>
          <p:nvSpPr>
            <p:cNvPr id="12" name="Freeform 28"/>
            <p:cNvSpPr>
              <a:spLocks/>
            </p:cNvSpPr>
            <p:nvPr/>
          </p:nvSpPr>
          <p:spPr bwMode="auto">
            <a:xfrm>
              <a:off x="1896" y="2569"/>
              <a:ext cx="169" cy="155"/>
            </a:xfrm>
            <a:custGeom>
              <a:avLst/>
              <a:gdLst>
                <a:gd name="T0" fmla="*/ 253 w 337"/>
                <a:gd name="T1" fmla="*/ 310 h 310"/>
                <a:gd name="T2" fmla="*/ 265 w 337"/>
                <a:gd name="T3" fmla="*/ 261 h 310"/>
                <a:gd name="T4" fmla="*/ 271 w 337"/>
                <a:gd name="T5" fmla="*/ 233 h 310"/>
                <a:gd name="T6" fmla="*/ 298 w 337"/>
                <a:gd name="T7" fmla="*/ 220 h 310"/>
                <a:gd name="T8" fmla="*/ 324 w 337"/>
                <a:gd name="T9" fmla="*/ 218 h 310"/>
                <a:gd name="T10" fmla="*/ 337 w 337"/>
                <a:gd name="T11" fmla="*/ 186 h 310"/>
                <a:gd name="T12" fmla="*/ 334 w 337"/>
                <a:gd name="T13" fmla="*/ 151 h 310"/>
                <a:gd name="T14" fmla="*/ 318 w 337"/>
                <a:gd name="T15" fmla="*/ 125 h 310"/>
                <a:gd name="T16" fmla="*/ 284 w 337"/>
                <a:gd name="T17" fmla="*/ 117 h 310"/>
                <a:gd name="T18" fmla="*/ 296 w 337"/>
                <a:gd name="T19" fmla="*/ 74 h 310"/>
                <a:gd name="T20" fmla="*/ 277 w 337"/>
                <a:gd name="T21" fmla="*/ 39 h 310"/>
                <a:gd name="T22" fmla="*/ 249 w 337"/>
                <a:gd name="T23" fmla="*/ 11 h 310"/>
                <a:gd name="T24" fmla="*/ 224 w 337"/>
                <a:gd name="T25" fmla="*/ 0 h 310"/>
                <a:gd name="T26" fmla="*/ 180 w 337"/>
                <a:gd name="T27" fmla="*/ 2 h 310"/>
                <a:gd name="T28" fmla="*/ 135 w 337"/>
                <a:gd name="T29" fmla="*/ 19 h 310"/>
                <a:gd name="T30" fmla="*/ 110 w 337"/>
                <a:gd name="T31" fmla="*/ 19 h 310"/>
                <a:gd name="T32" fmla="*/ 88 w 337"/>
                <a:gd name="T33" fmla="*/ 0 h 310"/>
                <a:gd name="T34" fmla="*/ 58 w 337"/>
                <a:gd name="T35" fmla="*/ 2 h 310"/>
                <a:gd name="T36" fmla="*/ 31 w 337"/>
                <a:gd name="T37" fmla="*/ 11 h 310"/>
                <a:gd name="T38" fmla="*/ 0 w 337"/>
                <a:gd name="T39" fmla="*/ 19 h 310"/>
                <a:gd name="T40" fmla="*/ 11 w 337"/>
                <a:gd name="T41" fmla="*/ 74 h 310"/>
                <a:gd name="T42" fmla="*/ 41 w 337"/>
                <a:gd name="T43" fmla="*/ 96 h 310"/>
                <a:gd name="T44" fmla="*/ 64 w 337"/>
                <a:gd name="T45" fmla="*/ 131 h 310"/>
                <a:gd name="T46" fmla="*/ 129 w 337"/>
                <a:gd name="T47" fmla="*/ 176 h 310"/>
                <a:gd name="T48" fmla="*/ 127 w 337"/>
                <a:gd name="T49" fmla="*/ 228 h 310"/>
                <a:gd name="T50" fmla="*/ 161 w 337"/>
                <a:gd name="T51" fmla="*/ 241 h 310"/>
                <a:gd name="T52" fmla="*/ 202 w 337"/>
                <a:gd name="T53" fmla="*/ 206 h 310"/>
                <a:gd name="T54" fmla="*/ 202 w 337"/>
                <a:gd name="T55" fmla="*/ 269 h 310"/>
                <a:gd name="T56" fmla="*/ 253 w 337"/>
                <a:gd name="T5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7" h="310">
                  <a:moveTo>
                    <a:pt x="253" y="310"/>
                  </a:moveTo>
                  <a:lnTo>
                    <a:pt x="265" y="261"/>
                  </a:lnTo>
                  <a:lnTo>
                    <a:pt x="271" y="233"/>
                  </a:lnTo>
                  <a:lnTo>
                    <a:pt x="298" y="220"/>
                  </a:lnTo>
                  <a:lnTo>
                    <a:pt x="324" y="218"/>
                  </a:lnTo>
                  <a:lnTo>
                    <a:pt x="337" y="186"/>
                  </a:lnTo>
                  <a:lnTo>
                    <a:pt x="334" y="151"/>
                  </a:lnTo>
                  <a:lnTo>
                    <a:pt x="318" y="125"/>
                  </a:lnTo>
                  <a:lnTo>
                    <a:pt x="284" y="117"/>
                  </a:lnTo>
                  <a:lnTo>
                    <a:pt x="296" y="74"/>
                  </a:lnTo>
                  <a:lnTo>
                    <a:pt x="277" y="39"/>
                  </a:lnTo>
                  <a:lnTo>
                    <a:pt x="249" y="11"/>
                  </a:lnTo>
                  <a:lnTo>
                    <a:pt x="224" y="0"/>
                  </a:lnTo>
                  <a:lnTo>
                    <a:pt x="180" y="2"/>
                  </a:lnTo>
                  <a:lnTo>
                    <a:pt x="135" y="19"/>
                  </a:lnTo>
                  <a:lnTo>
                    <a:pt x="110" y="19"/>
                  </a:lnTo>
                  <a:lnTo>
                    <a:pt x="88" y="0"/>
                  </a:lnTo>
                  <a:lnTo>
                    <a:pt x="58" y="2"/>
                  </a:lnTo>
                  <a:lnTo>
                    <a:pt x="31" y="11"/>
                  </a:lnTo>
                  <a:lnTo>
                    <a:pt x="0" y="19"/>
                  </a:lnTo>
                  <a:lnTo>
                    <a:pt x="11" y="74"/>
                  </a:lnTo>
                  <a:lnTo>
                    <a:pt x="41" y="96"/>
                  </a:lnTo>
                  <a:lnTo>
                    <a:pt x="64" y="131"/>
                  </a:lnTo>
                  <a:lnTo>
                    <a:pt x="129" y="176"/>
                  </a:lnTo>
                  <a:lnTo>
                    <a:pt x="127" y="228"/>
                  </a:lnTo>
                  <a:lnTo>
                    <a:pt x="161" y="241"/>
                  </a:lnTo>
                  <a:lnTo>
                    <a:pt x="202" y="206"/>
                  </a:lnTo>
                  <a:lnTo>
                    <a:pt x="202" y="269"/>
                  </a:lnTo>
                  <a:lnTo>
                    <a:pt x="253" y="310"/>
                  </a:lnTo>
                  <a:close/>
                </a:path>
              </a:pathLst>
            </a:custGeom>
            <a:solidFill>
              <a:srgbClr val="D0D0D0"/>
            </a:solidFill>
            <a:ln w="9525">
              <a:solidFill>
                <a:srgbClr val="000000"/>
              </a:solidFill>
              <a:prstDash val="solid"/>
              <a:round/>
              <a:headEnd/>
              <a:tailEnd/>
            </a:ln>
          </p:spPr>
          <p:txBody>
            <a:bodyPr/>
            <a:lstStyle/>
            <a:p>
              <a:endParaRPr lang="cs-CZ"/>
            </a:p>
          </p:txBody>
        </p:sp>
        <p:sp>
          <p:nvSpPr>
            <p:cNvPr id="13" name="Freeform 29"/>
            <p:cNvSpPr>
              <a:spLocks/>
            </p:cNvSpPr>
            <p:nvPr/>
          </p:nvSpPr>
          <p:spPr bwMode="auto">
            <a:xfrm>
              <a:off x="1476" y="2584"/>
              <a:ext cx="671" cy="698"/>
            </a:xfrm>
            <a:custGeom>
              <a:avLst/>
              <a:gdLst>
                <a:gd name="T0" fmla="*/ 1269 w 1342"/>
                <a:gd name="T1" fmla="*/ 566 h 1397"/>
                <a:gd name="T2" fmla="*/ 1316 w 1342"/>
                <a:gd name="T3" fmla="*/ 476 h 1397"/>
                <a:gd name="T4" fmla="*/ 1330 w 1342"/>
                <a:gd name="T5" fmla="*/ 395 h 1397"/>
                <a:gd name="T6" fmla="*/ 1175 w 1342"/>
                <a:gd name="T7" fmla="*/ 310 h 1397"/>
                <a:gd name="T8" fmla="*/ 1043 w 1342"/>
                <a:gd name="T9" fmla="*/ 240 h 1397"/>
                <a:gd name="T10" fmla="*/ 994 w 1342"/>
                <a:gd name="T11" fmla="*/ 210 h 1397"/>
                <a:gd name="T12" fmla="*/ 905 w 1342"/>
                <a:gd name="T13" fmla="*/ 94 h 1397"/>
                <a:gd name="T14" fmla="*/ 846 w 1342"/>
                <a:gd name="T15" fmla="*/ 45 h 1397"/>
                <a:gd name="T16" fmla="*/ 742 w 1342"/>
                <a:gd name="T17" fmla="*/ 20 h 1397"/>
                <a:gd name="T18" fmla="*/ 715 w 1342"/>
                <a:gd name="T19" fmla="*/ 112 h 1397"/>
                <a:gd name="T20" fmla="*/ 634 w 1342"/>
                <a:gd name="T21" fmla="*/ 163 h 1397"/>
                <a:gd name="T22" fmla="*/ 550 w 1342"/>
                <a:gd name="T23" fmla="*/ 199 h 1397"/>
                <a:gd name="T24" fmla="*/ 538 w 1342"/>
                <a:gd name="T25" fmla="*/ 226 h 1397"/>
                <a:gd name="T26" fmla="*/ 422 w 1342"/>
                <a:gd name="T27" fmla="*/ 202 h 1397"/>
                <a:gd name="T28" fmla="*/ 387 w 1342"/>
                <a:gd name="T29" fmla="*/ 147 h 1397"/>
                <a:gd name="T30" fmla="*/ 347 w 1342"/>
                <a:gd name="T31" fmla="*/ 195 h 1397"/>
                <a:gd name="T32" fmla="*/ 367 w 1342"/>
                <a:gd name="T33" fmla="*/ 299 h 1397"/>
                <a:gd name="T34" fmla="*/ 220 w 1342"/>
                <a:gd name="T35" fmla="*/ 291 h 1397"/>
                <a:gd name="T36" fmla="*/ 114 w 1342"/>
                <a:gd name="T37" fmla="*/ 252 h 1397"/>
                <a:gd name="T38" fmla="*/ 21 w 1342"/>
                <a:gd name="T39" fmla="*/ 283 h 1397"/>
                <a:gd name="T40" fmla="*/ 11 w 1342"/>
                <a:gd name="T41" fmla="*/ 332 h 1397"/>
                <a:gd name="T42" fmla="*/ 84 w 1342"/>
                <a:gd name="T43" fmla="*/ 385 h 1397"/>
                <a:gd name="T44" fmla="*/ 145 w 1342"/>
                <a:gd name="T45" fmla="*/ 448 h 1397"/>
                <a:gd name="T46" fmla="*/ 210 w 1342"/>
                <a:gd name="T47" fmla="*/ 477 h 1397"/>
                <a:gd name="T48" fmla="*/ 237 w 1342"/>
                <a:gd name="T49" fmla="*/ 558 h 1397"/>
                <a:gd name="T50" fmla="*/ 245 w 1342"/>
                <a:gd name="T51" fmla="*/ 639 h 1397"/>
                <a:gd name="T52" fmla="*/ 308 w 1342"/>
                <a:gd name="T53" fmla="*/ 756 h 1397"/>
                <a:gd name="T54" fmla="*/ 322 w 1342"/>
                <a:gd name="T55" fmla="*/ 861 h 1397"/>
                <a:gd name="T56" fmla="*/ 273 w 1342"/>
                <a:gd name="T57" fmla="*/ 872 h 1397"/>
                <a:gd name="T58" fmla="*/ 251 w 1342"/>
                <a:gd name="T59" fmla="*/ 969 h 1397"/>
                <a:gd name="T60" fmla="*/ 204 w 1342"/>
                <a:gd name="T61" fmla="*/ 1094 h 1397"/>
                <a:gd name="T62" fmla="*/ 135 w 1342"/>
                <a:gd name="T63" fmla="*/ 1163 h 1397"/>
                <a:gd name="T64" fmla="*/ 190 w 1342"/>
                <a:gd name="T65" fmla="*/ 1224 h 1397"/>
                <a:gd name="T66" fmla="*/ 273 w 1342"/>
                <a:gd name="T67" fmla="*/ 1287 h 1397"/>
                <a:gd name="T68" fmla="*/ 422 w 1342"/>
                <a:gd name="T69" fmla="*/ 1307 h 1397"/>
                <a:gd name="T70" fmla="*/ 497 w 1342"/>
                <a:gd name="T71" fmla="*/ 1352 h 1397"/>
                <a:gd name="T72" fmla="*/ 599 w 1342"/>
                <a:gd name="T73" fmla="*/ 1397 h 1397"/>
                <a:gd name="T74" fmla="*/ 689 w 1342"/>
                <a:gd name="T75" fmla="*/ 1301 h 1397"/>
                <a:gd name="T76" fmla="*/ 768 w 1342"/>
                <a:gd name="T77" fmla="*/ 1256 h 1397"/>
                <a:gd name="T78" fmla="*/ 860 w 1342"/>
                <a:gd name="T79" fmla="*/ 1273 h 1397"/>
                <a:gd name="T80" fmla="*/ 994 w 1342"/>
                <a:gd name="T81" fmla="*/ 1324 h 1397"/>
                <a:gd name="T82" fmla="*/ 1090 w 1342"/>
                <a:gd name="T83" fmla="*/ 1328 h 1397"/>
                <a:gd name="T84" fmla="*/ 1171 w 1342"/>
                <a:gd name="T85" fmla="*/ 1265 h 1397"/>
                <a:gd name="T86" fmla="*/ 1216 w 1342"/>
                <a:gd name="T87" fmla="*/ 1195 h 1397"/>
                <a:gd name="T88" fmla="*/ 1139 w 1342"/>
                <a:gd name="T89" fmla="*/ 1106 h 1397"/>
                <a:gd name="T90" fmla="*/ 1171 w 1342"/>
                <a:gd name="T91" fmla="*/ 990 h 1397"/>
                <a:gd name="T92" fmla="*/ 1165 w 1342"/>
                <a:gd name="T93" fmla="*/ 886 h 1397"/>
                <a:gd name="T94" fmla="*/ 1159 w 1342"/>
                <a:gd name="T95" fmla="*/ 829 h 1397"/>
                <a:gd name="T96" fmla="*/ 1092 w 1342"/>
                <a:gd name="T97" fmla="*/ 847 h 1397"/>
                <a:gd name="T98" fmla="*/ 1139 w 1342"/>
                <a:gd name="T99" fmla="*/ 733 h 1397"/>
                <a:gd name="T100" fmla="*/ 1200 w 1342"/>
                <a:gd name="T101" fmla="*/ 635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2" h="1397">
                  <a:moveTo>
                    <a:pt x="1267" y="625"/>
                  </a:moveTo>
                  <a:lnTo>
                    <a:pt x="1263" y="584"/>
                  </a:lnTo>
                  <a:lnTo>
                    <a:pt x="1269" y="566"/>
                  </a:lnTo>
                  <a:lnTo>
                    <a:pt x="1267" y="523"/>
                  </a:lnTo>
                  <a:lnTo>
                    <a:pt x="1296" y="476"/>
                  </a:lnTo>
                  <a:lnTo>
                    <a:pt x="1316" y="476"/>
                  </a:lnTo>
                  <a:lnTo>
                    <a:pt x="1322" y="444"/>
                  </a:lnTo>
                  <a:lnTo>
                    <a:pt x="1342" y="421"/>
                  </a:lnTo>
                  <a:lnTo>
                    <a:pt x="1330" y="395"/>
                  </a:lnTo>
                  <a:lnTo>
                    <a:pt x="1245" y="366"/>
                  </a:lnTo>
                  <a:lnTo>
                    <a:pt x="1202" y="360"/>
                  </a:lnTo>
                  <a:lnTo>
                    <a:pt x="1175" y="310"/>
                  </a:lnTo>
                  <a:lnTo>
                    <a:pt x="1143" y="283"/>
                  </a:lnTo>
                  <a:lnTo>
                    <a:pt x="1100" y="285"/>
                  </a:lnTo>
                  <a:lnTo>
                    <a:pt x="1043" y="240"/>
                  </a:lnTo>
                  <a:lnTo>
                    <a:pt x="1041" y="177"/>
                  </a:lnTo>
                  <a:lnTo>
                    <a:pt x="1015" y="199"/>
                  </a:lnTo>
                  <a:lnTo>
                    <a:pt x="994" y="210"/>
                  </a:lnTo>
                  <a:lnTo>
                    <a:pt x="962" y="195"/>
                  </a:lnTo>
                  <a:lnTo>
                    <a:pt x="974" y="142"/>
                  </a:lnTo>
                  <a:lnTo>
                    <a:pt x="905" y="94"/>
                  </a:lnTo>
                  <a:lnTo>
                    <a:pt x="894" y="79"/>
                  </a:lnTo>
                  <a:lnTo>
                    <a:pt x="872" y="53"/>
                  </a:lnTo>
                  <a:lnTo>
                    <a:pt x="846" y="45"/>
                  </a:lnTo>
                  <a:lnTo>
                    <a:pt x="844" y="0"/>
                  </a:lnTo>
                  <a:lnTo>
                    <a:pt x="762" y="4"/>
                  </a:lnTo>
                  <a:lnTo>
                    <a:pt x="742" y="20"/>
                  </a:lnTo>
                  <a:lnTo>
                    <a:pt x="725" y="53"/>
                  </a:lnTo>
                  <a:lnTo>
                    <a:pt x="723" y="79"/>
                  </a:lnTo>
                  <a:lnTo>
                    <a:pt x="715" y="112"/>
                  </a:lnTo>
                  <a:lnTo>
                    <a:pt x="715" y="134"/>
                  </a:lnTo>
                  <a:lnTo>
                    <a:pt x="675" y="149"/>
                  </a:lnTo>
                  <a:lnTo>
                    <a:pt x="634" y="163"/>
                  </a:lnTo>
                  <a:lnTo>
                    <a:pt x="599" y="163"/>
                  </a:lnTo>
                  <a:lnTo>
                    <a:pt x="562" y="183"/>
                  </a:lnTo>
                  <a:lnTo>
                    <a:pt x="550" y="199"/>
                  </a:lnTo>
                  <a:lnTo>
                    <a:pt x="585" y="218"/>
                  </a:lnTo>
                  <a:lnTo>
                    <a:pt x="571" y="238"/>
                  </a:lnTo>
                  <a:lnTo>
                    <a:pt x="538" y="226"/>
                  </a:lnTo>
                  <a:lnTo>
                    <a:pt x="499" y="232"/>
                  </a:lnTo>
                  <a:lnTo>
                    <a:pt x="465" y="226"/>
                  </a:lnTo>
                  <a:lnTo>
                    <a:pt x="422" y="202"/>
                  </a:lnTo>
                  <a:lnTo>
                    <a:pt x="396" y="177"/>
                  </a:lnTo>
                  <a:lnTo>
                    <a:pt x="402" y="153"/>
                  </a:lnTo>
                  <a:lnTo>
                    <a:pt x="387" y="147"/>
                  </a:lnTo>
                  <a:lnTo>
                    <a:pt x="341" y="130"/>
                  </a:lnTo>
                  <a:lnTo>
                    <a:pt x="339" y="157"/>
                  </a:lnTo>
                  <a:lnTo>
                    <a:pt x="347" y="195"/>
                  </a:lnTo>
                  <a:lnTo>
                    <a:pt x="355" y="232"/>
                  </a:lnTo>
                  <a:lnTo>
                    <a:pt x="341" y="269"/>
                  </a:lnTo>
                  <a:lnTo>
                    <a:pt x="367" y="299"/>
                  </a:lnTo>
                  <a:lnTo>
                    <a:pt x="341" y="312"/>
                  </a:lnTo>
                  <a:lnTo>
                    <a:pt x="300" y="297"/>
                  </a:lnTo>
                  <a:lnTo>
                    <a:pt x="220" y="291"/>
                  </a:lnTo>
                  <a:lnTo>
                    <a:pt x="182" y="240"/>
                  </a:lnTo>
                  <a:lnTo>
                    <a:pt x="137" y="238"/>
                  </a:lnTo>
                  <a:lnTo>
                    <a:pt x="114" y="252"/>
                  </a:lnTo>
                  <a:lnTo>
                    <a:pt x="21" y="242"/>
                  </a:lnTo>
                  <a:lnTo>
                    <a:pt x="0" y="269"/>
                  </a:lnTo>
                  <a:lnTo>
                    <a:pt x="21" y="283"/>
                  </a:lnTo>
                  <a:lnTo>
                    <a:pt x="13" y="307"/>
                  </a:lnTo>
                  <a:lnTo>
                    <a:pt x="43" y="328"/>
                  </a:lnTo>
                  <a:lnTo>
                    <a:pt x="11" y="332"/>
                  </a:lnTo>
                  <a:lnTo>
                    <a:pt x="15" y="358"/>
                  </a:lnTo>
                  <a:lnTo>
                    <a:pt x="47" y="381"/>
                  </a:lnTo>
                  <a:lnTo>
                    <a:pt x="84" y="385"/>
                  </a:lnTo>
                  <a:lnTo>
                    <a:pt x="110" y="417"/>
                  </a:lnTo>
                  <a:lnTo>
                    <a:pt x="123" y="440"/>
                  </a:lnTo>
                  <a:lnTo>
                    <a:pt x="145" y="448"/>
                  </a:lnTo>
                  <a:lnTo>
                    <a:pt x="176" y="454"/>
                  </a:lnTo>
                  <a:lnTo>
                    <a:pt x="176" y="468"/>
                  </a:lnTo>
                  <a:lnTo>
                    <a:pt x="210" y="477"/>
                  </a:lnTo>
                  <a:lnTo>
                    <a:pt x="202" y="515"/>
                  </a:lnTo>
                  <a:lnTo>
                    <a:pt x="243" y="531"/>
                  </a:lnTo>
                  <a:lnTo>
                    <a:pt x="237" y="558"/>
                  </a:lnTo>
                  <a:lnTo>
                    <a:pt x="237" y="576"/>
                  </a:lnTo>
                  <a:lnTo>
                    <a:pt x="224" y="601"/>
                  </a:lnTo>
                  <a:lnTo>
                    <a:pt x="245" y="639"/>
                  </a:lnTo>
                  <a:lnTo>
                    <a:pt x="281" y="682"/>
                  </a:lnTo>
                  <a:lnTo>
                    <a:pt x="304" y="709"/>
                  </a:lnTo>
                  <a:lnTo>
                    <a:pt x="308" y="756"/>
                  </a:lnTo>
                  <a:lnTo>
                    <a:pt x="294" y="790"/>
                  </a:lnTo>
                  <a:lnTo>
                    <a:pt x="304" y="811"/>
                  </a:lnTo>
                  <a:lnTo>
                    <a:pt x="322" y="861"/>
                  </a:lnTo>
                  <a:lnTo>
                    <a:pt x="318" y="872"/>
                  </a:lnTo>
                  <a:lnTo>
                    <a:pt x="294" y="837"/>
                  </a:lnTo>
                  <a:lnTo>
                    <a:pt x="273" y="872"/>
                  </a:lnTo>
                  <a:lnTo>
                    <a:pt x="265" y="935"/>
                  </a:lnTo>
                  <a:lnTo>
                    <a:pt x="251" y="925"/>
                  </a:lnTo>
                  <a:lnTo>
                    <a:pt x="251" y="969"/>
                  </a:lnTo>
                  <a:lnTo>
                    <a:pt x="237" y="1006"/>
                  </a:lnTo>
                  <a:lnTo>
                    <a:pt x="226" y="1037"/>
                  </a:lnTo>
                  <a:lnTo>
                    <a:pt x="204" y="1094"/>
                  </a:lnTo>
                  <a:lnTo>
                    <a:pt x="188" y="1132"/>
                  </a:lnTo>
                  <a:lnTo>
                    <a:pt x="169" y="1151"/>
                  </a:lnTo>
                  <a:lnTo>
                    <a:pt x="135" y="1163"/>
                  </a:lnTo>
                  <a:lnTo>
                    <a:pt x="141" y="1179"/>
                  </a:lnTo>
                  <a:lnTo>
                    <a:pt x="161" y="1206"/>
                  </a:lnTo>
                  <a:lnTo>
                    <a:pt x="190" y="1224"/>
                  </a:lnTo>
                  <a:lnTo>
                    <a:pt x="226" y="1246"/>
                  </a:lnTo>
                  <a:lnTo>
                    <a:pt x="239" y="1279"/>
                  </a:lnTo>
                  <a:lnTo>
                    <a:pt x="273" y="1287"/>
                  </a:lnTo>
                  <a:lnTo>
                    <a:pt x="326" y="1305"/>
                  </a:lnTo>
                  <a:lnTo>
                    <a:pt x="381" y="1320"/>
                  </a:lnTo>
                  <a:lnTo>
                    <a:pt x="422" y="1307"/>
                  </a:lnTo>
                  <a:lnTo>
                    <a:pt x="455" y="1334"/>
                  </a:lnTo>
                  <a:lnTo>
                    <a:pt x="471" y="1358"/>
                  </a:lnTo>
                  <a:lnTo>
                    <a:pt x="497" y="1352"/>
                  </a:lnTo>
                  <a:lnTo>
                    <a:pt x="518" y="1371"/>
                  </a:lnTo>
                  <a:lnTo>
                    <a:pt x="544" y="1391"/>
                  </a:lnTo>
                  <a:lnTo>
                    <a:pt x="599" y="1397"/>
                  </a:lnTo>
                  <a:lnTo>
                    <a:pt x="681" y="1397"/>
                  </a:lnTo>
                  <a:lnTo>
                    <a:pt x="683" y="1344"/>
                  </a:lnTo>
                  <a:lnTo>
                    <a:pt x="689" y="1301"/>
                  </a:lnTo>
                  <a:lnTo>
                    <a:pt x="715" y="1283"/>
                  </a:lnTo>
                  <a:lnTo>
                    <a:pt x="742" y="1273"/>
                  </a:lnTo>
                  <a:lnTo>
                    <a:pt x="768" y="1256"/>
                  </a:lnTo>
                  <a:lnTo>
                    <a:pt x="803" y="1238"/>
                  </a:lnTo>
                  <a:lnTo>
                    <a:pt x="839" y="1259"/>
                  </a:lnTo>
                  <a:lnTo>
                    <a:pt x="860" y="1273"/>
                  </a:lnTo>
                  <a:lnTo>
                    <a:pt x="896" y="1281"/>
                  </a:lnTo>
                  <a:lnTo>
                    <a:pt x="953" y="1297"/>
                  </a:lnTo>
                  <a:lnTo>
                    <a:pt x="994" y="1324"/>
                  </a:lnTo>
                  <a:lnTo>
                    <a:pt x="1027" y="1336"/>
                  </a:lnTo>
                  <a:lnTo>
                    <a:pt x="1057" y="1338"/>
                  </a:lnTo>
                  <a:lnTo>
                    <a:pt x="1090" y="1328"/>
                  </a:lnTo>
                  <a:lnTo>
                    <a:pt x="1112" y="1311"/>
                  </a:lnTo>
                  <a:lnTo>
                    <a:pt x="1143" y="1281"/>
                  </a:lnTo>
                  <a:lnTo>
                    <a:pt x="1171" y="1265"/>
                  </a:lnTo>
                  <a:lnTo>
                    <a:pt x="1200" y="1254"/>
                  </a:lnTo>
                  <a:lnTo>
                    <a:pt x="1228" y="1228"/>
                  </a:lnTo>
                  <a:lnTo>
                    <a:pt x="1216" y="1195"/>
                  </a:lnTo>
                  <a:lnTo>
                    <a:pt x="1202" y="1173"/>
                  </a:lnTo>
                  <a:lnTo>
                    <a:pt x="1159" y="1167"/>
                  </a:lnTo>
                  <a:lnTo>
                    <a:pt x="1139" y="1106"/>
                  </a:lnTo>
                  <a:lnTo>
                    <a:pt x="1159" y="1069"/>
                  </a:lnTo>
                  <a:lnTo>
                    <a:pt x="1129" y="1035"/>
                  </a:lnTo>
                  <a:lnTo>
                    <a:pt x="1171" y="990"/>
                  </a:lnTo>
                  <a:lnTo>
                    <a:pt x="1161" y="951"/>
                  </a:lnTo>
                  <a:lnTo>
                    <a:pt x="1161" y="906"/>
                  </a:lnTo>
                  <a:lnTo>
                    <a:pt x="1165" y="886"/>
                  </a:lnTo>
                  <a:lnTo>
                    <a:pt x="1186" y="886"/>
                  </a:lnTo>
                  <a:lnTo>
                    <a:pt x="1155" y="863"/>
                  </a:lnTo>
                  <a:lnTo>
                    <a:pt x="1159" y="829"/>
                  </a:lnTo>
                  <a:lnTo>
                    <a:pt x="1159" y="806"/>
                  </a:lnTo>
                  <a:lnTo>
                    <a:pt x="1116" y="798"/>
                  </a:lnTo>
                  <a:lnTo>
                    <a:pt x="1092" y="847"/>
                  </a:lnTo>
                  <a:lnTo>
                    <a:pt x="1078" y="817"/>
                  </a:lnTo>
                  <a:lnTo>
                    <a:pt x="1084" y="774"/>
                  </a:lnTo>
                  <a:lnTo>
                    <a:pt x="1139" y="733"/>
                  </a:lnTo>
                  <a:lnTo>
                    <a:pt x="1141" y="705"/>
                  </a:lnTo>
                  <a:lnTo>
                    <a:pt x="1198" y="668"/>
                  </a:lnTo>
                  <a:lnTo>
                    <a:pt x="1200" y="635"/>
                  </a:lnTo>
                  <a:lnTo>
                    <a:pt x="1234" y="641"/>
                  </a:lnTo>
                  <a:lnTo>
                    <a:pt x="1267" y="625"/>
                  </a:lnTo>
                  <a:close/>
                </a:path>
              </a:pathLst>
            </a:custGeom>
            <a:solidFill>
              <a:srgbClr val="D0D0D0"/>
            </a:solidFill>
            <a:ln w="9525">
              <a:solidFill>
                <a:srgbClr val="000000"/>
              </a:solidFill>
              <a:prstDash val="solid"/>
              <a:round/>
              <a:headEnd/>
              <a:tailEnd/>
            </a:ln>
          </p:spPr>
          <p:txBody>
            <a:bodyPr/>
            <a:lstStyle/>
            <a:p>
              <a:endParaRPr lang="cs-CZ"/>
            </a:p>
          </p:txBody>
        </p:sp>
        <p:sp>
          <p:nvSpPr>
            <p:cNvPr id="14" name="Freeform 30"/>
            <p:cNvSpPr>
              <a:spLocks/>
            </p:cNvSpPr>
            <p:nvPr/>
          </p:nvSpPr>
          <p:spPr bwMode="auto">
            <a:xfrm>
              <a:off x="997" y="3166"/>
              <a:ext cx="260" cy="418"/>
            </a:xfrm>
            <a:custGeom>
              <a:avLst/>
              <a:gdLst>
                <a:gd name="T0" fmla="*/ 226 w 518"/>
                <a:gd name="T1" fmla="*/ 16 h 835"/>
                <a:gd name="T2" fmla="*/ 247 w 518"/>
                <a:gd name="T3" fmla="*/ 4 h 835"/>
                <a:gd name="T4" fmla="*/ 267 w 518"/>
                <a:gd name="T5" fmla="*/ 2 h 835"/>
                <a:gd name="T6" fmla="*/ 312 w 518"/>
                <a:gd name="T7" fmla="*/ 0 h 835"/>
                <a:gd name="T8" fmla="*/ 308 w 518"/>
                <a:gd name="T9" fmla="*/ 34 h 835"/>
                <a:gd name="T10" fmla="*/ 332 w 518"/>
                <a:gd name="T11" fmla="*/ 43 h 835"/>
                <a:gd name="T12" fmla="*/ 371 w 518"/>
                <a:gd name="T13" fmla="*/ 57 h 835"/>
                <a:gd name="T14" fmla="*/ 391 w 518"/>
                <a:gd name="T15" fmla="*/ 61 h 835"/>
                <a:gd name="T16" fmla="*/ 404 w 518"/>
                <a:gd name="T17" fmla="*/ 69 h 835"/>
                <a:gd name="T18" fmla="*/ 426 w 518"/>
                <a:gd name="T19" fmla="*/ 69 h 835"/>
                <a:gd name="T20" fmla="*/ 418 w 518"/>
                <a:gd name="T21" fmla="*/ 75 h 835"/>
                <a:gd name="T22" fmla="*/ 446 w 518"/>
                <a:gd name="T23" fmla="*/ 71 h 835"/>
                <a:gd name="T24" fmla="*/ 450 w 518"/>
                <a:gd name="T25" fmla="*/ 73 h 835"/>
                <a:gd name="T26" fmla="*/ 479 w 518"/>
                <a:gd name="T27" fmla="*/ 77 h 835"/>
                <a:gd name="T28" fmla="*/ 503 w 518"/>
                <a:gd name="T29" fmla="*/ 91 h 835"/>
                <a:gd name="T30" fmla="*/ 513 w 518"/>
                <a:gd name="T31" fmla="*/ 110 h 835"/>
                <a:gd name="T32" fmla="*/ 518 w 518"/>
                <a:gd name="T33" fmla="*/ 138 h 835"/>
                <a:gd name="T34" fmla="*/ 514 w 518"/>
                <a:gd name="T35" fmla="*/ 175 h 835"/>
                <a:gd name="T36" fmla="*/ 499 w 518"/>
                <a:gd name="T37" fmla="*/ 195 h 835"/>
                <a:gd name="T38" fmla="*/ 481 w 518"/>
                <a:gd name="T39" fmla="*/ 212 h 835"/>
                <a:gd name="T40" fmla="*/ 459 w 518"/>
                <a:gd name="T41" fmla="*/ 212 h 835"/>
                <a:gd name="T42" fmla="*/ 448 w 518"/>
                <a:gd name="T43" fmla="*/ 224 h 835"/>
                <a:gd name="T44" fmla="*/ 418 w 518"/>
                <a:gd name="T45" fmla="*/ 236 h 835"/>
                <a:gd name="T46" fmla="*/ 424 w 518"/>
                <a:gd name="T47" fmla="*/ 263 h 835"/>
                <a:gd name="T48" fmla="*/ 418 w 518"/>
                <a:gd name="T49" fmla="*/ 277 h 835"/>
                <a:gd name="T50" fmla="*/ 408 w 518"/>
                <a:gd name="T51" fmla="*/ 307 h 835"/>
                <a:gd name="T52" fmla="*/ 402 w 518"/>
                <a:gd name="T53" fmla="*/ 326 h 835"/>
                <a:gd name="T54" fmla="*/ 385 w 518"/>
                <a:gd name="T55" fmla="*/ 368 h 835"/>
                <a:gd name="T56" fmla="*/ 391 w 518"/>
                <a:gd name="T57" fmla="*/ 389 h 835"/>
                <a:gd name="T58" fmla="*/ 369 w 518"/>
                <a:gd name="T59" fmla="*/ 428 h 835"/>
                <a:gd name="T60" fmla="*/ 322 w 518"/>
                <a:gd name="T61" fmla="*/ 430 h 835"/>
                <a:gd name="T62" fmla="*/ 304 w 518"/>
                <a:gd name="T63" fmla="*/ 450 h 835"/>
                <a:gd name="T64" fmla="*/ 310 w 518"/>
                <a:gd name="T65" fmla="*/ 485 h 835"/>
                <a:gd name="T66" fmla="*/ 320 w 518"/>
                <a:gd name="T67" fmla="*/ 529 h 835"/>
                <a:gd name="T68" fmla="*/ 273 w 518"/>
                <a:gd name="T69" fmla="*/ 603 h 835"/>
                <a:gd name="T70" fmla="*/ 271 w 518"/>
                <a:gd name="T71" fmla="*/ 650 h 835"/>
                <a:gd name="T72" fmla="*/ 287 w 518"/>
                <a:gd name="T73" fmla="*/ 688 h 835"/>
                <a:gd name="T74" fmla="*/ 273 w 518"/>
                <a:gd name="T75" fmla="*/ 717 h 835"/>
                <a:gd name="T76" fmla="*/ 206 w 518"/>
                <a:gd name="T77" fmla="*/ 743 h 835"/>
                <a:gd name="T78" fmla="*/ 204 w 518"/>
                <a:gd name="T79" fmla="*/ 819 h 835"/>
                <a:gd name="T80" fmla="*/ 182 w 518"/>
                <a:gd name="T81" fmla="*/ 829 h 835"/>
                <a:gd name="T82" fmla="*/ 123 w 518"/>
                <a:gd name="T83" fmla="*/ 835 h 835"/>
                <a:gd name="T84" fmla="*/ 92 w 518"/>
                <a:gd name="T85" fmla="*/ 819 h 835"/>
                <a:gd name="T86" fmla="*/ 59 w 518"/>
                <a:gd name="T87" fmla="*/ 808 h 835"/>
                <a:gd name="T88" fmla="*/ 8 w 518"/>
                <a:gd name="T89" fmla="*/ 798 h 835"/>
                <a:gd name="T90" fmla="*/ 0 w 518"/>
                <a:gd name="T91" fmla="*/ 778 h 835"/>
                <a:gd name="T92" fmla="*/ 19 w 518"/>
                <a:gd name="T93" fmla="*/ 753 h 835"/>
                <a:gd name="T94" fmla="*/ 41 w 518"/>
                <a:gd name="T95" fmla="*/ 713 h 835"/>
                <a:gd name="T96" fmla="*/ 59 w 518"/>
                <a:gd name="T97" fmla="*/ 674 h 835"/>
                <a:gd name="T98" fmla="*/ 66 w 518"/>
                <a:gd name="T99" fmla="*/ 629 h 835"/>
                <a:gd name="T100" fmla="*/ 82 w 518"/>
                <a:gd name="T101" fmla="*/ 597 h 835"/>
                <a:gd name="T102" fmla="*/ 80 w 518"/>
                <a:gd name="T103" fmla="*/ 554 h 835"/>
                <a:gd name="T104" fmla="*/ 45 w 518"/>
                <a:gd name="T105" fmla="*/ 558 h 835"/>
                <a:gd name="T106" fmla="*/ 39 w 518"/>
                <a:gd name="T107" fmla="*/ 529 h 835"/>
                <a:gd name="T108" fmla="*/ 15 w 518"/>
                <a:gd name="T109" fmla="*/ 480 h 835"/>
                <a:gd name="T110" fmla="*/ 33 w 518"/>
                <a:gd name="T111" fmla="*/ 454 h 835"/>
                <a:gd name="T112" fmla="*/ 63 w 518"/>
                <a:gd name="T113" fmla="*/ 411 h 835"/>
                <a:gd name="T114" fmla="*/ 98 w 518"/>
                <a:gd name="T115" fmla="*/ 381 h 835"/>
                <a:gd name="T116" fmla="*/ 120 w 518"/>
                <a:gd name="T117" fmla="*/ 342 h 835"/>
                <a:gd name="T118" fmla="*/ 159 w 518"/>
                <a:gd name="T119" fmla="*/ 261 h 835"/>
                <a:gd name="T120" fmla="*/ 200 w 518"/>
                <a:gd name="T121" fmla="*/ 183 h 835"/>
                <a:gd name="T122" fmla="*/ 232 w 518"/>
                <a:gd name="T123" fmla="*/ 116 h 835"/>
                <a:gd name="T124" fmla="*/ 226 w 518"/>
                <a:gd name="T125" fmla="*/ 16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835">
                  <a:moveTo>
                    <a:pt x="226" y="16"/>
                  </a:moveTo>
                  <a:lnTo>
                    <a:pt x="247" y="4"/>
                  </a:lnTo>
                  <a:lnTo>
                    <a:pt x="267" y="2"/>
                  </a:lnTo>
                  <a:lnTo>
                    <a:pt x="312" y="0"/>
                  </a:lnTo>
                  <a:lnTo>
                    <a:pt x="308" y="34"/>
                  </a:lnTo>
                  <a:lnTo>
                    <a:pt x="332" y="43"/>
                  </a:lnTo>
                  <a:lnTo>
                    <a:pt x="371" y="57"/>
                  </a:lnTo>
                  <a:lnTo>
                    <a:pt x="391" y="61"/>
                  </a:lnTo>
                  <a:lnTo>
                    <a:pt x="404" y="69"/>
                  </a:lnTo>
                  <a:lnTo>
                    <a:pt x="426" y="69"/>
                  </a:lnTo>
                  <a:lnTo>
                    <a:pt x="418" y="75"/>
                  </a:lnTo>
                  <a:lnTo>
                    <a:pt x="446" y="71"/>
                  </a:lnTo>
                  <a:lnTo>
                    <a:pt x="450" y="73"/>
                  </a:lnTo>
                  <a:lnTo>
                    <a:pt x="479" y="77"/>
                  </a:lnTo>
                  <a:lnTo>
                    <a:pt x="503" y="91"/>
                  </a:lnTo>
                  <a:lnTo>
                    <a:pt x="513" y="110"/>
                  </a:lnTo>
                  <a:lnTo>
                    <a:pt x="518" y="138"/>
                  </a:lnTo>
                  <a:lnTo>
                    <a:pt x="514" y="175"/>
                  </a:lnTo>
                  <a:lnTo>
                    <a:pt x="499" y="195"/>
                  </a:lnTo>
                  <a:lnTo>
                    <a:pt x="481" y="212"/>
                  </a:lnTo>
                  <a:lnTo>
                    <a:pt x="459" y="212"/>
                  </a:lnTo>
                  <a:lnTo>
                    <a:pt x="448" y="224"/>
                  </a:lnTo>
                  <a:lnTo>
                    <a:pt x="418" y="236"/>
                  </a:lnTo>
                  <a:lnTo>
                    <a:pt x="424" y="263"/>
                  </a:lnTo>
                  <a:lnTo>
                    <a:pt x="418" y="277"/>
                  </a:lnTo>
                  <a:lnTo>
                    <a:pt x="408" y="307"/>
                  </a:lnTo>
                  <a:lnTo>
                    <a:pt x="402" y="326"/>
                  </a:lnTo>
                  <a:lnTo>
                    <a:pt x="385" y="368"/>
                  </a:lnTo>
                  <a:lnTo>
                    <a:pt x="391" y="389"/>
                  </a:lnTo>
                  <a:lnTo>
                    <a:pt x="369" y="428"/>
                  </a:lnTo>
                  <a:lnTo>
                    <a:pt x="322" y="430"/>
                  </a:lnTo>
                  <a:lnTo>
                    <a:pt x="304" y="450"/>
                  </a:lnTo>
                  <a:lnTo>
                    <a:pt x="310" y="485"/>
                  </a:lnTo>
                  <a:lnTo>
                    <a:pt x="320" y="529"/>
                  </a:lnTo>
                  <a:lnTo>
                    <a:pt x="273" y="603"/>
                  </a:lnTo>
                  <a:lnTo>
                    <a:pt x="271" y="650"/>
                  </a:lnTo>
                  <a:lnTo>
                    <a:pt x="287" y="688"/>
                  </a:lnTo>
                  <a:lnTo>
                    <a:pt x="273" y="717"/>
                  </a:lnTo>
                  <a:lnTo>
                    <a:pt x="206" y="743"/>
                  </a:lnTo>
                  <a:lnTo>
                    <a:pt x="204" y="819"/>
                  </a:lnTo>
                  <a:lnTo>
                    <a:pt x="182" y="829"/>
                  </a:lnTo>
                  <a:lnTo>
                    <a:pt x="123" y="835"/>
                  </a:lnTo>
                  <a:lnTo>
                    <a:pt x="92" y="819"/>
                  </a:lnTo>
                  <a:lnTo>
                    <a:pt x="59" y="808"/>
                  </a:lnTo>
                  <a:lnTo>
                    <a:pt x="8" y="798"/>
                  </a:lnTo>
                  <a:lnTo>
                    <a:pt x="0" y="778"/>
                  </a:lnTo>
                  <a:lnTo>
                    <a:pt x="19" y="753"/>
                  </a:lnTo>
                  <a:lnTo>
                    <a:pt x="41" y="713"/>
                  </a:lnTo>
                  <a:lnTo>
                    <a:pt x="59" y="674"/>
                  </a:lnTo>
                  <a:lnTo>
                    <a:pt x="66" y="629"/>
                  </a:lnTo>
                  <a:lnTo>
                    <a:pt x="82" y="597"/>
                  </a:lnTo>
                  <a:lnTo>
                    <a:pt x="80" y="554"/>
                  </a:lnTo>
                  <a:lnTo>
                    <a:pt x="45" y="558"/>
                  </a:lnTo>
                  <a:lnTo>
                    <a:pt x="39" y="529"/>
                  </a:lnTo>
                  <a:lnTo>
                    <a:pt x="15" y="480"/>
                  </a:lnTo>
                  <a:lnTo>
                    <a:pt x="33" y="454"/>
                  </a:lnTo>
                  <a:lnTo>
                    <a:pt x="63" y="411"/>
                  </a:lnTo>
                  <a:lnTo>
                    <a:pt x="98" y="381"/>
                  </a:lnTo>
                  <a:lnTo>
                    <a:pt x="120" y="342"/>
                  </a:lnTo>
                  <a:lnTo>
                    <a:pt x="159" y="261"/>
                  </a:lnTo>
                  <a:lnTo>
                    <a:pt x="200" y="183"/>
                  </a:lnTo>
                  <a:lnTo>
                    <a:pt x="232" y="116"/>
                  </a:lnTo>
                  <a:lnTo>
                    <a:pt x="226" y="16"/>
                  </a:lnTo>
                  <a:close/>
                </a:path>
              </a:pathLst>
            </a:custGeom>
            <a:solidFill>
              <a:srgbClr val="0066CC"/>
            </a:solidFill>
            <a:ln w="9525">
              <a:solidFill>
                <a:srgbClr val="000000"/>
              </a:solidFill>
              <a:prstDash val="solid"/>
              <a:round/>
              <a:headEnd/>
              <a:tailEnd/>
            </a:ln>
          </p:spPr>
          <p:txBody>
            <a:bodyPr/>
            <a:lstStyle/>
            <a:p>
              <a:endParaRPr lang="cs-CZ"/>
            </a:p>
          </p:txBody>
        </p:sp>
        <p:grpSp>
          <p:nvGrpSpPr>
            <p:cNvPr id="15" name="Group 31"/>
            <p:cNvGrpSpPr>
              <a:grpSpLocks/>
            </p:cNvGrpSpPr>
            <p:nvPr/>
          </p:nvGrpSpPr>
          <p:grpSpPr bwMode="auto">
            <a:xfrm>
              <a:off x="2044" y="2959"/>
              <a:ext cx="685" cy="834"/>
              <a:chOff x="2044" y="2959"/>
              <a:chExt cx="685" cy="834"/>
            </a:xfrm>
          </p:grpSpPr>
          <p:sp>
            <p:nvSpPr>
              <p:cNvPr id="123" name="Freeform 32"/>
              <p:cNvSpPr>
                <a:spLocks/>
              </p:cNvSpPr>
              <p:nvPr/>
            </p:nvSpPr>
            <p:spPr bwMode="auto">
              <a:xfrm>
                <a:off x="2044" y="2959"/>
                <a:ext cx="685" cy="834"/>
              </a:xfrm>
              <a:custGeom>
                <a:avLst/>
                <a:gdLst>
                  <a:gd name="T0" fmla="*/ 965 w 1372"/>
                  <a:gd name="T1" fmla="*/ 1538 h 1668"/>
                  <a:gd name="T2" fmla="*/ 973 w 1372"/>
                  <a:gd name="T3" fmla="*/ 1640 h 1668"/>
                  <a:gd name="T4" fmla="*/ 912 w 1372"/>
                  <a:gd name="T5" fmla="*/ 1668 h 1668"/>
                  <a:gd name="T6" fmla="*/ 804 w 1372"/>
                  <a:gd name="T7" fmla="*/ 1611 h 1668"/>
                  <a:gd name="T8" fmla="*/ 657 w 1372"/>
                  <a:gd name="T9" fmla="*/ 1520 h 1668"/>
                  <a:gd name="T10" fmla="*/ 647 w 1372"/>
                  <a:gd name="T11" fmla="*/ 1432 h 1668"/>
                  <a:gd name="T12" fmla="*/ 755 w 1372"/>
                  <a:gd name="T13" fmla="*/ 1436 h 1668"/>
                  <a:gd name="T14" fmla="*/ 818 w 1372"/>
                  <a:gd name="T15" fmla="*/ 1452 h 1668"/>
                  <a:gd name="T16" fmla="*/ 920 w 1372"/>
                  <a:gd name="T17" fmla="*/ 1430 h 1668"/>
                  <a:gd name="T18" fmla="*/ 1010 w 1372"/>
                  <a:gd name="T19" fmla="*/ 1416 h 1668"/>
                  <a:gd name="T20" fmla="*/ 1040 w 1372"/>
                  <a:gd name="T21" fmla="*/ 1473 h 1668"/>
                  <a:gd name="T22" fmla="*/ 1101 w 1372"/>
                  <a:gd name="T23" fmla="*/ 1432 h 1668"/>
                  <a:gd name="T24" fmla="*/ 1144 w 1372"/>
                  <a:gd name="T25" fmla="*/ 1381 h 1668"/>
                  <a:gd name="T26" fmla="*/ 1189 w 1372"/>
                  <a:gd name="T27" fmla="*/ 1306 h 1668"/>
                  <a:gd name="T28" fmla="*/ 1205 w 1372"/>
                  <a:gd name="T29" fmla="*/ 1214 h 1668"/>
                  <a:gd name="T30" fmla="*/ 1128 w 1372"/>
                  <a:gd name="T31" fmla="*/ 1145 h 1668"/>
                  <a:gd name="T32" fmla="*/ 1144 w 1372"/>
                  <a:gd name="T33" fmla="*/ 1106 h 1668"/>
                  <a:gd name="T34" fmla="*/ 1236 w 1372"/>
                  <a:gd name="T35" fmla="*/ 1061 h 1668"/>
                  <a:gd name="T36" fmla="*/ 1303 w 1372"/>
                  <a:gd name="T37" fmla="*/ 1084 h 1668"/>
                  <a:gd name="T38" fmla="*/ 1348 w 1372"/>
                  <a:gd name="T39" fmla="*/ 1147 h 1668"/>
                  <a:gd name="T40" fmla="*/ 1358 w 1372"/>
                  <a:gd name="T41" fmla="*/ 1076 h 1668"/>
                  <a:gd name="T42" fmla="*/ 1279 w 1372"/>
                  <a:gd name="T43" fmla="*/ 1007 h 1668"/>
                  <a:gd name="T44" fmla="*/ 1201 w 1372"/>
                  <a:gd name="T45" fmla="*/ 962 h 1668"/>
                  <a:gd name="T46" fmla="*/ 1053 w 1372"/>
                  <a:gd name="T47" fmla="*/ 894 h 1668"/>
                  <a:gd name="T48" fmla="*/ 1083 w 1372"/>
                  <a:gd name="T49" fmla="*/ 823 h 1668"/>
                  <a:gd name="T50" fmla="*/ 963 w 1372"/>
                  <a:gd name="T51" fmla="*/ 827 h 1668"/>
                  <a:gd name="T52" fmla="*/ 902 w 1372"/>
                  <a:gd name="T53" fmla="*/ 789 h 1668"/>
                  <a:gd name="T54" fmla="*/ 800 w 1372"/>
                  <a:gd name="T55" fmla="*/ 597 h 1668"/>
                  <a:gd name="T56" fmla="*/ 678 w 1372"/>
                  <a:gd name="T57" fmla="*/ 489 h 1668"/>
                  <a:gd name="T58" fmla="*/ 657 w 1372"/>
                  <a:gd name="T59" fmla="*/ 339 h 1668"/>
                  <a:gd name="T60" fmla="*/ 627 w 1372"/>
                  <a:gd name="T61" fmla="*/ 261 h 1668"/>
                  <a:gd name="T62" fmla="*/ 731 w 1372"/>
                  <a:gd name="T63" fmla="*/ 220 h 1668"/>
                  <a:gd name="T64" fmla="*/ 780 w 1372"/>
                  <a:gd name="T65" fmla="*/ 196 h 1668"/>
                  <a:gd name="T66" fmla="*/ 780 w 1372"/>
                  <a:gd name="T67" fmla="*/ 137 h 1668"/>
                  <a:gd name="T68" fmla="*/ 727 w 1372"/>
                  <a:gd name="T69" fmla="*/ 70 h 1668"/>
                  <a:gd name="T70" fmla="*/ 625 w 1372"/>
                  <a:gd name="T71" fmla="*/ 11 h 1668"/>
                  <a:gd name="T72" fmla="*/ 515 w 1372"/>
                  <a:gd name="T73" fmla="*/ 19 h 1668"/>
                  <a:gd name="T74" fmla="*/ 429 w 1372"/>
                  <a:gd name="T75" fmla="*/ 59 h 1668"/>
                  <a:gd name="T76" fmla="*/ 391 w 1372"/>
                  <a:gd name="T77" fmla="*/ 110 h 1668"/>
                  <a:gd name="T78" fmla="*/ 319 w 1372"/>
                  <a:gd name="T79" fmla="*/ 82 h 1668"/>
                  <a:gd name="T80" fmla="*/ 262 w 1372"/>
                  <a:gd name="T81" fmla="*/ 161 h 1668"/>
                  <a:gd name="T82" fmla="*/ 181 w 1372"/>
                  <a:gd name="T83" fmla="*/ 88 h 1668"/>
                  <a:gd name="T84" fmla="*/ 112 w 1372"/>
                  <a:gd name="T85" fmla="*/ 141 h 1668"/>
                  <a:gd name="T86" fmla="*/ 26 w 1372"/>
                  <a:gd name="T87" fmla="*/ 174 h 1668"/>
                  <a:gd name="T88" fmla="*/ 20 w 1372"/>
                  <a:gd name="T89" fmla="*/ 261 h 1668"/>
                  <a:gd name="T90" fmla="*/ 24 w 1372"/>
                  <a:gd name="T91" fmla="*/ 322 h 1668"/>
                  <a:gd name="T92" fmla="*/ 28 w 1372"/>
                  <a:gd name="T93" fmla="*/ 420 h 1668"/>
                  <a:gd name="T94" fmla="*/ 93 w 1372"/>
                  <a:gd name="T95" fmla="*/ 457 h 1668"/>
                  <a:gd name="T96" fmla="*/ 155 w 1372"/>
                  <a:gd name="T97" fmla="*/ 469 h 1668"/>
                  <a:gd name="T98" fmla="*/ 211 w 1372"/>
                  <a:gd name="T99" fmla="*/ 408 h 1668"/>
                  <a:gd name="T100" fmla="*/ 305 w 1372"/>
                  <a:gd name="T101" fmla="*/ 430 h 1668"/>
                  <a:gd name="T102" fmla="*/ 399 w 1372"/>
                  <a:gd name="T103" fmla="*/ 497 h 1668"/>
                  <a:gd name="T104" fmla="*/ 419 w 1372"/>
                  <a:gd name="T105" fmla="*/ 607 h 1668"/>
                  <a:gd name="T106" fmla="*/ 488 w 1372"/>
                  <a:gd name="T107" fmla="*/ 740 h 1668"/>
                  <a:gd name="T108" fmla="*/ 627 w 1372"/>
                  <a:gd name="T109" fmla="*/ 860 h 1668"/>
                  <a:gd name="T110" fmla="*/ 835 w 1372"/>
                  <a:gd name="T111" fmla="*/ 994 h 1668"/>
                  <a:gd name="T112" fmla="*/ 924 w 1372"/>
                  <a:gd name="T113" fmla="*/ 1037 h 1668"/>
                  <a:gd name="T114" fmla="*/ 1004 w 1372"/>
                  <a:gd name="T115" fmla="*/ 1147 h 1668"/>
                  <a:gd name="T116" fmla="*/ 1073 w 1372"/>
                  <a:gd name="T117" fmla="*/ 1228 h 1668"/>
                  <a:gd name="T118" fmla="*/ 1061 w 1372"/>
                  <a:gd name="T119" fmla="*/ 1340 h 1668"/>
                  <a:gd name="T120" fmla="*/ 1028 w 1372"/>
                  <a:gd name="T121" fmla="*/ 1418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2" h="1668">
                    <a:moveTo>
                      <a:pt x="1008" y="1430"/>
                    </a:moveTo>
                    <a:lnTo>
                      <a:pt x="1004" y="1455"/>
                    </a:lnTo>
                    <a:lnTo>
                      <a:pt x="965" y="1538"/>
                    </a:lnTo>
                    <a:lnTo>
                      <a:pt x="965" y="1565"/>
                    </a:lnTo>
                    <a:lnTo>
                      <a:pt x="977" y="1595"/>
                    </a:lnTo>
                    <a:lnTo>
                      <a:pt x="973" y="1640"/>
                    </a:lnTo>
                    <a:lnTo>
                      <a:pt x="967" y="1656"/>
                    </a:lnTo>
                    <a:lnTo>
                      <a:pt x="951" y="1668"/>
                    </a:lnTo>
                    <a:lnTo>
                      <a:pt x="912" y="1668"/>
                    </a:lnTo>
                    <a:lnTo>
                      <a:pt x="869" y="1642"/>
                    </a:lnTo>
                    <a:lnTo>
                      <a:pt x="833" y="1609"/>
                    </a:lnTo>
                    <a:lnTo>
                      <a:pt x="804" y="1611"/>
                    </a:lnTo>
                    <a:lnTo>
                      <a:pt x="772" y="1581"/>
                    </a:lnTo>
                    <a:lnTo>
                      <a:pt x="694" y="1532"/>
                    </a:lnTo>
                    <a:lnTo>
                      <a:pt x="657" y="1520"/>
                    </a:lnTo>
                    <a:lnTo>
                      <a:pt x="627" y="1487"/>
                    </a:lnTo>
                    <a:lnTo>
                      <a:pt x="629" y="1446"/>
                    </a:lnTo>
                    <a:lnTo>
                      <a:pt x="647" y="1432"/>
                    </a:lnTo>
                    <a:lnTo>
                      <a:pt x="678" y="1446"/>
                    </a:lnTo>
                    <a:lnTo>
                      <a:pt x="727" y="1422"/>
                    </a:lnTo>
                    <a:lnTo>
                      <a:pt x="755" y="1436"/>
                    </a:lnTo>
                    <a:lnTo>
                      <a:pt x="776" y="1452"/>
                    </a:lnTo>
                    <a:lnTo>
                      <a:pt x="794" y="1463"/>
                    </a:lnTo>
                    <a:lnTo>
                      <a:pt x="818" y="1452"/>
                    </a:lnTo>
                    <a:lnTo>
                      <a:pt x="890" y="1453"/>
                    </a:lnTo>
                    <a:lnTo>
                      <a:pt x="910" y="1444"/>
                    </a:lnTo>
                    <a:lnTo>
                      <a:pt x="920" y="1430"/>
                    </a:lnTo>
                    <a:lnTo>
                      <a:pt x="971" y="1430"/>
                    </a:lnTo>
                    <a:lnTo>
                      <a:pt x="985" y="1422"/>
                    </a:lnTo>
                    <a:lnTo>
                      <a:pt x="1010" y="1416"/>
                    </a:lnTo>
                    <a:lnTo>
                      <a:pt x="1026" y="1412"/>
                    </a:lnTo>
                    <a:lnTo>
                      <a:pt x="1032" y="1455"/>
                    </a:lnTo>
                    <a:lnTo>
                      <a:pt x="1040" y="1473"/>
                    </a:lnTo>
                    <a:lnTo>
                      <a:pt x="1061" y="1477"/>
                    </a:lnTo>
                    <a:lnTo>
                      <a:pt x="1089" y="1455"/>
                    </a:lnTo>
                    <a:lnTo>
                      <a:pt x="1101" y="1432"/>
                    </a:lnTo>
                    <a:lnTo>
                      <a:pt x="1112" y="1404"/>
                    </a:lnTo>
                    <a:lnTo>
                      <a:pt x="1136" y="1398"/>
                    </a:lnTo>
                    <a:lnTo>
                      <a:pt x="1144" y="1381"/>
                    </a:lnTo>
                    <a:lnTo>
                      <a:pt x="1150" y="1367"/>
                    </a:lnTo>
                    <a:lnTo>
                      <a:pt x="1148" y="1324"/>
                    </a:lnTo>
                    <a:lnTo>
                      <a:pt x="1189" y="1306"/>
                    </a:lnTo>
                    <a:lnTo>
                      <a:pt x="1213" y="1277"/>
                    </a:lnTo>
                    <a:lnTo>
                      <a:pt x="1215" y="1241"/>
                    </a:lnTo>
                    <a:lnTo>
                      <a:pt x="1205" y="1214"/>
                    </a:lnTo>
                    <a:lnTo>
                      <a:pt x="1175" y="1200"/>
                    </a:lnTo>
                    <a:lnTo>
                      <a:pt x="1142" y="1173"/>
                    </a:lnTo>
                    <a:lnTo>
                      <a:pt x="1128" y="1145"/>
                    </a:lnTo>
                    <a:lnTo>
                      <a:pt x="1136" y="1161"/>
                    </a:lnTo>
                    <a:lnTo>
                      <a:pt x="1140" y="1133"/>
                    </a:lnTo>
                    <a:lnTo>
                      <a:pt x="1144" y="1106"/>
                    </a:lnTo>
                    <a:lnTo>
                      <a:pt x="1169" y="1070"/>
                    </a:lnTo>
                    <a:lnTo>
                      <a:pt x="1211" y="1049"/>
                    </a:lnTo>
                    <a:lnTo>
                      <a:pt x="1236" y="1061"/>
                    </a:lnTo>
                    <a:lnTo>
                      <a:pt x="1252" y="1076"/>
                    </a:lnTo>
                    <a:lnTo>
                      <a:pt x="1279" y="1084"/>
                    </a:lnTo>
                    <a:lnTo>
                      <a:pt x="1303" y="1084"/>
                    </a:lnTo>
                    <a:lnTo>
                      <a:pt x="1313" y="1110"/>
                    </a:lnTo>
                    <a:lnTo>
                      <a:pt x="1332" y="1137"/>
                    </a:lnTo>
                    <a:lnTo>
                      <a:pt x="1348" y="1147"/>
                    </a:lnTo>
                    <a:lnTo>
                      <a:pt x="1366" y="1125"/>
                    </a:lnTo>
                    <a:lnTo>
                      <a:pt x="1372" y="1098"/>
                    </a:lnTo>
                    <a:lnTo>
                      <a:pt x="1358" y="1076"/>
                    </a:lnTo>
                    <a:lnTo>
                      <a:pt x="1317" y="1031"/>
                    </a:lnTo>
                    <a:lnTo>
                      <a:pt x="1299" y="1007"/>
                    </a:lnTo>
                    <a:lnTo>
                      <a:pt x="1279" y="1007"/>
                    </a:lnTo>
                    <a:lnTo>
                      <a:pt x="1256" y="994"/>
                    </a:lnTo>
                    <a:lnTo>
                      <a:pt x="1230" y="994"/>
                    </a:lnTo>
                    <a:lnTo>
                      <a:pt x="1201" y="962"/>
                    </a:lnTo>
                    <a:lnTo>
                      <a:pt x="1158" y="943"/>
                    </a:lnTo>
                    <a:lnTo>
                      <a:pt x="1089" y="919"/>
                    </a:lnTo>
                    <a:lnTo>
                      <a:pt x="1053" y="894"/>
                    </a:lnTo>
                    <a:lnTo>
                      <a:pt x="1061" y="872"/>
                    </a:lnTo>
                    <a:lnTo>
                      <a:pt x="1081" y="850"/>
                    </a:lnTo>
                    <a:lnTo>
                      <a:pt x="1083" y="823"/>
                    </a:lnTo>
                    <a:lnTo>
                      <a:pt x="1059" y="815"/>
                    </a:lnTo>
                    <a:lnTo>
                      <a:pt x="1012" y="827"/>
                    </a:lnTo>
                    <a:lnTo>
                      <a:pt x="963" y="827"/>
                    </a:lnTo>
                    <a:lnTo>
                      <a:pt x="963" y="850"/>
                    </a:lnTo>
                    <a:lnTo>
                      <a:pt x="934" y="805"/>
                    </a:lnTo>
                    <a:lnTo>
                      <a:pt x="902" y="789"/>
                    </a:lnTo>
                    <a:lnTo>
                      <a:pt x="896" y="764"/>
                    </a:lnTo>
                    <a:lnTo>
                      <a:pt x="831" y="707"/>
                    </a:lnTo>
                    <a:lnTo>
                      <a:pt x="800" y="597"/>
                    </a:lnTo>
                    <a:lnTo>
                      <a:pt x="776" y="552"/>
                    </a:lnTo>
                    <a:lnTo>
                      <a:pt x="739" y="532"/>
                    </a:lnTo>
                    <a:lnTo>
                      <a:pt x="678" y="489"/>
                    </a:lnTo>
                    <a:lnTo>
                      <a:pt x="637" y="438"/>
                    </a:lnTo>
                    <a:lnTo>
                      <a:pt x="637" y="355"/>
                    </a:lnTo>
                    <a:lnTo>
                      <a:pt x="657" y="339"/>
                    </a:lnTo>
                    <a:lnTo>
                      <a:pt x="645" y="312"/>
                    </a:lnTo>
                    <a:lnTo>
                      <a:pt x="631" y="298"/>
                    </a:lnTo>
                    <a:lnTo>
                      <a:pt x="627" y="261"/>
                    </a:lnTo>
                    <a:lnTo>
                      <a:pt x="659" y="251"/>
                    </a:lnTo>
                    <a:lnTo>
                      <a:pt x="698" y="245"/>
                    </a:lnTo>
                    <a:lnTo>
                      <a:pt x="731" y="220"/>
                    </a:lnTo>
                    <a:lnTo>
                      <a:pt x="767" y="216"/>
                    </a:lnTo>
                    <a:lnTo>
                      <a:pt x="796" y="212"/>
                    </a:lnTo>
                    <a:lnTo>
                      <a:pt x="780" y="196"/>
                    </a:lnTo>
                    <a:lnTo>
                      <a:pt x="782" y="169"/>
                    </a:lnTo>
                    <a:lnTo>
                      <a:pt x="769" y="159"/>
                    </a:lnTo>
                    <a:lnTo>
                      <a:pt x="780" y="137"/>
                    </a:lnTo>
                    <a:lnTo>
                      <a:pt x="763" y="114"/>
                    </a:lnTo>
                    <a:lnTo>
                      <a:pt x="780" y="82"/>
                    </a:lnTo>
                    <a:lnTo>
                      <a:pt x="727" y="70"/>
                    </a:lnTo>
                    <a:lnTo>
                      <a:pt x="688" y="74"/>
                    </a:lnTo>
                    <a:lnTo>
                      <a:pt x="643" y="49"/>
                    </a:lnTo>
                    <a:lnTo>
                      <a:pt x="625" y="11"/>
                    </a:lnTo>
                    <a:lnTo>
                      <a:pt x="613" y="0"/>
                    </a:lnTo>
                    <a:lnTo>
                      <a:pt x="596" y="2"/>
                    </a:lnTo>
                    <a:lnTo>
                      <a:pt x="515" y="19"/>
                    </a:lnTo>
                    <a:lnTo>
                      <a:pt x="495" y="25"/>
                    </a:lnTo>
                    <a:lnTo>
                      <a:pt x="438" y="19"/>
                    </a:lnTo>
                    <a:lnTo>
                      <a:pt x="429" y="59"/>
                    </a:lnTo>
                    <a:lnTo>
                      <a:pt x="395" y="66"/>
                    </a:lnTo>
                    <a:lnTo>
                      <a:pt x="401" y="90"/>
                    </a:lnTo>
                    <a:lnTo>
                      <a:pt x="391" y="110"/>
                    </a:lnTo>
                    <a:lnTo>
                      <a:pt x="368" y="102"/>
                    </a:lnTo>
                    <a:lnTo>
                      <a:pt x="336" y="96"/>
                    </a:lnTo>
                    <a:lnTo>
                      <a:pt x="319" y="82"/>
                    </a:lnTo>
                    <a:lnTo>
                      <a:pt x="293" y="100"/>
                    </a:lnTo>
                    <a:lnTo>
                      <a:pt x="283" y="127"/>
                    </a:lnTo>
                    <a:lnTo>
                      <a:pt x="262" y="161"/>
                    </a:lnTo>
                    <a:lnTo>
                      <a:pt x="222" y="114"/>
                    </a:lnTo>
                    <a:lnTo>
                      <a:pt x="211" y="82"/>
                    </a:lnTo>
                    <a:lnTo>
                      <a:pt x="181" y="88"/>
                    </a:lnTo>
                    <a:lnTo>
                      <a:pt x="167" y="114"/>
                    </a:lnTo>
                    <a:lnTo>
                      <a:pt x="136" y="147"/>
                    </a:lnTo>
                    <a:lnTo>
                      <a:pt x="112" y="141"/>
                    </a:lnTo>
                    <a:lnTo>
                      <a:pt x="45" y="125"/>
                    </a:lnTo>
                    <a:lnTo>
                      <a:pt x="28" y="141"/>
                    </a:lnTo>
                    <a:lnTo>
                      <a:pt x="26" y="174"/>
                    </a:lnTo>
                    <a:lnTo>
                      <a:pt x="30" y="216"/>
                    </a:lnTo>
                    <a:lnTo>
                      <a:pt x="40" y="243"/>
                    </a:lnTo>
                    <a:lnTo>
                      <a:pt x="20" y="261"/>
                    </a:lnTo>
                    <a:lnTo>
                      <a:pt x="0" y="284"/>
                    </a:lnTo>
                    <a:lnTo>
                      <a:pt x="12" y="308"/>
                    </a:lnTo>
                    <a:lnTo>
                      <a:pt x="24" y="322"/>
                    </a:lnTo>
                    <a:lnTo>
                      <a:pt x="10" y="359"/>
                    </a:lnTo>
                    <a:lnTo>
                      <a:pt x="20" y="404"/>
                    </a:lnTo>
                    <a:lnTo>
                      <a:pt x="28" y="420"/>
                    </a:lnTo>
                    <a:lnTo>
                      <a:pt x="59" y="430"/>
                    </a:lnTo>
                    <a:lnTo>
                      <a:pt x="81" y="430"/>
                    </a:lnTo>
                    <a:lnTo>
                      <a:pt x="93" y="457"/>
                    </a:lnTo>
                    <a:lnTo>
                      <a:pt x="95" y="483"/>
                    </a:lnTo>
                    <a:lnTo>
                      <a:pt x="120" y="483"/>
                    </a:lnTo>
                    <a:lnTo>
                      <a:pt x="155" y="469"/>
                    </a:lnTo>
                    <a:lnTo>
                      <a:pt x="167" y="448"/>
                    </a:lnTo>
                    <a:lnTo>
                      <a:pt x="183" y="428"/>
                    </a:lnTo>
                    <a:lnTo>
                      <a:pt x="211" y="408"/>
                    </a:lnTo>
                    <a:lnTo>
                      <a:pt x="228" y="395"/>
                    </a:lnTo>
                    <a:lnTo>
                      <a:pt x="252" y="402"/>
                    </a:lnTo>
                    <a:lnTo>
                      <a:pt x="305" y="430"/>
                    </a:lnTo>
                    <a:lnTo>
                      <a:pt x="338" y="457"/>
                    </a:lnTo>
                    <a:lnTo>
                      <a:pt x="374" y="477"/>
                    </a:lnTo>
                    <a:lnTo>
                      <a:pt x="399" y="497"/>
                    </a:lnTo>
                    <a:lnTo>
                      <a:pt x="395" y="536"/>
                    </a:lnTo>
                    <a:lnTo>
                      <a:pt x="413" y="577"/>
                    </a:lnTo>
                    <a:lnTo>
                      <a:pt x="419" y="607"/>
                    </a:lnTo>
                    <a:lnTo>
                      <a:pt x="427" y="638"/>
                    </a:lnTo>
                    <a:lnTo>
                      <a:pt x="482" y="709"/>
                    </a:lnTo>
                    <a:lnTo>
                      <a:pt x="488" y="740"/>
                    </a:lnTo>
                    <a:lnTo>
                      <a:pt x="517" y="736"/>
                    </a:lnTo>
                    <a:lnTo>
                      <a:pt x="570" y="795"/>
                    </a:lnTo>
                    <a:lnTo>
                      <a:pt x="627" y="860"/>
                    </a:lnTo>
                    <a:lnTo>
                      <a:pt x="712" y="935"/>
                    </a:lnTo>
                    <a:lnTo>
                      <a:pt x="794" y="935"/>
                    </a:lnTo>
                    <a:lnTo>
                      <a:pt x="835" y="994"/>
                    </a:lnTo>
                    <a:lnTo>
                      <a:pt x="861" y="1009"/>
                    </a:lnTo>
                    <a:lnTo>
                      <a:pt x="882" y="1037"/>
                    </a:lnTo>
                    <a:lnTo>
                      <a:pt x="924" y="1037"/>
                    </a:lnTo>
                    <a:lnTo>
                      <a:pt x="939" y="1063"/>
                    </a:lnTo>
                    <a:lnTo>
                      <a:pt x="943" y="1096"/>
                    </a:lnTo>
                    <a:lnTo>
                      <a:pt x="1004" y="1147"/>
                    </a:lnTo>
                    <a:lnTo>
                      <a:pt x="1026" y="1123"/>
                    </a:lnTo>
                    <a:lnTo>
                      <a:pt x="1048" y="1190"/>
                    </a:lnTo>
                    <a:lnTo>
                      <a:pt x="1073" y="1228"/>
                    </a:lnTo>
                    <a:lnTo>
                      <a:pt x="1081" y="1261"/>
                    </a:lnTo>
                    <a:lnTo>
                      <a:pt x="1101" y="1322"/>
                    </a:lnTo>
                    <a:lnTo>
                      <a:pt x="1061" y="1340"/>
                    </a:lnTo>
                    <a:lnTo>
                      <a:pt x="1055" y="1365"/>
                    </a:lnTo>
                    <a:lnTo>
                      <a:pt x="1048" y="1397"/>
                    </a:lnTo>
                    <a:lnTo>
                      <a:pt x="1028" y="1418"/>
                    </a:lnTo>
                    <a:lnTo>
                      <a:pt x="1014" y="1412"/>
                    </a:lnTo>
                    <a:lnTo>
                      <a:pt x="1008" y="143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24" name="Freeform 33"/>
              <p:cNvSpPr>
                <a:spLocks/>
              </p:cNvSpPr>
              <p:nvPr/>
            </p:nvSpPr>
            <p:spPr bwMode="auto">
              <a:xfrm>
                <a:off x="2044" y="2959"/>
                <a:ext cx="685" cy="834"/>
              </a:xfrm>
              <a:custGeom>
                <a:avLst/>
                <a:gdLst>
                  <a:gd name="T0" fmla="*/ 965 w 1372"/>
                  <a:gd name="T1" fmla="*/ 1538 h 1668"/>
                  <a:gd name="T2" fmla="*/ 973 w 1372"/>
                  <a:gd name="T3" fmla="*/ 1640 h 1668"/>
                  <a:gd name="T4" fmla="*/ 912 w 1372"/>
                  <a:gd name="T5" fmla="*/ 1668 h 1668"/>
                  <a:gd name="T6" fmla="*/ 804 w 1372"/>
                  <a:gd name="T7" fmla="*/ 1611 h 1668"/>
                  <a:gd name="T8" fmla="*/ 657 w 1372"/>
                  <a:gd name="T9" fmla="*/ 1520 h 1668"/>
                  <a:gd name="T10" fmla="*/ 647 w 1372"/>
                  <a:gd name="T11" fmla="*/ 1432 h 1668"/>
                  <a:gd name="T12" fmla="*/ 755 w 1372"/>
                  <a:gd name="T13" fmla="*/ 1436 h 1668"/>
                  <a:gd name="T14" fmla="*/ 818 w 1372"/>
                  <a:gd name="T15" fmla="*/ 1452 h 1668"/>
                  <a:gd name="T16" fmla="*/ 920 w 1372"/>
                  <a:gd name="T17" fmla="*/ 1430 h 1668"/>
                  <a:gd name="T18" fmla="*/ 1010 w 1372"/>
                  <a:gd name="T19" fmla="*/ 1416 h 1668"/>
                  <a:gd name="T20" fmla="*/ 1040 w 1372"/>
                  <a:gd name="T21" fmla="*/ 1473 h 1668"/>
                  <a:gd name="T22" fmla="*/ 1101 w 1372"/>
                  <a:gd name="T23" fmla="*/ 1432 h 1668"/>
                  <a:gd name="T24" fmla="*/ 1144 w 1372"/>
                  <a:gd name="T25" fmla="*/ 1381 h 1668"/>
                  <a:gd name="T26" fmla="*/ 1189 w 1372"/>
                  <a:gd name="T27" fmla="*/ 1306 h 1668"/>
                  <a:gd name="T28" fmla="*/ 1205 w 1372"/>
                  <a:gd name="T29" fmla="*/ 1214 h 1668"/>
                  <a:gd name="T30" fmla="*/ 1128 w 1372"/>
                  <a:gd name="T31" fmla="*/ 1145 h 1668"/>
                  <a:gd name="T32" fmla="*/ 1144 w 1372"/>
                  <a:gd name="T33" fmla="*/ 1106 h 1668"/>
                  <a:gd name="T34" fmla="*/ 1236 w 1372"/>
                  <a:gd name="T35" fmla="*/ 1061 h 1668"/>
                  <a:gd name="T36" fmla="*/ 1303 w 1372"/>
                  <a:gd name="T37" fmla="*/ 1084 h 1668"/>
                  <a:gd name="T38" fmla="*/ 1348 w 1372"/>
                  <a:gd name="T39" fmla="*/ 1147 h 1668"/>
                  <a:gd name="T40" fmla="*/ 1358 w 1372"/>
                  <a:gd name="T41" fmla="*/ 1076 h 1668"/>
                  <a:gd name="T42" fmla="*/ 1279 w 1372"/>
                  <a:gd name="T43" fmla="*/ 1007 h 1668"/>
                  <a:gd name="T44" fmla="*/ 1201 w 1372"/>
                  <a:gd name="T45" fmla="*/ 962 h 1668"/>
                  <a:gd name="T46" fmla="*/ 1053 w 1372"/>
                  <a:gd name="T47" fmla="*/ 894 h 1668"/>
                  <a:gd name="T48" fmla="*/ 1083 w 1372"/>
                  <a:gd name="T49" fmla="*/ 823 h 1668"/>
                  <a:gd name="T50" fmla="*/ 963 w 1372"/>
                  <a:gd name="T51" fmla="*/ 827 h 1668"/>
                  <a:gd name="T52" fmla="*/ 902 w 1372"/>
                  <a:gd name="T53" fmla="*/ 789 h 1668"/>
                  <a:gd name="T54" fmla="*/ 800 w 1372"/>
                  <a:gd name="T55" fmla="*/ 597 h 1668"/>
                  <a:gd name="T56" fmla="*/ 678 w 1372"/>
                  <a:gd name="T57" fmla="*/ 489 h 1668"/>
                  <a:gd name="T58" fmla="*/ 657 w 1372"/>
                  <a:gd name="T59" fmla="*/ 339 h 1668"/>
                  <a:gd name="T60" fmla="*/ 627 w 1372"/>
                  <a:gd name="T61" fmla="*/ 261 h 1668"/>
                  <a:gd name="T62" fmla="*/ 731 w 1372"/>
                  <a:gd name="T63" fmla="*/ 220 h 1668"/>
                  <a:gd name="T64" fmla="*/ 780 w 1372"/>
                  <a:gd name="T65" fmla="*/ 196 h 1668"/>
                  <a:gd name="T66" fmla="*/ 780 w 1372"/>
                  <a:gd name="T67" fmla="*/ 137 h 1668"/>
                  <a:gd name="T68" fmla="*/ 727 w 1372"/>
                  <a:gd name="T69" fmla="*/ 70 h 1668"/>
                  <a:gd name="T70" fmla="*/ 625 w 1372"/>
                  <a:gd name="T71" fmla="*/ 11 h 1668"/>
                  <a:gd name="T72" fmla="*/ 515 w 1372"/>
                  <a:gd name="T73" fmla="*/ 19 h 1668"/>
                  <a:gd name="T74" fmla="*/ 429 w 1372"/>
                  <a:gd name="T75" fmla="*/ 59 h 1668"/>
                  <a:gd name="T76" fmla="*/ 391 w 1372"/>
                  <a:gd name="T77" fmla="*/ 110 h 1668"/>
                  <a:gd name="T78" fmla="*/ 319 w 1372"/>
                  <a:gd name="T79" fmla="*/ 82 h 1668"/>
                  <a:gd name="T80" fmla="*/ 262 w 1372"/>
                  <a:gd name="T81" fmla="*/ 161 h 1668"/>
                  <a:gd name="T82" fmla="*/ 181 w 1372"/>
                  <a:gd name="T83" fmla="*/ 88 h 1668"/>
                  <a:gd name="T84" fmla="*/ 112 w 1372"/>
                  <a:gd name="T85" fmla="*/ 141 h 1668"/>
                  <a:gd name="T86" fmla="*/ 26 w 1372"/>
                  <a:gd name="T87" fmla="*/ 174 h 1668"/>
                  <a:gd name="T88" fmla="*/ 20 w 1372"/>
                  <a:gd name="T89" fmla="*/ 261 h 1668"/>
                  <a:gd name="T90" fmla="*/ 24 w 1372"/>
                  <a:gd name="T91" fmla="*/ 322 h 1668"/>
                  <a:gd name="T92" fmla="*/ 28 w 1372"/>
                  <a:gd name="T93" fmla="*/ 420 h 1668"/>
                  <a:gd name="T94" fmla="*/ 93 w 1372"/>
                  <a:gd name="T95" fmla="*/ 457 h 1668"/>
                  <a:gd name="T96" fmla="*/ 155 w 1372"/>
                  <a:gd name="T97" fmla="*/ 469 h 1668"/>
                  <a:gd name="T98" fmla="*/ 211 w 1372"/>
                  <a:gd name="T99" fmla="*/ 408 h 1668"/>
                  <a:gd name="T100" fmla="*/ 305 w 1372"/>
                  <a:gd name="T101" fmla="*/ 430 h 1668"/>
                  <a:gd name="T102" fmla="*/ 399 w 1372"/>
                  <a:gd name="T103" fmla="*/ 497 h 1668"/>
                  <a:gd name="T104" fmla="*/ 419 w 1372"/>
                  <a:gd name="T105" fmla="*/ 607 h 1668"/>
                  <a:gd name="T106" fmla="*/ 488 w 1372"/>
                  <a:gd name="T107" fmla="*/ 740 h 1668"/>
                  <a:gd name="T108" fmla="*/ 627 w 1372"/>
                  <a:gd name="T109" fmla="*/ 860 h 1668"/>
                  <a:gd name="T110" fmla="*/ 835 w 1372"/>
                  <a:gd name="T111" fmla="*/ 994 h 1668"/>
                  <a:gd name="T112" fmla="*/ 924 w 1372"/>
                  <a:gd name="T113" fmla="*/ 1037 h 1668"/>
                  <a:gd name="T114" fmla="*/ 1004 w 1372"/>
                  <a:gd name="T115" fmla="*/ 1147 h 1668"/>
                  <a:gd name="T116" fmla="*/ 1073 w 1372"/>
                  <a:gd name="T117" fmla="*/ 1228 h 1668"/>
                  <a:gd name="T118" fmla="*/ 1061 w 1372"/>
                  <a:gd name="T119" fmla="*/ 1340 h 1668"/>
                  <a:gd name="T120" fmla="*/ 1028 w 1372"/>
                  <a:gd name="T121" fmla="*/ 1418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2" h="1668">
                    <a:moveTo>
                      <a:pt x="1008" y="1430"/>
                    </a:moveTo>
                    <a:lnTo>
                      <a:pt x="1004" y="1455"/>
                    </a:lnTo>
                    <a:lnTo>
                      <a:pt x="965" y="1538"/>
                    </a:lnTo>
                    <a:lnTo>
                      <a:pt x="965" y="1565"/>
                    </a:lnTo>
                    <a:lnTo>
                      <a:pt x="977" y="1595"/>
                    </a:lnTo>
                    <a:lnTo>
                      <a:pt x="973" y="1640"/>
                    </a:lnTo>
                    <a:lnTo>
                      <a:pt x="967" y="1656"/>
                    </a:lnTo>
                    <a:lnTo>
                      <a:pt x="951" y="1668"/>
                    </a:lnTo>
                    <a:lnTo>
                      <a:pt x="912" y="1668"/>
                    </a:lnTo>
                    <a:lnTo>
                      <a:pt x="869" y="1642"/>
                    </a:lnTo>
                    <a:lnTo>
                      <a:pt x="833" y="1609"/>
                    </a:lnTo>
                    <a:lnTo>
                      <a:pt x="804" y="1611"/>
                    </a:lnTo>
                    <a:lnTo>
                      <a:pt x="772" y="1581"/>
                    </a:lnTo>
                    <a:lnTo>
                      <a:pt x="694" y="1532"/>
                    </a:lnTo>
                    <a:lnTo>
                      <a:pt x="657" y="1520"/>
                    </a:lnTo>
                    <a:lnTo>
                      <a:pt x="627" y="1487"/>
                    </a:lnTo>
                    <a:lnTo>
                      <a:pt x="629" y="1446"/>
                    </a:lnTo>
                    <a:lnTo>
                      <a:pt x="647" y="1432"/>
                    </a:lnTo>
                    <a:lnTo>
                      <a:pt x="678" y="1446"/>
                    </a:lnTo>
                    <a:lnTo>
                      <a:pt x="727" y="1422"/>
                    </a:lnTo>
                    <a:lnTo>
                      <a:pt x="755" y="1436"/>
                    </a:lnTo>
                    <a:lnTo>
                      <a:pt x="776" y="1452"/>
                    </a:lnTo>
                    <a:lnTo>
                      <a:pt x="794" y="1463"/>
                    </a:lnTo>
                    <a:lnTo>
                      <a:pt x="818" y="1452"/>
                    </a:lnTo>
                    <a:lnTo>
                      <a:pt x="890" y="1453"/>
                    </a:lnTo>
                    <a:lnTo>
                      <a:pt x="910" y="1444"/>
                    </a:lnTo>
                    <a:lnTo>
                      <a:pt x="920" y="1430"/>
                    </a:lnTo>
                    <a:lnTo>
                      <a:pt x="971" y="1430"/>
                    </a:lnTo>
                    <a:lnTo>
                      <a:pt x="985" y="1422"/>
                    </a:lnTo>
                    <a:lnTo>
                      <a:pt x="1010" y="1416"/>
                    </a:lnTo>
                    <a:lnTo>
                      <a:pt x="1026" y="1412"/>
                    </a:lnTo>
                    <a:lnTo>
                      <a:pt x="1032" y="1455"/>
                    </a:lnTo>
                    <a:lnTo>
                      <a:pt x="1040" y="1473"/>
                    </a:lnTo>
                    <a:lnTo>
                      <a:pt x="1061" y="1477"/>
                    </a:lnTo>
                    <a:lnTo>
                      <a:pt x="1089" y="1455"/>
                    </a:lnTo>
                    <a:lnTo>
                      <a:pt x="1101" y="1432"/>
                    </a:lnTo>
                    <a:lnTo>
                      <a:pt x="1112" y="1404"/>
                    </a:lnTo>
                    <a:lnTo>
                      <a:pt x="1136" y="1398"/>
                    </a:lnTo>
                    <a:lnTo>
                      <a:pt x="1144" y="1381"/>
                    </a:lnTo>
                    <a:lnTo>
                      <a:pt x="1150" y="1367"/>
                    </a:lnTo>
                    <a:lnTo>
                      <a:pt x="1148" y="1324"/>
                    </a:lnTo>
                    <a:lnTo>
                      <a:pt x="1189" y="1306"/>
                    </a:lnTo>
                    <a:lnTo>
                      <a:pt x="1213" y="1277"/>
                    </a:lnTo>
                    <a:lnTo>
                      <a:pt x="1215" y="1241"/>
                    </a:lnTo>
                    <a:lnTo>
                      <a:pt x="1205" y="1214"/>
                    </a:lnTo>
                    <a:lnTo>
                      <a:pt x="1175" y="1200"/>
                    </a:lnTo>
                    <a:lnTo>
                      <a:pt x="1142" y="1173"/>
                    </a:lnTo>
                    <a:lnTo>
                      <a:pt x="1128" y="1145"/>
                    </a:lnTo>
                    <a:lnTo>
                      <a:pt x="1136" y="1161"/>
                    </a:lnTo>
                    <a:lnTo>
                      <a:pt x="1140" y="1133"/>
                    </a:lnTo>
                    <a:lnTo>
                      <a:pt x="1144" y="1106"/>
                    </a:lnTo>
                    <a:lnTo>
                      <a:pt x="1169" y="1070"/>
                    </a:lnTo>
                    <a:lnTo>
                      <a:pt x="1211" y="1049"/>
                    </a:lnTo>
                    <a:lnTo>
                      <a:pt x="1236" y="1061"/>
                    </a:lnTo>
                    <a:lnTo>
                      <a:pt x="1252" y="1076"/>
                    </a:lnTo>
                    <a:lnTo>
                      <a:pt x="1279" y="1084"/>
                    </a:lnTo>
                    <a:lnTo>
                      <a:pt x="1303" y="1084"/>
                    </a:lnTo>
                    <a:lnTo>
                      <a:pt x="1313" y="1110"/>
                    </a:lnTo>
                    <a:lnTo>
                      <a:pt x="1332" y="1137"/>
                    </a:lnTo>
                    <a:lnTo>
                      <a:pt x="1348" y="1147"/>
                    </a:lnTo>
                    <a:lnTo>
                      <a:pt x="1366" y="1125"/>
                    </a:lnTo>
                    <a:lnTo>
                      <a:pt x="1372" y="1098"/>
                    </a:lnTo>
                    <a:lnTo>
                      <a:pt x="1358" y="1076"/>
                    </a:lnTo>
                    <a:lnTo>
                      <a:pt x="1317" y="1031"/>
                    </a:lnTo>
                    <a:lnTo>
                      <a:pt x="1299" y="1007"/>
                    </a:lnTo>
                    <a:lnTo>
                      <a:pt x="1279" y="1007"/>
                    </a:lnTo>
                    <a:lnTo>
                      <a:pt x="1256" y="994"/>
                    </a:lnTo>
                    <a:lnTo>
                      <a:pt x="1230" y="994"/>
                    </a:lnTo>
                    <a:lnTo>
                      <a:pt x="1201" y="962"/>
                    </a:lnTo>
                    <a:lnTo>
                      <a:pt x="1158" y="943"/>
                    </a:lnTo>
                    <a:lnTo>
                      <a:pt x="1089" y="919"/>
                    </a:lnTo>
                    <a:lnTo>
                      <a:pt x="1053" y="894"/>
                    </a:lnTo>
                    <a:lnTo>
                      <a:pt x="1061" y="872"/>
                    </a:lnTo>
                    <a:lnTo>
                      <a:pt x="1081" y="850"/>
                    </a:lnTo>
                    <a:lnTo>
                      <a:pt x="1083" y="823"/>
                    </a:lnTo>
                    <a:lnTo>
                      <a:pt x="1059" y="815"/>
                    </a:lnTo>
                    <a:lnTo>
                      <a:pt x="1012" y="827"/>
                    </a:lnTo>
                    <a:lnTo>
                      <a:pt x="963" y="827"/>
                    </a:lnTo>
                    <a:lnTo>
                      <a:pt x="963" y="850"/>
                    </a:lnTo>
                    <a:lnTo>
                      <a:pt x="934" y="805"/>
                    </a:lnTo>
                    <a:lnTo>
                      <a:pt x="902" y="789"/>
                    </a:lnTo>
                    <a:lnTo>
                      <a:pt x="896" y="764"/>
                    </a:lnTo>
                    <a:lnTo>
                      <a:pt x="831" y="707"/>
                    </a:lnTo>
                    <a:lnTo>
                      <a:pt x="800" y="597"/>
                    </a:lnTo>
                    <a:lnTo>
                      <a:pt x="776" y="552"/>
                    </a:lnTo>
                    <a:lnTo>
                      <a:pt x="739" y="532"/>
                    </a:lnTo>
                    <a:lnTo>
                      <a:pt x="678" y="489"/>
                    </a:lnTo>
                    <a:lnTo>
                      <a:pt x="637" y="438"/>
                    </a:lnTo>
                    <a:lnTo>
                      <a:pt x="637" y="355"/>
                    </a:lnTo>
                    <a:lnTo>
                      <a:pt x="657" y="339"/>
                    </a:lnTo>
                    <a:lnTo>
                      <a:pt x="645" y="312"/>
                    </a:lnTo>
                    <a:lnTo>
                      <a:pt x="631" y="298"/>
                    </a:lnTo>
                    <a:lnTo>
                      <a:pt x="627" y="261"/>
                    </a:lnTo>
                    <a:lnTo>
                      <a:pt x="659" y="251"/>
                    </a:lnTo>
                    <a:lnTo>
                      <a:pt x="698" y="245"/>
                    </a:lnTo>
                    <a:lnTo>
                      <a:pt x="731" y="220"/>
                    </a:lnTo>
                    <a:lnTo>
                      <a:pt x="767" y="216"/>
                    </a:lnTo>
                    <a:lnTo>
                      <a:pt x="796" y="212"/>
                    </a:lnTo>
                    <a:lnTo>
                      <a:pt x="780" y="196"/>
                    </a:lnTo>
                    <a:lnTo>
                      <a:pt x="782" y="169"/>
                    </a:lnTo>
                    <a:lnTo>
                      <a:pt x="769" y="159"/>
                    </a:lnTo>
                    <a:lnTo>
                      <a:pt x="780" y="137"/>
                    </a:lnTo>
                    <a:lnTo>
                      <a:pt x="763" y="114"/>
                    </a:lnTo>
                    <a:lnTo>
                      <a:pt x="780" y="82"/>
                    </a:lnTo>
                    <a:lnTo>
                      <a:pt x="727" y="70"/>
                    </a:lnTo>
                    <a:lnTo>
                      <a:pt x="688" y="74"/>
                    </a:lnTo>
                    <a:lnTo>
                      <a:pt x="643" y="49"/>
                    </a:lnTo>
                    <a:lnTo>
                      <a:pt x="625" y="11"/>
                    </a:lnTo>
                    <a:lnTo>
                      <a:pt x="613" y="0"/>
                    </a:lnTo>
                    <a:lnTo>
                      <a:pt x="596" y="2"/>
                    </a:lnTo>
                    <a:lnTo>
                      <a:pt x="515" y="19"/>
                    </a:lnTo>
                    <a:lnTo>
                      <a:pt x="495" y="25"/>
                    </a:lnTo>
                    <a:lnTo>
                      <a:pt x="438" y="19"/>
                    </a:lnTo>
                    <a:lnTo>
                      <a:pt x="429" y="59"/>
                    </a:lnTo>
                    <a:lnTo>
                      <a:pt x="395" y="66"/>
                    </a:lnTo>
                    <a:lnTo>
                      <a:pt x="401" y="90"/>
                    </a:lnTo>
                    <a:lnTo>
                      <a:pt x="391" y="110"/>
                    </a:lnTo>
                    <a:lnTo>
                      <a:pt x="368" y="102"/>
                    </a:lnTo>
                    <a:lnTo>
                      <a:pt x="336" y="96"/>
                    </a:lnTo>
                    <a:lnTo>
                      <a:pt x="319" y="82"/>
                    </a:lnTo>
                    <a:lnTo>
                      <a:pt x="293" y="100"/>
                    </a:lnTo>
                    <a:lnTo>
                      <a:pt x="283" y="127"/>
                    </a:lnTo>
                    <a:lnTo>
                      <a:pt x="262" y="161"/>
                    </a:lnTo>
                    <a:lnTo>
                      <a:pt x="222" y="114"/>
                    </a:lnTo>
                    <a:lnTo>
                      <a:pt x="211" y="82"/>
                    </a:lnTo>
                    <a:lnTo>
                      <a:pt x="181" y="88"/>
                    </a:lnTo>
                    <a:lnTo>
                      <a:pt x="167" y="114"/>
                    </a:lnTo>
                    <a:lnTo>
                      <a:pt x="136" y="147"/>
                    </a:lnTo>
                    <a:lnTo>
                      <a:pt x="112" y="141"/>
                    </a:lnTo>
                    <a:lnTo>
                      <a:pt x="45" y="125"/>
                    </a:lnTo>
                    <a:lnTo>
                      <a:pt x="28" y="141"/>
                    </a:lnTo>
                    <a:lnTo>
                      <a:pt x="26" y="174"/>
                    </a:lnTo>
                    <a:lnTo>
                      <a:pt x="30" y="216"/>
                    </a:lnTo>
                    <a:lnTo>
                      <a:pt x="40" y="243"/>
                    </a:lnTo>
                    <a:lnTo>
                      <a:pt x="20" y="261"/>
                    </a:lnTo>
                    <a:lnTo>
                      <a:pt x="0" y="284"/>
                    </a:lnTo>
                    <a:lnTo>
                      <a:pt x="12" y="308"/>
                    </a:lnTo>
                    <a:lnTo>
                      <a:pt x="24" y="322"/>
                    </a:lnTo>
                    <a:lnTo>
                      <a:pt x="10" y="359"/>
                    </a:lnTo>
                    <a:lnTo>
                      <a:pt x="20" y="404"/>
                    </a:lnTo>
                    <a:lnTo>
                      <a:pt x="28" y="420"/>
                    </a:lnTo>
                    <a:lnTo>
                      <a:pt x="59" y="430"/>
                    </a:lnTo>
                    <a:lnTo>
                      <a:pt x="81" y="430"/>
                    </a:lnTo>
                    <a:lnTo>
                      <a:pt x="93" y="457"/>
                    </a:lnTo>
                    <a:lnTo>
                      <a:pt x="95" y="483"/>
                    </a:lnTo>
                    <a:lnTo>
                      <a:pt x="120" y="483"/>
                    </a:lnTo>
                    <a:lnTo>
                      <a:pt x="155" y="469"/>
                    </a:lnTo>
                    <a:lnTo>
                      <a:pt x="167" y="448"/>
                    </a:lnTo>
                    <a:lnTo>
                      <a:pt x="183" y="428"/>
                    </a:lnTo>
                    <a:lnTo>
                      <a:pt x="211" y="408"/>
                    </a:lnTo>
                    <a:lnTo>
                      <a:pt x="228" y="395"/>
                    </a:lnTo>
                    <a:lnTo>
                      <a:pt x="252" y="402"/>
                    </a:lnTo>
                    <a:lnTo>
                      <a:pt x="305" y="430"/>
                    </a:lnTo>
                    <a:lnTo>
                      <a:pt x="338" y="457"/>
                    </a:lnTo>
                    <a:lnTo>
                      <a:pt x="374" y="477"/>
                    </a:lnTo>
                    <a:lnTo>
                      <a:pt x="399" y="497"/>
                    </a:lnTo>
                    <a:lnTo>
                      <a:pt x="395" y="536"/>
                    </a:lnTo>
                    <a:lnTo>
                      <a:pt x="413" y="577"/>
                    </a:lnTo>
                    <a:lnTo>
                      <a:pt x="419" y="607"/>
                    </a:lnTo>
                    <a:lnTo>
                      <a:pt x="427" y="638"/>
                    </a:lnTo>
                    <a:lnTo>
                      <a:pt x="482" y="709"/>
                    </a:lnTo>
                    <a:lnTo>
                      <a:pt x="488" y="740"/>
                    </a:lnTo>
                    <a:lnTo>
                      <a:pt x="517" y="736"/>
                    </a:lnTo>
                    <a:lnTo>
                      <a:pt x="570" y="795"/>
                    </a:lnTo>
                    <a:lnTo>
                      <a:pt x="627" y="860"/>
                    </a:lnTo>
                    <a:lnTo>
                      <a:pt x="712" y="935"/>
                    </a:lnTo>
                    <a:lnTo>
                      <a:pt x="794" y="935"/>
                    </a:lnTo>
                    <a:lnTo>
                      <a:pt x="835" y="994"/>
                    </a:lnTo>
                    <a:lnTo>
                      <a:pt x="861" y="1009"/>
                    </a:lnTo>
                    <a:lnTo>
                      <a:pt x="882" y="1037"/>
                    </a:lnTo>
                    <a:lnTo>
                      <a:pt x="924" y="1037"/>
                    </a:lnTo>
                    <a:lnTo>
                      <a:pt x="939" y="1063"/>
                    </a:lnTo>
                    <a:lnTo>
                      <a:pt x="943" y="1096"/>
                    </a:lnTo>
                    <a:lnTo>
                      <a:pt x="1004" y="1147"/>
                    </a:lnTo>
                    <a:lnTo>
                      <a:pt x="1026" y="1123"/>
                    </a:lnTo>
                    <a:lnTo>
                      <a:pt x="1048" y="1190"/>
                    </a:lnTo>
                    <a:lnTo>
                      <a:pt x="1073" y="1228"/>
                    </a:lnTo>
                    <a:lnTo>
                      <a:pt x="1081" y="1261"/>
                    </a:lnTo>
                    <a:lnTo>
                      <a:pt x="1101" y="1322"/>
                    </a:lnTo>
                    <a:lnTo>
                      <a:pt x="1061" y="1340"/>
                    </a:lnTo>
                    <a:lnTo>
                      <a:pt x="1055" y="1365"/>
                    </a:lnTo>
                    <a:lnTo>
                      <a:pt x="1048" y="1397"/>
                    </a:lnTo>
                    <a:lnTo>
                      <a:pt x="1028" y="1418"/>
                    </a:lnTo>
                    <a:lnTo>
                      <a:pt x="1014" y="141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16" name="Freeform 34"/>
            <p:cNvSpPr>
              <a:spLocks/>
            </p:cNvSpPr>
            <p:nvPr/>
          </p:nvSpPr>
          <p:spPr bwMode="auto">
            <a:xfrm>
              <a:off x="2897" y="2411"/>
              <a:ext cx="940" cy="636"/>
            </a:xfrm>
            <a:custGeom>
              <a:avLst/>
              <a:gdLst>
                <a:gd name="T0" fmla="*/ 909 w 1878"/>
                <a:gd name="T1" fmla="*/ 1154 h 1273"/>
                <a:gd name="T2" fmla="*/ 959 w 1878"/>
                <a:gd name="T3" fmla="*/ 1089 h 1273"/>
                <a:gd name="T4" fmla="*/ 978 w 1878"/>
                <a:gd name="T5" fmla="*/ 1051 h 1273"/>
                <a:gd name="T6" fmla="*/ 1033 w 1878"/>
                <a:gd name="T7" fmla="*/ 981 h 1273"/>
                <a:gd name="T8" fmla="*/ 1108 w 1878"/>
                <a:gd name="T9" fmla="*/ 934 h 1273"/>
                <a:gd name="T10" fmla="*/ 1130 w 1878"/>
                <a:gd name="T11" fmla="*/ 1008 h 1273"/>
                <a:gd name="T12" fmla="*/ 1249 w 1878"/>
                <a:gd name="T13" fmla="*/ 1010 h 1273"/>
                <a:gd name="T14" fmla="*/ 1297 w 1878"/>
                <a:gd name="T15" fmla="*/ 1051 h 1273"/>
                <a:gd name="T16" fmla="*/ 1224 w 1878"/>
                <a:gd name="T17" fmla="*/ 1152 h 1273"/>
                <a:gd name="T18" fmla="*/ 1354 w 1878"/>
                <a:gd name="T19" fmla="*/ 1209 h 1273"/>
                <a:gd name="T20" fmla="*/ 1444 w 1878"/>
                <a:gd name="T21" fmla="*/ 1246 h 1273"/>
                <a:gd name="T22" fmla="*/ 1530 w 1878"/>
                <a:gd name="T23" fmla="*/ 1146 h 1273"/>
                <a:gd name="T24" fmla="*/ 1664 w 1878"/>
                <a:gd name="T25" fmla="*/ 1087 h 1273"/>
                <a:gd name="T26" fmla="*/ 1597 w 1878"/>
                <a:gd name="T27" fmla="*/ 1046 h 1273"/>
                <a:gd name="T28" fmla="*/ 1503 w 1878"/>
                <a:gd name="T29" fmla="*/ 1079 h 1273"/>
                <a:gd name="T30" fmla="*/ 1432 w 1878"/>
                <a:gd name="T31" fmla="*/ 1028 h 1273"/>
                <a:gd name="T32" fmla="*/ 1367 w 1878"/>
                <a:gd name="T33" fmla="*/ 1010 h 1273"/>
                <a:gd name="T34" fmla="*/ 1456 w 1878"/>
                <a:gd name="T35" fmla="*/ 1000 h 1273"/>
                <a:gd name="T36" fmla="*/ 1483 w 1878"/>
                <a:gd name="T37" fmla="*/ 935 h 1273"/>
                <a:gd name="T38" fmla="*/ 1560 w 1878"/>
                <a:gd name="T39" fmla="*/ 837 h 1273"/>
                <a:gd name="T40" fmla="*/ 1652 w 1878"/>
                <a:gd name="T41" fmla="*/ 765 h 1273"/>
                <a:gd name="T42" fmla="*/ 1760 w 1878"/>
                <a:gd name="T43" fmla="*/ 690 h 1273"/>
                <a:gd name="T44" fmla="*/ 1788 w 1878"/>
                <a:gd name="T45" fmla="*/ 546 h 1273"/>
                <a:gd name="T46" fmla="*/ 1878 w 1878"/>
                <a:gd name="T47" fmla="*/ 444 h 1273"/>
                <a:gd name="T48" fmla="*/ 1843 w 1878"/>
                <a:gd name="T49" fmla="*/ 342 h 1273"/>
                <a:gd name="T50" fmla="*/ 1817 w 1878"/>
                <a:gd name="T51" fmla="*/ 226 h 1273"/>
                <a:gd name="T52" fmla="*/ 1678 w 1878"/>
                <a:gd name="T53" fmla="*/ 224 h 1273"/>
                <a:gd name="T54" fmla="*/ 1538 w 1878"/>
                <a:gd name="T55" fmla="*/ 212 h 1273"/>
                <a:gd name="T56" fmla="*/ 1426 w 1878"/>
                <a:gd name="T57" fmla="*/ 232 h 1273"/>
                <a:gd name="T58" fmla="*/ 1310 w 1878"/>
                <a:gd name="T59" fmla="*/ 232 h 1273"/>
                <a:gd name="T60" fmla="*/ 1185 w 1878"/>
                <a:gd name="T61" fmla="*/ 146 h 1273"/>
                <a:gd name="T62" fmla="*/ 1122 w 1878"/>
                <a:gd name="T63" fmla="*/ 40 h 1273"/>
                <a:gd name="T64" fmla="*/ 1033 w 1878"/>
                <a:gd name="T65" fmla="*/ 8 h 1273"/>
                <a:gd name="T66" fmla="*/ 951 w 1878"/>
                <a:gd name="T67" fmla="*/ 40 h 1273"/>
                <a:gd name="T68" fmla="*/ 862 w 1878"/>
                <a:gd name="T69" fmla="*/ 87 h 1273"/>
                <a:gd name="T70" fmla="*/ 805 w 1878"/>
                <a:gd name="T71" fmla="*/ 226 h 1273"/>
                <a:gd name="T72" fmla="*/ 703 w 1878"/>
                <a:gd name="T73" fmla="*/ 260 h 1273"/>
                <a:gd name="T74" fmla="*/ 603 w 1878"/>
                <a:gd name="T75" fmla="*/ 252 h 1273"/>
                <a:gd name="T76" fmla="*/ 454 w 1878"/>
                <a:gd name="T77" fmla="*/ 267 h 1273"/>
                <a:gd name="T78" fmla="*/ 344 w 1878"/>
                <a:gd name="T79" fmla="*/ 238 h 1273"/>
                <a:gd name="T80" fmla="*/ 222 w 1878"/>
                <a:gd name="T81" fmla="*/ 246 h 1273"/>
                <a:gd name="T82" fmla="*/ 92 w 1878"/>
                <a:gd name="T83" fmla="*/ 305 h 1273"/>
                <a:gd name="T84" fmla="*/ 153 w 1878"/>
                <a:gd name="T85" fmla="*/ 464 h 1273"/>
                <a:gd name="T86" fmla="*/ 47 w 1878"/>
                <a:gd name="T87" fmla="*/ 647 h 1273"/>
                <a:gd name="T88" fmla="*/ 10 w 1878"/>
                <a:gd name="T89" fmla="*/ 770 h 1273"/>
                <a:gd name="T90" fmla="*/ 222 w 1878"/>
                <a:gd name="T91" fmla="*/ 898 h 1273"/>
                <a:gd name="T92" fmla="*/ 349 w 1878"/>
                <a:gd name="T93" fmla="*/ 879 h 1273"/>
                <a:gd name="T94" fmla="*/ 495 w 1878"/>
                <a:gd name="T95" fmla="*/ 776 h 1273"/>
                <a:gd name="T96" fmla="*/ 719 w 1878"/>
                <a:gd name="T97" fmla="*/ 784 h 1273"/>
                <a:gd name="T98" fmla="*/ 823 w 1878"/>
                <a:gd name="T99" fmla="*/ 922 h 1273"/>
                <a:gd name="T100" fmla="*/ 896 w 1878"/>
                <a:gd name="T101" fmla="*/ 1000 h 1273"/>
                <a:gd name="T102" fmla="*/ 796 w 1878"/>
                <a:gd name="T103" fmla="*/ 1042 h 1273"/>
                <a:gd name="T104" fmla="*/ 750 w 1878"/>
                <a:gd name="T105" fmla="*/ 1171 h 1273"/>
                <a:gd name="T106" fmla="*/ 888 w 1878"/>
                <a:gd name="T107" fmla="*/ 1201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8" h="1273">
                  <a:moveTo>
                    <a:pt x="888" y="1201"/>
                  </a:moveTo>
                  <a:lnTo>
                    <a:pt x="888" y="1173"/>
                  </a:lnTo>
                  <a:lnTo>
                    <a:pt x="882" y="1146"/>
                  </a:lnTo>
                  <a:lnTo>
                    <a:pt x="909" y="1154"/>
                  </a:lnTo>
                  <a:lnTo>
                    <a:pt x="923" y="1134"/>
                  </a:lnTo>
                  <a:lnTo>
                    <a:pt x="943" y="1130"/>
                  </a:lnTo>
                  <a:lnTo>
                    <a:pt x="957" y="1110"/>
                  </a:lnTo>
                  <a:lnTo>
                    <a:pt x="959" y="1089"/>
                  </a:lnTo>
                  <a:lnTo>
                    <a:pt x="937" y="1069"/>
                  </a:lnTo>
                  <a:lnTo>
                    <a:pt x="923" y="1044"/>
                  </a:lnTo>
                  <a:lnTo>
                    <a:pt x="949" y="1049"/>
                  </a:lnTo>
                  <a:lnTo>
                    <a:pt x="978" y="1051"/>
                  </a:lnTo>
                  <a:lnTo>
                    <a:pt x="986" y="1024"/>
                  </a:lnTo>
                  <a:lnTo>
                    <a:pt x="992" y="996"/>
                  </a:lnTo>
                  <a:lnTo>
                    <a:pt x="1014" y="990"/>
                  </a:lnTo>
                  <a:lnTo>
                    <a:pt x="1033" y="981"/>
                  </a:lnTo>
                  <a:lnTo>
                    <a:pt x="1055" y="973"/>
                  </a:lnTo>
                  <a:lnTo>
                    <a:pt x="1071" y="949"/>
                  </a:lnTo>
                  <a:lnTo>
                    <a:pt x="1084" y="959"/>
                  </a:lnTo>
                  <a:lnTo>
                    <a:pt x="1108" y="934"/>
                  </a:lnTo>
                  <a:lnTo>
                    <a:pt x="1135" y="959"/>
                  </a:lnTo>
                  <a:lnTo>
                    <a:pt x="1135" y="981"/>
                  </a:lnTo>
                  <a:lnTo>
                    <a:pt x="1102" y="987"/>
                  </a:lnTo>
                  <a:lnTo>
                    <a:pt x="1130" y="1008"/>
                  </a:lnTo>
                  <a:lnTo>
                    <a:pt x="1130" y="1022"/>
                  </a:lnTo>
                  <a:lnTo>
                    <a:pt x="1175" y="1030"/>
                  </a:lnTo>
                  <a:lnTo>
                    <a:pt x="1218" y="1036"/>
                  </a:lnTo>
                  <a:lnTo>
                    <a:pt x="1249" y="1010"/>
                  </a:lnTo>
                  <a:lnTo>
                    <a:pt x="1273" y="1002"/>
                  </a:lnTo>
                  <a:lnTo>
                    <a:pt x="1324" y="1010"/>
                  </a:lnTo>
                  <a:lnTo>
                    <a:pt x="1330" y="1030"/>
                  </a:lnTo>
                  <a:lnTo>
                    <a:pt x="1297" y="1051"/>
                  </a:lnTo>
                  <a:lnTo>
                    <a:pt x="1259" y="1077"/>
                  </a:lnTo>
                  <a:lnTo>
                    <a:pt x="1249" y="1102"/>
                  </a:lnTo>
                  <a:lnTo>
                    <a:pt x="1224" y="1130"/>
                  </a:lnTo>
                  <a:lnTo>
                    <a:pt x="1224" y="1152"/>
                  </a:lnTo>
                  <a:lnTo>
                    <a:pt x="1273" y="1144"/>
                  </a:lnTo>
                  <a:lnTo>
                    <a:pt x="1299" y="1159"/>
                  </a:lnTo>
                  <a:lnTo>
                    <a:pt x="1340" y="1165"/>
                  </a:lnTo>
                  <a:lnTo>
                    <a:pt x="1354" y="1209"/>
                  </a:lnTo>
                  <a:lnTo>
                    <a:pt x="1365" y="1240"/>
                  </a:lnTo>
                  <a:lnTo>
                    <a:pt x="1375" y="1269"/>
                  </a:lnTo>
                  <a:lnTo>
                    <a:pt x="1407" y="1273"/>
                  </a:lnTo>
                  <a:lnTo>
                    <a:pt x="1444" y="1246"/>
                  </a:lnTo>
                  <a:lnTo>
                    <a:pt x="1458" y="1209"/>
                  </a:lnTo>
                  <a:lnTo>
                    <a:pt x="1481" y="1181"/>
                  </a:lnTo>
                  <a:lnTo>
                    <a:pt x="1505" y="1173"/>
                  </a:lnTo>
                  <a:lnTo>
                    <a:pt x="1530" y="1146"/>
                  </a:lnTo>
                  <a:lnTo>
                    <a:pt x="1562" y="1097"/>
                  </a:lnTo>
                  <a:lnTo>
                    <a:pt x="1631" y="1099"/>
                  </a:lnTo>
                  <a:lnTo>
                    <a:pt x="1646" y="1085"/>
                  </a:lnTo>
                  <a:lnTo>
                    <a:pt x="1664" y="1087"/>
                  </a:lnTo>
                  <a:lnTo>
                    <a:pt x="1654" y="1046"/>
                  </a:lnTo>
                  <a:lnTo>
                    <a:pt x="1662" y="1016"/>
                  </a:lnTo>
                  <a:lnTo>
                    <a:pt x="1631" y="1022"/>
                  </a:lnTo>
                  <a:lnTo>
                    <a:pt x="1597" y="1046"/>
                  </a:lnTo>
                  <a:lnTo>
                    <a:pt x="1576" y="1047"/>
                  </a:lnTo>
                  <a:lnTo>
                    <a:pt x="1556" y="1073"/>
                  </a:lnTo>
                  <a:lnTo>
                    <a:pt x="1536" y="1063"/>
                  </a:lnTo>
                  <a:lnTo>
                    <a:pt x="1503" y="1079"/>
                  </a:lnTo>
                  <a:lnTo>
                    <a:pt x="1487" y="1071"/>
                  </a:lnTo>
                  <a:lnTo>
                    <a:pt x="1483" y="1044"/>
                  </a:lnTo>
                  <a:lnTo>
                    <a:pt x="1456" y="1038"/>
                  </a:lnTo>
                  <a:lnTo>
                    <a:pt x="1432" y="1028"/>
                  </a:lnTo>
                  <a:lnTo>
                    <a:pt x="1412" y="1010"/>
                  </a:lnTo>
                  <a:lnTo>
                    <a:pt x="1399" y="994"/>
                  </a:lnTo>
                  <a:lnTo>
                    <a:pt x="1379" y="996"/>
                  </a:lnTo>
                  <a:lnTo>
                    <a:pt x="1367" y="1010"/>
                  </a:lnTo>
                  <a:lnTo>
                    <a:pt x="1359" y="975"/>
                  </a:lnTo>
                  <a:lnTo>
                    <a:pt x="1399" y="967"/>
                  </a:lnTo>
                  <a:lnTo>
                    <a:pt x="1440" y="977"/>
                  </a:lnTo>
                  <a:lnTo>
                    <a:pt x="1456" y="1000"/>
                  </a:lnTo>
                  <a:lnTo>
                    <a:pt x="1469" y="990"/>
                  </a:lnTo>
                  <a:lnTo>
                    <a:pt x="1456" y="959"/>
                  </a:lnTo>
                  <a:lnTo>
                    <a:pt x="1468" y="943"/>
                  </a:lnTo>
                  <a:lnTo>
                    <a:pt x="1483" y="935"/>
                  </a:lnTo>
                  <a:lnTo>
                    <a:pt x="1469" y="900"/>
                  </a:lnTo>
                  <a:lnTo>
                    <a:pt x="1495" y="898"/>
                  </a:lnTo>
                  <a:lnTo>
                    <a:pt x="1515" y="873"/>
                  </a:lnTo>
                  <a:lnTo>
                    <a:pt x="1560" y="837"/>
                  </a:lnTo>
                  <a:lnTo>
                    <a:pt x="1607" y="804"/>
                  </a:lnTo>
                  <a:lnTo>
                    <a:pt x="1621" y="798"/>
                  </a:lnTo>
                  <a:lnTo>
                    <a:pt x="1635" y="804"/>
                  </a:lnTo>
                  <a:lnTo>
                    <a:pt x="1652" y="765"/>
                  </a:lnTo>
                  <a:lnTo>
                    <a:pt x="1680" y="749"/>
                  </a:lnTo>
                  <a:lnTo>
                    <a:pt x="1691" y="725"/>
                  </a:lnTo>
                  <a:lnTo>
                    <a:pt x="1729" y="702"/>
                  </a:lnTo>
                  <a:lnTo>
                    <a:pt x="1760" y="690"/>
                  </a:lnTo>
                  <a:lnTo>
                    <a:pt x="1748" y="655"/>
                  </a:lnTo>
                  <a:lnTo>
                    <a:pt x="1743" y="609"/>
                  </a:lnTo>
                  <a:lnTo>
                    <a:pt x="1782" y="582"/>
                  </a:lnTo>
                  <a:lnTo>
                    <a:pt x="1788" y="546"/>
                  </a:lnTo>
                  <a:lnTo>
                    <a:pt x="1823" y="546"/>
                  </a:lnTo>
                  <a:lnTo>
                    <a:pt x="1851" y="535"/>
                  </a:lnTo>
                  <a:lnTo>
                    <a:pt x="1878" y="521"/>
                  </a:lnTo>
                  <a:lnTo>
                    <a:pt x="1878" y="444"/>
                  </a:lnTo>
                  <a:lnTo>
                    <a:pt x="1853" y="434"/>
                  </a:lnTo>
                  <a:lnTo>
                    <a:pt x="1825" y="387"/>
                  </a:lnTo>
                  <a:lnTo>
                    <a:pt x="1837" y="356"/>
                  </a:lnTo>
                  <a:lnTo>
                    <a:pt x="1843" y="342"/>
                  </a:lnTo>
                  <a:lnTo>
                    <a:pt x="1811" y="334"/>
                  </a:lnTo>
                  <a:lnTo>
                    <a:pt x="1843" y="305"/>
                  </a:lnTo>
                  <a:lnTo>
                    <a:pt x="1837" y="264"/>
                  </a:lnTo>
                  <a:lnTo>
                    <a:pt x="1817" y="226"/>
                  </a:lnTo>
                  <a:lnTo>
                    <a:pt x="1782" y="238"/>
                  </a:lnTo>
                  <a:lnTo>
                    <a:pt x="1762" y="238"/>
                  </a:lnTo>
                  <a:lnTo>
                    <a:pt x="1707" y="226"/>
                  </a:lnTo>
                  <a:lnTo>
                    <a:pt x="1678" y="224"/>
                  </a:lnTo>
                  <a:lnTo>
                    <a:pt x="1627" y="232"/>
                  </a:lnTo>
                  <a:lnTo>
                    <a:pt x="1597" y="246"/>
                  </a:lnTo>
                  <a:lnTo>
                    <a:pt x="1566" y="234"/>
                  </a:lnTo>
                  <a:lnTo>
                    <a:pt x="1538" y="212"/>
                  </a:lnTo>
                  <a:lnTo>
                    <a:pt x="1509" y="187"/>
                  </a:lnTo>
                  <a:lnTo>
                    <a:pt x="1473" y="218"/>
                  </a:lnTo>
                  <a:lnTo>
                    <a:pt x="1440" y="238"/>
                  </a:lnTo>
                  <a:lnTo>
                    <a:pt x="1426" y="232"/>
                  </a:lnTo>
                  <a:lnTo>
                    <a:pt x="1401" y="240"/>
                  </a:lnTo>
                  <a:lnTo>
                    <a:pt x="1367" y="226"/>
                  </a:lnTo>
                  <a:lnTo>
                    <a:pt x="1344" y="246"/>
                  </a:lnTo>
                  <a:lnTo>
                    <a:pt x="1310" y="232"/>
                  </a:lnTo>
                  <a:lnTo>
                    <a:pt x="1293" y="183"/>
                  </a:lnTo>
                  <a:lnTo>
                    <a:pt x="1244" y="136"/>
                  </a:lnTo>
                  <a:lnTo>
                    <a:pt x="1214" y="148"/>
                  </a:lnTo>
                  <a:lnTo>
                    <a:pt x="1185" y="146"/>
                  </a:lnTo>
                  <a:lnTo>
                    <a:pt x="1171" y="144"/>
                  </a:lnTo>
                  <a:lnTo>
                    <a:pt x="1141" y="91"/>
                  </a:lnTo>
                  <a:lnTo>
                    <a:pt x="1157" y="63"/>
                  </a:lnTo>
                  <a:lnTo>
                    <a:pt x="1122" y="40"/>
                  </a:lnTo>
                  <a:lnTo>
                    <a:pt x="1116" y="22"/>
                  </a:lnTo>
                  <a:lnTo>
                    <a:pt x="1092" y="0"/>
                  </a:lnTo>
                  <a:lnTo>
                    <a:pt x="1069" y="2"/>
                  </a:lnTo>
                  <a:lnTo>
                    <a:pt x="1033" y="8"/>
                  </a:lnTo>
                  <a:lnTo>
                    <a:pt x="1014" y="12"/>
                  </a:lnTo>
                  <a:lnTo>
                    <a:pt x="990" y="28"/>
                  </a:lnTo>
                  <a:lnTo>
                    <a:pt x="964" y="34"/>
                  </a:lnTo>
                  <a:lnTo>
                    <a:pt x="951" y="40"/>
                  </a:lnTo>
                  <a:lnTo>
                    <a:pt x="929" y="77"/>
                  </a:lnTo>
                  <a:lnTo>
                    <a:pt x="915" y="77"/>
                  </a:lnTo>
                  <a:lnTo>
                    <a:pt x="894" y="75"/>
                  </a:lnTo>
                  <a:lnTo>
                    <a:pt x="862" y="87"/>
                  </a:lnTo>
                  <a:lnTo>
                    <a:pt x="813" y="122"/>
                  </a:lnTo>
                  <a:lnTo>
                    <a:pt x="797" y="152"/>
                  </a:lnTo>
                  <a:lnTo>
                    <a:pt x="786" y="177"/>
                  </a:lnTo>
                  <a:lnTo>
                    <a:pt x="805" y="226"/>
                  </a:lnTo>
                  <a:lnTo>
                    <a:pt x="788" y="252"/>
                  </a:lnTo>
                  <a:lnTo>
                    <a:pt x="752" y="238"/>
                  </a:lnTo>
                  <a:lnTo>
                    <a:pt x="733" y="252"/>
                  </a:lnTo>
                  <a:lnTo>
                    <a:pt x="703" y="260"/>
                  </a:lnTo>
                  <a:lnTo>
                    <a:pt x="689" y="267"/>
                  </a:lnTo>
                  <a:lnTo>
                    <a:pt x="648" y="226"/>
                  </a:lnTo>
                  <a:lnTo>
                    <a:pt x="623" y="267"/>
                  </a:lnTo>
                  <a:lnTo>
                    <a:pt x="603" y="252"/>
                  </a:lnTo>
                  <a:lnTo>
                    <a:pt x="560" y="252"/>
                  </a:lnTo>
                  <a:lnTo>
                    <a:pt x="499" y="285"/>
                  </a:lnTo>
                  <a:lnTo>
                    <a:pt x="473" y="266"/>
                  </a:lnTo>
                  <a:lnTo>
                    <a:pt x="454" y="267"/>
                  </a:lnTo>
                  <a:lnTo>
                    <a:pt x="424" y="238"/>
                  </a:lnTo>
                  <a:lnTo>
                    <a:pt x="405" y="232"/>
                  </a:lnTo>
                  <a:lnTo>
                    <a:pt x="369" y="246"/>
                  </a:lnTo>
                  <a:lnTo>
                    <a:pt x="344" y="238"/>
                  </a:lnTo>
                  <a:lnTo>
                    <a:pt x="310" y="220"/>
                  </a:lnTo>
                  <a:lnTo>
                    <a:pt x="296" y="232"/>
                  </a:lnTo>
                  <a:lnTo>
                    <a:pt x="226" y="230"/>
                  </a:lnTo>
                  <a:lnTo>
                    <a:pt x="222" y="246"/>
                  </a:lnTo>
                  <a:lnTo>
                    <a:pt x="190" y="246"/>
                  </a:lnTo>
                  <a:lnTo>
                    <a:pt x="161" y="277"/>
                  </a:lnTo>
                  <a:lnTo>
                    <a:pt x="129" y="305"/>
                  </a:lnTo>
                  <a:lnTo>
                    <a:pt x="92" y="305"/>
                  </a:lnTo>
                  <a:lnTo>
                    <a:pt x="96" y="362"/>
                  </a:lnTo>
                  <a:lnTo>
                    <a:pt x="112" y="391"/>
                  </a:lnTo>
                  <a:lnTo>
                    <a:pt x="151" y="417"/>
                  </a:lnTo>
                  <a:lnTo>
                    <a:pt x="153" y="464"/>
                  </a:lnTo>
                  <a:lnTo>
                    <a:pt x="161" y="486"/>
                  </a:lnTo>
                  <a:lnTo>
                    <a:pt x="96" y="558"/>
                  </a:lnTo>
                  <a:lnTo>
                    <a:pt x="69" y="598"/>
                  </a:lnTo>
                  <a:lnTo>
                    <a:pt x="47" y="647"/>
                  </a:lnTo>
                  <a:lnTo>
                    <a:pt x="47" y="688"/>
                  </a:lnTo>
                  <a:lnTo>
                    <a:pt x="43" y="731"/>
                  </a:lnTo>
                  <a:lnTo>
                    <a:pt x="19" y="735"/>
                  </a:lnTo>
                  <a:lnTo>
                    <a:pt x="10" y="770"/>
                  </a:lnTo>
                  <a:lnTo>
                    <a:pt x="0" y="833"/>
                  </a:lnTo>
                  <a:lnTo>
                    <a:pt x="51" y="871"/>
                  </a:lnTo>
                  <a:lnTo>
                    <a:pt x="76" y="898"/>
                  </a:lnTo>
                  <a:lnTo>
                    <a:pt x="222" y="898"/>
                  </a:lnTo>
                  <a:lnTo>
                    <a:pt x="267" y="884"/>
                  </a:lnTo>
                  <a:lnTo>
                    <a:pt x="289" y="894"/>
                  </a:lnTo>
                  <a:lnTo>
                    <a:pt x="322" y="906"/>
                  </a:lnTo>
                  <a:lnTo>
                    <a:pt x="349" y="879"/>
                  </a:lnTo>
                  <a:lnTo>
                    <a:pt x="369" y="871"/>
                  </a:lnTo>
                  <a:lnTo>
                    <a:pt x="397" y="865"/>
                  </a:lnTo>
                  <a:lnTo>
                    <a:pt x="477" y="796"/>
                  </a:lnTo>
                  <a:lnTo>
                    <a:pt x="495" y="776"/>
                  </a:lnTo>
                  <a:lnTo>
                    <a:pt x="526" y="772"/>
                  </a:lnTo>
                  <a:lnTo>
                    <a:pt x="562" y="753"/>
                  </a:lnTo>
                  <a:lnTo>
                    <a:pt x="630" y="792"/>
                  </a:lnTo>
                  <a:lnTo>
                    <a:pt x="719" y="784"/>
                  </a:lnTo>
                  <a:lnTo>
                    <a:pt x="760" y="810"/>
                  </a:lnTo>
                  <a:lnTo>
                    <a:pt x="772" y="820"/>
                  </a:lnTo>
                  <a:lnTo>
                    <a:pt x="782" y="861"/>
                  </a:lnTo>
                  <a:lnTo>
                    <a:pt x="823" y="922"/>
                  </a:lnTo>
                  <a:lnTo>
                    <a:pt x="839" y="953"/>
                  </a:lnTo>
                  <a:lnTo>
                    <a:pt x="870" y="953"/>
                  </a:lnTo>
                  <a:lnTo>
                    <a:pt x="884" y="977"/>
                  </a:lnTo>
                  <a:lnTo>
                    <a:pt x="896" y="1000"/>
                  </a:lnTo>
                  <a:lnTo>
                    <a:pt x="890" y="1047"/>
                  </a:lnTo>
                  <a:lnTo>
                    <a:pt x="866" y="1047"/>
                  </a:lnTo>
                  <a:lnTo>
                    <a:pt x="813" y="1059"/>
                  </a:lnTo>
                  <a:lnTo>
                    <a:pt x="796" y="1042"/>
                  </a:lnTo>
                  <a:lnTo>
                    <a:pt x="794" y="1087"/>
                  </a:lnTo>
                  <a:lnTo>
                    <a:pt x="796" y="1112"/>
                  </a:lnTo>
                  <a:lnTo>
                    <a:pt x="778" y="1157"/>
                  </a:lnTo>
                  <a:lnTo>
                    <a:pt x="750" y="1171"/>
                  </a:lnTo>
                  <a:lnTo>
                    <a:pt x="752" y="1228"/>
                  </a:lnTo>
                  <a:lnTo>
                    <a:pt x="797" y="1242"/>
                  </a:lnTo>
                  <a:lnTo>
                    <a:pt x="839" y="1228"/>
                  </a:lnTo>
                  <a:lnTo>
                    <a:pt x="888" y="1201"/>
                  </a:lnTo>
                  <a:close/>
                </a:path>
              </a:pathLst>
            </a:custGeom>
            <a:solidFill>
              <a:srgbClr val="D0D0D0"/>
            </a:solidFill>
            <a:ln w="9525">
              <a:solidFill>
                <a:srgbClr val="000000"/>
              </a:solidFill>
              <a:prstDash val="solid"/>
              <a:round/>
              <a:headEnd/>
              <a:tailEnd/>
            </a:ln>
          </p:spPr>
          <p:txBody>
            <a:bodyPr/>
            <a:lstStyle/>
            <a:p>
              <a:endParaRPr lang="cs-CZ"/>
            </a:p>
          </p:txBody>
        </p:sp>
        <p:sp>
          <p:nvSpPr>
            <p:cNvPr id="17" name="Freeform 35"/>
            <p:cNvSpPr>
              <a:spLocks/>
            </p:cNvSpPr>
            <p:nvPr/>
          </p:nvSpPr>
          <p:spPr bwMode="auto">
            <a:xfrm>
              <a:off x="2780" y="2038"/>
              <a:ext cx="334" cy="180"/>
            </a:xfrm>
            <a:custGeom>
              <a:avLst/>
              <a:gdLst>
                <a:gd name="T0" fmla="*/ 14 w 668"/>
                <a:gd name="T1" fmla="*/ 359 h 359"/>
                <a:gd name="T2" fmla="*/ 39 w 668"/>
                <a:gd name="T3" fmla="*/ 351 h 359"/>
                <a:gd name="T4" fmla="*/ 59 w 668"/>
                <a:gd name="T5" fmla="*/ 328 h 359"/>
                <a:gd name="T6" fmla="*/ 114 w 668"/>
                <a:gd name="T7" fmla="*/ 302 h 359"/>
                <a:gd name="T8" fmla="*/ 147 w 668"/>
                <a:gd name="T9" fmla="*/ 288 h 359"/>
                <a:gd name="T10" fmla="*/ 161 w 668"/>
                <a:gd name="T11" fmla="*/ 298 h 359"/>
                <a:gd name="T12" fmla="*/ 187 w 668"/>
                <a:gd name="T13" fmla="*/ 286 h 359"/>
                <a:gd name="T14" fmla="*/ 242 w 668"/>
                <a:gd name="T15" fmla="*/ 283 h 359"/>
                <a:gd name="T16" fmla="*/ 303 w 668"/>
                <a:gd name="T17" fmla="*/ 296 h 359"/>
                <a:gd name="T18" fmla="*/ 344 w 668"/>
                <a:gd name="T19" fmla="*/ 265 h 359"/>
                <a:gd name="T20" fmla="*/ 359 w 668"/>
                <a:gd name="T21" fmla="*/ 263 h 359"/>
                <a:gd name="T22" fmla="*/ 385 w 668"/>
                <a:gd name="T23" fmla="*/ 285 h 359"/>
                <a:gd name="T24" fmla="*/ 422 w 668"/>
                <a:gd name="T25" fmla="*/ 300 h 359"/>
                <a:gd name="T26" fmla="*/ 470 w 668"/>
                <a:gd name="T27" fmla="*/ 326 h 359"/>
                <a:gd name="T28" fmla="*/ 507 w 668"/>
                <a:gd name="T29" fmla="*/ 345 h 359"/>
                <a:gd name="T30" fmla="*/ 530 w 668"/>
                <a:gd name="T31" fmla="*/ 355 h 359"/>
                <a:gd name="T32" fmla="*/ 544 w 668"/>
                <a:gd name="T33" fmla="*/ 353 h 359"/>
                <a:gd name="T34" fmla="*/ 564 w 668"/>
                <a:gd name="T35" fmla="*/ 328 h 359"/>
                <a:gd name="T36" fmla="*/ 607 w 668"/>
                <a:gd name="T37" fmla="*/ 328 h 359"/>
                <a:gd name="T38" fmla="*/ 619 w 668"/>
                <a:gd name="T39" fmla="*/ 290 h 359"/>
                <a:gd name="T40" fmla="*/ 625 w 668"/>
                <a:gd name="T41" fmla="*/ 269 h 359"/>
                <a:gd name="T42" fmla="*/ 652 w 668"/>
                <a:gd name="T43" fmla="*/ 253 h 359"/>
                <a:gd name="T44" fmla="*/ 668 w 668"/>
                <a:gd name="T45" fmla="*/ 251 h 359"/>
                <a:gd name="T46" fmla="*/ 664 w 668"/>
                <a:gd name="T47" fmla="*/ 216 h 359"/>
                <a:gd name="T48" fmla="*/ 637 w 668"/>
                <a:gd name="T49" fmla="*/ 178 h 359"/>
                <a:gd name="T50" fmla="*/ 605 w 668"/>
                <a:gd name="T51" fmla="*/ 145 h 359"/>
                <a:gd name="T52" fmla="*/ 583 w 668"/>
                <a:gd name="T53" fmla="*/ 133 h 359"/>
                <a:gd name="T54" fmla="*/ 585 w 668"/>
                <a:gd name="T55" fmla="*/ 72 h 359"/>
                <a:gd name="T56" fmla="*/ 558 w 668"/>
                <a:gd name="T57" fmla="*/ 51 h 359"/>
                <a:gd name="T58" fmla="*/ 532 w 668"/>
                <a:gd name="T59" fmla="*/ 31 h 359"/>
                <a:gd name="T60" fmla="*/ 495 w 668"/>
                <a:gd name="T61" fmla="*/ 45 h 359"/>
                <a:gd name="T62" fmla="*/ 470 w 668"/>
                <a:gd name="T63" fmla="*/ 57 h 359"/>
                <a:gd name="T64" fmla="*/ 438 w 668"/>
                <a:gd name="T65" fmla="*/ 39 h 359"/>
                <a:gd name="T66" fmla="*/ 416 w 668"/>
                <a:gd name="T67" fmla="*/ 13 h 359"/>
                <a:gd name="T68" fmla="*/ 387 w 668"/>
                <a:gd name="T69" fmla="*/ 9 h 359"/>
                <a:gd name="T70" fmla="*/ 369 w 668"/>
                <a:gd name="T71" fmla="*/ 0 h 359"/>
                <a:gd name="T72" fmla="*/ 326 w 668"/>
                <a:gd name="T73" fmla="*/ 6 h 359"/>
                <a:gd name="T74" fmla="*/ 289 w 668"/>
                <a:gd name="T75" fmla="*/ 19 h 359"/>
                <a:gd name="T76" fmla="*/ 275 w 668"/>
                <a:gd name="T77" fmla="*/ 33 h 359"/>
                <a:gd name="T78" fmla="*/ 273 w 668"/>
                <a:gd name="T79" fmla="*/ 80 h 359"/>
                <a:gd name="T80" fmla="*/ 287 w 668"/>
                <a:gd name="T81" fmla="*/ 145 h 359"/>
                <a:gd name="T82" fmla="*/ 277 w 668"/>
                <a:gd name="T83" fmla="*/ 165 h 359"/>
                <a:gd name="T84" fmla="*/ 257 w 668"/>
                <a:gd name="T85" fmla="*/ 180 h 359"/>
                <a:gd name="T86" fmla="*/ 230 w 668"/>
                <a:gd name="T87" fmla="*/ 184 h 359"/>
                <a:gd name="T88" fmla="*/ 198 w 668"/>
                <a:gd name="T89" fmla="*/ 173 h 359"/>
                <a:gd name="T90" fmla="*/ 183 w 668"/>
                <a:gd name="T91" fmla="*/ 153 h 359"/>
                <a:gd name="T92" fmla="*/ 161 w 668"/>
                <a:gd name="T93" fmla="*/ 123 h 359"/>
                <a:gd name="T94" fmla="*/ 132 w 668"/>
                <a:gd name="T95" fmla="*/ 98 h 359"/>
                <a:gd name="T96" fmla="*/ 118 w 668"/>
                <a:gd name="T97" fmla="*/ 86 h 359"/>
                <a:gd name="T98" fmla="*/ 102 w 668"/>
                <a:gd name="T99" fmla="*/ 82 h 359"/>
                <a:gd name="T100" fmla="*/ 73 w 668"/>
                <a:gd name="T101" fmla="*/ 104 h 359"/>
                <a:gd name="T102" fmla="*/ 45 w 668"/>
                <a:gd name="T103" fmla="*/ 129 h 359"/>
                <a:gd name="T104" fmla="*/ 33 w 668"/>
                <a:gd name="T105" fmla="*/ 155 h 359"/>
                <a:gd name="T106" fmla="*/ 25 w 668"/>
                <a:gd name="T107" fmla="*/ 188 h 359"/>
                <a:gd name="T108" fmla="*/ 24 w 668"/>
                <a:gd name="T109" fmla="*/ 216 h 359"/>
                <a:gd name="T110" fmla="*/ 10 w 668"/>
                <a:gd name="T111" fmla="*/ 245 h 359"/>
                <a:gd name="T112" fmla="*/ 0 w 668"/>
                <a:gd name="T113" fmla="*/ 277 h 359"/>
                <a:gd name="T114" fmla="*/ 4 w 668"/>
                <a:gd name="T115" fmla="*/ 292 h 359"/>
                <a:gd name="T116" fmla="*/ 4 w 668"/>
                <a:gd name="T117" fmla="*/ 326 h 359"/>
                <a:gd name="T118" fmla="*/ 6 w 668"/>
                <a:gd name="T119" fmla="*/ 345 h 359"/>
                <a:gd name="T120" fmla="*/ 14 w 668"/>
                <a:gd name="T121"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8" h="359">
                  <a:moveTo>
                    <a:pt x="14" y="359"/>
                  </a:moveTo>
                  <a:lnTo>
                    <a:pt x="39" y="351"/>
                  </a:lnTo>
                  <a:lnTo>
                    <a:pt x="59" y="328"/>
                  </a:lnTo>
                  <a:lnTo>
                    <a:pt x="114" y="302"/>
                  </a:lnTo>
                  <a:lnTo>
                    <a:pt x="147" y="288"/>
                  </a:lnTo>
                  <a:lnTo>
                    <a:pt x="161" y="298"/>
                  </a:lnTo>
                  <a:lnTo>
                    <a:pt x="187" y="286"/>
                  </a:lnTo>
                  <a:lnTo>
                    <a:pt x="242" y="283"/>
                  </a:lnTo>
                  <a:lnTo>
                    <a:pt x="303" y="296"/>
                  </a:lnTo>
                  <a:lnTo>
                    <a:pt x="344" y="265"/>
                  </a:lnTo>
                  <a:lnTo>
                    <a:pt x="359" y="263"/>
                  </a:lnTo>
                  <a:lnTo>
                    <a:pt x="385" y="285"/>
                  </a:lnTo>
                  <a:lnTo>
                    <a:pt x="422" y="300"/>
                  </a:lnTo>
                  <a:lnTo>
                    <a:pt x="470" y="326"/>
                  </a:lnTo>
                  <a:lnTo>
                    <a:pt x="507" y="345"/>
                  </a:lnTo>
                  <a:lnTo>
                    <a:pt x="530" y="355"/>
                  </a:lnTo>
                  <a:lnTo>
                    <a:pt x="544" y="353"/>
                  </a:lnTo>
                  <a:lnTo>
                    <a:pt x="564" y="328"/>
                  </a:lnTo>
                  <a:lnTo>
                    <a:pt x="607" y="328"/>
                  </a:lnTo>
                  <a:lnTo>
                    <a:pt x="619" y="290"/>
                  </a:lnTo>
                  <a:lnTo>
                    <a:pt x="625" y="269"/>
                  </a:lnTo>
                  <a:lnTo>
                    <a:pt x="652" y="253"/>
                  </a:lnTo>
                  <a:lnTo>
                    <a:pt x="668" y="251"/>
                  </a:lnTo>
                  <a:lnTo>
                    <a:pt x="664" y="216"/>
                  </a:lnTo>
                  <a:lnTo>
                    <a:pt x="637" y="178"/>
                  </a:lnTo>
                  <a:lnTo>
                    <a:pt x="605" y="145"/>
                  </a:lnTo>
                  <a:lnTo>
                    <a:pt x="583" y="133"/>
                  </a:lnTo>
                  <a:lnTo>
                    <a:pt x="585" y="72"/>
                  </a:lnTo>
                  <a:lnTo>
                    <a:pt x="558" y="51"/>
                  </a:lnTo>
                  <a:lnTo>
                    <a:pt x="532" y="31"/>
                  </a:lnTo>
                  <a:lnTo>
                    <a:pt x="495" y="45"/>
                  </a:lnTo>
                  <a:lnTo>
                    <a:pt x="470" y="57"/>
                  </a:lnTo>
                  <a:lnTo>
                    <a:pt x="438" y="39"/>
                  </a:lnTo>
                  <a:lnTo>
                    <a:pt x="416" y="13"/>
                  </a:lnTo>
                  <a:lnTo>
                    <a:pt x="387" y="9"/>
                  </a:lnTo>
                  <a:lnTo>
                    <a:pt x="369" y="0"/>
                  </a:lnTo>
                  <a:lnTo>
                    <a:pt x="326" y="6"/>
                  </a:lnTo>
                  <a:lnTo>
                    <a:pt x="289" y="19"/>
                  </a:lnTo>
                  <a:lnTo>
                    <a:pt x="275" y="33"/>
                  </a:lnTo>
                  <a:lnTo>
                    <a:pt x="273" y="80"/>
                  </a:lnTo>
                  <a:lnTo>
                    <a:pt x="287" y="145"/>
                  </a:lnTo>
                  <a:lnTo>
                    <a:pt x="277" y="165"/>
                  </a:lnTo>
                  <a:lnTo>
                    <a:pt x="257" y="180"/>
                  </a:lnTo>
                  <a:lnTo>
                    <a:pt x="230" y="184"/>
                  </a:lnTo>
                  <a:lnTo>
                    <a:pt x="198" y="173"/>
                  </a:lnTo>
                  <a:lnTo>
                    <a:pt x="183" y="153"/>
                  </a:lnTo>
                  <a:lnTo>
                    <a:pt x="161" y="123"/>
                  </a:lnTo>
                  <a:lnTo>
                    <a:pt x="132" y="98"/>
                  </a:lnTo>
                  <a:lnTo>
                    <a:pt x="118" y="86"/>
                  </a:lnTo>
                  <a:lnTo>
                    <a:pt x="102" y="82"/>
                  </a:lnTo>
                  <a:lnTo>
                    <a:pt x="73" y="104"/>
                  </a:lnTo>
                  <a:lnTo>
                    <a:pt x="45" y="129"/>
                  </a:lnTo>
                  <a:lnTo>
                    <a:pt x="33" y="155"/>
                  </a:lnTo>
                  <a:lnTo>
                    <a:pt x="25" y="188"/>
                  </a:lnTo>
                  <a:lnTo>
                    <a:pt x="24" y="216"/>
                  </a:lnTo>
                  <a:lnTo>
                    <a:pt x="10" y="245"/>
                  </a:lnTo>
                  <a:lnTo>
                    <a:pt x="0" y="277"/>
                  </a:lnTo>
                  <a:lnTo>
                    <a:pt x="4" y="292"/>
                  </a:lnTo>
                  <a:lnTo>
                    <a:pt x="4" y="326"/>
                  </a:lnTo>
                  <a:lnTo>
                    <a:pt x="6" y="345"/>
                  </a:lnTo>
                  <a:lnTo>
                    <a:pt x="14" y="359"/>
                  </a:lnTo>
                  <a:close/>
                </a:path>
              </a:pathLst>
            </a:custGeom>
            <a:solidFill>
              <a:srgbClr val="E93011"/>
            </a:solidFill>
            <a:ln w="9525">
              <a:solidFill>
                <a:srgbClr val="000000"/>
              </a:solidFill>
              <a:prstDash val="solid"/>
              <a:round/>
              <a:headEnd/>
              <a:tailEnd/>
            </a:ln>
          </p:spPr>
          <p:txBody>
            <a:bodyPr/>
            <a:lstStyle/>
            <a:p>
              <a:endParaRPr lang="cs-CZ"/>
            </a:p>
          </p:txBody>
        </p:sp>
        <p:sp>
          <p:nvSpPr>
            <p:cNvPr id="18" name="Freeform 36"/>
            <p:cNvSpPr>
              <a:spLocks/>
            </p:cNvSpPr>
            <p:nvPr/>
          </p:nvSpPr>
          <p:spPr bwMode="auto">
            <a:xfrm>
              <a:off x="2918" y="2166"/>
              <a:ext cx="447" cy="396"/>
            </a:xfrm>
            <a:custGeom>
              <a:avLst/>
              <a:gdLst>
                <a:gd name="T0" fmla="*/ 86 w 894"/>
                <a:gd name="T1" fmla="*/ 792 h 792"/>
                <a:gd name="T2" fmla="*/ 118 w 894"/>
                <a:gd name="T3" fmla="*/ 768 h 792"/>
                <a:gd name="T4" fmla="*/ 145 w 894"/>
                <a:gd name="T5" fmla="*/ 735 h 792"/>
                <a:gd name="T6" fmla="*/ 189 w 894"/>
                <a:gd name="T7" fmla="*/ 719 h 792"/>
                <a:gd name="T8" fmla="*/ 269 w 894"/>
                <a:gd name="T9" fmla="*/ 707 h 792"/>
                <a:gd name="T10" fmla="*/ 324 w 894"/>
                <a:gd name="T11" fmla="*/ 735 h 792"/>
                <a:gd name="T12" fmla="*/ 360 w 894"/>
                <a:gd name="T13" fmla="*/ 717 h 792"/>
                <a:gd name="T14" fmla="*/ 393 w 894"/>
                <a:gd name="T15" fmla="*/ 733 h 792"/>
                <a:gd name="T16" fmla="*/ 440 w 894"/>
                <a:gd name="T17" fmla="*/ 758 h 792"/>
                <a:gd name="T18" fmla="*/ 499 w 894"/>
                <a:gd name="T19" fmla="*/ 749 h 792"/>
                <a:gd name="T20" fmla="*/ 560 w 894"/>
                <a:gd name="T21" fmla="*/ 737 h 792"/>
                <a:gd name="T22" fmla="*/ 591 w 894"/>
                <a:gd name="T23" fmla="*/ 733 h 792"/>
                <a:gd name="T24" fmla="*/ 623 w 894"/>
                <a:gd name="T25" fmla="*/ 721 h 792"/>
                <a:gd name="T26" fmla="*/ 658 w 894"/>
                <a:gd name="T27" fmla="*/ 747 h 792"/>
                <a:gd name="T28" fmla="*/ 692 w 894"/>
                <a:gd name="T29" fmla="*/ 739 h 792"/>
                <a:gd name="T30" fmla="*/ 745 w 894"/>
                <a:gd name="T31" fmla="*/ 741 h 792"/>
                <a:gd name="T32" fmla="*/ 760 w 894"/>
                <a:gd name="T33" fmla="*/ 688 h 792"/>
                <a:gd name="T34" fmla="*/ 755 w 894"/>
                <a:gd name="T35" fmla="*/ 631 h 792"/>
                <a:gd name="T36" fmla="*/ 810 w 894"/>
                <a:gd name="T37" fmla="*/ 580 h 792"/>
                <a:gd name="T38" fmla="*/ 861 w 894"/>
                <a:gd name="T39" fmla="*/ 574 h 792"/>
                <a:gd name="T40" fmla="*/ 833 w 894"/>
                <a:gd name="T41" fmla="*/ 521 h 792"/>
                <a:gd name="T42" fmla="*/ 798 w 894"/>
                <a:gd name="T43" fmla="*/ 462 h 792"/>
                <a:gd name="T44" fmla="*/ 762 w 894"/>
                <a:gd name="T45" fmla="*/ 405 h 792"/>
                <a:gd name="T46" fmla="*/ 823 w 894"/>
                <a:gd name="T47" fmla="*/ 387 h 792"/>
                <a:gd name="T48" fmla="*/ 874 w 894"/>
                <a:gd name="T49" fmla="*/ 371 h 792"/>
                <a:gd name="T50" fmla="*/ 894 w 894"/>
                <a:gd name="T51" fmla="*/ 330 h 792"/>
                <a:gd name="T52" fmla="*/ 861 w 894"/>
                <a:gd name="T53" fmla="*/ 307 h 792"/>
                <a:gd name="T54" fmla="*/ 825 w 894"/>
                <a:gd name="T55" fmla="*/ 285 h 792"/>
                <a:gd name="T56" fmla="*/ 784 w 894"/>
                <a:gd name="T57" fmla="*/ 289 h 792"/>
                <a:gd name="T58" fmla="*/ 747 w 894"/>
                <a:gd name="T59" fmla="*/ 244 h 792"/>
                <a:gd name="T60" fmla="*/ 678 w 894"/>
                <a:gd name="T61" fmla="*/ 163 h 792"/>
                <a:gd name="T62" fmla="*/ 662 w 894"/>
                <a:gd name="T63" fmla="*/ 128 h 792"/>
                <a:gd name="T64" fmla="*/ 658 w 894"/>
                <a:gd name="T65" fmla="*/ 83 h 792"/>
                <a:gd name="T66" fmla="*/ 641 w 894"/>
                <a:gd name="T67" fmla="*/ 33 h 792"/>
                <a:gd name="T68" fmla="*/ 582 w 894"/>
                <a:gd name="T69" fmla="*/ 12 h 792"/>
                <a:gd name="T70" fmla="*/ 525 w 894"/>
                <a:gd name="T71" fmla="*/ 26 h 792"/>
                <a:gd name="T72" fmla="*/ 497 w 894"/>
                <a:gd name="T73" fmla="*/ 20 h 792"/>
                <a:gd name="T74" fmla="*/ 454 w 894"/>
                <a:gd name="T75" fmla="*/ 2 h 792"/>
                <a:gd name="T76" fmla="*/ 397 w 894"/>
                <a:gd name="T77" fmla="*/ 4 h 792"/>
                <a:gd name="T78" fmla="*/ 356 w 894"/>
                <a:gd name="T79" fmla="*/ 6 h 792"/>
                <a:gd name="T80" fmla="*/ 340 w 894"/>
                <a:gd name="T81" fmla="*/ 59 h 792"/>
                <a:gd name="T82" fmla="*/ 289 w 894"/>
                <a:gd name="T83" fmla="*/ 73 h 792"/>
                <a:gd name="T84" fmla="*/ 265 w 894"/>
                <a:gd name="T85" fmla="*/ 104 h 792"/>
                <a:gd name="T86" fmla="*/ 236 w 894"/>
                <a:gd name="T87" fmla="*/ 132 h 792"/>
                <a:gd name="T88" fmla="*/ 279 w 894"/>
                <a:gd name="T89" fmla="*/ 163 h 792"/>
                <a:gd name="T90" fmla="*/ 250 w 894"/>
                <a:gd name="T91" fmla="*/ 189 h 792"/>
                <a:gd name="T92" fmla="*/ 208 w 894"/>
                <a:gd name="T93" fmla="*/ 218 h 792"/>
                <a:gd name="T94" fmla="*/ 193 w 894"/>
                <a:gd name="T95" fmla="*/ 293 h 792"/>
                <a:gd name="T96" fmla="*/ 200 w 894"/>
                <a:gd name="T97" fmla="*/ 340 h 792"/>
                <a:gd name="T98" fmla="*/ 196 w 894"/>
                <a:gd name="T99" fmla="*/ 360 h 792"/>
                <a:gd name="T100" fmla="*/ 161 w 894"/>
                <a:gd name="T101" fmla="*/ 344 h 792"/>
                <a:gd name="T102" fmla="*/ 120 w 894"/>
                <a:gd name="T103" fmla="*/ 369 h 792"/>
                <a:gd name="T104" fmla="*/ 114 w 894"/>
                <a:gd name="T105" fmla="*/ 403 h 792"/>
                <a:gd name="T106" fmla="*/ 86 w 894"/>
                <a:gd name="T107" fmla="*/ 411 h 792"/>
                <a:gd name="T108" fmla="*/ 39 w 894"/>
                <a:gd name="T109" fmla="*/ 409 h 792"/>
                <a:gd name="T110" fmla="*/ 0 w 894"/>
                <a:gd name="T111" fmla="*/ 419 h 792"/>
                <a:gd name="T112" fmla="*/ 29 w 894"/>
                <a:gd name="T113" fmla="*/ 523 h 792"/>
                <a:gd name="T114" fmla="*/ 55 w 894"/>
                <a:gd name="T115" fmla="*/ 599 h 792"/>
                <a:gd name="T116" fmla="*/ 20 w 894"/>
                <a:gd name="T117" fmla="*/ 678 h 792"/>
                <a:gd name="T118" fmla="*/ 18 w 894"/>
                <a:gd name="T119" fmla="*/ 713 h 792"/>
                <a:gd name="T120" fmla="*/ 45 w 894"/>
                <a:gd name="T121" fmla="*/ 75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4" h="792">
                  <a:moveTo>
                    <a:pt x="45" y="790"/>
                  </a:moveTo>
                  <a:lnTo>
                    <a:pt x="86" y="792"/>
                  </a:lnTo>
                  <a:lnTo>
                    <a:pt x="96" y="780"/>
                  </a:lnTo>
                  <a:lnTo>
                    <a:pt x="118" y="768"/>
                  </a:lnTo>
                  <a:lnTo>
                    <a:pt x="126" y="756"/>
                  </a:lnTo>
                  <a:lnTo>
                    <a:pt x="145" y="735"/>
                  </a:lnTo>
                  <a:lnTo>
                    <a:pt x="181" y="729"/>
                  </a:lnTo>
                  <a:lnTo>
                    <a:pt x="189" y="719"/>
                  </a:lnTo>
                  <a:lnTo>
                    <a:pt x="259" y="719"/>
                  </a:lnTo>
                  <a:lnTo>
                    <a:pt x="269" y="707"/>
                  </a:lnTo>
                  <a:lnTo>
                    <a:pt x="299" y="723"/>
                  </a:lnTo>
                  <a:lnTo>
                    <a:pt x="324" y="735"/>
                  </a:lnTo>
                  <a:lnTo>
                    <a:pt x="346" y="729"/>
                  </a:lnTo>
                  <a:lnTo>
                    <a:pt x="360" y="717"/>
                  </a:lnTo>
                  <a:lnTo>
                    <a:pt x="371" y="723"/>
                  </a:lnTo>
                  <a:lnTo>
                    <a:pt x="393" y="733"/>
                  </a:lnTo>
                  <a:lnTo>
                    <a:pt x="417" y="756"/>
                  </a:lnTo>
                  <a:lnTo>
                    <a:pt x="440" y="758"/>
                  </a:lnTo>
                  <a:lnTo>
                    <a:pt x="460" y="772"/>
                  </a:lnTo>
                  <a:lnTo>
                    <a:pt x="499" y="749"/>
                  </a:lnTo>
                  <a:lnTo>
                    <a:pt x="521" y="737"/>
                  </a:lnTo>
                  <a:lnTo>
                    <a:pt x="560" y="737"/>
                  </a:lnTo>
                  <a:lnTo>
                    <a:pt x="582" y="755"/>
                  </a:lnTo>
                  <a:lnTo>
                    <a:pt x="591" y="733"/>
                  </a:lnTo>
                  <a:lnTo>
                    <a:pt x="603" y="711"/>
                  </a:lnTo>
                  <a:lnTo>
                    <a:pt x="623" y="721"/>
                  </a:lnTo>
                  <a:lnTo>
                    <a:pt x="644" y="749"/>
                  </a:lnTo>
                  <a:lnTo>
                    <a:pt x="658" y="747"/>
                  </a:lnTo>
                  <a:lnTo>
                    <a:pt x="676" y="741"/>
                  </a:lnTo>
                  <a:lnTo>
                    <a:pt x="692" y="739"/>
                  </a:lnTo>
                  <a:lnTo>
                    <a:pt x="721" y="729"/>
                  </a:lnTo>
                  <a:lnTo>
                    <a:pt x="745" y="741"/>
                  </a:lnTo>
                  <a:lnTo>
                    <a:pt x="766" y="711"/>
                  </a:lnTo>
                  <a:lnTo>
                    <a:pt x="760" y="688"/>
                  </a:lnTo>
                  <a:lnTo>
                    <a:pt x="747" y="660"/>
                  </a:lnTo>
                  <a:lnTo>
                    <a:pt x="755" y="631"/>
                  </a:lnTo>
                  <a:lnTo>
                    <a:pt x="774" y="601"/>
                  </a:lnTo>
                  <a:lnTo>
                    <a:pt x="810" y="580"/>
                  </a:lnTo>
                  <a:lnTo>
                    <a:pt x="833" y="570"/>
                  </a:lnTo>
                  <a:lnTo>
                    <a:pt x="861" y="574"/>
                  </a:lnTo>
                  <a:lnTo>
                    <a:pt x="847" y="542"/>
                  </a:lnTo>
                  <a:lnTo>
                    <a:pt x="833" y="521"/>
                  </a:lnTo>
                  <a:lnTo>
                    <a:pt x="823" y="495"/>
                  </a:lnTo>
                  <a:lnTo>
                    <a:pt x="798" y="462"/>
                  </a:lnTo>
                  <a:lnTo>
                    <a:pt x="784" y="436"/>
                  </a:lnTo>
                  <a:lnTo>
                    <a:pt x="762" y="405"/>
                  </a:lnTo>
                  <a:lnTo>
                    <a:pt x="784" y="385"/>
                  </a:lnTo>
                  <a:lnTo>
                    <a:pt x="823" y="387"/>
                  </a:lnTo>
                  <a:lnTo>
                    <a:pt x="849" y="393"/>
                  </a:lnTo>
                  <a:lnTo>
                    <a:pt x="874" y="371"/>
                  </a:lnTo>
                  <a:lnTo>
                    <a:pt x="888" y="346"/>
                  </a:lnTo>
                  <a:lnTo>
                    <a:pt x="894" y="330"/>
                  </a:lnTo>
                  <a:lnTo>
                    <a:pt x="886" y="309"/>
                  </a:lnTo>
                  <a:lnTo>
                    <a:pt x="861" y="307"/>
                  </a:lnTo>
                  <a:lnTo>
                    <a:pt x="851" y="295"/>
                  </a:lnTo>
                  <a:lnTo>
                    <a:pt x="825" y="285"/>
                  </a:lnTo>
                  <a:lnTo>
                    <a:pt x="800" y="291"/>
                  </a:lnTo>
                  <a:lnTo>
                    <a:pt x="784" y="289"/>
                  </a:lnTo>
                  <a:lnTo>
                    <a:pt x="778" y="259"/>
                  </a:lnTo>
                  <a:lnTo>
                    <a:pt x="747" y="244"/>
                  </a:lnTo>
                  <a:lnTo>
                    <a:pt x="719" y="232"/>
                  </a:lnTo>
                  <a:lnTo>
                    <a:pt x="678" y="163"/>
                  </a:lnTo>
                  <a:lnTo>
                    <a:pt x="656" y="153"/>
                  </a:lnTo>
                  <a:lnTo>
                    <a:pt x="662" y="128"/>
                  </a:lnTo>
                  <a:lnTo>
                    <a:pt x="674" y="102"/>
                  </a:lnTo>
                  <a:lnTo>
                    <a:pt x="658" y="83"/>
                  </a:lnTo>
                  <a:lnTo>
                    <a:pt x="646" y="67"/>
                  </a:lnTo>
                  <a:lnTo>
                    <a:pt x="641" y="33"/>
                  </a:lnTo>
                  <a:lnTo>
                    <a:pt x="603" y="22"/>
                  </a:lnTo>
                  <a:lnTo>
                    <a:pt x="582" y="12"/>
                  </a:lnTo>
                  <a:lnTo>
                    <a:pt x="548" y="6"/>
                  </a:lnTo>
                  <a:lnTo>
                    <a:pt x="525" y="26"/>
                  </a:lnTo>
                  <a:lnTo>
                    <a:pt x="509" y="39"/>
                  </a:lnTo>
                  <a:lnTo>
                    <a:pt x="497" y="20"/>
                  </a:lnTo>
                  <a:lnTo>
                    <a:pt x="474" y="0"/>
                  </a:lnTo>
                  <a:lnTo>
                    <a:pt x="454" y="2"/>
                  </a:lnTo>
                  <a:lnTo>
                    <a:pt x="440" y="10"/>
                  </a:lnTo>
                  <a:lnTo>
                    <a:pt x="397" y="4"/>
                  </a:lnTo>
                  <a:lnTo>
                    <a:pt x="383" y="4"/>
                  </a:lnTo>
                  <a:lnTo>
                    <a:pt x="356" y="6"/>
                  </a:lnTo>
                  <a:lnTo>
                    <a:pt x="344" y="18"/>
                  </a:lnTo>
                  <a:lnTo>
                    <a:pt x="340" y="59"/>
                  </a:lnTo>
                  <a:lnTo>
                    <a:pt x="330" y="73"/>
                  </a:lnTo>
                  <a:lnTo>
                    <a:pt x="289" y="73"/>
                  </a:lnTo>
                  <a:lnTo>
                    <a:pt x="277" y="87"/>
                  </a:lnTo>
                  <a:lnTo>
                    <a:pt x="265" y="104"/>
                  </a:lnTo>
                  <a:lnTo>
                    <a:pt x="244" y="114"/>
                  </a:lnTo>
                  <a:lnTo>
                    <a:pt x="236" y="132"/>
                  </a:lnTo>
                  <a:lnTo>
                    <a:pt x="242" y="157"/>
                  </a:lnTo>
                  <a:lnTo>
                    <a:pt x="279" y="163"/>
                  </a:lnTo>
                  <a:lnTo>
                    <a:pt x="267" y="185"/>
                  </a:lnTo>
                  <a:lnTo>
                    <a:pt x="250" y="189"/>
                  </a:lnTo>
                  <a:lnTo>
                    <a:pt x="236" y="193"/>
                  </a:lnTo>
                  <a:lnTo>
                    <a:pt x="208" y="218"/>
                  </a:lnTo>
                  <a:lnTo>
                    <a:pt x="202" y="271"/>
                  </a:lnTo>
                  <a:lnTo>
                    <a:pt x="193" y="293"/>
                  </a:lnTo>
                  <a:lnTo>
                    <a:pt x="189" y="318"/>
                  </a:lnTo>
                  <a:lnTo>
                    <a:pt x="200" y="340"/>
                  </a:lnTo>
                  <a:lnTo>
                    <a:pt x="210" y="358"/>
                  </a:lnTo>
                  <a:lnTo>
                    <a:pt x="196" y="360"/>
                  </a:lnTo>
                  <a:lnTo>
                    <a:pt x="181" y="344"/>
                  </a:lnTo>
                  <a:lnTo>
                    <a:pt x="161" y="344"/>
                  </a:lnTo>
                  <a:lnTo>
                    <a:pt x="143" y="358"/>
                  </a:lnTo>
                  <a:lnTo>
                    <a:pt x="120" y="369"/>
                  </a:lnTo>
                  <a:lnTo>
                    <a:pt x="120" y="385"/>
                  </a:lnTo>
                  <a:lnTo>
                    <a:pt x="114" y="403"/>
                  </a:lnTo>
                  <a:lnTo>
                    <a:pt x="98" y="399"/>
                  </a:lnTo>
                  <a:lnTo>
                    <a:pt x="86" y="411"/>
                  </a:lnTo>
                  <a:lnTo>
                    <a:pt x="67" y="409"/>
                  </a:lnTo>
                  <a:lnTo>
                    <a:pt x="39" y="409"/>
                  </a:lnTo>
                  <a:lnTo>
                    <a:pt x="12" y="421"/>
                  </a:lnTo>
                  <a:lnTo>
                    <a:pt x="0" y="419"/>
                  </a:lnTo>
                  <a:lnTo>
                    <a:pt x="16" y="464"/>
                  </a:lnTo>
                  <a:lnTo>
                    <a:pt x="29" y="523"/>
                  </a:lnTo>
                  <a:lnTo>
                    <a:pt x="49" y="542"/>
                  </a:lnTo>
                  <a:lnTo>
                    <a:pt x="55" y="599"/>
                  </a:lnTo>
                  <a:lnTo>
                    <a:pt x="45" y="639"/>
                  </a:lnTo>
                  <a:lnTo>
                    <a:pt x="20" y="678"/>
                  </a:lnTo>
                  <a:lnTo>
                    <a:pt x="8" y="696"/>
                  </a:lnTo>
                  <a:lnTo>
                    <a:pt x="18" y="713"/>
                  </a:lnTo>
                  <a:lnTo>
                    <a:pt x="33" y="733"/>
                  </a:lnTo>
                  <a:lnTo>
                    <a:pt x="45" y="758"/>
                  </a:lnTo>
                  <a:lnTo>
                    <a:pt x="45" y="790"/>
                  </a:lnTo>
                  <a:close/>
                </a:path>
              </a:pathLst>
            </a:custGeom>
            <a:solidFill>
              <a:srgbClr val="FFFFFF"/>
            </a:solidFill>
            <a:ln w="9525">
              <a:solidFill>
                <a:srgbClr val="000000"/>
              </a:solidFill>
              <a:prstDash val="solid"/>
              <a:round/>
              <a:headEnd/>
              <a:tailEnd/>
            </a:ln>
          </p:spPr>
          <p:txBody>
            <a:bodyPr/>
            <a:lstStyle/>
            <a:p>
              <a:endParaRPr lang="cs-CZ"/>
            </a:p>
          </p:txBody>
        </p:sp>
        <p:sp>
          <p:nvSpPr>
            <p:cNvPr id="19" name="Freeform 37"/>
            <p:cNvSpPr>
              <a:spLocks/>
            </p:cNvSpPr>
            <p:nvPr/>
          </p:nvSpPr>
          <p:spPr bwMode="auto">
            <a:xfrm>
              <a:off x="3137" y="2788"/>
              <a:ext cx="210" cy="238"/>
            </a:xfrm>
            <a:custGeom>
              <a:avLst/>
              <a:gdLst>
                <a:gd name="T0" fmla="*/ 0 w 421"/>
                <a:gd name="T1" fmla="*/ 45 h 475"/>
                <a:gd name="T2" fmla="*/ 71 w 421"/>
                <a:gd name="T3" fmla="*/ 84 h 475"/>
                <a:gd name="T4" fmla="*/ 96 w 421"/>
                <a:gd name="T5" fmla="*/ 110 h 475"/>
                <a:gd name="T6" fmla="*/ 108 w 421"/>
                <a:gd name="T7" fmla="*/ 145 h 475"/>
                <a:gd name="T8" fmla="*/ 153 w 421"/>
                <a:gd name="T9" fmla="*/ 206 h 475"/>
                <a:gd name="T10" fmla="*/ 199 w 421"/>
                <a:gd name="T11" fmla="*/ 251 h 475"/>
                <a:gd name="T12" fmla="*/ 216 w 421"/>
                <a:gd name="T13" fmla="*/ 283 h 475"/>
                <a:gd name="T14" fmla="*/ 238 w 421"/>
                <a:gd name="T15" fmla="*/ 365 h 475"/>
                <a:gd name="T16" fmla="*/ 248 w 421"/>
                <a:gd name="T17" fmla="*/ 461 h 475"/>
                <a:gd name="T18" fmla="*/ 277 w 421"/>
                <a:gd name="T19" fmla="*/ 475 h 475"/>
                <a:gd name="T20" fmla="*/ 275 w 421"/>
                <a:gd name="T21" fmla="*/ 430 h 475"/>
                <a:gd name="T22" fmla="*/ 277 w 421"/>
                <a:gd name="T23" fmla="*/ 410 h 475"/>
                <a:gd name="T24" fmla="*/ 301 w 421"/>
                <a:gd name="T25" fmla="*/ 395 h 475"/>
                <a:gd name="T26" fmla="*/ 311 w 421"/>
                <a:gd name="T27" fmla="*/ 369 h 475"/>
                <a:gd name="T28" fmla="*/ 318 w 421"/>
                <a:gd name="T29" fmla="*/ 355 h 475"/>
                <a:gd name="T30" fmla="*/ 315 w 421"/>
                <a:gd name="T31" fmla="*/ 289 h 475"/>
                <a:gd name="T32" fmla="*/ 338 w 421"/>
                <a:gd name="T33" fmla="*/ 302 h 475"/>
                <a:gd name="T34" fmla="*/ 352 w 421"/>
                <a:gd name="T35" fmla="*/ 294 h 475"/>
                <a:gd name="T36" fmla="*/ 385 w 421"/>
                <a:gd name="T37" fmla="*/ 289 h 475"/>
                <a:gd name="T38" fmla="*/ 409 w 421"/>
                <a:gd name="T39" fmla="*/ 291 h 475"/>
                <a:gd name="T40" fmla="*/ 419 w 421"/>
                <a:gd name="T41" fmla="*/ 275 h 475"/>
                <a:gd name="T42" fmla="*/ 421 w 421"/>
                <a:gd name="T43" fmla="*/ 255 h 475"/>
                <a:gd name="T44" fmla="*/ 407 w 421"/>
                <a:gd name="T45" fmla="*/ 241 h 475"/>
                <a:gd name="T46" fmla="*/ 403 w 421"/>
                <a:gd name="T47" fmla="*/ 214 h 475"/>
                <a:gd name="T48" fmla="*/ 381 w 421"/>
                <a:gd name="T49" fmla="*/ 194 h 475"/>
                <a:gd name="T50" fmla="*/ 360 w 421"/>
                <a:gd name="T51" fmla="*/ 196 h 475"/>
                <a:gd name="T52" fmla="*/ 324 w 421"/>
                <a:gd name="T53" fmla="*/ 137 h 475"/>
                <a:gd name="T54" fmla="*/ 301 w 421"/>
                <a:gd name="T55" fmla="*/ 104 h 475"/>
                <a:gd name="T56" fmla="*/ 289 w 421"/>
                <a:gd name="T57" fmla="*/ 53 h 475"/>
                <a:gd name="T58" fmla="*/ 269 w 421"/>
                <a:gd name="T59" fmla="*/ 51 h 475"/>
                <a:gd name="T60" fmla="*/ 254 w 421"/>
                <a:gd name="T61" fmla="*/ 37 h 475"/>
                <a:gd name="T62" fmla="*/ 236 w 421"/>
                <a:gd name="T63" fmla="*/ 25 h 475"/>
                <a:gd name="T64" fmla="*/ 210 w 421"/>
                <a:gd name="T65" fmla="*/ 29 h 475"/>
                <a:gd name="T66" fmla="*/ 177 w 421"/>
                <a:gd name="T67" fmla="*/ 39 h 475"/>
                <a:gd name="T68" fmla="*/ 140 w 421"/>
                <a:gd name="T69" fmla="*/ 31 h 475"/>
                <a:gd name="T70" fmla="*/ 104 w 421"/>
                <a:gd name="T71" fmla="*/ 6 h 475"/>
                <a:gd name="T72" fmla="*/ 77 w 421"/>
                <a:gd name="T73" fmla="*/ 0 h 475"/>
                <a:gd name="T74" fmla="*/ 45 w 421"/>
                <a:gd name="T75" fmla="*/ 17 h 475"/>
                <a:gd name="T76" fmla="*/ 24 w 421"/>
                <a:gd name="T77" fmla="*/ 19 h 475"/>
                <a:gd name="T78" fmla="*/ 6 w 421"/>
                <a:gd name="T79" fmla="*/ 29 h 475"/>
                <a:gd name="T80" fmla="*/ 0 w 421"/>
                <a:gd name="T81" fmla="*/ 4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75">
                  <a:moveTo>
                    <a:pt x="0" y="45"/>
                  </a:moveTo>
                  <a:lnTo>
                    <a:pt x="71" y="84"/>
                  </a:lnTo>
                  <a:lnTo>
                    <a:pt x="96" y="110"/>
                  </a:lnTo>
                  <a:lnTo>
                    <a:pt x="108" y="145"/>
                  </a:lnTo>
                  <a:lnTo>
                    <a:pt x="153" y="206"/>
                  </a:lnTo>
                  <a:lnTo>
                    <a:pt x="199" y="251"/>
                  </a:lnTo>
                  <a:lnTo>
                    <a:pt x="216" y="283"/>
                  </a:lnTo>
                  <a:lnTo>
                    <a:pt x="238" y="365"/>
                  </a:lnTo>
                  <a:lnTo>
                    <a:pt x="248" y="461"/>
                  </a:lnTo>
                  <a:lnTo>
                    <a:pt x="277" y="475"/>
                  </a:lnTo>
                  <a:lnTo>
                    <a:pt x="275" y="430"/>
                  </a:lnTo>
                  <a:lnTo>
                    <a:pt x="277" y="410"/>
                  </a:lnTo>
                  <a:lnTo>
                    <a:pt x="301" y="395"/>
                  </a:lnTo>
                  <a:lnTo>
                    <a:pt x="311" y="369"/>
                  </a:lnTo>
                  <a:lnTo>
                    <a:pt x="318" y="355"/>
                  </a:lnTo>
                  <a:lnTo>
                    <a:pt x="315" y="289"/>
                  </a:lnTo>
                  <a:lnTo>
                    <a:pt x="338" y="302"/>
                  </a:lnTo>
                  <a:lnTo>
                    <a:pt x="352" y="294"/>
                  </a:lnTo>
                  <a:lnTo>
                    <a:pt x="385" y="289"/>
                  </a:lnTo>
                  <a:lnTo>
                    <a:pt x="409" y="291"/>
                  </a:lnTo>
                  <a:lnTo>
                    <a:pt x="419" y="275"/>
                  </a:lnTo>
                  <a:lnTo>
                    <a:pt x="421" y="255"/>
                  </a:lnTo>
                  <a:lnTo>
                    <a:pt x="407" y="241"/>
                  </a:lnTo>
                  <a:lnTo>
                    <a:pt x="403" y="214"/>
                  </a:lnTo>
                  <a:lnTo>
                    <a:pt x="381" y="194"/>
                  </a:lnTo>
                  <a:lnTo>
                    <a:pt x="360" y="196"/>
                  </a:lnTo>
                  <a:lnTo>
                    <a:pt x="324" y="137"/>
                  </a:lnTo>
                  <a:lnTo>
                    <a:pt x="301" y="104"/>
                  </a:lnTo>
                  <a:lnTo>
                    <a:pt x="289" y="53"/>
                  </a:lnTo>
                  <a:lnTo>
                    <a:pt x="269" y="51"/>
                  </a:lnTo>
                  <a:lnTo>
                    <a:pt x="254" y="37"/>
                  </a:lnTo>
                  <a:lnTo>
                    <a:pt x="236" y="25"/>
                  </a:lnTo>
                  <a:lnTo>
                    <a:pt x="210" y="29"/>
                  </a:lnTo>
                  <a:lnTo>
                    <a:pt x="177" y="39"/>
                  </a:lnTo>
                  <a:lnTo>
                    <a:pt x="140" y="31"/>
                  </a:lnTo>
                  <a:lnTo>
                    <a:pt x="104" y="6"/>
                  </a:lnTo>
                  <a:lnTo>
                    <a:pt x="77" y="0"/>
                  </a:lnTo>
                  <a:lnTo>
                    <a:pt x="45" y="17"/>
                  </a:lnTo>
                  <a:lnTo>
                    <a:pt x="24" y="19"/>
                  </a:lnTo>
                  <a:lnTo>
                    <a:pt x="6" y="29"/>
                  </a:lnTo>
                  <a:lnTo>
                    <a:pt x="0" y="45"/>
                  </a:lnTo>
                  <a:close/>
                </a:path>
              </a:pathLst>
            </a:custGeom>
            <a:solidFill>
              <a:srgbClr val="FFFFFF"/>
            </a:solidFill>
            <a:ln w="9525">
              <a:solidFill>
                <a:srgbClr val="000000"/>
              </a:solidFill>
              <a:prstDash val="solid"/>
              <a:round/>
              <a:headEnd/>
              <a:tailEnd/>
            </a:ln>
          </p:spPr>
          <p:txBody>
            <a:bodyPr/>
            <a:lstStyle/>
            <a:p>
              <a:endParaRPr lang="cs-CZ"/>
            </a:p>
          </p:txBody>
        </p:sp>
        <p:sp>
          <p:nvSpPr>
            <p:cNvPr id="20" name="Freeform 38"/>
            <p:cNvSpPr>
              <a:spLocks/>
            </p:cNvSpPr>
            <p:nvPr/>
          </p:nvSpPr>
          <p:spPr bwMode="auto">
            <a:xfrm>
              <a:off x="2809" y="2811"/>
              <a:ext cx="541" cy="386"/>
            </a:xfrm>
            <a:custGeom>
              <a:avLst/>
              <a:gdLst>
                <a:gd name="T0" fmla="*/ 39 w 1083"/>
                <a:gd name="T1" fmla="*/ 405 h 770"/>
                <a:gd name="T2" fmla="*/ 84 w 1083"/>
                <a:gd name="T3" fmla="*/ 389 h 770"/>
                <a:gd name="T4" fmla="*/ 108 w 1083"/>
                <a:gd name="T5" fmla="*/ 344 h 770"/>
                <a:gd name="T6" fmla="*/ 128 w 1083"/>
                <a:gd name="T7" fmla="*/ 293 h 770"/>
                <a:gd name="T8" fmla="*/ 147 w 1083"/>
                <a:gd name="T9" fmla="*/ 251 h 770"/>
                <a:gd name="T10" fmla="*/ 163 w 1083"/>
                <a:gd name="T11" fmla="*/ 202 h 770"/>
                <a:gd name="T12" fmla="*/ 181 w 1083"/>
                <a:gd name="T13" fmla="*/ 167 h 770"/>
                <a:gd name="T14" fmla="*/ 226 w 1083"/>
                <a:gd name="T15" fmla="*/ 139 h 770"/>
                <a:gd name="T16" fmla="*/ 253 w 1083"/>
                <a:gd name="T17" fmla="*/ 116 h 770"/>
                <a:gd name="T18" fmla="*/ 393 w 1083"/>
                <a:gd name="T19" fmla="*/ 96 h 770"/>
                <a:gd name="T20" fmla="*/ 424 w 1083"/>
                <a:gd name="T21" fmla="*/ 82 h 770"/>
                <a:gd name="T22" fmla="*/ 479 w 1083"/>
                <a:gd name="T23" fmla="*/ 96 h 770"/>
                <a:gd name="T24" fmla="*/ 526 w 1083"/>
                <a:gd name="T25" fmla="*/ 80 h 770"/>
                <a:gd name="T26" fmla="*/ 583 w 1083"/>
                <a:gd name="T27" fmla="*/ 61 h 770"/>
                <a:gd name="T28" fmla="*/ 707 w 1083"/>
                <a:gd name="T29" fmla="*/ 25 h 770"/>
                <a:gd name="T30" fmla="*/ 754 w 1083"/>
                <a:gd name="T31" fmla="*/ 75 h 770"/>
                <a:gd name="T32" fmla="*/ 792 w 1083"/>
                <a:gd name="T33" fmla="*/ 141 h 770"/>
                <a:gd name="T34" fmla="*/ 880 w 1083"/>
                <a:gd name="T35" fmla="*/ 271 h 770"/>
                <a:gd name="T36" fmla="*/ 894 w 1083"/>
                <a:gd name="T37" fmla="*/ 377 h 770"/>
                <a:gd name="T38" fmla="*/ 916 w 1083"/>
                <a:gd name="T39" fmla="*/ 424 h 770"/>
                <a:gd name="T40" fmla="*/ 963 w 1083"/>
                <a:gd name="T41" fmla="*/ 444 h 770"/>
                <a:gd name="T42" fmla="*/ 1033 w 1083"/>
                <a:gd name="T43" fmla="*/ 411 h 770"/>
                <a:gd name="T44" fmla="*/ 1077 w 1083"/>
                <a:gd name="T45" fmla="*/ 424 h 770"/>
                <a:gd name="T46" fmla="*/ 1081 w 1083"/>
                <a:gd name="T47" fmla="*/ 501 h 770"/>
                <a:gd name="T48" fmla="*/ 1037 w 1083"/>
                <a:gd name="T49" fmla="*/ 528 h 770"/>
                <a:gd name="T50" fmla="*/ 1006 w 1083"/>
                <a:gd name="T51" fmla="*/ 564 h 770"/>
                <a:gd name="T52" fmla="*/ 1020 w 1083"/>
                <a:gd name="T53" fmla="*/ 499 h 770"/>
                <a:gd name="T54" fmla="*/ 1000 w 1083"/>
                <a:gd name="T55" fmla="*/ 528 h 770"/>
                <a:gd name="T56" fmla="*/ 988 w 1083"/>
                <a:gd name="T57" fmla="*/ 581 h 770"/>
                <a:gd name="T58" fmla="*/ 990 w 1083"/>
                <a:gd name="T59" fmla="*/ 640 h 770"/>
                <a:gd name="T60" fmla="*/ 1000 w 1083"/>
                <a:gd name="T61" fmla="*/ 688 h 770"/>
                <a:gd name="T62" fmla="*/ 917 w 1083"/>
                <a:gd name="T63" fmla="*/ 674 h 770"/>
                <a:gd name="T64" fmla="*/ 829 w 1083"/>
                <a:gd name="T65" fmla="*/ 658 h 770"/>
                <a:gd name="T66" fmla="*/ 723 w 1083"/>
                <a:gd name="T67" fmla="*/ 705 h 770"/>
                <a:gd name="T68" fmla="*/ 633 w 1083"/>
                <a:gd name="T69" fmla="*/ 770 h 770"/>
                <a:gd name="T70" fmla="*/ 336 w 1083"/>
                <a:gd name="T71" fmla="*/ 766 h 770"/>
                <a:gd name="T72" fmla="*/ 330 w 1083"/>
                <a:gd name="T73" fmla="*/ 723 h 770"/>
                <a:gd name="T74" fmla="*/ 289 w 1083"/>
                <a:gd name="T75" fmla="*/ 723 h 770"/>
                <a:gd name="T76" fmla="*/ 281 w 1083"/>
                <a:gd name="T77" fmla="*/ 691 h 770"/>
                <a:gd name="T78" fmla="*/ 293 w 1083"/>
                <a:gd name="T79" fmla="*/ 656 h 770"/>
                <a:gd name="T80" fmla="*/ 240 w 1083"/>
                <a:gd name="T81" fmla="*/ 648 h 770"/>
                <a:gd name="T82" fmla="*/ 200 w 1083"/>
                <a:gd name="T83" fmla="*/ 640 h 770"/>
                <a:gd name="T84" fmla="*/ 139 w 1083"/>
                <a:gd name="T85" fmla="*/ 560 h 770"/>
                <a:gd name="T86" fmla="*/ 82 w 1083"/>
                <a:gd name="T87" fmla="*/ 515 h 770"/>
                <a:gd name="T88" fmla="*/ 33 w 1083"/>
                <a:gd name="T89" fmla="*/ 43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3" h="770">
                  <a:moveTo>
                    <a:pt x="0" y="428"/>
                  </a:moveTo>
                  <a:lnTo>
                    <a:pt x="39" y="405"/>
                  </a:lnTo>
                  <a:lnTo>
                    <a:pt x="67" y="395"/>
                  </a:lnTo>
                  <a:lnTo>
                    <a:pt x="84" y="389"/>
                  </a:lnTo>
                  <a:lnTo>
                    <a:pt x="98" y="375"/>
                  </a:lnTo>
                  <a:lnTo>
                    <a:pt x="108" y="344"/>
                  </a:lnTo>
                  <a:lnTo>
                    <a:pt x="124" y="326"/>
                  </a:lnTo>
                  <a:lnTo>
                    <a:pt x="128" y="293"/>
                  </a:lnTo>
                  <a:lnTo>
                    <a:pt x="149" y="275"/>
                  </a:lnTo>
                  <a:lnTo>
                    <a:pt x="147" y="251"/>
                  </a:lnTo>
                  <a:lnTo>
                    <a:pt x="169" y="234"/>
                  </a:lnTo>
                  <a:lnTo>
                    <a:pt x="163" y="202"/>
                  </a:lnTo>
                  <a:lnTo>
                    <a:pt x="179" y="204"/>
                  </a:lnTo>
                  <a:lnTo>
                    <a:pt x="181" y="167"/>
                  </a:lnTo>
                  <a:lnTo>
                    <a:pt x="198" y="145"/>
                  </a:lnTo>
                  <a:lnTo>
                    <a:pt x="226" y="139"/>
                  </a:lnTo>
                  <a:lnTo>
                    <a:pt x="242" y="139"/>
                  </a:lnTo>
                  <a:lnTo>
                    <a:pt x="253" y="116"/>
                  </a:lnTo>
                  <a:lnTo>
                    <a:pt x="255" y="96"/>
                  </a:lnTo>
                  <a:lnTo>
                    <a:pt x="393" y="96"/>
                  </a:lnTo>
                  <a:lnTo>
                    <a:pt x="411" y="94"/>
                  </a:lnTo>
                  <a:lnTo>
                    <a:pt x="424" y="82"/>
                  </a:lnTo>
                  <a:lnTo>
                    <a:pt x="458" y="90"/>
                  </a:lnTo>
                  <a:lnTo>
                    <a:pt x="479" y="96"/>
                  </a:lnTo>
                  <a:lnTo>
                    <a:pt x="493" y="102"/>
                  </a:lnTo>
                  <a:lnTo>
                    <a:pt x="526" y="80"/>
                  </a:lnTo>
                  <a:lnTo>
                    <a:pt x="552" y="65"/>
                  </a:lnTo>
                  <a:lnTo>
                    <a:pt x="583" y="61"/>
                  </a:lnTo>
                  <a:lnTo>
                    <a:pt x="656" y="0"/>
                  </a:lnTo>
                  <a:lnTo>
                    <a:pt x="707" y="25"/>
                  </a:lnTo>
                  <a:lnTo>
                    <a:pt x="741" y="53"/>
                  </a:lnTo>
                  <a:lnTo>
                    <a:pt x="754" y="75"/>
                  </a:lnTo>
                  <a:lnTo>
                    <a:pt x="762" y="98"/>
                  </a:lnTo>
                  <a:lnTo>
                    <a:pt x="792" y="141"/>
                  </a:lnTo>
                  <a:lnTo>
                    <a:pt x="857" y="212"/>
                  </a:lnTo>
                  <a:lnTo>
                    <a:pt x="880" y="271"/>
                  </a:lnTo>
                  <a:lnTo>
                    <a:pt x="892" y="332"/>
                  </a:lnTo>
                  <a:lnTo>
                    <a:pt x="894" y="377"/>
                  </a:lnTo>
                  <a:lnTo>
                    <a:pt x="904" y="416"/>
                  </a:lnTo>
                  <a:lnTo>
                    <a:pt x="916" y="424"/>
                  </a:lnTo>
                  <a:lnTo>
                    <a:pt x="943" y="440"/>
                  </a:lnTo>
                  <a:lnTo>
                    <a:pt x="963" y="444"/>
                  </a:lnTo>
                  <a:lnTo>
                    <a:pt x="1000" y="430"/>
                  </a:lnTo>
                  <a:lnTo>
                    <a:pt x="1033" y="411"/>
                  </a:lnTo>
                  <a:lnTo>
                    <a:pt x="1063" y="405"/>
                  </a:lnTo>
                  <a:lnTo>
                    <a:pt x="1077" y="424"/>
                  </a:lnTo>
                  <a:lnTo>
                    <a:pt x="1083" y="464"/>
                  </a:lnTo>
                  <a:lnTo>
                    <a:pt x="1081" y="501"/>
                  </a:lnTo>
                  <a:lnTo>
                    <a:pt x="1057" y="521"/>
                  </a:lnTo>
                  <a:lnTo>
                    <a:pt x="1037" y="528"/>
                  </a:lnTo>
                  <a:lnTo>
                    <a:pt x="1020" y="558"/>
                  </a:lnTo>
                  <a:lnTo>
                    <a:pt x="1006" y="564"/>
                  </a:lnTo>
                  <a:lnTo>
                    <a:pt x="1020" y="528"/>
                  </a:lnTo>
                  <a:lnTo>
                    <a:pt x="1020" y="499"/>
                  </a:lnTo>
                  <a:lnTo>
                    <a:pt x="992" y="491"/>
                  </a:lnTo>
                  <a:lnTo>
                    <a:pt x="1000" y="528"/>
                  </a:lnTo>
                  <a:lnTo>
                    <a:pt x="1002" y="556"/>
                  </a:lnTo>
                  <a:lnTo>
                    <a:pt x="988" y="581"/>
                  </a:lnTo>
                  <a:lnTo>
                    <a:pt x="992" y="611"/>
                  </a:lnTo>
                  <a:lnTo>
                    <a:pt x="990" y="640"/>
                  </a:lnTo>
                  <a:lnTo>
                    <a:pt x="998" y="662"/>
                  </a:lnTo>
                  <a:lnTo>
                    <a:pt x="1000" y="688"/>
                  </a:lnTo>
                  <a:lnTo>
                    <a:pt x="959" y="695"/>
                  </a:lnTo>
                  <a:lnTo>
                    <a:pt x="917" y="674"/>
                  </a:lnTo>
                  <a:lnTo>
                    <a:pt x="857" y="674"/>
                  </a:lnTo>
                  <a:lnTo>
                    <a:pt x="829" y="658"/>
                  </a:lnTo>
                  <a:lnTo>
                    <a:pt x="802" y="660"/>
                  </a:lnTo>
                  <a:lnTo>
                    <a:pt x="723" y="705"/>
                  </a:lnTo>
                  <a:lnTo>
                    <a:pt x="654" y="764"/>
                  </a:lnTo>
                  <a:lnTo>
                    <a:pt x="633" y="770"/>
                  </a:lnTo>
                  <a:lnTo>
                    <a:pt x="515" y="764"/>
                  </a:lnTo>
                  <a:lnTo>
                    <a:pt x="336" y="766"/>
                  </a:lnTo>
                  <a:lnTo>
                    <a:pt x="326" y="741"/>
                  </a:lnTo>
                  <a:lnTo>
                    <a:pt x="330" y="723"/>
                  </a:lnTo>
                  <a:lnTo>
                    <a:pt x="304" y="713"/>
                  </a:lnTo>
                  <a:lnTo>
                    <a:pt x="289" y="723"/>
                  </a:lnTo>
                  <a:lnTo>
                    <a:pt x="285" y="713"/>
                  </a:lnTo>
                  <a:lnTo>
                    <a:pt x="281" y="691"/>
                  </a:lnTo>
                  <a:lnTo>
                    <a:pt x="269" y="674"/>
                  </a:lnTo>
                  <a:lnTo>
                    <a:pt x="293" y="656"/>
                  </a:lnTo>
                  <a:lnTo>
                    <a:pt x="267" y="634"/>
                  </a:lnTo>
                  <a:lnTo>
                    <a:pt x="240" y="648"/>
                  </a:lnTo>
                  <a:lnTo>
                    <a:pt x="230" y="640"/>
                  </a:lnTo>
                  <a:lnTo>
                    <a:pt x="200" y="640"/>
                  </a:lnTo>
                  <a:lnTo>
                    <a:pt x="159" y="617"/>
                  </a:lnTo>
                  <a:lnTo>
                    <a:pt x="139" y="560"/>
                  </a:lnTo>
                  <a:lnTo>
                    <a:pt x="108" y="552"/>
                  </a:lnTo>
                  <a:lnTo>
                    <a:pt x="82" y="515"/>
                  </a:lnTo>
                  <a:lnTo>
                    <a:pt x="59" y="466"/>
                  </a:lnTo>
                  <a:lnTo>
                    <a:pt x="33" y="438"/>
                  </a:lnTo>
                  <a:lnTo>
                    <a:pt x="0" y="428"/>
                  </a:lnTo>
                  <a:close/>
                </a:path>
              </a:pathLst>
            </a:custGeom>
            <a:solidFill>
              <a:srgbClr val="D0D0D0"/>
            </a:solidFill>
            <a:ln w="9525">
              <a:solidFill>
                <a:srgbClr val="000000"/>
              </a:solidFill>
              <a:prstDash val="solid"/>
              <a:round/>
              <a:headEnd/>
              <a:tailEnd/>
            </a:ln>
          </p:spPr>
          <p:txBody>
            <a:bodyPr/>
            <a:lstStyle/>
            <a:p>
              <a:endParaRPr lang="cs-CZ"/>
            </a:p>
          </p:txBody>
        </p:sp>
        <p:sp>
          <p:nvSpPr>
            <p:cNvPr id="21" name="Freeform 39"/>
            <p:cNvSpPr>
              <a:spLocks/>
            </p:cNvSpPr>
            <p:nvPr/>
          </p:nvSpPr>
          <p:spPr bwMode="auto">
            <a:xfrm>
              <a:off x="2948" y="3141"/>
              <a:ext cx="362" cy="252"/>
            </a:xfrm>
            <a:custGeom>
              <a:avLst/>
              <a:gdLst>
                <a:gd name="T0" fmla="*/ 134 w 723"/>
                <a:gd name="T1" fmla="*/ 505 h 505"/>
                <a:gd name="T2" fmla="*/ 196 w 723"/>
                <a:gd name="T3" fmla="*/ 487 h 505"/>
                <a:gd name="T4" fmla="*/ 242 w 723"/>
                <a:gd name="T5" fmla="*/ 474 h 505"/>
                <a:gd name="T6" fmla="*/ 306 w 723"/>
                <a:gd name="T7" fmla="*/ 452 h 505"/>
                <a:gd name="T8" fmla="*/ 356 w 723"/>
                <a:gd name="T9" fmla="*/ 477 h 505"/>
                <a:gd name="T10" fmla="*/ 413 w 723"/>
                <a:gd name="T11" fmla="*/ 485 h 505"/>
                <a:gd name="T12" fmla="*/ 481 w 723"/>
                <a:gd name="T13" fmla="*/ 432 h 505"/>
                <a:gd name="T14" fmla="*/ 493 w 723"/>
                <a:gd name="T15" fmla="*/ 387 h 505"/>
                <a:gd name="T16" fmla="*/ 527 w 723"/>
                <a:gd name="T17" fmla="*/ 371 h 505"/>
                <a:gd name="T18" fmla="*/ 582 w 723"/>
                <a:gd name="T19" fmla="*/ 344 h 505"/>
                <a:gd name="T20" fmla="*/ 625 w 723"/>
                <a:gd name="T21" fmla="*/ 352 h 505"/>
                <a:gd name="T22" fmla="*/ 678 w 723"/>
                <a:gd name="T23" fmla="*/ 344 h 505"/>
                <a:gd name="T24" fmla="*/ 694 w 723"/>
                <a:gd name="T25" fmla="*/ 324 h 505"/>
                <a:gd name="T26" fmla="*/ 652 w 723"/>
                <a:gd name="T27" fmla="*/ 277 h 505"/>
                <a:gd name="T28" fmla="*/ 652 w 723"/>
                <a:gd name="T29" fmla="*/ 224 h 505"/>
                <a:gd name="T30" fmla="*/ 662 w 723"/>
                <a:gd name="T31" fmla="*/ 161 h 505"/>
                <a:gd name="T32" fmla="*/ 676 w 723"/>
                <a:gd name="T33" fmla="*/ 118 h 505"/>
                <a:gd name="T34" fmla="*/ 723 w 723"/>
                <a:gd name="T35" fmla="*/ 85 h 505"/>
                <a:gd name="T36" fmla="*/ 682 w 723"/>
                <a:gd name="T37" fmla="*/ 37 h 505"/>
                <a:gd name="T38" fmla="*/ 644 w 723"/>
                <a:gd name="T39" fmla="*/ 18 h 505"/>
                <a:gd name="T40" fmla="*/ 560 w 723"/>
                <a:gd name="T41" fmla="*/ 2 h 505"/>
                <a:gd name="T42" fmla="*/ 456 w 723"/>
                <a:gd name="T43" fmla="*/ 39 h 505"/>
                <a:gd name="T44" fmla="*/ 352 w 723"/>
                <a:gd name="T45" fmla="*/ 110 h 505"/>
                <a:gd name="T46" fmla="*/ 222 w 723"/>
                <a:gd name="T47" fmla="*/ 108 h 505"/>
                <a:gd name="T48" fmla="*/ 53 w 723"/>
                <a:gd name="T49" fmla="*/ 88 h 505"/>
                <a:gd name="T50" fmla="*/ 31 w 723"/>
                <a:gd name="T51" fmla="*/ 59 h 505"/>
                <a:gd name="T52" fmla="*/ 0 w 723"/>
                <a:gd name="T53" fmla="*/ 83 h 505"/>
                <a:gd name="T54" fmla="*/ 41 w 723"/>
                <a:gd name="T55" fmla="*/ 214 h 505"/>
                <a:gd name="T56" fmla="*/ 18 w 723"/>
                <a:gd name="T57" fmla="*/ 309 h 505"/>
                <a:gd name="T58" fmla="*/ 49 w 723"/>
                <a:gd name="T59" fmla="*/ 381 h 505"/>
                <a:gd name="T60" fmla="*/ 82 w 723"/>
                <a:gd name="T61" fmla="*/ 417 h 505"/>
                <a:gd name="T62" fmla="*/ 100 w 723"/>
                <a:gd name="T63" fmla="*/ 46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505">
                  <a:moveTo>
                    <a:pt x="100" y="505"/>
                  </a:moveTo>
                  <a:lnTo>
                    <a:pt x="134" y="505"/>
                  </a:lnTo>
                  <a:lnTo>
                    <a:pt x="159" y="491"/>
                  </a:lnTo>
                  <a:lnTo>
                    <a:pt x="196" y="487"/>
                  </a:lnTo>
                  <a:lnTo>
                    <a:pt x="230" y="485"/>
                  </a:lnTo>
                  <a:lnTo>
                    <a:pt x="242" y="474"/>
                  </a:lnTo>
                  <a:lnTo>
                    <a:pt x="271" y="466"/>
                  </a:lnTo>
                  <a:lnTo>
                    <a:pt x="306" y="452"/>
                  </a:lnTo>
                  <a:lnTo>
                    <a:pt x="328" y="472"/>
                  </a:lnTo>
                  <a:lnTo>
                    <a:pt x="356" y="477"/>
                  </a:lnTo>
                  <a:lnTo>
                    <a:pt x="377" y="485"/>
                  </a:lnTo>
                  <a:lnTo>
                    <a:pt x="413" y="485"/>
                  </a:lnTo>
                  <a:lnTo>
                    <a:pt x="462" y="468"/>
                  </a:lnTo>
                  <a:lnTo>
                    <a:pt x="481" y="432"/>
                  </a:lnTo>
                  <a:lnTo>
                    <a:pt x="475" y="399"/>
                  </a:lnTo>
                  <a:lnTo>
                    <a:pt x="493" y="387"/>
                  </a:lnTo>
                  <a:lnTo>
                    <a:pt x="505" y="389"/>
                  </a:lnTo>
                  <a:lnTo>
                    <a:pt x="527" y="371"/>
                  </a:lnTo>
                  <a:lnTo>
                    <a:pt x="550" y="364"/>
                  </a:lnTo>
                  <a:lnTo>
                    <a:pt x="582" y="344"/>
                  </a:lnTo>
                  <a:lnTo>
                    <a:pt x="597" y="338"/>
                  </a:lnTo>
                  <a:lnTo>
                    <a:pt x="625" y="352"/>
                  </a:lnTo>
                  <a:lnTo>
                    <a:pt x="652" y="350"/>
                  </a:lnTo>
                  <a:lnTo>
                    <a:pt x="678" y="344"/>
                  </a:lnTo>
                  <a:lnTo>
                    <a:pt x="695" y="344"/>
                  </a:lnTo>
                  <a:lnTo>
                    <a:pt x="694" y="324"/>
                  </a:lnTo>
                  <a:lnTo>
                    <a:pt x="672" y="305"/>
                  </a:lnTo>
                  <a:lnTo>
                    <a:pt x="652" y="277"/>
                  </a:lnTo>
                  <a:lnTo>
                    <a:pt x="631" y="254"/>
                  </a:lnTo>
                  <a:lnTo>
                    <a:pt x="652" y="224"/>
                  </a:lnTo>
                  <a:lnTo>
                    <a:pt x="672" y="204"/>
                  </a:lnTo>
                  <a:lnTo>
                    <a:pt x="662" y="161"/>
                  </a:lnTo>
                  <a:lnTo>
                    <a:pt x="670" y="138"/>
                  </a:lnTo>
                  <a:lnTo>
                    <a:pt x="676" y="118"/>
                  </a:lnTo>
                  <a:lnTo>
                    <a:pt x="695" y="102"/>
                  </a:lnTo>
                  <a:lnTo>
                    <a:pt x="723" y="85"/>
                  </a:lnTo>
                  <a:lnTo>
                    <a:pt x="721" y="30"/>
                  </a:lnTo>
                  <a:lnTo>
                    <a:pt x="682" y="37"/>
                  </a:lnTo>
                  <a:lnTo>
                    <a:pt x="654" y="26"/>
                  </a:lnTo>
                  <a:lnTo>
                    <a:pt x="644" y="18"/>
                  </a:lnTo>
                  <a:lnTo>
                    <a:pt x="578" y="12"/>
                  </a:lnTo>
                  <a:lnTo>
                    <a:pt x="560" y="2"/>
                  </a:lnTo>
                  <a:lnTo>
                    <a:pt x="523" y="0"/>
                  </a:lnTo>
                  <a:lnTo>
                    <a:pt x="456" y="39"/>
                  </a:lnTo>
                  <a:lnTo>
                    <a:pt x="377" y="100"/>
                  </a:lnTo>
                  <a:lnTo>
                    <a:pt x="352" y="110"/>
                  </a:lnTo>
                  <a:lnTo>
                    <a:pt x="265" y="104"/>
                  </a:lnTo>
                  <a:lnTo>
                    <a:pt x="222" y="108"/>
                  </a:lnTo>
                  <a:lnTo>
                    <a:pt x="65" y="108"/>
                  </a:lnTo>
                  <a:lnTo>
                    <a:pt x="53" y="88"/>
                  </a:lnTo>
                  <a:lnTo>
                    <a:pt x="57" y="65"/>
                  </a:lnTo>
                  <a:lnTo>
                    <a:pt x="31" y="59"/>
                  </a:lnTo>
                  <a:lnTo>
                    <a:pt x="10" y="73"/>
                  </a:lnTo>
                  <a:lnTo>
                    <a:pt x="0" y="83"/>
                  </a:lnTo>
                  <a:lnTo>
                    <a:pt x="0" y="155"/>
                  </a:lnTo>
                  <a:lnTo>
                    <a:pt x="41" y="214"/>
                  </a:lnTo>
                  <a:lnTo>
                    <a:pt x="61" y="240"/>
                  </a:lnTo>
                  <a:lnTo>
                    <a:pt x="18" y="309"/>
                  </a:lnTo>
                  <a:lnTo>
                    <a:pt x="20" y="366"/>
                  </a:lnTo>
                  <a:lnTo>
                    <a:pt x="49" y="381"/>
                  </a:lnTo>
                  <a:lnTo>
                    <a:pt x="69" y="395"/>
                  </a:lnTo>
                  <a:lnTo>
                    <a:pt x="82" y="417"/>
                  </a:lnTo>
                  <a:lnTo>
                    <a:pt x="94" y="446"/>
                  </a:lnTo>
                  <a:lnTo>
                    <a:pt x="100" y="466"/>
                  </a:lnTo>
                  <a:lnTo>
                    <a:pt x="100" y="505"/>
                  </a:lnTo>
                  <a:close/>
                </a:path>
              </a:pathLst>
            </a:custGeom>
            <a:solidFill>
              <a:srgbClr val="D0D0D0"/>
            </a:solidFill>
            <a:ln w="9525">
              <a:solidFill>
                <a:srgbClr val="000000"/>
              </a:solidFill>
              <a:prstDash val="solid"/>
              <a:round/>
              <a:headEnd/>
              <a:tailEnd/>
            </a:ln>
          </p:spPr>
          <p:txBody>
            <a:bodyPr/>
            <a:lstStyle/>
            <a:p>
              <a:endParaRPr lang="cs-CZ"/>
            </a:p>
          </p:txBody>
        </p:sp>
        <p:sp>
          <p:nvSpPr>
            <p:cNvPr id="22" name="Freeform 40"/>
            <p:cNvSpPr>
              <a:spLocks/>
            </p:cNvSpPr>
            <p:nvPr/>
          </p:nvSpPr>
          <p:spPr bwMode="auto">
            <a:xfrm>
              <a:off x="2851" y="3322"/>
              <a:ext cx="146" cy="124"/>
            </a:xfrm>
            <a:custGeom>
              <a:avLst/>
              <a:gdLst>
                <a:gd name="T0" fmla="*/ 4 w 291"/>
                <a:gd name="T1" fmla="*/ 55 h 247"/>
                <a:gd name="T2" fmla="*/ 30 w 291"/>
                <a:gd name="T3" fmla="*/ 55 h 247"/>
                <a:gd name="T4" fmla="*/ 32 w 291"/>
                <a:gd name="T5" fmla="*/ 29 h 247"/>
                <a:gd name="T6" fmla="*/ 57 w 291"/>
                <a:gd name="T7" fmla="*/ 13 h 247"/>
                <a:gd name="T8" fmla="*/ 85 w 291"/>
                <a:gd name="T9" fmla="*/ 23 h 247"/>
                <a:gd name="T10" fmla="*/ 105 w 291"/>
                <a:gd name="T11" fmla="*/ 9 h 247"/>
                <a:gd name="T12" fmla="*/ 134 w 291"/>
                <a:gd name="T13" fmla="*/ 11 h 247"/>
                <a:gd name="T14" fmla="*/ 156 w 291"/>
                <a:gd name="T15" fmla="*/ 3 h 247"/>
                <a:gd name="T16" fmla="*/ 207 w 291"/>
                <a:gd name="T17" fmla="*/ 0 h 247"/>
                <a:gd name="T18" fmla="*/ 238 w 291"/>
                <a:gd name="T19" fmla="*/ 17 h 247"/>
                <a:gd name="T20" fmla="*/ 266 w 291"/>
                <a:gd name="T21" fmla="*/ 45 h 247"/>
                <a:gd name="T22" fmla="*/ 281 w 291"/>
                <a:gd name="T23" fmla="*/ 76 h 247"/>
                <a:gd name="T24" fmla="*/ 291 w 291"/>
                <a:gd name="T25" fmla="*/ 113 h 247"/>
                <a:gd name="T26" fmla="*/ 291 w 291"/>
                <a:gd name="T27" fmla="*/ 141 h 247"/>
                <a:gd name="T28" fmla="*/ 275 w 291"/>
                <a:gd name="T29" fmla="*/ 155 h 247"/>
                <a:gd name="T30" fmla="*/ 248 w 291"/>
                <a:gd name="T31" fmla="*/ 182 h 247"/>
                <a:gd name="T32" fmla="*/ 201 w 291"/>
                <a:gd name="T33" fmla="*/ 184 h 247"/>
                <a:gd name="T34" fmla="*/ 146 w 291"/>
                <a:gd name="T35" fmla="*/ 222 h 247"/>
                <a:gd name="T36" fmla="*/ 128 w 291"/>
                <a:gd name="T37" fmla="*/ 233 h 247"/>
                <a:gd name="T38" fmla="*/ 91 w 291"/>
                <a:gd name="T39" fmla="*/ 235 h 247"/>
                <a:gd name="T40" fmla="*/ 71 w 291"/>
                <a:gd name="T41" fmla="*/ 247 h 247"/>
                <a:gd name="T42" fmla="*/ 46 w 291"/>
                <a:gd name="T43" fmla="*/ 235 h 247"/>
                <a:gd name="T44" fmla="*/ 10 w 291"/>
                <a:gd name="T45" fmla="*/ 190 h 247"/>
                <a:gd name="T46" fmla="*/ 0 w 291"/>
                <a:gd name="T47" fmla="*/ 141 h 247"/>
                <a:gd name="T48" fmla="*/ 0 w 291"/>
                <a:gd name="T49" fmla="*/ 94 h 247"/>
                <a:gd name="T50" fmla="*/ 4 w 291"/>
                <a:gd name="T51" fmla="*/ 5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1" h="247">
                  <a:moveTo>
                    <a:pt x="4" y="55"/>
                  </a:moveTo>
                  <a:lnTo>
                    <a:pt x="30" y="55"/>
                  </a:lnTo>
                  <a:lnTo>
                    <a:pt x="32" y="29"/>
                  </a:lnTo>
                  <a:lnTo>
                    <a:pt x="57" y="13"/>
                  </a:lnTo>
                  <a:lnTo>
                    <a:pt x="85" y="23"/>
                  </a:lnTo>
                  <a:lnTo>
                    <a:pt x="105" y="9"/>
                  </a:lnTo>
                  <a:lnTo>
                    <a:pt x="134" y="11"/>
                  </a:lnTo>
                  <a:lnTo>
                    <a:pt x="156" y="3"/>
                  </a:lnTo>
                  <a:lnTo>
                    <a:pt x="207" y="0"/>
                  </a:lnTo>
                  <a:lnTo>
                    <a:pt x="238" y="17"/>
                  </a:lnTo>
                  <a:lnTo>
                    <a:pt x="266" y="45"/>
                  </a:lnTo>
                  <a:lnTo>
                    <a:pt x="281" y="76"/>
                  </a:lnTo>
                  <a:lnTo>
                    <a:pt x="291" y="113"/>
                  </a:lnTo>
                  <a:lnTo>
                    <a:pt x="291" y="141"/>
                  </a:lnTo>
                  <a:lnTo>
                    <a:pt x="275" y="155"/>
                  </a:lnTo>
                  <a:lnTo>
                    <a:pt x="248" y="182"/>
                  </a:lnTo>
                  <a:lnTo>
                    <a:pt x="201" y="184"/>
                  </a:lnTo>
                  <a:lnTo>
                    <a:pt x="146" y="222"/>
                  </a:lnTo>
                  <a:lnTo>
                    <a:pt x="128" y="233"/>
                  </a:lnTo>
                  <a:lnTo>
                    <a:pt x="91" y="235"/>
                  </a:lnTo>
                  <a:lnTo>
                    <a:pt x="71" y="247"/>
                  </a:lnTo>
                  <a:lnTo>
                    <a:pt x="46" y="235"/>
                  </a:lnTo>
                  <a:lnTo>
                    <a:pt x="10" y="190"/>
                  </a:lnTo>
                  <a:lnTo>
                    <a:pt x="0" y="141"/>
                  </a:lnTo>
                  <a:lnTo>
                    <a:pt x="0" y="94"/>
                  </a:lnTo>
                  <a:lnTo>
                    <a:pt x="4" y="55"/>
                  </a:lnTo>
                  <a:close/>
                </a:path>
              </a:pathLst>
            </a:custGeom>
            <a:solidFill>
              <a:srgbClr val="FA0000"/>
            </a:solidFill>
            <a:ln w="9525">
              <a:solidFill>
                <a:srgbClr val="000000"/>
              </a:solidFill>
              <a:prstDash val="solid"/>
              <a:round/>
              <a:headEnd/>
              <a:tailEnd/>
            </a:ln>
          </p:spPr>
          <p:txBody>
            <a:bodyPr/>
            <a:lstStyle/>
            <a:p>
              <a:endParaRPr lang="cs-CZ"/>
            </a:p>
          </p:txBody>
        </p:sp>
        <p:sp>
          <p:nvSpPr>
            <p:cNvPr id="23" name="Freeform 41"/>
            <p:cNvSpPr>
              <a:spLocks/>
            </p:cNvSpPr>
            <p:nvPr/>
          </p:nvSpPr>
          <p:spPr bwMode="auto">
            <a:xfrm>
              <a:off x="2777" y="3308"/>
              <a:ext cx="111" cy="236"/>
            </a:xfrm>
            <a:custGeom>
              <a:avLst/>
              <a:gdLst>
                <a:gd name="T0" fmla="*/ 0 w 222"/>
                <a:gd name="T1" fmla="*/ 134 h 474"/>
                <a:gd name="T2" fmla="*/ 18 w 222"/>
                <a:gd name="T3" fmla="*/ 83 h 474"/>
                <a:gd name="T4" fmla="*/ 0 w 222"/>
                <a:gd name="T5" fmla="*/ 59 h 474"/>
                <a:gd name="T6" fmla="*/ 16 w 222"/>
                <a:gd name="T7" fmla="*/ 33 h 474"/>
                <a:gd name="T8" fmla="*/ 16 w 222"/>
                <a:gd name="T9" fmla="*/ 22 h 474"/>
                <a:gd name="T10" fmla="*/ 45 w 222"/>
                <a:gd name="T11" fmla="*/ 0 h 474"/>
                <a:gd name="T12" fmla="*/ 81 w 222"/>
                <a:gd name="T13" fmla="*/ 18 h 474"/>
                <a:gd name="T14" fmla="*/ 90 w 222"/>
                <a:gd name="T15" fmla="*/ 14 h 474"/>
                <a:gd name="T16" fmla="*/ 94 w 222"/>
                <a:gd name="T17" fmla="*/ 33 h 474"/>
                <a:gd name="T18" fmla="*/ 149 w 222"/>
                <a:gd name="T19" fmla="*/ 67 h 474"/>
                <a:gd name="T20" fmla="*/ 161 w 222"/>
                <a:gd name="T21" fmla="*/ 90 h 474"/>
                <a:gd name="T22" fmla="*/ 149 w 222"/>
                <a:gd name="T23" fmla="*/ 159 h 474"/>
                <a:gd name="T24" fmla="*/ 153 w 222"/>
                <a:gd name="T25" fmla="*/ 202 h 474"/>
                <a:gd name="T26" fmla="*/ 171 w 222"/>
                <a:gd name="T27" fmla="*/ 236 h 474"/>
                <a:gd name="T28" fmla="*/ 206 w 222"/>
                <a:gd name="T29" fmla="*/ 277 h 474"/>
                <a:gd name="T30" fmla="*/ 222 w 222"/>
                <a:gd name="T31" fmla="*/ 301 h 474"/>
                <a:gd name="T32" fmla="*/ 218 w 222"/>
                <a:gd name="T33" fmla="*/ 332 h 474"/>
                <a:gd name="T34" fmla="*/ 193 w 222"/>
                <a:gd name="T35" fmla="*/ 369 h 474"/>
                <a:gd name="T36" fmla="*/ 177 w 222"/>
                <a:gd name="T37" fmla="*/ 401 h 474"/>
                <a:gd name="T38" fmla="*/ 161 w 222"/>
                <a:gd name="T39" fmla="*/ 415 h 474"/>
                <a:gd name="T40" fmla="*/ 151 w 222"/>
                <a:gd name="T41" fmla="*/ 440 h 474"/>
                <a:gd name="T42" fmla="*/ 134 w 222"/>
                <a:gd name="T43" fmla="*/ 466 h 474"/>
                <a:gd name="T44" fmla="*/ 124 w 222"/>
                <a:gd name="T45" fmla="*/ 474 h 474"/>
                <a:gd name="T46" fmla="*/ 98 w 222"/>
                <a:gd name="T47" fmla="*/ 462 h 474"/>
                <a:gd name="T48" fmla="*/ 94 w 222"/>
                <a:gd name="T49" fmla="*/ 440 h 474"/>
                <a:gd name="T50" fmla="*/ 85 w 222"/>
                <a:gd name="T51" fmla="*/ 426 h 474"/>
                <a:gd name="T52" fmla="*/ 57 w 222"/>
                <a:gd name="T53" fmla="*/ 417 h 474"/>
                <a:gd name="T54" fmla="*/ 45 w 222"/>
                <a:gd name="T55" fmla="*/ 413 h 474"/>
                <a:gd name="T56" fmla="*/ 28 w 222"/>
                <a:gd name="T57" fmla="*/ 403 h 474"/>
                <a:gd name="T58" fmla="*/ 22 w 222"/>
                <a:gd name="T59" fmla="*/ 385 h 474"/>
                <a:gd name="T60" fmla="*/ 14 w 222"/>
                <a:gd name="T61" fmla="*/ 375 h 474"/>
                <a:gd name="T62" fmla="*/ 2 w 222"/>
                <a:gd name="T63" fmla="*/ 352 h 474"/>
                <a:gd name="T64" fmla="*/ 24 w 222"/>
                <a:gd name="T65" fmla="*/ 352 h 474"/>
                <a:gd name="T66" fmla="*/ 24 w 222"/>
                <a:gd name="T67" fmla="*/ 328 h 474"/>
                <a:gd name="T68" fmla="*/ 12 w 222"/>
                <a:gd name="T69" fmla="*/ 316 h 474"/>
                <a:gd name="T70" fmla="*/ 6 w 222"/>
                <a:gd name="T71" fmla="*/ 263 h 474"/>
                <a:gd name="T72" fmla="*/ 10 w 222"/>
                <a:gd name="T73" fmla="*/ 248 h 474"/>
                <a:gd name="T74" fmla="*/ 24 w 222"/>
                <a:gd name="T75" fmla="*/ 234 h 474"/>
                <a:gd name="T76" fmla="*/ 20 w 222"/>
                <a:gd name="T77" fmla="*/ 218 h 474"/>
                <a:gd name="T78" fmla="*/ 10 w 222"/>
                <a:gd name="T79" fmla="*/ 197 h 474"/>
                <a:gd name="T80" fmla="*/ 20 w 222"/>
                <a:gd name="T81" fmla="*/ 173 h 474"/>
                <a:gd name="T82" fmla="*/ 30 w 222"/>
                <a:gd name="T83" fmla="*/ 155 h 474"/>
                <a:gd name="T84" fmla="*/ 26 w 222"/>
                <a:gd name="T85" fmla="*/ 136 h 474"/>
                <a:gd name="T86" fmla="*/ 0 w 222"/>
                <a:gd name="T87" fmla="*/ 13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2" h="474">
                  <a:moveTo>
                    <a:pt x="0" y="134"/>
                  </a:moveTo>
                  <a:lnTo>
                    <a:pt x="18" y="83"/>
                  </a:lnTo>
                  <a:lnTo>
                    <a:pt x="0" y="59"/>
                  </a:lnTo>
                  <a:lnTo>
                    <a:pt x="16" y="33"/>
                  </a:lnTo>
                  <a:lnTo>
                    <a:pt x="16" y="22"/>
                  </a:lnTo>
                  <a:lnTo>
                    <a:pt x="45" y="0"/>
                  </a:lnTo>
                  <a:lnTo>
                    <a:pt x="81" y="18"/>
                  </a:lnTo>
                  <a:lnTo>
                    <a:pt x="90" y="14"/>
                  </a:lnTo>
                  <a:lnTo>
                    <a:pt x="94" y="33"/>
                  </a:lnTo>
                  <a:lnTo>
                    <a:pt x="149" y="67"/>
                  </a:lnTo>
                  <a:lnTo>
                    <a:pt x="161" y="90"/>
                  </a:lnTo>
                  <a:lnTo>
                    <a:pt x="149" y="159"/>
                  </a:lnTo>
                  <a:lnTo>
                    <a:pt x="153" y="202"/>
                  </a:lnTo>
                  <a:lnTo>
                    <a:pt x="171" y="236"/>
                  </a:lnTo>
                  <a:lnTo>
                    <a:pt x="206" y="277"/>
                  </a:lnTo>
                  <a:lnTo>
                    <a:pt x="222" y="301"/>
                  </a:lnTo>
                  <a:lnTo>
                    <a:pt x="218" y="332"/>
                  </a:lnTo>
                  <a:lnTo>
                    <a:pt x="193" y="369"/>
                  </a:lnTo>
                  <a:lnTo>
                    <a:pt x="177" y="401"/>
                  </a:lnTo>
                  <a:lnTo>
                    <a:pt x="161" y="415"/>
                  </a:lnTo>
                  <a:lnTo>
                    <a:pt x="151" y="440"/>
                  </a:lnTo>
                  <a:lnTo>
                    <a:pt x="134" y="466"/>
                  </a:lnTo>
                  <a:lnTo>
                    <a:pt x="124" y="474"/>
                  </a:lnTo>
                  <a:lnTo>
                    <a:pt x="98" y="462"/>
                  </a:lnTo>
                  <a:lnTo>
                    <a:pt x="94" y="440"/>
                  </a:lnTo>
                  <a:lnTo>
                    <a:pt x="85" y="426"/>
                  </a:lnTo>
                  <a:lnTo>
                    <a:pt x="57" y="417"/>
                  </a:lnTo>
                  <a:lnTo>
                    <a:pt x="45" y="413"/>
                  </a:lnTo>
                  <a:lnTo>
                    <a:pt x="28" y="403"/>
                  </a:lnTo>
                  <a:lnTo>
                    <a:pt x="22" y="385"/>
                  </a:lnTo>
                  <a:lnTo>
                    <a:pt x="14" y="375"/>
                  </a:lnTo>
                  <a:lnTo>
                    <a:pt x="2" y="352"/>
                  </a:lnTo>
                  <a:lnTo>
                    <a:pt x="24" y="352"/>
                  </a:lnTo>
                  <a:lnTo>
                    <a:pt x="24" y="328"/>
                  </a:lnTo>
                  <a:lnTo>
                    <a:pt x="12" y="316"/>
                  </a:lnTo>
                  <a:lnTo>
                    <a:pt x="6" y="263"/>
                  </a:lnTo>
                  <a:lnTo>
                    <a:pt x="10" y="248"/>
                  </a:lnTo>
                  <a:lnTo>
                    <a:pt x="24" y="234"/>
                  </a:lnTo>
                  <a:lnTo>
                    <a:pt x="20" y="218"/>
                  </a:lnTo>
                  <a:lnTo>
                    <a:pt x="10" y="197"/>
                  </a:lnTo>
                  <a:lnTo>
                    <a:pt x="20" y="173"/>
                  </a:lnTo>
                  <a:lnTo>
                    <a:pt x="30" y="155"/>
                  </a:lnTo>
                  <a:lnTo>
                    <a:pt x="26" y="136"/>
                  </a:lnTo>
                  <a:lnTo>
                    <a:pt x="0" y="134"/>
                  </a:lnTo>
                  <a:close/>
                </a:path>
              </a:pathLst>
            </a:custGeom>
            <a:solidFill>
              <a:srgbClr val="FA0000"/>
            </a:solidFill>
            <a:ln w="9525">
              <a:solidFill>
                <a:srgbClr val="000000"/>
              </a:solidFill>
              <a:prstDash val="solid"/>
              <a:round/>
              <a:headEnd/>
              <a:tailEnd/>
            </a:ln>
          </p:spPr>
          <p:txBody>
            <a:bodyPr/>
            <a:lstStyle/>
            <a:p>
              <a:endParaRPr lang="cs-CZ"/>
            </a:p>
          </p:txBody>
        </p:sp>
        <p:sp>
          <p:nvSpPr>
            <p:cNvPr id="24" name="Freeform 42"/>
            <p:cNvSpPr>
              <a:spLocks/>
            </p:cNvSpPr>
            <p:nvPr/>
          </p:nvSpPr>
          <p:spPr bwMode="auto">
            <a:xfrm>
              <a:off x="2665" y="3228"/>
              <a:ext cx="167" cy="145"/>
            </a:xfrm>
            <a:custGeom>
              <a:avLst/>
              <a:gdLst>
                <a:gd name="T0" fmla="*/ 10 w 334"/>
                <a:gd name="T1" fmla="*/ 137 h 291"/>
                <a:gd name="T2" fmla="*/ 39 w 334"/>
                <a:gd name="T3" fmla="*/ 139 h 291"/>
                <a:gd name="T4" fmla="*/ 67 w 334"/>
                <a:gd name="T5" fmla="*/ 159 h 291"/>
                <a:gd name="T6" fmla="*/ 90 w 334"/>
                <a:gd name="T7" fmla="*/ 175 h 291"/>
                <a:gd name="T8" fmla="*/ 122 w 334"/>
                <a:gd name="T9" fmla="*/ 192 h 291"/>
                <a:gd name="T10" fmla="*/ 147 w 334"/>
                <a:gd name="T11" fmla="*/ 208 h 291"/>
                <a:gd name="T12" fmla="*/ 187 w 334"/>
                <a:gd name="T13" fmla="*/ 240 h 291"/>
                <a:gd name="T14" fmla="*/ 212 w 334"/>
                <a:gd name="T15" fmla="*/ 273 h 291"/>
                <a:gd name="T16" fmla="*/ 224 w 334"/>
                <a:gd name="T17" fmla="*/ 291 h 291"/>
                <a:gd name="T18" fmla="*/ 230 w 334"/>
                <a:gd name="T19" fmla="*/ 259 h 291"/>
                <a:gd name="T20" fmla="*/ 238 w 334"/>
                <a:gd name="T21" fmla="*/ 242 h 291"/>
                <a:gd name="T22" fmla="*/ 224 w 334"/>
                <a:gd name="T23" fmla="*/ 218 h 291"/>
                <a:gd name="T24" fmla="*/ 236 w 334"/>
                <a:gd name="T25" fmla="*/ 202 h 291"/>
                <a:gd name="T26" fmla="*/ 238 w 334"/>
                <a:gd name="T27" fmla="*/ 187 h 291"/>
                <a:gd name="T28" fmla="*/ 257 w 334"/>
                <a:gd name="T29" fmla="*/ 173 h 291"/>
                <a:gd name="T30" fmla="*/ 267 w 334"/>
                <a:gd name="T31" fmla="*/ 159 h 291"/>
                <a:gd name="T32" fmla="*/ 289 w 334"/>
                <a:gd name="T33" fmla="*/ 171 h 291"/>
                <a:gd name="T34" fmla="*/ 303 w 334"/>
                <a:gd name="T35" fmla="*/ 175 h 291"/>
                <a:gd name="T36" fmla="*/ 314 w 334"/>
                <a:gd name="T37" fmla="*/ 167 h 291"/>
                <a:gd name="T38" fmla="*/ 314 w 334"/>
                <a:gd name="T39" fmla="*/ 145 h 291"/>
                <a:gd name="T40" fmla="*/ 297 w 334"/>
                <a:gd name="T41" fmla="*/ 134 h 291"/>
                <a:gd name="T42" fmla="*/ 334 w 334"/>
                <a:gd name="T43" fmla="*/ 130 h 291"/>
                <a:gd name="T44" fmla="*/ 328 w 334"/>
                <a:gd name="T45" fmla="*/ 112 h 291"/>
                <a:gd name="T46" fmla="*/ 293 w 334"/>
                <a:gd name="T47" fmla="*/ 92 h 291"/>
                <a:gd name="T48" fmla="*/ 289 w 334"/>
                <a:gd name="T49" fmla="*/ 63 h 291"/>
                <a:gd name="T50" fmla="*/ 250 w 334"/>
                <a:gd name="T51" fmla="*/ 35 h 291"/>
                <a:gd name="T52" fmla="*/ 214 w 334"/>
                <a:gd name="T53" fmla="*/ 24 h 291"/>
                <a:gd name="T54" fmla="*/ 206 w 334"/>
                <a:gd name="T55" fmla="*/ 0 h 291"/>
                <a:gd name="T56" fmla="*/ 187 w 334"/>
                <a:gd name="T57" fmla="*/ 10 h 291"/>
                <a:gd name="T58" fmla="*/ 161 w 334"/>
                <a:gd name="T59" fmla="*/ 8 h 291"/>
                <a:gd name="T60" fmla="*/ 187 w 334"/>
                <a:gd name="T61" fmla="*/ 39 h 291"/>
                <a:gd name="T62" fmla="*/ 177 w 334"/>
                <a:gd name="T63" fmla="*/ 57 h 291"/>
                <a:gd name="T64" fmla="*/ 161 w 334"/>
                <a:gd name="T65" fmla="*/ 41 h 291"/>
                <a:gd name="T66" fmla="*/ 147 w 334"/>
                <a:gd name="T67" fmla="*/ 39 h 291"/>
                <a:gd name="T68" fmla="*/ 136 w 334"/>
                <a:gd name="T69" fmla="*/ 55 h 291"/>
                <a:gd name="T70" fmla="*/ 130 w 334"/>
                <a:gd name="T71" fmla="*/ 94 h 291"/>
                <a:gd name="T72" fmla="*/ 116 w 334"/>
                <a:gd name="T73" fmla="*/ 102 h 291"/>
                <a:gd name="T74" fmla="*/ 116 w 334"/>
                <a:gd name="T75" fmla="*/ 128 h 291"/>
                <a:gd name="T76" fmla="*/ 124 w 334"/>
                <a:gd name="T77" fmla="*/ 159 h 291"/>
                <a:gd name="T78" fmla="*/ 116 w 334"/>
                <a:gd name="T79" fmla="*/ 169 h 291"/>
                <a:gd name="T80" fmla="*/ 104 w 334"/>
                <a:gd name="T81" fmla="*/ 161 h 291"/>
                <a:gd name="T82" fmla="*/ 57 w 334"/>
                <a:gd name="T83" fmla="*/ 134 h 291"/>
                <a:gd name="T84" fmla="*/ 32 w 334"/>
                <a:gd name="T85" fmla="*/ 120 h 291"/>
                <a:gd name="T86" fmla="*/ 10 w 334"/>
                <a:gd name="T87" fmla="*/ 110 h 291"/>
                <a:gd name="T88" fmla="*/ 0 w 334"/>
                <a:gd name="T89" fmla="*/ 124 h 291"/>
                <a:gd name="T90" fmla="*/ 10 w 334"/>
                <a:gd name="T91" fmla="*/ 13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291">
                  <a:moveTo>
                    <a:pt x="10" y="137"/>
                  </a:moveTo>
                  <a:lnTo>
                    <a:pt x="39" y="139"/>
                  </a:lnTo>
                  <a:lnTo>
                    <a:pt x="67" y="159"/>
                  </a:lnTo>
                  <a:lnTo>
                    <a:pt x="90" y="175"/>
                  </a:lnTo>
                  <a:lnTo>
                    <a:pt x="122" y="192"/>
                  </a:lnTo>
                  <a:lnTo>
                    <a:pt x="147" y="208"/>
                  </a:lnTo>
                  <a:lnTo>
                    <a:pt x="187" y="240"/>
                  </a:lnTo>
                  <a:lnTo>
                    <a:pt x="212" y="273"/>
                  </a:lnTo>
                  <a:lnTo>
                    <a:pt x="224" y="291"/>
                  </a:lnTo>
                  <a:lnTo>
                    <a:pt x="230" y="259"/>
                  </a:lnTo>
                  <a:lnTo>
                    <a:pt x="238" y="242"/>
                  </a:lnTo>
                  <a:lnTo>
                    <a:pt x="224" y="218"/>
                  </a:lnTo>
                  <a:lnTo>
                    <a:pt x="236" y="202"/>
                  </a:lnTo>
                  <a:lnTo>
                    <a:pt x="238" y="187"/>
                  </a:lnTo>
                  <a:lnTo>
                    <a:pt x="257" y="173"/>
                  </a:lnTo>
                  <a:lnTo>
                    <a:pt x="267" y="159"/>
                  </a:lnTo>
                  <a:lnTo>
                    <a:pt x="289" y="171"/>
                  </a:lnTo>
                  <a:lnTo>
                    <a:pt x="303" y="175"/>
                  </a:lnTo>
                  <a:lnTo>
                    <a:pt x="314" y="167"/>
                  </a:lnTo>
                  <a:lnTo>
                    <a:pt x="314" y="145"/>
                  </a:lnTo>
                  <a:lnTo>
                    <a:pt x="297" y="134"/>
                  </a:lnTo>
                  <a:lnTo>
                    <a:pt x="334" y="130"/>
                  </a:lnTo>
                  <a:lnTo>
                    <a:pt x="328" y="112"/>
                  </a:lnTo>
                  <a:lnTo>
                    <a:pt x="293" y="92"/>
                  </a:lnTo>
                  <a:lnTo>
                    <a:pt x="289" y="63"/>
                  </a:lnTo>
                  <a:lnTo>
                    <a:pt x="250" y="35"/>
                  </a:lnTo>
                  <a:lnTo>
                    <a:pt x="214" y="24"/>
                  </a:lnTo>
                  <a:lnTo>
                    <a:pt x="206" y="0"/>
                  </a:lnTo>
                  <a:lnTo>
                    <a:pt x="187" y="10"/>
                  </a:lnTo>
                  <a:lnTo>
                    <a:pt x="161" y="8"/>
                  </a:lnTo>
                  <a:lnTo>
                    <a:pt x="187" y="39"/>
                  </a:lnTo>
                  <a:lnTo>
                    <a:pt x="177" y="57"/>
                  </a:lnTo>
                  <a:lnTo>
                    <a:pt x="161" y="41"/>
                  </a:lnTo>
                  <a:lnTo>
                    <a:pt x="147" y="39"/>
                  </a:lnTo>
                  <a:lnTo>
                    <a:pt x="136" y="55"/>
                  </a:lnTo>
                  <a:lnTo>
                    <a:pt x="130" y="94"/>
                  </a:lnTo>
                  <a:lnTo>
                    <a:pt x="116" y="102"/>
                  </a:lnTo>
                  <a:lnTo>
                    <a:pt x="116" y="128"/>
                  </a:lnTo>
                  <a:lnTo>
                    <a:pt x="124" y="159"/>
                  </a:lnTo>
                  <a:lnTo>
                    <a:pt x="116" y="169"/>
                  </a:lnTo>
                  <a:lnTo>
                    <a:pt x="104" y="161"/>
                  </a:lnTo>
                  <a:lnTo>
                    <a:pt x="57" y="134"/>
                  </a:lnTo>
                  <a:lnTo>
                    <a:pt x="32" y="120"/>
                  </a:lnTo>
                  <a:lnTo>
                    <a:pt x="10" y="110"/>
                  </a:lnTo>
                  <a:lnTo>
                    <a:pt x="0" y="124"/>
                  </a:lnTo>
                  <a:lnTo>
                    <a:pt x="10" y="137"/>
                  </a:lnTo>
                  <a:close/>
                </a:path>
              </a:pathLst>
            </a:custGeom>
            <a:solidFill>
              <a:srgbClr val="FFFFFF"/>
            </a:solidFill>
            <a:ln w="9525">
              <a:solidFill>
                <a:srgbClr val="000000"/>
              </a:solidFill>
              <a:prstDash val="solid"/>
              <a:round/>
              <a:headEnd/>
              <a:tailEnd/>
            </a:ln>
          </p:spPr>
          <p:txBody>
            <a:bodyPr/>
            <a:lstStyle/>
            <a:p>
              <a:endParaRPr lang="cs-CZ"/>
            </a:p>
          </p:txBody>
        </p:sp>
        <p:sp>
          <p:nvSpPr>
            <p:cNvPr id="25" name="Freeform 43"/>
            <p:cNvSpPr>
              <a:spLocks/>
            </p:cNvSpPr>
            <p:nvPr/>
          </p:nvSpPr>
          <p:spPr bwMode="auto">
            <a:xfrm>
              <a:off x="2429" y="2992"/>
              <a:ext cx="336" cy="308"/>
            </a:xfrm>
            <a:custGeom>
              <a:avLst/>
              <a:gdLst>
                <a:gd name="T0" fmla="*/ 15 w 671"/>
                <a:gd name="T1" fmla="*/ 203 h 615"/>
                <a:gd name="T2" fmla="*/ 84 w 671"/>
                <a:gd name="T3" fmla="*/ 199 h 615"/>
                <a:gd name="T4" fmla="*/ 111 w 671"/>
                <a:gd name="T5" fmla="*/ 163 h 615"/>
                <a:gd name="T6" fmla="*/ 123 w 671"/>
                <a:gd name="T7" fmla="*/ 160 h 615"/>
                <a:gd name="T8" fmla="*/ 125 w 671"/>
                <a:gd name="T9" fmla="*/ 163 h 615"/>
                <a:gd name="T10" fmla="*/ 170 w 671"/>
                <a:gd name="T11" fmla="*/ 199 h 615"/>
                <a:gd name="T12" fmla="*/ 202 w 671"/>
                <a:gd name="T13" fmla="*/ 205 h 615"/>
                <a:gd name="T14" fmla="*/ 208 w 671"/>
                <a:gd name="T15" fmla="*/ 156 h 615"/>
                <a:gd name="T16" fmla="*/ 249 w 671"/>
                <a:gd name="T17" fmla="*/ 124 h 615"/>
                <a:gd name="T18" fmla="*/ 239 w 671"/>
                <a:gd name="T19" fmla="*/ 69 h 615"/>
                <a:gd name="T20" fmla="*/ 292 w 671"/>
                <a:gd name="T21" fmla="*/ 36 h 615"/>
                <a:gd name="T22" fmla="*/ 298 w 671"/>
                <a:gd name="T23" fmla="*/ 14 h 615"/>
                <a:gd name="T24" fmla="*/ 335 w 671"/>
                <a:gd name="T25" fmla="*/ 20 h 615"/>
                <a:gd name="T26" fmla="*/ 400 w 671"/>
                <a:gd name="T27" fmla="*/ 65 h 615"/>
                <a:gd name="T28" fmla="*/ 451 w 671"/>
                <a:gd name="T29" fmla="*/ 108 h 615"/>
                <a:gd name="T30" fmla="*/ 528 w 671"/>
                <a:gd name="T31" fmla="*/ 130 h 615"/>
                <a:gd name="T32" fmla="*/ 599 w 671"/>
                <a:gd name="T33" fmla="*/ 103 h 615"/>
                <a:gd name="T34" fmla="*/ 616 w 671"/>
                <a:gd name="T35" fmla="*/ 152 h 615"/>
                <a:gd name="T36" fmla="*/ 652 w 671"/>
                <a:gd name="T37" fmla="*/ 193 h 615"/>
                <a:gd name="T38" fmla="*/ 646 w 671"/>
                <a:gd name="T39" fmla="*/ 211 h 615"/>
                <a:gd name="T40" fmla="*/ 642 w 671"/>
                <a:gd name="T41" fmla="*/ 246 h 615"/>
                <a:gd name="T42" fmla="*/ 607 w 671"/>
                <a:gd name="T43" fmla="*/ 256 h 615"/>
                <a:gd name="T44" fmla="*/ 581 w 671"/>
                <a:gd name="T45" fmla="*/ 228 h 615"/>
                <a:gd name="T46" fmla="*/ 544 w 671"/>
                <a:gd name="T47" fmla="*/ 226 h 615"/>
                <a:gd name="T48" fmla="*/ 510 w 671"/>
                <a:gd name="T49" fmla="*/ 224 h 615"/>
                <a:gd name="T50" fmla="*/ 475 w 671"/>
                <a:gd name="T51" fmla="*/ 218 h 615"/>
                <a:gd name="T52" fmla="*/ 398 w 671"/>
                <a:gd name="T53" fmla="*/ 199 h 615"/>
                <a:gd name="T54" fmla="*/ 341 w 671"/>
                <a:gd name="T55" fmla="*/ 207 h 615"/>
                <a:gd name="T56" fmla="*/ 290 w 671"/>
                <a:gd name="T57" fmla="*/ 207 h 615"/>
                <a:gd name="T58" fmla="*/ 255 w 671"/>
                <a:gd name="T59" fmla="*/ 242 h 615"/>
                <a:gd name="T60" fmla="*/ 288 w 671"/>
                <a:gd name="T61" fmla="*/ 299 h 615"/>
                <a:gd name="T62" fmla="*/ 300 w 671"/>
                <a:gd name="T63" fmla="*/ 360 h 615"/>
                <a:gd name="T64" fmla="*/ 353 w 671"/>
                <a:gd name="T65" fmla="*/ 411 h 615"/>
                <a:gd name="T66" fmla="*/ 440 w 671"/>
                <a:gd name="T67" fmla="*/ 531 h 615"/>
                <a:gd name="T68" fmla="*/ 475 w 671"/>
                <a:gd name="T69" fmla="*/ 586 h 615"/>
                <a:gd name="T70" fmla="*/ 471 w 671"/>
                <a:gd name="T71" fmla="*/ 615 h 615"/>
                <a:gd name="T72" fmla="*/ 451 w 671"/>
                <a:gd name="T73" fmla="*/ 602 h 615"/>
                <a:gd name="T74" fmla="*/ 422 w 671"/>
                <a:gd name="T75" fmla="*/ 598 h 615"/>
                <a:gd name="T76" fmla="*/ 379 w 671"/>
                <a:gd name="T77" fmla="*/ 588 h 615"/>
                <a:gd name="T78" fmla="*/ 430 w 671"/>
                <a:gd name="T79" fmla="*/ 574 h 615"/>
                <a:gd name="T80" fmla="*/ 408 w 671"/>
                <a:gd name="T81" fmla="*/ 533 h 615"/>
                <a:gd name="T82" fmla="*/ 391 w 671"/>
                <a:gd name="T83" fmla="*/ 535 h 615"/>
                <a:gd name="T84" fmla="*/ 349 w 671"/>
                <a:gd name="T85" fmla="*/ 543 h 615"/>
                <a:gd name="T86" fmla="*/ 334 w 671"/>
                <a:gd name="T87" fmla="*/ 525 h 615"/>
                <a:gd name="T88" fmla="*/ 282 w 671"/>
                <a:gd name="T89" fmla="*/ 503 h 615"/>
                <a:gd name="T90" fmla="*/ 273 w 671"/>
                <a:gd name="T91" fmla="*/ 486 h 615"/>
                <a:gd name="T92" fmla="*/ 257 w 671"/>
                <a:gd name="T93" fmla="*/ 464 h 615"/>
                <a:gd name="T94" fmla="*/ 233 w 671"/>
                <a:gd name="T95" fmla="*/ 442 h 615"/>
                <a:gd name="T96" fmla="*/ 204 w 671"/>
                <a:gd name="T97" fmla="*/ 417 h 615"/>
                <a:gd name="T98" fmla="*/ 190 w 671"/>
                <a:gd name="T99" fmla="*/ 384 h 615"/>
                <a:gd name="T100" fmla="*/ 218 w 671"/>
                <a:gd name="T101" fmla="*/ 368 h 615"/>
                <a:gd name="T102" fmla="*/ 190 w 671"/>
                <a:gd name="T103" fmla="*/ 356 h 615"/>
                <a:gd name="T104" fmla="*/ 165 w 671"/>
                <a:gd name="T105" fmla="*/ 305 h 615"/>
                <a:gd name="T106" fmla="*/ 155 w 671"/>
                <a:gd name="T107" fmla="*/ 250 h 615"/>
                <a:gd name="T108" fmla="*/ 102 w 671"/>
                <a:gd name="T109" fmla="*/ 207 h 615"/>
                <a:gd name="T110" fmla="*/ 78 w 671"/>
                <a:gd name="T111" fmla="*/ 262 h 615"/>
                <a:gd name="T112" fmla="*/ 49 w 671"/>
                <a:gd name="T113" fmla="*/ 293 h 615"/>
                <a:gd name="T114" fmla="*/ 19 w 671"/>
                <a:gd name="T115" fmla="*/ 244 h 615"/>
                <a:gd name="T116" fmla="*/ 3 w 671"/>
                <a:gd name="T117" fmla="*/ 20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0" y="187"/>
                  </a:moveTo>
                  <a:lnTo>
                    <a:pt x="15" y="203"/>
                  </a:lnTo>
                  <a:lnTo>
                    <a:pt x="62" y="193"/>
                  </a:lnTo>
                  <a:lnTo>
                    <a:pt x="84" y="199"/>
                  </a:lnTo>
                  <a:lnTo>
                    <a:pt x="102" y="183"/>
                  </a:lnTo>
                  <a:lnTo>
                    <a:pt x="111" y="163"/>
                  </a:lnTo>
                  <a:lnTo>
                    <a:pt x="119" y="161"/>
                  </a:lnTo>
                  <a:lnTo>
                    <a:pt x="123" y="160"/>
                  </a:lnTo>
                  <a:lnTo>
                    <a:pt x="125" y="160"/>
                  </a:lnTo>
                  <a:lnTo>
                    <a:pt x="125" y="163"/>
                  </a:lnTo>
                  <a:lnTo>
                    <a:pt x="147" y="193"/>
                  </a:lnTo>
                  <a:lnTo>
                    <a:pt x="170" y="199"/>
                  </a:lnTo>
                  <a:lnTo>
                    <a:pt x="184" y="217"/>
                  </a:lnTo>
                  <a:lnTo>
                    <a:pt x="202" y="205"/>
                  </a:lnTo>
                  <a:lnTo>
                    <a:pt x="200" y="175"/>
                  </a:lnTo>
                  <a:lnTo>
                    <a:pt x="208" y="156"/>
                  </a:lnTo>
                  <a:lnTo>
                    <a:pt x="229" y="142"/>
                  </a:lnTo>
                  <a:lnTo>
                    <a:pt x="249" y="124"/>
                  </a:lnTo>
                  <a:lnTo>
                    <a:pt x="251" y="99"/>
                  </a:lnTo>
                  <a:lnTo>
                    <a:pt x="239" y="69"/>
                  </a:lnTo>
                  <a:lnTo>
                    <a:pt x="275" y="55"/>
                  </a:lnTo>
                  <a:lnTo>
                    <a:pt x="292" y="36"/>
                  </a:lnTo>
                  <a:lnTo>
                    <a:pt x="310" y="40"/>
                  </a:lnTo>
                  <a:lnTo>
                    <a:pt x="298" y="14"/>
                  </a:lnTo>
                  <a:lnTo>
                    <a:pt x="314" y="0"/>
                  </a:lnTo>
                  <a:lnTo>
                    <a:pt x="335" y="20"/>
                  </a:lnTo>
                  <a:lnTo>
                    <a:pt x="367" y="28"/>
                  </a:lnTo>
                  <a:lnTo>
                    <a:pt x="400" y="65"/>
                  </a:lnTo>
                  <a:lnTo>
                    <a:pt x="428" y="73"/>
                  </a:lnTo>
                  <a:lnTo>
                    <a:pt x="451" y="108"/>
                  </a:lnTo>
                  <a:lnTo>
                    <a:pt x="487" y="124"/>
                  </a:lnTo>
                  <a:lnTo>
                    <a:pt x="528" y="130"/>
                  </a:lnTo>
                  <a:lnTo>
                    <a:pt x="563" y="116"/>
                  </a:lnTo>
                  <a:lnTo>
                    <a:pt x="599" y="103"/>
                  </a:lnTo>
                  <a:lnTo>
                    <a:pt x="609" y="130"/>
                  </a:lnTo>
                  <a:lnTo>
                    <a:pt x="616" y="152"/>
                  </a:lnTo>
                  <a:lnTo>
                    <a:pt x="626" y="191"/>
                  </a:lnTo>
                  <a:lnTo>
                    <a:pt x="652" y="193"/>
                  </a:lnTo>
                  <a:lnTo>
                    <a:pt x="671" y="199"/>
                  </a:lnTo>
                  <a:lnTo>
                    <a:pt x="646" y="211"/>
                  </a:lnTo>
                  <a:lnTo>
                    <a:pt x="642" y="232"/>
                  </a:lnTo>
                  <a:lnTo>
                    <a:pt x="642" y="246"/>
                  </a:lnTo>
                  <a:lnTo>
                    <a:pt x="626" y="258"/>
                  </a:lnTo>
                  <a:lnTo>
                    <a:pt x="607" y="256"/>
                  </a:lnTo>
                  <a:lnTo>
                    <a:pt x="603" y="232"/>
                  </a:lnTo>
                  <a:lnTo>
                    <a:pt x="581" y="228"/>
                  </a:lnTo>
                  <a:lnTo>
                    <a:pt x="565" y="220"/>
                  </a:lnTo>
                  <a:lnTo>
                    <a:pt x="544" y="226"/>
                  </a:lnTo>
                  <a:lnTo>
                    <a:pt x="530" y="226"/>
                  </a:lnTo>
                  <a:lnTo>
                    <a:pt x="510" y="224"/>
                  </a:lnTo>
                  <a:lnTo>
                    <a:pt x="495" y="234"/>
                  </a:lnTo>
                  <a:lnTo>
                    <a:pt x="475" y="218"/>
                  </a:lnTo>
                  <a:lnTo>
                    <a:pt x="412" y="215"/>
                  </a:lnTo>
                  <a:lnTo>
                    <a:pt x="398" y="199"/>
                  </a:lnTo>
                  <a:lnTo>
                    <a:pt x="377" y="211"/>
                  </a:lnTo>
                  <a:lnTo>
                    <a:pt x="341" y="207"/>
                  </a:lnTo>
                  <a:lnTo>
                    <a:pt x="318" y="242"/>
                  </a:lnTo>
                  <a:lnTo>
                    <a:pt x="290" y="207"/>
                  </a:lnTo>
                  <a:lnTo>
                    <a:pt x="265" y="207"/>
                  </a:lnTo>
                  <a:lnTo>
                    <a:pt x="255" y="242"/>
                  </a:lnTo>
                  <a:lnTo>
                    <a:pt x="261" y="277"/>
                  </a:lnTo>
                  <a:lnTo>
                    <a:pt x="288" y="299"/>
                  </a:lnTo>
                  <a:lnTo>
                    <a:pt x="302" y="321"/>
                  </a:lnTo>
                  <a:lnTo>
                    <a:pt x="300" y="360"/>
                  </a:lnTo>
                  <a:lnTo>
                    <a:pt x="332" y="393"/>
                  </a:lnTo>
                  <a:lnTo>
                    <a:pt x="353" y="411"/>
                  </a:lnTo>
                  <a:lnTo>
                    <a:pt x="424" y="494"/>
                  </a:lnTo>
                  <a:lnTo>
                    <a:pt x="440" y="531"/>
                  </a:lnTo>
                  <a:lnTo>
                    <a:pt x="475" y="566"/>
                  </a:lnTo>
                  <a:lnTo>
                    <a:pt x="475" y="586"/>
                  </a:lnTo>
                  <a:lnTo>
                    <a:pt x="475" y="600"/>
                  </a:lnTo>
                  <a:lnTo>
                    <a:pt x="471" y="615"/>
                  </a:lnTo>
                  <a:lnTo>
                    <a:pt x="461" y="600"/>
                  </a:lnTo>
                  <a:lnTo>
                    <a:pt x="451" y="602"/>
                  </a:lnTo>
                  <a:lnTo>
                    <a:pt x="440" y="586"/>
                  </a:lnTo>
                  <a:lnTo>
                    <a:pt x="422" y="598"/>
                  </a:lnTo>
                  <a:lnTo>
                    <a:pt x="369" y="600"/>
                  </a:lnTo>
                  <a:lnTo>
                    <a:pt x="379" y="588"/>
                  </a:lnTo>
                  <a:lnTo>
                    <a:pt x="414" y="588"/>
                  </a:lnTo>
                  <a:lnTo>
                    <a:pt x="430" y="574"/>
                  </a:lnTo>
                  <a:lnTo>
                    <a:pt x="420" y="547"/>
                  </a:lnTo>
                  <a:lnTo>
                    <a:pt x="408" y="533"/>
                  </a:lnTo>
                  <a:lnTo>
                    <a:pt x="398" y="523"/>
                  </a:lnTo>
                  <a:lnTo>
                    <a:pt x="391" y="535"/>
                  </a:lnTo>
                  <a:lnTo>
                    <a:pt x="373" y="545"/>
                  </a:lnTo>
                  <a:lnTo>
                    <a:pt x="349" y="543"/>
                  </a:lnTo>
                  <a:lnTo>
                    <a:pt x="339" y="539"/>
                  </a:lnTo>
                  <a:lnTo>
                    <a:pt x="334" y="525"/>
                  </a:lnTo>
                  <a:lnTo>
                    <a:pt x="343" y="507"/>
                  </a:lnTo>
                  <a:lnTo>
                    <a:pt x="282" y="503"/>
                  </a:lnTo>
                  <a:lnTo>
                    <a:pt x="288" y="482"/>
                  </a:lnTo>
                  <a:lnTo>
                    <a:pt x="273" y="486"/>
                  </a:lnTo>
                  <a:lnTo>
                    <a:pt x="271" y="464"/>
                  </a:lnTo>
                  <a:lnTo>
                    <a:pt x="257" y="464"/>
                  </a:lnTo>
                  <a:lnTo>
                    <a:pt x="251" y="450"/>
                  </a:lnTo>
                  <a:lnTo>
                    <a:pt x="233" y="442"/>
                  </a:lnTo>
                  <a:lnTo>
                    <a:pt x="216" y="433"/>
                  </a:lnTo>
                  <a:lnTo>
                    <a:pt x="204" y="417"/>
                  </a:lnTo>
                  <a:lnTo>
                    <a:pt x="190" y="399"/>
                  </a:lnTo>
                  <a:lnTo>
                    <a:pt x="190" y="384"/>
                  </a:lnTo>
                  <a:lnTo>
                    <a:pt x="196" y="372"/>
                  </a:lnTo>
                  <a:lnTo>
                    <a:pt x="218" y="368"/>
                  </a:lnTo>
                  <a:lnTo>
                    <a:pt x="229" y="374"/>
                  </a:lnTo>
                  <a:lnTo>
                    <a:pt x="190" y="356"/>
                  </a:lnTo>
                  <a:lnTo>
                    <a:pt x="170" y="329"/>
                  </a:lnTo>
                  <a:lnTo>
                    <a:pt x="165" y="305"/>
                  </a:lnTo>
                  <a:lnTo>
                    <a:pt x="155" y="273"/>
                  </a:lnTo>
                  <a:lnTo>
                    <a:pt x="155" y="250"/>
                  </a:lnTo>
                  <a:lnTo>
                    <a:pt x="133" y="232"/>
                  </a:lnTo>
                  <a:lnTo>
                    <a:pt x="102" y="207"/>
                  </a:lnTo>
                  <a:lnTo>
                    <a:pt x="86" y="240"/>
                  </a:lnTo>
                  <a:lnTo>
                    <a:pt x="78" y="262"/>
                  </a:lnTo>
                  <a:lnTo>
                    <a:pt x="64" y="281"/>
                  </a:lnTo>
                  <a:lnTo>
                    <a:pt x="49" y="293"/>
                  </a:lnTo>
                  <a:lnTo>
                    <a:pt x="35" y="275"/>
                  </a:lnTo>
                  <a:lnTo>
                    <a:pt x="19" y="244"/>
                  </a:lnTo>
                  <a:lnTo>
                    <a:pt x="11" y="226"/>
                  </a:lnTo>
                  <a:lnTo>
                    <a:pt x="3" y="203"/>
                  </a:lnTo>
                  <a:lnTo>
                    <a:pt x="0" y="187"/>
                  </a:lnTo>
                  <a:close/>
                </a:path>
              </a:pathLst>
            </a:custGeom>
            <a:solidFill>
              <a:srgbClr val="FA0000"/>
            </a:solidFill>
            <a:ln w="9525">
              <a:solidFill>
                <a:srgbClr val="000000"/>
              </a:solidFill>
              <a:prstDash val="solid"/>
              <a:round/>
              <a:headEnd/>
              <a:tailEnd/>
            </a:ln>
          </p:spPr>
          <p:txBody>
            <a:bodyPr/>
            <a:lstStyle/>
            <a:p>
              <a:endParaRPr lang="cs-CZ"/>
            </a:p>
          </p:txBody>
        </p:sp>
        <p:sp>
          <p:nvSpPr>
            <p:cNvPr id="26" name="Freeform 44"/>
            <p:cNvSpPr>
              <a:spLocks/>
            </p:cNvSpPr>
            <p:nvPr/>
          </p:nvSpPr>
          <p:spPr bwMode="auto">
            <a:xfrm>
              <a:off x="2557" y="3091"/>
              <a:ext cx="228" cy="222"/>
            </a:xfrm>
            <a:custGeom>
              <a:avLst/>
              <a:gdLst>
                <a:gd name="T0" fmla="*/ 424 w 456"/>
                <a:gd name="T1" fmla="*/ 63 h 444"/>
                <a:gd name="T2" fmla="*/ 393 w 456"/>
                <a:gd name="T3" fmla="*/ 118 h 444"/>
                <a:gd name="T4" fmla="*/ 397 w 456"/>
                <a:gd name="T5" fmla="*/ 155 h 444"/>
                <a:gd name="T6" fmla="*/ 436 w 456"/>
                <a:gd name="T7" fmla="*/ 175 h 444"/>
                <a:gd name="T8" fmla="*/ 456 w 456"/>
                <a:gd name="T9" fmla="*/ 202 h 444"/>
                <a:gd name="T10" fmla="*/ 454 w 456"/>
                <a:gd name="T11" fmla="*/ 249 h 444"/>
                <a:gd name="T12" fmla="*/ 411 w 456"/>
                <a:gd name="T13" fmla="*/ 285 h 444"/>
                <a:gd name="T14" fmla="*/ 397 w 456"/>
                <a:gd name="T15" fmla="*/ 310 h 444"/>
                <a:gd name="T16" fmla="*/ 381 w 456"/>
                <a:gd name="T17" fmla="*/ 314 h 444"/>
                <a:gd name="T18" fmla="*/ 350 w 456"/>
                <a:gd name="T19" fmla="*/ 332 h 444"/>
                <a:gd name="T20" fmla="*/ 332 w 456"/>
                <a:gd name="T21" fmla="*/ 371 h 444"/>
                <a:gd name="T22" fmla="*/ 332 w 456"/>
                <a:gd name="T23" fmla="*/ 416 h 444"/>
                <a:gd name="T24" fmla="*/ 332 w 456"/>
                <a:gd name="T25" fmla="*/ 444 h 444"/>
                <a:gd name="T26" fmla="*/ 253 w 456"/>
                <a:gd name="T27" fmla="*/ 399 h 444"/>
                <a:gd name="T28" fmla="*/ 218 w 456"/>
                <a:gd name="T29" fmla="*/ 387 h 444"/>
                <a:gd name="T30" fmla="*/ 190 w 456"/>
                <a:gd name="T31" fmla="*/ 338 h 444"/>
                <a:gd name="T32" fmla="*/ 169 w 456"/>
                <a:gd name="T33" fmla="*/ 295 h 444"/>
                <a:gd name="T34" fmla="*/ 116 w 456"/>
                <a:gd name="T35" fmla="*/ 241 h 444"/>
                <a:gd name="T36" fmla="*/ 69 w 456"/>
                <a:gd name="T37" fmla="*/ 190 h 444"/>
                <a:gd name="T38" fmla="*/ 43 w 456"/>
                <a:gd name="T39" fmla="*/ 161 h 444"/>
                <a:gd name="T40" fmla="*/ 29 w 456"/>
                <a:gd name="T41" fmla="*/ 96 h 444"/>
                <a:gd name="T42" fmla="*/ 0 w 456"/>
                <a:gd name="T43" fmla="*/ 63 h 444"/>
                <a:gd name="T44" fmla="*/ 10 w 456"/>
                <a:gd name="T45" fmla="*/ 10 h 444"/>
                <a:gd name="T46" fmla="*/ 67 w 456"/>
                <a:gd name="T47" fmla="*/ 45 h 444"/>
                <a:gd name="T48" fmla="*/ 128 w 456"/>
                <a:gd name="T49" fmla="*/ 14 h 444"/>
                <a:gd name="T50" fmla="*/ 161 w 456"/>
                <a:gd name="T51" fmla="*/ 19 h 444"/>
                <a:gd name="T52" fmla="*/ 230 w 456"/>
                <a:gd name="T53" fmla="*/ 21 h 444"/>
                <a:gd name="T54" fmla="*/ 263 w 456"/>
                <a:gd name="T55" fmla="*/ 25 h 444"/>
                <a:gd name="T56" fmla="*/ 306 w 456"/>
                <a:gd name="T57" fmla="*/ 23 h 444"/>
                <a:gd name="T58" fmla="*/ 334 w 456"/>
                <a:gd name="T59" fmla="*/ 29 h 444"/>
                <a:gd name="T60" fmla="*/ 348 w 456"/>
                <a:gd name="T61" fmla="*/ 59 h 444"/>
                <a:gd name="T62" fmla="*/ 397 w 456"/>
                <a:gd name="T63" fmla="*/ 53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6" h="444">
                  <a:moveTo>
                    <a:pt x="397" y="53"/>
                  </a:moveTo>
                  <a:lnTo>
                    <a:pt x="424" y="63"/>
                  </a:lnTo>
                  <a:lnTo>
                    <a:pt x="414" y="86"/>
                  </a:lnTo>
                  <a:lnTo>
                    <a:pt x="393" y="118"/>
                  </a:lnTo>
                  <a:lnTo>
                    <a:pt x="387" y="133"/>
                  </a:lnTo>
                  <a:lnTo>
                    <a:pt x="397" y="155"/>
                  </a:lnTo>
                  <a:lnTo>
                    <a:pt x="420" y="159"/>
                  </a:lnTo>
                  <a:lnTo>
                    <a:pt x="436" y="175"/>
                  </a:lnTo>
                  <a:lnTo>
                    <a:pt x="456" y="188"/>
                  </a:lnTo>
                  <a:lnTo>
                    <a:pt x="456" y="202"/>
                  </a:lnTo>
                  <a:lnTo>
                    <a:pt x="420" y="210"/>
                  </a:lnTo>
                  <a:lnTo>
                    <a:pt x="454" y="249"/>
                  </a:lnTo>
                  <a:lnTo>
                    <a:pt x="428" y="269"/>
                  </a:lnTo>
                  <a:lnTo>
                    <a:pt x="411" y="285"/>
                  </a:lnTo>
                  <a:lnTo>
                    <a:pt x="379" y="283"/>
                  </a:lnTo>
                  <a:lnTo>
                    <a:pt x="397" y="310"/>
                  </a:lnTo>
                  <a:lnTo>
                    <a:pt x="395" y="328"/>
                  </a:lnTo>
                  <a:lnTo>
                    <a:pt x="381" y="314"/>
                  </a:lnTo>
                  <a:lnTo>
                    <a:pt x="361" y="314"/>
                  </a:lnTo>
                  <a:lnTo>
                    <a:pt x="350" y="332"/>
                  </a:lnTo>
                  <a:lnTo>
                    <a:pt x="350" y="363"/>
                  </a:lnTo>
                  <a:lnTo>
                    <a:pt x="332" y="371"/>
                  </a:lnTo>
                  <a:lnTo>
                    <a:pt x="328" y="399"/>
                  </a:lnTo>
                  <a:lnTo>
                    <a:pt x="332" y="416"/>
                  </a:lnTo>
                  <a:lnTo>
                    <a:pt x="338" y="434"/>
                  </a:lnTo>
                  <a:lnTo>
                    <a:pt x="332" y="444"/>
                  </a:lnTo>
                  <a:lnTo>
                    <a:pt x="281" y="410"/>
                  </a:lnTo>
                  <a:lnTo>
                    <a:pt x="253" y="399"/>
                  </a:lnTo>
                  <a:lnTo>
                    <a:pt x="238" y="385"/>
                  </a:lnTo>
                  <a:lnTo>
                    <a:pt x="218" y="387"/>
                  </a:lnTo>
                  <a:lnTo>
                    <a:pt x="218" y="363"/>
                  </a:lnTo>
                  <a:lnTo>
                    <a:pt x="190" y="338"/>
                  </a:lnTo>
                  <a:lnTo>
                    <a:pt x="175" y="322"/>
                  </a:lnTo>
                  <a:lnTo>
                    <a:pt x="169" y="295"/>
                  </a:lnTo>
                  <a:lnTo>
                    <a:pt x="151" y="281"/>
                  </a:lnTo>
                  <a:lnTo>
                    <a:pt x="116" y="241"/>
                  </a:lnTo>
                  <a:lnTo>
                    <a:pt x="84" y="202"/>
                  </a:lnTo>
                  <a:lnTo>
                    <a:pt x="69" y="190"/>
                  </a:lnTo>
                  <a:lnTo>
                    <a:pt x="55" y="175"/>
                  </a:lnTo>
                  <a:lnTo>
                    <a:pt x="43" y="161"/>
                  </a:lnTo>
                  <a:lnTo>
                    <a:pt x="45" y="124"/>
                  </a:lnTo>
                  <a:lnTo>
                    <a:pt x="29" y="96"/>
                  </a:lnTo>
                  <a:lnTo>
                    <a:pt x="8" y="82"/>
                  </a:lnTo>
                  <a:lnTo>
                    <a:pt x="0" y="63"/>
                  </a:lnTo>
                  <a:lnTo>
                    <a:pt x="4" y="31"/>
                  </a:lnTo>
                  <a:lnTo>
                    <a:pt x="10" y="10"/>
                  </a:lnTo>
                  <a:lnTo>
                    <a:pt x="39" y="12"/>
                  </a:lnTo>
                  <a:lnTo>
                    <a:pt x="67" y="45"/>
                  </a:lnTo>
                  <a:lnTo>
                    <a:pt x="88" y="10"/>
                  </a:lnTo>
                  <a:lnTo>
                    <a:pt x="128" y="14"/>
                  </a:lnTo>
                  <a:lnTo>
                    <a:pt x="143" y="0"/>
                  </a:lnTo>
                  <a:lnTo>
                    <a:pt x="161" y="19"/>
                  </a:lnTo>
                  <a:lnTo>
                    <a:pt x="175" y="23"/>
                  </a:lnTo>
                  <a:lnTo>
                    <a:pt x="230" y="21"/>
                  </a:lnTo>
                  <a:lnTo>
                    <a:pt x="246" y="39"/>
                  </a:lnTo>
                  <a:lnTo>
                    <a:pt x="263" y="25"/>
                  </a:lnTo>
                  <a:lnTo>
                    <a:pt x="281" y="31"/>
                  </a:lnTo>
                  <a:lnTo>
                    <a:pt x="306" y="23"/>
                  </a:lnTo>
                  <a:lnTo>
                    <a:pt x="320" y="39"/>
                  </a:lnTo>
                  <a:lnTo>
                    <a:pt x="334" y="29"/>
                  </a:lnTo>
                  <a:lnTo>
                    <a:pt x="354" y="35"/>
                  </a:lnTo>
                  <a:lnTo>
                    <a:pt x="348" y="59"/>
                  </a:lnTo>
                  <a:lnTo>
                    <a:pt x="359" y="63"/>
                  </a:lnTo>
                  <a:lnTo>
                    <a:pt x="397" y="53"/>
                  </a:lnTo>
                  <a:close/>
                </a:path>
              </a:pathLst>
            </a:custGeom>
            <a:solidFill>
              <a:srgbClr val="FA0000"/>
            </a:solidFill>
            <a:ln w="9525">
              <a:solidFill>
                <a:srgbClr val="000000"/>
              </a:solidFill>
              <a:prstDash val="solid"/>
              <a:round/>
              <a:headEnd/>
              <a:tailEnd/>
            </a:ln>
          </p:spPr>
          <p:txBody>
            <a:bodyPr/>
            <a:lstStyle/>
            <a:p>
              <a:endParaRPr lang="cs-CZ"/>
            </a:p>
          </p:txBody>
        </p:sp>
        <p:sp>
          <p:nvSpPr>
            <p:cNvPr id="27" name="Freeform 45"/>
            <p:cNvSpPr>
              <a:spLocks/>
            </p:cNvSpPr>
            <p:nvPr/>
          </p:nvSpPr>
          <p:spPr bwMode="auto">
            <a:xfrm>
              <a:off x="2725" y="3019"/>
              <a:ext cx="253" cy="330"/>
            </a:xfrm>
            <a:custGeom>
              <a:avLst/>
              <a:gdLst>
                <a:gd name="T0" fmla="*/ 12 w 505"/>
                <a:gd name="T1" fmla="*/ 50 h 661"/>
                <a:gd name="T2" fmla="*/ 55 w 505"/>
                <a:gd name="T3" fmla="*/ 40 h 661"/>
                <a:gd name="T4" fmla="*/ 100 w 505"/>
                <a:gd name="T5" fmla="*/ 0 h 661"/>
                <a:gd name="T6" fmla="*/ 149 w 505"/>
                <a:gd name="T7" fmla="*/ 10 h 661"/>
                <a:gd name="T8" fmla="*/ 183 w 505"/>
                <a:gd name="T9" fmla="*/ 30 h 661"/>
                <a:gd name="T10" fmla="*/ 236 w 505"/>
                <a:gd name="T11" fmla="*/ 67 h 661"/>
                <a:gd name="T12" fmla="*/ 265 w 505"/>
                <a:gd name="T13" fmla="*/ 132 h 661"/>
                <a:gd name="T14" fmla="*/ 308 w 505"/>
                <a:gd name="T15" fmla="*/ 150 h 661"/>
                <a:gd name="T16" fmla="*/ 332 w 505"/>
                <a:gd name="T17" fmla="*/ 211 h 661"/>
                <a:gd name="T18" fmla="*/ 399 w 505"/>
                <a:gd name="T19" fmla="*/ 230 h 661"/>
                <a:gd name="T20" fmla="*/ 424 w 505"/>
                <a:gd name="T21" fmla="*/ 234 h 661"/>
                <a:gd name="T22" fmla="*/ 458 w 505"/>
                <a:gd name="T23" fmla="*/ 238 h 661"/>
                <a:gd name="T24" fmla="*/ 436 w 505"/>
                <a:gd name="T25" fmla="*/ 266 h 661"/>
                <a:gd name="T26" fmla="*/ 454 w 505"/>
                <a:gd name="T27" fmla="*/ 297 h 661"/>
                <a:gd name="T28" fmla="*/ 442 w 505"/>
                <a:gd name="T29" fmla="*/ 327 h 661"/>
                <a:gd name="T30" fmla="*/ 477 w 505"/>
                <a:gd name="T31" fmla="*/ 452 h 661"/>
                <a:gd name="T32" fmla="*/ 473 w 505"/>
                <a:gd name="T33" fmla="*/ 529 h 661"/>
                <a:gd name="T34" fmla="*/ 462 w 505"/>
                <a:gd name="T35" fmla="*/ 608 h 661"/>
                <a:gd name="T36" fmla="*/ 418 w 505"/>
                <a:gd name="T37" fmla="*/ 610 h 661"/>
                <a:gd name="T38" fmla="*/ 385 w 505"/>
                <a:gd name="T39" fmla="*/ 617 h 661"/>
                <a:gd name="T40" fmla="*/ 336 w 505"/>
                <a:gd name="T41" fmla="*/ 627 h 661"/>
                <a:gd name="T42" fmla="*/ 293 w 505"/>
                <a:gd name="T43" fmla="*/ 625 h 661"/>
                <a:gd name="T44" fmla="*/ 281 w 505"/>
                <a:gd name="T45" fmla="*/ 659 h 661"/>
                <a:gd name="T46" fmla="*/ 247 w 505"/>
                <a:gd name="T47" fmla="*/ 643 h 661"/>
                <a:gd name="T48" fmla="*/ 210 w 505"/>
                <a:gd name="T49" fmla="*/ 617 h 661"/>
                <a:gd name="T50" fmla="*/ 194 w 505"/>
                <a:gd name="T51" fmla="*/ 590 h 661"/>
                <a:gd name="T52" fmla="*/ 177 w 505"/>
                <a:gd name="T53" fmla="*/ 554 h 661"/>
                <a:gd name="T54" fmla="*/ 204 w 505"/>
                <a:gd name="T55" fmla="*/ 527 h 661"/>
                <a:gd name="T56" fmla="*/ 173 w 505"/>
                <a:gd name="T57" fmla="*/ 492 h 661"/>
                <a:gd name="T58" fmla="*/ 137 w 505"/>
                <a:gd name="T59" fmla="*/ 462 h 661"/>
                <a:gd name="T60" fmla="*/ 96 w 505"/>
                <a:gd name="T61" fmla="*/ 443 h 661"/>
                <a:gd name="T62" fmla="*/ 102 w 505"/>
                <a:gd name="T63" fmla="*/ 407 h 661"/>
                <a:gd name="T64" fmla="*/ 86 w 505"/>
                <a:gd name="T65" fmla="*/ 356 h 661"/>
                <a:gd name="T66" fmla="*/ 120 w 505"/>
                <a:gd name="T67" fmla="*/ 344 h 661"/>
                <a:gd name="T68" fmla="*/ 94 w 505"/>
                <a:gd name="T69" fmla="*/ 317 h 661"/>
                <a:gd name="T70" fmla="*/ 59 w 505"/>
                <a:gd name="T71" fmla="*/ 297 h 661"/>
                <a:gd name="T72" fmla="*/ 65 w 505"/>
                <a:gd name="T73" fmla="*/ 246 h 661"/>
                <a:gd name="T74" fmla="*/ 86 w 505"/>
                <a:gd name="T75" fmla="*/ 207 h 661"/>
                <a:gd name="T76" fmla="*/ 53 w 505"/>
                <a:gd name="T77" fmla="*/ 197 h 661"/>
                <a:gd name="T78" fmla="*/ 53 w 505"/>
                <a:gd name="T79" fmla="*/ 160 h 661"/>
                <a:gd name="T80" fmla="*/ 82 w 505"/>
                <a:gd name="T81" fmla="*/ 146 h 661"/>
                <a:gd name="T82" fmla="*/ 43 w 505"/>
                <a:gd name="T83" fmla="*/ 138 h 661"/>
                <a:gd name="T84" fmla="*/ 29 w 505"/>
                <a:gd name="T85" fmla="*/ 114 h 661"/>
                <a:gd name="T86" fmla="*/ 18 w 505"/>
                <a:gd name="T87" fmla="*/ 95 h 661"/>
                <a:gd name="T88" fmla="*/ 0 w 505"/>
                <a:gd name="T89" fmla="*/ 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5" h="661">
                  <a:moveTo>
                    <a:pt x="0" y="44"/>
                  </a:moveTo>
                  <a:lnTo>
                    <a:pt x="12" y="50"/>
                  </a:lnTo>
                  <a:lnTo>
                    <a:pt x="29" y="32"/>
                  </a:lnTo>
                  <a:lnTo>
                    <a:pt x="55" y="40"/>
                  </a:lnTo>
                  <a:lnTo>
                    <a:pt x="71" y="30"/>
                  </a:lnTo>
                  <a:lnTo>
                    <a:pt x="100" y="0"/>
                  </a:lnTo>
                  <a:lnTo>
                    <a:pt x="132" y="0"/>
                  </a:lnTo>
                  <a:lnTo>
                    <a:pt x="149" y="10"/>
                  </a:lnTo>
                  <a:lnTo>
                    <a:pt x="169" y="20"/>
                  </a:lnTo>
                  <a:lnTo>
                    <a:pt x="183" y="30"/>
                  </a:lnTo>
                  <a:lnTo>
                    <a:pt x="206" y="30"/>
                  </a:lnTo>
                  <a:lnTo>
                    <a:pt x="236" y="67"/>
                  </a:lnTo>
                  <a:lnTo>
                    <a:pt x="249" y="103"/>
                  </a:lnTo>
                  <a:lnTo>
                    <a:pt x="265" y="132"/>
                  </a:lnTo>
                  <a:lnTo>
                    <a:pt x="279" y="144"/>
                  </a:lnTo>
                  <a:lnTo>
                    <a:pt x="308" y="150"/>
                  </a:lnTo>
                  <a:lnTo>
                    <a:pt x="318" y="169"/>
                  </a:lnTo>
                  <a:lnTo>
                    <a:pt x="332" y="211"/>
                  </a:lnTo>
                  <a:lnTo>
                    <a:pt x="373" y="230"/>
                  </a:lnTo>
                  <a:lnTo>
                    <a:pt x="399" y="230"/>
                  </a:lnTo>
                  <a:lnTo>
                    <a:pt x="413" y="242"/>
                  </a:lnTo>
                  <a:lnTo>
                    <a:pt x="424" y="234"/>
                  </a:lnTo>
                  <a:lnTo>
                    <a:pt x="442" y="220"/>
                  </a:lnTo>
                  <a:lnTo>
                    <a:pt x="458" y="238"/>
                  </a:lnTo>
                  <a:lnTo>
                    <a:pt x="448" y="256"/>
                  </a:lnTo>
                  <a:lnTo>
                    <a:pt x="436" y="266"/>
                  </a:lnTo>
                  <a:lnTo>
                    <a:pt x="446" y="285"/>
                  </a:lnTo>
                  <a:lnTo>
                    <a:pt x="454" y="297"/>
                  </a:lnTo>
                  <a:lnTo>
                    <a:pt x="452" y="317"/>
                  </a:lnTo>
                  <a:lnTo>
                    <a:pt x="442" y="327"/>
                  </a:lnTo>
                  <a:lnTo>
                    <a:pt x="442" y="401"/>
                  </a:lnTo>
                  <a:lnTo>
                    <a:pt x="477" y="452"/>
                  </a:lnTo>
                  <a:lnTo>
                    <a:pt x="505" y="478"/>
                  </a:lnTo>
                  <a:lnTo>
                    <a:pt x="473" y="529"/>
                  </a:lnTo>
                  <a:lnTo>
                    <a:pt x="462" y="554"/>
                  </a:lnTo>
                  <a:lnTo>
                    <a:pt x="462" y="608"/>
                  </a:lnTo>
                  <a:lnTo>
                    <a:pt x="436" y="608"/>
                  </a:lnTo>
                  <a:lnTo>
                    <a:pt x="418" y="610"/>
                  </a:lnTo>
                  <a:lnTo>
                    <a:pt x="401" y="610"/>
                  </a:lnTo>
                  <a:lnTo>
                    <a:pt x="385" y="617"/>
                  </a:lnTo>
                  <a:lnTo>
                    <a:pt x="350" y="617"/>
                  </a:lnTo>
                  <a:lnTo>
                    <a:pt x="336" y="627"/>
                  </a:lnTo>
                  <a:lnTo>
                    <a:pt x="318" y="621"/>
                  </a:lnTo>
                  <a:lnTo>
                    <a:pt x="293" y="625"/>
                  </a:lnTo>
                  <a:lnTo>
                    <a:pt x="283" y="641"/>
                  </a:lnTo>
                  <a:lnTo>
                    <a:pt x="281" y="659"/>
                  </a:lnTo>
                  <a:lnTo>
                    <a:pt x="257" y="661"/>
                  </a:lnTo>
                  <a:lnTo>
                    <a:pt x="247" y="643"/>
                  </a:lnTo>
                  <a:lnTo>
                    <a:pt x="236" y="633"/>
                  </a:lnTo>
                  <a:lnTo>
                    <a:pt x="210" y="617"/>
                  </a:lnTo>
                  <a:lnTo>
                    <a:pt x="196" y="610"/>
                  </a:lnTo>
                  <a:lnTo>
                    <a:pt x="194" y="590"/>
                  </a:lnTo>
                  <a:lnTo>
                    <a:pt x="192" y="566"/>
                  </a:lnTo>
                  <a:lnTo>
                    <a:pt x="177" y="554"/>
                  </a:lnTo>
                  <a:lnTo>
                    <a:pt x="216" y="551"/>
                  </a:lnTo>
                  <a:lnTo>
                    <a:pt x="204" y="527"/>
                  </a:lnTo>
                  <a:lnTo>
                    <a:pt x="175" y="515"/>
                  </a:lnTo>
                  <a:lnTo>
                    <a:pt x="173" y="492"/>
                  </a:lnTo>
                  <a:lnTo>
                    <a:pt x="157" y="472"/>
                  </a:lnTo>
                  <a:lnTo>
                    <a:pt x="137" y="462"/>
                  </a:lnTo>
                  <a:lnTo>
                    <a:pt x="120" y="452"/>
                  </a:lnTo>
                  <a:lnTo>
                    <a:pt x="96" y="443"/>
                  </a:lnTo>
                  <a:lnTo>
                    <a:pt x="88" y="417"/>
                  </a:lnTo>
                  <a:lnTo>
                    <a:pt x="102" y="407"/>
                  </a:lnTo>
                  <a:lnTo>
                    <a:pt x="116" y="393"/>
                  </a:lnTo>
                  <a:lnTo>
                    <a:pt x="86" y="356"/>
                  </a:lnTo>
                  <a:lnTo>
                    <a:pt x="104" y="350"/>
                  </a:lnTo>
                  <a:lnTo>
                    <a:pt x="120" y="344"/>
                  </a:lnTo>
                  <a:lnTo>
                    <a:pt x="116" y="331"/>
                  </a:lnTo>
                  <a:lnTo>
                    <a:pt x="94" y="317"/>
                  </a:lnTo>
                  <a:lnTo>
                    <a:pt x="84" y="303"/>
                  </a:lnTo>
                  <a:lnTo>
                    <a:pt x="59" y="297"/>
                  </a:lnTo>
                  <a:lnTo>
                    <a:pt x="51" y="276"/>
                  </a:lnTo>
                  <a:lnTo>
                    <a:pt x="65" y="246"/>
                  </a:lnTo>
                  <a:lnTo>
                    <a:pt x="82" y="226"/>
                  </a:lnTo>
                  <a:lnTo>
                    <a:pt x="86" y="207"/>
                  </a:lnTo>
                  <a:lnTo>
                    <a:pt x="67" y="199"/>
                  </a:lnTo>
                  <a:lnTo>
                    <a:pt x="53" y="197"/>
                  </a:lnTo>
                  <a:lnTo>
                    <a:pt x="47" y="181"/>
                  </a:lnTo>
                  <a:lnTo>
                    <a:pt x="53" y="160"/>
                  </a:lnTo>
                  <a:lnTo>
                    <a:pt x="69" y="156"/>
                  </a:lnTo>
                  <a:lnTo>
                    <a:pt x="82" y="146"/>
                  </a:lnTo>
                  <a:lnTo>
                    <a:pt x="69" y="140"/>
                  </a:lnTo>
                  <a:lnTo>
                    <a:pt x="43" y="138"/>
                  </a:lnTo>
                  <a:lnTo>
                    <a:pt x="31" y="136"/>
                  </a:lnTo>
                  <a:lnTo>
                    <a:pt x="29" y="114"/>
                  </a:lnTo>
                  <a:lnTo>
                    <a:pt x="27" y="103"/>
                  </a:lnTo>
                  <a:lnTo>
                    <a:pt x="18" y="95"/>
                  </a:lnTo>
                  <a:lnTo>
                    <a:pt x="14" y="63"/>
                  </a:lnTo>
                  <a:lnTo>
                    <a:pt x="0" y="44"/>
                  </a:lnTo>
                  <a:close/>
                </a:path>
              </a:pathLst>
            </a:custGeom>
            <a:solidFill>
              <a:srgbClr val="FA0000"/>
            </a:solidFill>
            <a:ln w="9525">
              <a:solidFill>
                <a:srgbClr val="000000"/>
              </a:solidFill>
              <a:prstDash val="solid"/>
              <a:round/>
              <a:headEnd/>
              <a:tailEnd/>
            </a:ln>
          </p:spPr>
          <p:txBody>
            <a:bodyPr/>
            <a:lstStyle/>
            <a:p>
              <a:endParaRPr lang="cs-CZ"/>
            </a:p>
          </p:txBody>
        </p:sp>
        <p:sp>
          <p:nvSpPr>
            <p:cNvPr id="28" name="Freeform 46"/>
            <p:cNvSpPr>
              <a:spLocks/>
            </p:cNvSpPr>
            <p:nvPr/>
          </p:nvSpPr>
          <p:spPr bwMode="auto">
            <a:xfrm>
              <a:off x="2425" y="2974"/>
              <a:ext cx="172" cy="124"/>
            </a:xfrm>
            <a:custGeom>
              <a:avLst/>
              <a:gdLst>
                <a:gd name="T0" fmla="*/ 19 w 343"/>
                <a:gd name="T1" fmla="*/ 53 h 250"/>
                <a:gd name="T2" fmla="*/ 33 w 343"/>
                <a:gd name="T3" fmla="*/ 61 h 250"/>
                <a:gd name="T4" fmla="*/ 59 w 343"/>
                <a:gd name="T5" fmla="*/ 57 h 250"/>
                <a:gd name="T6" fmla="*/ 139 w 343"/>
                <a:gd name="T7" fmla="*/ 67 h 250"/>
                <a:gd name="T8" fmla="*/ 165 w 343"/>
                <a:gd name="T9" fmla="*/ 31 h 250"/>
                <a:gd name="T10" fmla="*/ 235 w 343"/>
                <a:gd name="T11" fmla="*/ 35 h 250"/>
                <a:gd name="T12" fmla="*/ 257 w 343"/>
                <a:gd name="T13" fmla="*/ 20 h 250"/>
                <a:gd name="T14" fmla="*/ 290 w 343"/>
                <a:gd name="T15" fmla="*/ 26 h 250"/>
                <a:gd name="T16" fmla="*/ 308 w 343"/>
                <a:gd name="T17" fmla="*/ 0 h 250"/>
                <a:gd name="T18" fmla="*/ 328 w 343"/>
                <a:gd name="T19" fmla="*/ 12 h 250"/>
                <a:gd name="T20" fmla="*/ 338 w 343"/>
                <a:gd name="T21" fmla="*/ 35 h 250"/>
                <a:gd name="T22" fmla="*/ 343 w 343"/>
                <a:gd name="T23" fmla="*/ 57 h 250"/>
                <a:gd name="T24" fmla="*/ 320 w 343"/>
                <a:gd name="T25" fmla="*/ 39 h 250"/>
                <a:gd name="T26" fmla="*/ 308 w 343"/>
                <a:gd name="T27" fmla="*/ 55 h 250"/>
                <a:gd name="T28" fmla="*/ 318 w 343"/>
                <a:gd name="T29" fmla="*/ 79 h 250"/>
                <a:gd name="T30" fmla="*/ 298 w 343"/>
                <a:gd name="T31" fmla="*/ 73 h 250"/>
                <a:gd name="T32" fmla="*/ 287 w 343"/>
                <a:gd name="T33" fmla="*/ 94 h 250"/>
                <a:gd name="T34" fmla="*/ 265 w 343"/>
                <a:gd name="T35" fmla="*/ 98 h 250"/>
                <a:gd name="T36" fmla="*/ 247 w 343"/>
                <a:gd name="T37" fmla="*/ 106 h 250"/>
                <a:gd name="T38" fmla="*/ 255 w 343"/>
                <a:gd name="T39" fmla="*/ 126 h 250"/>
                <a:gd name="T40" fmla="*/ 261 w 343"/>
                <a:gd name="T41" fmla="*/ 143 h 250"/>
                <a:gd name="T42" fmla="*/ 255 w 343"/>
                <a:gd name="T43" fmla="*/ 169 h 250"/>
                <a:gd name="T44" fmla="*/ 245 w 343"/>
                <a:gd name="T45" fmla="*/ 177 h 250"/>
                <a:gd name="T46" fmla="*/ 222 w 343"/>
                <a:gd name="T47" fmla="*/ 183 h 250"/>
                <a:gd name="T48" fmla="*/ 210 w 343"/>
                <a:gd name="T49" fmla="*/ 200 h 250"/>
                <a:gd name="T50" fmla="*/ 210 w 343"/>
                <a:gd name="T51" fmla="*/ 218 h 250"/>
                <a:gd name="T52" fmla="*/ 210 w 343"/>
                <a:gd name="T53" fmla="*/ 244 h 250"/>
                <a:gd name="T54" fmla="*/ 194 w 343"/>
                <a:gd name="T55" fmla="*/ 250 h 250"/>
                <a:gd name="T56" fmla="*/ 182 w 343"/>
                <a:gd name="T57" fmla="*/ 230 h 250"/>
                <a:gd name="T58" fmla="*/ 159 w 343"/>
                <a:gd name="T59" fmla="*/ 230 h 250"/>
                <a:gd name="T60" fmla="*/ 141 w 343"/>
                <a:gd name="T61" fmla="*/ 210 h 250"/>
                <a:gd name="T62" fmla="*/ 135 w 343"/>
                <a:gd name="T63" fmla="*/ 197 h 250"/>
                <a:gd name="T64" fmla="*/ 118 w 343"/>
                <a:gd name="T65" fmla="*/ 200 h 250"/>
                <a:gd name="T66" fmla="*/ 114 w 343"/>
                <a:gd name="T67" fmla="*/ 218 h 250"/>
                <a:gd name="T68" fmla="*/ 92 w 343"/>
                <a:gd name="T69" fmla="*/ 230 h 250"/>
                <a:gd name="T70" fmla="*/ 64 w 343"/>
                <a:gd name="T71" fmla="*/ 232 h 250"/>
                <a:gd name="T72" fmla="*/ 43 w 343"/>
                <a:gd name="T73" fmla="*/ 236 h 250"/>
                <a:gd name="T74" fmla="*/ 19 w 343"/>
                <a:gd name="T75" fmla="*/ 244 h 250"/>
                <a:gd name="T76" fmla="*/ 13 w 343"/>
                <a:gd name="T77" fmla="*/ 222 h 250"/>
                <a:gd name="T78" fmla="*/ 45 w 343"/>
                <a:gd name="T79" fmla="*/ 208 h 250"/>
                <a:gd name="T80" fmla="*/ 63 w 343"/>
                <a:gd name="T81" fmla="*/ 198 h 250"/>
                <a:gd name="T82" fmla="*/ 21 w 343"/>
                <a:gd name="T83" fmla="*/ 161 h 250"/>
                <a:gd name="T84" fmla="*/ 25 w 343"/>
                <a:gd name="T85" fmla="*/ 140 h 250"/>
                <a:gd name="T86" fmla="*/ 13 w 343"/>
                <a:gd name="T87" fmla="*/ 134 h 250"/>
                <a:gd name="T88" fmla="*/ 17 w 343"/>
                <a:gd name="T89" fmla="*/ 112 h 250"/>
                <a:gd name="T90" fmla="*/ 8 w 343"/>
                <a:gd name="T91" fmla="*/ 98 h 250"/>
                <a:gd name="T92" fmla="*/ 0 w 343"/>
                <a:gd name="T93" fmla="*/ 90 h 250"/>
                <a:gd name="T94" fmla="*/ 8 w 343"/>
                <a:gd name="T95" fmla="*/ 73 h 250"/>
                <a:gd name="T96" fmla="*/ 19 w 343"/>
                <a:gd name="T97" fmla="*/ 63 h 250"/>
                <a:gd name="T98" fmla="*/ 19 w 343"/>
                <a:gd name="T99" fmla="*/ 5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3" h="250">
                  <a:moveTo>
                    <a:pt x="19" y="53"/>
                  </a:moveTo>
                  <a:lnTo>
                    <a:pt x="33" y="61"/>
                  </a:lnTo>
                  <a:lnTo>
                    <a:pt x="59" y="57"/>
                  </a:lnTo>
                  <a:lnTo>
                    <a:pt x="139" y="67"/>
                  </a:lnTo>
                  <a:lnTo>
                    <a:pt x="165" y="31"/>
                  </a:lnTo>
                  <a:lnTo>
                    <a:pt x="235" y="35"/>
                  </a:lnTo>
                  <a:lnTo>
                    <a:pt x="257" y="20"/>
                  </a:lnTo>
                  <a:lnTo>
                    <a:pt x="290" y="26"/>
                  </a:lnTo>
                  <a:lnTo>
                    <a:pt x="308" y="0"/>
                  </a:lnTo>
                  <a:lnTo>
                    <a:pt x="328" y="12"/>
                  </a:lnTo>
                  <a:lnTo>
                    <a:pt x="338" y="35"/>
                  </a:lnTo>
                  <a:lnTo>
                    <a:pt x="343" y="57"/>
                  </a:lnTo>
                  <a:lnTo>
                    <a:pt x="320" y="39"/>
                  </a:lnTo>
                  <a:lnTo>
                    <a:pt x="308" y="55"/>
                  </a:lnTo>
                  <a:lnTo>
                    <a:pt x="318" y="79"/>
                  </a:lnTo>
                  <a:lnTo>
                    <a:pt x="298" y="73"/>
                  </a:lnTo>
                  <a:lnTo>
                    <a:pt x="287" y="94"/>
                  </a:lnTo>
                  <a:lnTo>
                    <a:pt x="265" y="98"/>
                  </a:lnTo>
                  <a:lnTo>
                    <a:pt x="247" y="106"/>
                  </a:lnTo>
                  <a:lnTo>
                    <a:pt x="255" y="126"/>
                  </a:lnTo>
                  <a:lnTo>
                    <a:pt x="261" y="143"/>
                  </a:lnTo>
                  <a:lnTo>
                    <a:pt x="255" y="169"/>
                  </a:lnTo>
                  <a:lnTo>
                    <a:pt x="245" y="177"/>
                  </a:lnTo>
                  <a:lnTo>
                    <a:pt x="222" y="183"/>
                  </a:lnTo>
                  <a:lnTo>
                    <a:pt x="210" y="200"/>
                  </a:lnTo>
                  <a:lnTo>
                    <a:pt x="210" y="218"/>
                  </a:lnTo>
                  <a:lnTo>
                    <a:pt x="210" y="244"/>
                  </a:lnTo>
                  <a:lnTo>
                    <a:pt x="194" y="250"/>
                  </a:lnTo>
                  <a:lnTo>
                    <a:pt x="182" y="230"/>
                  </a:lnTo>
                  <a:lnTo>
                    <a:pt x="159" y="230"/>
                  </a:lnTo>
                  <a:lnTo>
                    <a:pt x="141" y="210"/>
                  </a:lnTo>
                  <a:lnTo>
                    <a:pt x="135" y="197"/>
                  </a:lnTo>
                  <a:lnTo>
                    <a:pt x="118" y="200"/>
                  </a:lnTo>
                  <a:lnTo>
                    <a:pt x="114" y="218"/>
                  </a:lnTo>
                  <a:lnTo>
                    <a:pt x="92" y="230"/>
                  </a:lnTo>
                  <a:lnTo>
                    <a:pt x="64" y="232"/>
                  </a:lnTo>
                  <a:lnTo>
                    <a:pt x="43" y="236"/>
                  </a:lnTo>
                  <a:lnTo>
                    <a:pt x="19" y="244"/>
                  </a:lnTo>
                  <a:lnTo>
                    <a:pt x="13" y="222"/>
                  </a:lnTo>
                  <a:lnTo>
                    <a:pt x="45" y="208"/>
                  </a:lnTo>
                  <a:lnTo>
                    <a:pt x="63" y="198"/>
                  </a:lnTo>
                  <a:lnTo>
                    <a:pt x="21" y="161"/>
                  </a:lnTo>
                  <a:lnTo>
                    <a:pt x="25" y="140"/>
                  </a:lnTo>
                  <a:lnTo>
                    <a:pt x="13" y="134"/>
                  </a:lnTo>
                  <a:lnTo>
                    <a:pt x="17" y="112"/>
                  </a:lnTo>
                  <a:lnTo>
                    <a:pt x="8" y="98"/>
                  </a:lnTo>
                  <a:lnTo>
                    <a:pt x="0" y="90"/>
                  </a:lnTo>
                  <a:lnTo>
                    <a:pt x="8" y="73"/>
                  </a:lnTo>
                  <a:lnTo>
                    <a:pt x="19" y="63"/>
                  </a:lnTo>
                  <a:lnTo>
                    <a:pt x="19" y="53"/>
                  </a:lnTo>
                  <a:close/>
                </a:path>
              </a:pathLst>
            </a:custGeom>
            <a:solidFill>
              <a:srgbClr val="D0D0D0"/>
            </a:solidFill>
            <a:ln w="9525">
              <a:solidFill>
                <a:srgbClr val="000000"/>
              </a:solidFill>
              <a:prstDash val="solid"/>
              <a:round/>
              <a:headEnd/>
              <a:tailEnd/>
            </a:ln>
          </p:spPr>
          <p:txBody>
            <a:bodyPr/>
            <a:lstStyle/>
            <a:p>
              <a:endParaRPr lang="cs-CZ"/>
            </a:p>
          </p:txBody>
        </p:sp>
        <p:sp>
          <p:nvSpPr>
            <p:cNvPr id="29" name="Freeform 47"/>
            <p:cNvSpPr>
              <a:spLocks/>
            </p:cNvSpPr>
            <p:nvPr/>
          </p:nvSpPr>
          <p:spPr bwMode="auto">
            <a:xfrm>
              <a:off x="2574" y="2826"/>
              <a:ext cx="363" cy="230"/>
            </a:xfrm>
            <a:custGeom>
              <a:avLst/>
              <a:gdLst>
                <a:gd name="T0" fmla="*/ 30 w 725"/>
                <a:gd name="T1" fmla="*/ 271 h 460"/>
                <a:gd name="T2" fmla="*/ 47 w 725"/>
                <a:gd name="T3" fmla="*/ 216 h 460"/>
                <a:gd name="T4" fmla="*/ 59 w 725"/>
                <a:gd name="T5" fmla="*/ 183 h 460"/>
                <a:gd name="T6" fmla="*/ 55 w 725"/>
                <a:gd name="T7" fmla="*/ 154 h 460"/>
                <a:gd name="T8" fmla="*/ 106 w 725"/>
                <a:gd name="T9" fmla="*/ 154 h 460"/>
                <a:gd name="T10" fmla="*/ 120 w 725"/>
                <a:gd name="T11" fmla="*/ 150 h 460"/>
                <a:gd name="T12" fmla="*/ 175 w 725"/>
                <a:gd name="T13" fmla="*/ 152 h 460"/>
                <a:gd name="T14" fmla="*/ 299 w 725"/>
                <a:gd name="T15" fmla="*/ 91 h 460"/>
                <a:gd name="T16" fmla="*/ 328 w 725"/>
                <a:gd name="T17" fmla="*/ 79 h 460"/>
                <a:gd name="T18" fmla="*/ 370 w 725"/>
                <a:gd name="T19" fmla="*/ 69 h 460"/>
                <a:gd name="T20" fmla="*/ 415 w 725"/>
                <a:gd name="T21" fmla="*/ 71 h 460"/>
                <a:gd name="T22" fmla="*/ 462 w 725"/>
                <a:gd name="T23" fmla="*/ 51 h 460"/>
                <a:gd name="T24" fmla="*/ 497 w 725"/>
                <a:gd name="T25" fmla="*/ 0 h 460"/>
                <a:gd name="T26" fmla="*/ 588 w 725"/>
                <a:gd name="T27" fmla="*/ 2 h 460"/>
                <a:gd name="T28" fmla="*/ 647 w 725"/>
                <a:gd name="T29" fmla="*/ 6 h 460"/>
                <a:gd name="T30" fmla="*/ 706 w 725"/>
                <a:gd name="T31" fmla="*/ 44 h 460"/>
                <a:gd name="T32" fmla="*/ 725 w 725"/>
                <a:gd name="T33" fmla="*/ 85 h 460"/>
                <a:gd name="T34" fmla="*/ 680 w 725"/>
                <a:gd name="T35" fmla="*/ 112 h 460"/>
                <a:gd name="T36" fmla="*/ 651 w 725"/>
                <a:gd name="T37" fmla="*/ 150 h 460"/>
                <a:gd name="T38" fmla="*/ 635 w 725"/>
                <a:gd name="T39" fmla="*/ 177 h 460"/>
                <a:gd name="T40" fmla="*/ 617 w 725"/>
                <a:gd name="T41" fmla="*/ 228 h 460"/>
                <a:gd name="T42" fmla="*/ 600 w 725"/>
                <a:gd name="T43" fmla="*/ 270 h 460"/>
                <a:gd name="T44" fmla="*/ 576 w 725"/>
                <a:gd name="T45" fmla="*/ 323 h 460"/>
                <a:gd name="T46" fmla="*/ 554 w 725"/>
                <a:gd name="T47" fmla="*/ 362 h 460"/>
                <a:gd name="T48" fmla="*/ 490 w 725"/>
                <a:gd name="T49" fmla="*/ 389 h 460"/>
                <a:gd name="T50" fmla="*/ 456 w 725"/>
                <a:gd name="T51" fmla="*/ 387 h 460"/>
                <a:gd name="T52" fmla="*/ 413 w 725"/>
                <a:gd name="T53" fmla="*/ 383 h 460"/>
                <a:gd name="T54" fmla="*/ 378 w 725"/>
                <a:gd name="T55" fmla="*/ 409 h 460"/>
                <a:gd name="T56" fmla="*/ 332 w 725"/>
                <a:gd name="T57" fmla="*/ 417 h 460"/>
                <a:gd name="T58" fmla="*/ 303 w 725"/>
                <a:gd name="T59" fmla="*/ 431 h 460"/>
                <a:gd name="T60" fmla="*/ 246 w 725"/>
                <a:gd name="T61" fmla="*/ 460 h 460"/>
                <a:gd name="T62" fmla="*/ 179 w 725"/>
                <a:gd name="T63" fmla="*/ 446 h 460"/>
                <a:gd name="T64" fmla="*/ 142 w 725"/>
                <a:gd name="T65" fmla="*/ 409 h 460"/>
                <a:gd name="T66" fmla="*/ 99 w 725"/>
                <a:gd name="T67" fmla="*/ 383 h 460"/>
                <a:gd name="T68" fmla="*/ 47 w 725"/>
                <a:gd name="T69" fmla="*/ 346 h 460"/>
                <a:gd name="T70" fmla="*/ 34 w 725"/>
                <a:gd name="T71" fmla="*/ 309 h 460"/>
                <a:gd name="T72" fmla="*/ 0 w 725"/>
                <a:gd name="T73" fmla="*/ 30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5" h="460">
                  <a:moveTo>
                    <a:pt x="0" y="301"/>
                  </a:moveTo>
                  <a:lnTo>
                    <a:pt x="30" y="271"/>
                  </a:lnTo>
                  <a:lnTo>
                    <a:pt x="45" y="262"/>
                  </a:lnTo>
                  <a:lnTo>
                    <a:pt x="47" y="216"/>
                  </a:lnTo>
                  <a:lnTo>
                    <a:pt x="57" y="203"/>
                  </a:lnTo>
                  <a:lnTo>
                    <a:pt x="59" y="183"/>
                  </a:lnTo>
                  <a:lnTo>
                    <a:pt x="53" y="171"/>
                  </a:lnTo>
                  <a:lnTo>
                    <a:pt x="55" y="154"/>
                  </a:lnTo>
                  <a:lnTo>
                    <a:pt x="79" y="154"/>
                  </a:lnTo>
                  <a:lnTo>
                    <a:pt x="106" y="154"/>
                  </a:lnTo>
                  <a:lnTo>
                    <a:pt x="110" y="140"/>
                  </a:lnTo>
                  <a:lnTo>
                    <a:pt x="120" y="150"/>
                  </a:lnTo>
                  <a:lnTo>
                    <a:pt x="120" y="97"/>
                  </a:lnTo>
                  <a:lnTo>
                    <a:pt x="175" y="152"/>
                  </a:lnTo>
                  <a:lnTo>
                    <a:pt x="264" y="152"/>
                  </a:lnTo>
                  <a:lnTo>
                    <a:pt x="299" y="91"/>
                  </a:lnTo>
                  <a:lnTo>
                    <a:pt x="317" y="91"/>
                  </a:lnTo>
                  <a:lnTo>
                    <a:pt x="328" y="79"/>
                  </a:lnTo>
                  <a:lnTo>
                    <a:pt x="358" y="65"/>
                  </a:lnTo>
                  <a:lnTo>
                    <a:pt x="370" y="69"/>
                  </a:lnTo>
                  <a:lnTo>
                    <a:pt x="387" y="53"/>
                  </a:lnTo>
                  <a:lnTo>
                    <a:pt x="415" y="71"/>
                  </a:lnTo>
                  <a:lnTo>
                    <a:pt x="433" y="55"/>
                  </a:lnTo>
                  <a:lnTo>
                    <a:pt x="462" y="51"/>
                  </a:lnTo>
                  <a:lnTo>
                    <a:pt x="468" y="16"/>
                  </a:lnTo>
                  <a:lnTo>
                    <a:pt x="497" y="0"/>
                  </a:lnTo>
                  <a:lnTo>
                    <a:pt x="548" y="0"/>
                  </a:lnTo>
                  <a:lnTo>
                    <a:pt x="588" y="2"/>
                  </a:lnTo>
                  <a:lnTo>
                    <a:pt x="619" y="22"/>
                  </a:lnTo>
                  <a:lnTo>
                    <a:pt x="647" y="6"/>
                  </a:lnTo>
                  <a:lnTo>
                    <a:pt x="680" y="26"/>
                  </a:lnTo>
                  <a:lnTo>
                    <a:pt x="706" y="44"/>
                  </a:lnTo>
                  <a:lnTo>
                    <a:pt x="721" y="65"/>
                  </a:lnTo>
                  <a:lnTo>
                    <a:pt x="725" y="85"/>
                  </a:lnTo>
                  <a:lnTo>
                    <a:pt x="710" y="108"/>
                  </a:lnTo>
                  <a:lnTo>
                    <a:pt x="680" y="112"/>
                  </a:lnTo>
                  <a:lnTo>
                    <a:pt x="662" y="118"/>
                  </a:lnTo>
                  <a:lnTo>
                    <a:pt x="651" y="150"/>
                  </a:lnTo>
                  <a:lnTo>
                    <a:pt x="649" y="177"/>
                  </a:lnTo>
                  <a:lnTo>
                    <a:pt x="635" y="177"/>
                  </a:lnTo>
                  <a:lnTo>
                    <a:pt x="637" y="205"/>
                  </a:lnTo>
                  <a:lnTo>
                    <a:pt x="617" y="228"/>
                  </a:lnTo>
                  <a:lnTo>
                    <a:pt x="617" y="244"/>
                  </a:lnTo>
                  <a:lnTo>
                    <a:pt x="600" y="270"/>
                  </a:lnTo>
                  <a:lnTo>
                    <a:pt x="594" y="295"/>
                  </a:lnTo>
                  <a:lnTo>
                    <a:pt x="576" y="323"/>
                  </a:lnTo>
                  <a:lnTo>
                    <a:pt x="572" y="342"/>
                  </a:lnTo>
                  <a:lnTo>
                    <a:pt x="554" y="362"/>
                  </a:lnTo>
                  <a:lnTo>
                    <a:pt x="511" y="376"/>
                  </a:lnTo>
                  <a:lnTo>
                    <a:pt x="490" y="389"/>
                  </a:lnTo>
                  <a:lnTo>
                    <a:pt x="476" y="399"/>
                  </a:lnTo>
                  <a:lnTo>
                    <a:pt x="456" y="387"/>
                  </a:lnTo>
                  <a:lnTo>
                    <a:pt x="435" y="382"/>
                  </a:lnTo>
                  <a:lnTo>
                    <a:pt x="413" y="383"/>
                  </a:lnTo>
                  <a:lnTo>
                    <a:pt x="399" y="385"/>
                  </a:lnTo>
                  <a:lnTo>
                    <a:pt x="378" y="409"/>
                  </a:lnTo>
                  <a:lnTo>
                    <a:pt x="360" y="419"/>
                  </a:lnTo>
                  <a:lnTo>
                    <a:pt x="332" y="417"/>
                  </a:lnTo>
                  <a:lnTo>
                    <a:pt x="321" y="431"/>
                  </a:lnTo>
                  <a:lnTo>
                    <a:pt x="303" y="431"/>
                  </a:lnTo>
                  <a:lnTo>
                    <a:pt x="275" y="448"/>
                  </a:lnTo>
                  <a:lnTo>
                    <a:pt x="246" y="460"/>
                  </a:lnTo>
                  <a:lnTo>
                    <a:pt x="211" y="458"/>
                  </a:lnTo>
                  <a:lnTo>
                    <a:pt x="179" y="446"/>
                  </a:lnTo>
                  <a:lnTo>
                    <a:pt x="156" y="431"/>
                  </a:lnTo>
                  <a:lnTo>
                    <a:pt x="142" y="409"/>
                  </a:lnTo>
                  <a:lnTo>
                    <a:pt x="118" y="399"/>
                  </a:lnTo>
                  <a:lnTo>
                    <a:pt x="99" y="383"/>
                  </a:lnTo>
                  <a:lnTo>
                    <a:pt x="81" y="360"/>
                  </a:lnTo>
                  <a:lnTo>
                    <a:pt x="47" y="346"/>
                  </a:lnTo>
                  <a:lnTo>
                    <a:pt x="44" y="325"/>
                  </a:lnTo>
                  <a:lnTo>
                    <a:pt x="34" y="309"/>
                  </a:lnTo>
                  <a:lnTo>
                    <a:pt x="20" y="295"/>
                  </a:lnTo>
                  <a:lnTo>
                    <a:pt x="0" y="301"/>
                  </a:lnTo>
                  <a:close/>
                </a:path>
              </a:pathLst>
            </a:custGeom>
            <a:solidFill>
              <a:srgbClr val="D0D0D0"/>
            </a:solidFill>
            <a:ln w="9525">
              <a:solidFill>
                <a:srgbClr val="000000"/>
              </a:solidFill>
              <a:prstDash val="solid"/>
              <a:round/>
              <a:headEnd/>
              <a:tailEnd/>
            </a:ln>
          </p:spPr>
          <p:txBody>
            <a:bodyPr/>
            <a:lstStyle/>
            <a:p>
              <a:endParaRPr lang="cs-CZ"/>
            </a:p>
          </p:txBody>
        </p:sp>
        <p:sp>
          <p:nvSpPr>
            <p:cNvPr id="30" name="Freeform 48"/>
            <p:cNvSpPr>
              <a:spLocks/>
            </p:cNvSpPr>
            <p:nvPr/>
          </p:nvSpPr>
          <p:spPr bwMode="auto">
            <a:xfrm>
              <a:off x="2359" y="2634"/>
              <a:ext cx="355" cy="196"/>
            </a:xfrm>
            <a:custGeom>
              <a:avLst/>
              <a:gdLst>
                <a:gd name="T0" fmla="*/ 297 w 709"/>
                <a:gd name="T1" fmla="*/ 32 h 393"/>
                <a:gd name="T2" fmla="*/ 310 w 709"/>
                <a:gd name="T3" fmla="*/ 26 h 393"/>
                <a:gd name="T4" fmla="*/ 330 w 709"/>
                <a:gd name="T5" fmla="*/ 20 h 393"/>
                <a:gd name="T6" fmla="*/ 354 w 709"/>
                <a:gd name="T7" fmla="*/ 40 h 393"/>
                <a:gd name="T8" fmla="*/ 409 w 709"/>
                <a:gd name="T9" fmla="*/ 45 h 393"/>
                <a:gd name="T10" fmla="*/ 420 w 709"/>
                <a:gd name="T11" fmla="*/ 73 h 393"/>
                <a:gd name="T12" fmla="*/ 442 w 709"/>
                <a:gd name="T13" fmla="*/ 81 h 393"/>
                <a:gd name="T14" fmla="*/ 456 w 709"/>
                <a:gd name="T15" fmla="*/ 116 h 393"/>
                <a:gd name="T16" fmla="*/ 485 w 709"/>
                <a:gd name="T17" fmla="*/ 140 h 393"/>
                <a:gd name="T18" fmla="*/ 511 w 709"/>
                <a:gd name="T19" fmla="*/ 128 h 393"/>
                <a:gd name="T20" fmla="*/ 568 w 709"/>
                <a:gd name="T21" fmla="*/ 124 h 393"/>
                <a:gd name="T22" fmla="*/ 589 w 709"/>
                <a:gd name="T23" fmla="*/ 130 h 393"/>
                <a:gd name="T24" fmla="*/ 603 w 709"/>
                <a:gd name="T25" fmla="*/ 161 h 393"/>
                <a:gd name="T26" fmla="*/ 625 w 709"/>
                <a:gd name="T27" fmla="*/ 167 h 393"/>
                <a:gd name="T28" fmla="*/ 637 w 709"/>
                <a:gd name="T29" fmla="*/ 179 h 393"/>
                <a:gd name="T30" fmla="*/ 656 w 709"/>
                <a:gd name="T31" fmla="*/ 201 h 393"/>
                <a:gd name="T32" fmla="*/ 680 w 709"/>
                <a:gd name="T33" fmla="*/ 216 h 393"/>
                <a:gd name="T34" fmla="*/ 694 w 709"/>
                <a:gd name="T35" fmla="*/ 234 h 393"/>
                <a:gd name="T36" fmla="*/ 709 w 709"/>
                <a:gd name="T37" fmla="*/ 250 h 393"/>
                <a:gd name="T38" fmla="*/ 688 w 709"/>
                <a:gd name="T39" fmla="*/ 254 h 393"/>
                <a:gd name="T40" fmla="*/ 666 w 709"/>
                <a:gd name="T41" fmla="*/ 285 h 393"/>
                <a:gd name="T42" fmla="*/ 644 w 709"/>
                <a:gd name="T43" fmla="*/ 293 h 393"/>
                <a:gd name="T44" fmla="*/ 646 w 709"/>
                <a:gd name="T45" fmla="*/ 328 h 393"/>
                <a:gd name="T46" fmla="*/ 621 w 709"/>
                <a:gd name="T47" fmla="*/ 348 h 393"/>
                <a:gd name="T48" fmla="*/ 605 w 709"/>
                <a:gd name="T49" fmla="*/ 370 h 393"/>
                <a:gd name="T50" fmla="*/ 572 w 709"/>
                <a:gd name="T51" fmla="*/ 376 h 393"/>
                <a:gd name="T52" fmla="*/ 532 w 709"/>
                <a:gd name="T53" fmla="*/ 377 h 393"/>
                <a:gd name="T54" fmla="*/ 519 w 709"/>
                <a:gd name="T55" fmla="*/ 391 h 393"/>
                <a:gd name="T56" fmla="*/ 507 w 709"/>
                <a:gd name="T57" fmla="*/ 381 h 393"/>
                <a:gd name="T58" fmla="*/ 483 w 709"/>
                <a:gd name="T59" fmla="*/ 360 h 393"/>
                <a:gd name="T60" fmla="*/ 446 w 709"/>
                <a:gd name="T61" fmla="*/ 370 h 393"/>
                <a:gd name="T62" fmla="*/ 430 w 709"/>
                <a:gd name="T63" fmla="*/ 366 h 393"/>
                <a:gd name="T64" fmla="*/ 415 w 709"/>
                <a:gd name="T65" fmla="*/ 360 h 393"/>
                <a:gd name="T66" fmla="*/ 373 w 709"/>
                <a:gd name="T67" fmla="*/ 338 h 393"/>
                <a:gd name="T68" fmla="*/ 326 w 709"/>
                <a:gd name="T69" fmla="*/ 336 h 393"/>
                <a:gd name="T70" fmla="*/ 310 w 709"/>
                <a:gd name="T71" fmla="*/ 350 h 393"/>
                <a:gd name="T72" fmla="*/ 297 w 709"/>
                <a:gd name="T73" fmla="*/ 370 h 393"/>
                <a:gd name="T74" fmla="*/ 269 w 709"/>
                <a:gd name="T75" fmla="*/ 393 h 393"/>
                <a:gd name="T76" fmla="*/ 212 w 709"/>
                <a:gd name="T77" fmla="*/ 387 h 393"/>
                <a:gd name="T78" fmla="*/ 167 w 709"/>
                <a:gd name="T79" fmla="*/ 366 h 393"/>
                <a:gd name="T80" fmla="*/ 140 w 709"/>
                <a:gd name="T81" fmla="*/ 334 h 393"/>
                <a:gd name="T82" fmla="*/ 128 w 709"/>
                <a:gd name="T83" fmla="*/ 321 h 393"/>
                <a:gd name="T84" fmla="*/ 86 w 709"/>
                <a:gd name="T85" fmla="*/ 281 h 393"/>
                <a:gd name="T86" fmla="*/ 65 w 709"/>
                <a:gd name="T87" fmla="*/ 262 h 393"/>
                <a:gd name="T88" fmla="*/ 53 w 709"/>
                <a:gd name="T89" fmla="*/ 246 h 393"/>
                <a:gd name="T90" fmla="*/ 41 w 709"/>
                <a:gd name="T91" fmla="*/ 220 h 393"/>
                <a:gd name="T92" fmla="*/ 28 w 709"/>
                <a:gd name="T93" fmla="*/ 191 h 393"/>
                <a:gd name="T94" fmla="*/ 22 w 709"/>
                <a:gd name="T95" fmla="*/ 163 h 393"/>
                <a:gd name="T96" fmla="*/ 4 w 709"/>
                <a:gd name="T97" fmla="*/ 146 h 393"/>
                <a:gd name="T98" fmla="*/ 4 w 709"/>
                <a:gd name="T99" fmla="*/ 124 h 393"/>
                <a:gd name="T100" fmla="*/ 20 w 709"/>
                <a:gd name="T101" fmla="*/ 138 h 393"/>
                <a:gd name="T102" fmla="*/ 39 w 709"/>
                <a:gd name="T103" fmla="*/ 134 h 393"/>
                <a:gd name="T104" fmla="*/ 65 w 709"/>
                <a:gd name="T105" fmla="*/ 112 h 393"/>
                <a:gd name="T106" fmla="*/ 116 w 709"/>
                <a:gd name="T107" fmla="*/ 99 h 393"/>
                <a:gd name="T108" fmla="*/ 136 w 709"/>
                <a:gd name="T109" fmla="*/ 89 h 393"/>
                <a:gd name="T110" fmla="*/ 169 w 709"/>
                <a:gd name="T111" fmla="*/ 59 h 393"/>
                <a:gd name="T112" fmla="*/ 210 w 709"/>
                <a:gd name="T113" fmla="*/ 43 h 393"/>
                <a:gd name="T114" fmla="*/ 230 w 709"/>
                <a:gd name="T115" fmla="*/ 28 h 393"/>
                <a:gd name="T116" fmla="*/ 238 w 709"/>
                <a:gd name="T117" fmla="*/ 0 h 393"/>
                <a:gd name="T118" fmla="*/ 257 w 709"/>
                <a:gd name="T119" fmla="*/ 22 h 393"/>
                <a:gd name="T120" fmla="*/ 277 w 709"/>
                <a:gd name="T121" fmla="*/ 38 h 393"/>
                <a:gd name="T122" fmla="*/ 295 w 709"/>
                <a:gd name="T123" fmla="*/ 4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9" h="393">
                  <a:moveTo>
                    <a:pt x="295" y="36"/>
                  </a:moveTo>
                  <a:lnTo>
                    <a:pt x="297" y="34"/>
                  </a:lnTo>
                  <a:lnTo>
                    <a:pt x="297" y="34"/>
                  </a:lnTo>
                  <a:lnTo>
                    <a:pt x="297" y="32"/>
                  </a:lnTo>
                  <a:lnTo>
                    <a:pt x="301" y="30"/>
                  </a:lnTo>
                  <a:lnTo>
                    <a:pt x="307" y="28"/>
                  </a:lnTo>
                  <a:lnTo>
                    <a:pt x="310" y="26"/>
                  </a:lnTo>
                  <a:lnTo>
                    <a:pt x="310" y="26"/>
                  </a:lnTo>
                  <a:lnTo>
                    <a:pt x="314" y="22"/>
                  </a:lnTo>
                  <a:lnTo>
                    <a:pt x="318" y="20"/>
                  </a:lnTo>
                  <a:lnTo>
                    <a:pt x="324" y="20"/>
                  </a:lnTo>
                  <a:lnTo>
                    <a:pt x="330" y="20"/>
                  </a:lnTo>
                  <a:lnTo>
                    <a:pt x="338" y="30"/>
                  </a:lnTo>
                  <a:lnTo>
                    <a:pt x="344" y="32"/>
                  </a:lnTo>
                  <a:lnTo>
                    <a:pt x="348" y="34"/>
                  </a:lnTo>
                  <a:lnTo>
                    <a:pt x="354" y="40"/>
                  </a:lnTo>
                  <a:lnTo>
                    <a:pt x="360" y="43"/>
                  </a:lnTo>
                  <a:lnTo>
                    <a:pt x="375" y="47"/>
                  </a:lnTo>
                  <a:lnTo>
                    <a:pt x="393" y="47"/>
                  </a:lnTo>
                  <a:lnTo>
                    <a:pt x="409" y="45"/>
                  </a:lnTo>
                  <a:lnTo>
                    <a:pt x="415" y="51"/>
                  </a:lnTo>
                  <a:lnTo>
                    <a:pt x="419" y="57"/>
                  </a:lnTo>
                  <a:lnTo>
                    <a:pt x="420" y="65"/>
                  </a:lnTo>
                  <a:lnTo>
                    <a:pt x="420" y="73"/>
                  </a:lnTo>
                  <a:lnTo>
                    <a:pt x="422" y="73"/>
                  </a:lnTo>
                  <a:lnTo>
                    <a:pt x="424" y="75"/>
                  </a:lnTo>
                  <a:lnTo>
                    <a:pt x="432" y="79"/>
                  </a:lnTo>
                  <a:lnTo>
                    <a:pt x="442" y="81"/>
                  </a:lnTo>
                  <a:lnTo>
                    <a:pt x="448" y="85"/>
                  </a:lnTo>
                  <a:lnTo>
                    <a:pt x="450" y="95"/>
                  </a:lnTo>
                  <a:lnTo>
                    <a:pt x="452" y="106"/>
                  </a:lnTo>
                  <a:lnTo>
                    <a:pt x="456" y="116"/>
                  </a:lnTo>
                  <a:lnTo>
                    <a:pt x="464" y="124"/>
                  </a:lnTo>
                  <a:lnTo>
                    <a:pt x="468" y="130"/>
                  </a:lnTo>
                  <a:lnTo>
                    <a:pt x="474" y="134"/>
                  </a:lnTo>
                  <a:lnTo>
                    <a:pt x="485" y="140"/>
                  </a:lnTo>
                  <a:lnTo>
                    <a:pt x="495" y="140"/>
                  </a:lnTo>
                  <a:lnTo>
                    <a:pt x="503" y="138"/>
                  </a:lnTo>
                  <a:lnTo>
                    <a:pt x="509" y="134"/>
                  </a:lnTo>
                  <a:lnTo>
                    <a:pt x="511" y="128"/>
                  </a:lnTo>
                  <a:lnTo>
                    <a:pt x="513" y="120"/>
                  </a:lnTo>
                  <a:lnTo>
                    <a:pt x="519" y="116"/>
                  </a:lnTo>
                  <a:lnTo>
                    <a:pt x="544" y="120"/>
                  </a:lnTo>
                  <a:lnTo>
                    <a:pt x="568" y="124"/>
                  </a:lnTo>
                  <a:lnTo>
                    <a:pt x="574" y="126"/>
                  </a:lnTo>
                  <a:lnTo>
                    <a:pt x="582" y="128"/>
                  </a:lnTo>
                  <a:lnTo>
                    <a:pt x="587" y="130"/>
                  </a:lnTo>
                  <a:lnTo>
                    <a:pt x="589" y="130"/>
                  </a:lnTo>
                  <a:lnTo>
                    <a:pt x="591" y="138"/>
                  </a:lnTo>
                  <a:lnTo>
                    <a:pt x="595" y="146"/>
                  </a:lnTo>
                  <a:lnTo>
                    <a:pt x="599" y="155"/>
                  </a:lnTo>
                  <a:lnTo>
                    <a:pt x="603" y="161"/>
                  </a:lnTo>
                  <a:lnTo>
                    <a:pt x="611" y="163"/>
                  </a:lnTo>
                  <a:lnTo>
                    <a:pt x="619" y="165"/>
                  </a:lnTo>
                  <a:lnTo>
                    <a:pt x="623" y="167"/>
                  </a:lnTo>
                  <a:lnTo>
                    <a:pt x="625" y="167"/>
                  </a:lnTo>
                  <a:lnTo>
                    <a:pt x="627" y="171"/>
                  </a:lnTo>
                  <a:lnTo>
                    <a:pt x="631" y="175"/>
                  </a:lnTo>
                  <a:lnTo>
                    <a:pt x="635" y="179"/>
                  </a:lnTo>
                  <a:lnTo>
                    <a:pt x="637" y="179"/>
                  </a:lnTo>
                  <a:lnTo>
                    <a:pt x="641" y="187"/>
                  </a:lnTo>
                  <a:lnTo>
                    <a:pt x="644" y="193"/>
                  </a:lnTo>
                  <a:lnTo>
                    <a:pt x="648" y="197"/>
                  </a:lnTo>
                  <a:lnTo>
                    <a:pt x="656" y="201"/>
                  </a:lnTo>
                  <a:lnTo>
                    <a:pt x="666" y="209"/>
                  </a:lnTo>
                  <a:lnTo>
                    <a:pt x="676" y="214"/>
                  </a:lnTo>
                  <a:lnTo>
                    <a:pt x="678" y="216"/>
                  </a:lnTo>
                  <a:lnTo>
                    <a:pt x="680" y="216"/>
                  </a:lnTo>
                  <a:lnTo>
                    <a:pt x="684" y="222"/>
                  </a:lnTo>
                  <a:lnTo>
                    <a:pt x="686" y="226"/>
                  </a:lnTo>
                  <a:lnTo>
                    <a:pt x="690" y="230"/>
                  </a:lnTo>
                  <a:lnTo>
                    <a:pt x="694" y="234"/>
                  </a:lnTo>
                  <a:lnTo>
                    <a:pt x="698" y="238"/>
                  </a:lnTo>
                  <a:lnTo>
                    <a:pt x="701" y="242"/>
                  </a:lnTo>
                  <a:lnTo>
                    <a:pt x="707" y="246"/>
                  </a:lnTo>
                  <a:lnTo>
                    <a:pt x="709" y="250"/>
                  </a:lnTo>
                  <a:lnTo>
                    <a:pt x="707" y="254"/>
                  </a:lnTo>
                  <a:lnTo>
                    <a:pt x="703" y="256"/>
                  </a:lnTo>
                  <a:lnTo>
                    <a:pt x="696" y="254"/>
                  </a:lnTo>
                  <a:lnTo>
                    <a:pt x="688" y="254"/>
                  </a:lnTo>
                  <a:lnTo>
                    <a:pt x="678" y="258"/>
                  </a:lnTo>
                  <a:lnTo>
                    <a:pt x="672" y="266"/>
                  </a:lnTo>
                  <a:lnTo>
                    <a:pt x="668" y="275"/>
                  </a:lnTo>
                  <a:lnTo>
                    <a:pt x="666" y="285"/>
                  </a:lnTo>
                  <a:lnTo>
                    <a:pt x="662" y="289"/>
                  </a:lnTo>
                  <a:lnTo>
                    <a:pt x="654" y="293"/>
                  </a:lnTo>
                  <a:lnTo>
                    <a:pt x="646" y="293"/>
                  </a:lnTo>
                  <a:lnTo>
                    <a:pt x="644" y="293"/>
                  </a:lnTo>
                  <a:lnTo>
                    <a:pt x="643" y="293"/>
                  </a:lnTo>
                  <a:lnTo>
                    <a:pt x="643" y="311"/>
                  </a:lnTo>
                  <a:lnTo>
                    <a:pt x="643" y="321"/>
                  </a:lnTo>
                  <a:lnTo>
                    <a:pt x="646" y="328"/>
                  </a:lnTo>
                  <a:lnTo>
                    <a:pt x="639" y="334"/>
                  </a:lnTo>
                  <a:lnTo>
                    <a:pt x="633" y="340"/>
                  </a:lnTo>
                  <a:lnTo>
                    <a:pt x="627" y="344"/>
                  </a:lnTo>
                  <a:lnTo>
                    <a:pt x="621" y="348"/>
                  </a:lnTo>
                  <a:lnTo>
                    <a:pt x="615" y="350"/>
                  </a:lnTo>
                  <a:lnTo>
                    <a:pt x="613" y="362"/>
                  </a:lnTo>
                  <a:lnTo>
                    <a:pt x="611" y="366"/>
                  </a:lnTo>
                  <a:lnTo>
                    <a:pt x="605" y="370"/>
                  </a:lnTo>
                  <a:lnTo>
                    <a:pt x="603" y="374"/>
                  </a:lnTo>
                  <a:lnTo>
                    <a:pt x="599" y="377"/>
                  </a:lnTo>
                  <a:lnTo>
                    <a:pt x="589" y="381"/>
                  </a:lnTo>
                  <a:lnTo>
                    <a:pt x="572" y="376"/>
                  </a:lnTo>
                  <a:lnTo>
                    <a:pt x="554" y="374"/>
                  </a:lnTo>
                  <a:lnTo>
                    <a:pt x="546" y="374"/>
                  </a:lnTo>
                  <a:lnTo>
                    <a:pt x="538" y="376"/>
                  </a:lnTo>
                  <a:lnTo>
                    <a:pt x="532" y="377"/>
                  </a:lnTo>
                  <a:lnTo>
                    <a:pt x="529" y="377"/>
                  </a:lnTo>
                  <a:lnTo>
                    <a:pt x="527" y="383"/>
                  </a:lnTo>
                  <a:lnTo>
                    <a:pt x="525" y="385"/>
                  </a:lnTo>
                  <a:lnTo>
                    <a:pt x="519" y="391"/>
                  </a:lnTo>
                  <a:lnTo>
                    <a:pt x="515" y="389"/>
                  </a:lnTo>
                  <a:lnTo>
                    <a:pt x="513" y="387"/>
                  </a:lnTo>
                  <a:lnTo>
                    <a:pt x="511" y="385"/>
                  </a:lnTo>
                  <a:lnTo>
                    <a:pt x="507" y="381"/>
                  </a:lnTo>
                  <a:lnTo>
                    <a:pt x="501" y="372"/>
                  </a:lnTo>
                  <a:lnTo>
                    <a:pt x="491" y="364"/>
                  </a:lnTo>
                  <a:lnTo>
                    <a:pt x="485" y="362"/>
                  </a:lnTo>
                  <a:lnTo>
                    <a:pt x="483" y="360"/>
                  </a:lnTo>
                  <a:lnTo>
                    <a:pt x="481" y="360"/>
                  </a:lnTo>
                  <a:lnTo>
                    <a:pt x="468" y="366"/>
                  </a:lnTo>
                  <a:lnTo>
                    <a:pt x="452" y="370"/>
                  </a:lnTo>
                  <a:lnTo>
                    <a:pt x="446" y="370"/>
                  </a:lnTo>
                  <a:lnTo>
                    <a:pt x="442" y="370"/>
                  </a:lnTo>
                  <a:lnTo>
                    <a:pt x="436" y="368"/>
                  </a:lnTo>
                  <a:lnTo>
                    <a:pt x="432" y="368"/>
                  </a:lnTo>
                  <a:lnTo>
                    <a:pt x="430" y="366"/>
                  </a:lnTo>
                  <a:lnTo>
                    <a:pt x="424" y="364"/>
                  </a:lnTo>
                  <a:lnTo>
                    <a:pt x="419" y="362"/>
                  </a:lnTo>
                  <a:lnTo>
                    <a:pt x="417" y="360"/>
                  </a:lnTo>
                  <a:lnTo>
                    <a:pt x="415" y="360"/>
                  </a:lnTo>
                  <a:lnTo>
                    <a:pt x="413" y="356"/>
                  </a:lnTo>
                  <a:lnTo>
                    <a:pt x="407" y="352"/>
                  </a:lnTo>
                  <a:lnTo>
                    <a:pt x="391" y="344"/>
                  </a:lnTo>
                  <a:lnTo>
                    <a:pt x="373" y="338"/>
                  </a:lnTo>
                  <a:lnTo>
                    <a:pt x="365" y="336"/>
                  </a:lnTo>
                  <a:lnTo>
                    <a:pt x="360" y="334"/>
                  </a:lnTo>
                  <a:lnTo>
                    <a:pt x="330" y="334"/>
                  </a:lnTo>
                  <a:lnTo>
                    <a:pt x="326" y="336"/>
                  </a:lnTo>
                  <a:lnTo>
                    <a:pt x="320" y="340"/>
                  </a:lnTo>
                  <a:lnTo>
                    <a:pt x="316" y="342"/>
                  </a:lnTo>
                  <a:lnTo>
                    <a:pt x="314" y="344"/>
                  </a:lnTo>
                  <a:lnTo>
                    <a:pt x="310" y="350"/>
                  </a:lnTo>
                  <a:lnTo>
                    <a:pt x="308" y="354"/>
                  </a:lnTo>
                  <a:lnTo>
                    <a:pt x="307" y="356"/>
                  </a:lnTo>
                  <a:lnTo>
                    <a:pt x="303" y="358"/>
                  </a:lnTo>
                  <a:lnTo>
                    <a:pt x="297" y="370"/>
                  </a:lnTo>
                  <a:lnTo>
                    <a:pt x="289" y="383"/>
                  </a:lnTo>
                  <a:lnTo>
                    <a:pt x="283" y="387"/>
                  </a:lnTo>
                  <a:lnTo>
                    <a:pt x="277" y="391"/>
                  </a:lnTo>
                  <a:lnTo>
                    <a:pt x="269" y="393"/>
                  </a:lnTo>
                  <a:lnTo>
                    <a:pt x="267" y="393"/>
                  </a:lnTo>
                  <a:lnTo>
                    <a:pt x="240" y="391"/>
                  </a:lnTo>
                  <a:lnTo>
                    <a:pt x="226" y="391"/>
                  </a:lnTo>
                  <a:lnTo>
                    <a:pt x="212" y="387"/>
                  </a:lnTo>
                  <a:lnTo>
                    <a:pt x="202" y="379"/>
                  </a:lnTo>
                  <a:lnTo>
                    <a:pt x="191" y="374"/>
                  </a:lnTo>
                  <a:lnTo>
                    <a:pt x="179" y="370"/>
                  </a:lnTo>
                  <a:lnTo>
                    <a:pt x="167" y="366"/>
                  </a:lnTo>
                  <a:lnTo>
                    <a:pt x="159" y="356"/>
                  </a:lnTo>
                  <a:lnTo>
                    <a:pt x="149" y="348"/>
                  </a:lnTo>
                  <a:lnTo>
                    <a:pt x="147" y="340"/>
                  </a:lnTo>
                  <a:lnTo>
                    <a:pt x="140" y="334"/>
                  </a:lnTo>
                  <a:lnTo>
                    <a:pt x="136" y="328"/>
                  </a:lnTo>
                  <a:lnTo>
                    <a:pt x="134" y="324"/>
                  </a:lnTo>
                  <a:lnTo>
                    <a:pt x="132" y="324"/>
                  </a:lnTo>
                  <a:lnTo>
                    <a:pt x="128" y="321"/>
                  </a:lnTo>
                  <a:lnTo>
                    <a:pt x="120" y="309"/>
                  </a:lnTo>
                  <a:lnTo>
                    <a:pt x="110" y="299"/>
                  </a:lnTo>
                  <a:lnTo>
                    <a:pt x="98" y="289"/>
                  </a:lnTo>
                  <a:lnTo>
                    <a:pt x="86" y="281"/>
                  </a:lnTo>
                  <a:lnTo>
                    <a:pt x="83" y="273"/>
                  </a:lnTo>
                  <a:lnTo>
                    <a:pt x="75" y="269"/>
                  </a:lnTo>
                  <a:lnTo>
                    <a:pt x="71" y="266"/>
                  </a:lnTo>
                  <a:lnTo>
                    <a:pt x="65" y="262"/>
                  </a:lnTo>
                  <a:lnTo>
                    <a:pt x="61" y="260"/>
                  </a:lnTo>
                  <a:lnTo>
                    <a:pt x="59" y="258"/>
                  </a:lnTo>
                  <a:lnTo>
                    <a:pt x="57" y="252"/>
                  </a:lnTo>
                  <a:lnTo>
                    <a:pt x="53" y="246"/>
                  </a:lnTo>
                  <a:lnTo>
                    <a:pt x="45" y="234"/>
                  </a:lnTo>
                  <a:lnTo>
                    <a:pt x="45" y="230"/>
                  </a:lnTo>
                  <a:lnTo>
                    <a:pt x="43" y="224"/>
                  </a:lnTo>
                  <a:lnTo>
                    <a:pt x="41" y="220"/>
                  </a:lnTo>
                  <a:lnTo>
                    <a:pt x="39" y="218"/>
                  </a:lnTo>
                  <a:lnTo>
                    <a:pt x="35" y="209"/>
                  </a:lnTo>
                  <a:lnTo>
                    <a:pt x="29" y="197"/>
                  </a:lnTo>
                  <a:lnTo>
                    <a:pt x="28" y="191"/>
                  </a:lnTo>
                  <a:lnTo>
                    <a:pt x="28" y="183"/>
                  </a:lnTo>
                  <a:lnTo>
                    <a:pt x="26" y="175"/>
                  </a:lnTo>
                  <a:lnTo>
                    <a:pt x="24" y="167"/>
                  </a:lnTo>
                  <a:lnTo>
                    <a:pt x="22" y="163"/>
                  </a:lnTo>
                  <a:lnTo>
                    <a:pt x="18" y="159"/>
                  </a:lnTo>
                  <a:lnTo>
                    <a:pt x="16" y="154"/>
                  </a:lnTo>
                  <a:lnTo>
                    <a:pt x="10" y="152"/>
                  </a:lnTo>
                  <a:lnTo>
                    <a:pt x="4" y="146"/>
                  </a:lnTo>
                  <a:lnTo>
                    <a:pt x="0" y="138"/>
                  </a:lnTo>
                  <a:lnTo>
                    <a:pt x="2" y="132"/>
                  </a:lnTo>
                  <a:lnTo>
                    <a:pt x="2" y="126"/>
                  </a:lnTo>
                  <a:lnTo>
                    <a:pt x="4" y="124"/>
                  </a:lnTo>
                  <a:lnTo>
                    <a:pt x="6" y="124"/>
                  </a:lnTo>
                  <a:lnTo>
                    <a:pt x="12" y="128"/>
                  </a:lnTo>
                  <a:lnTo>
                    <a:pt x="18" y="136"/>
                  </a:lnTo>
                  <a:lnTo>
                    <a:pt x="20" y="138"/>
                  </a:lnTo>
                  <a:lnTo>
                    <a:pt x="22" y="138"/>
                  </a:lnTo>
                  <a:lnTo>
                    <a:pt x="28" y="136"/>
                  </a:lnTo>
                  <a:lnTo>
                    <a:pt x="33" y="136"/>
                  </a:lnTo>
                  <a:lnTo>
                    <a:pt x="39" y="134"/>
                  </a:lnTo>
                  <a:lnTo>
                    <a:pt x="45" y="130"/>
                  </a:lnTo>
                  <a:lnTo>
                    <a:pt x="49" y="124"/>
                  </a:lnTo>
                  <a:lnTo>
                    <a:pt x="55" y="118"/>
                  </a:lnTo>
                  <a:lnTo>
                    <a:pt x="65" y="112"/>
                  </a:lnTo>
                  <a:lnTo>
                    <a:pt x="75" y="108"/>
                  </a:lnTo>
                  <a:lnTo>
                    <a:pt x="98" y="102"/>
                  </a:lnTo>
                  <a:lnTo>
                    <a:pt x="108" y="100"/>
                  </a:lnTo>
                  <a:lnTo>
                    <a:pt x="116" y="99"/>
                  </a:lnTo>
                  <a:lnTo>
                    <a:pt x="122" y="97"/>
                  </a:lnTo>
                  <a:lnTo>
                    <a:pt x="126" y="95"/>
                  </a:lnTo>
                  <a:lnTo>
                    <a:pt x="132" y="91"/>
                  </a:lnTo>
                  <a:lnTo>
                    <a:pt x="136" y="89"/>
                  </a:lnTo>
                  <a:lnTo>
                    <a:pt x="143" y="75"/>
                  </a:lnTo>
                  <a:lnTo>
                    <a:pt x="151" y="67"/>
                  </a:lnTo>
                  <a:lnTo>
                    <a:pt x="163" y="61"/>
                  </a:lnTo>
                  <a:lnTo>
                    <a:pt x="169" y="59"/>
                  </a:lnTo>
                  <a:lnTo>
                    <a:pt x="179" y="57"/>
                  </a:lnTo>
                  <a:lnTo>
                    <a:pt x="193" y="51"/>
                  </a:lnTo>
                  <a:lnTo>
                    <a:pt x="204" y="47"/>
                  </a:lnTo>
                  <a:lnTo>
                    <a:pt x="210" y="43"/>
                  </a:lnTo>
                  <a:lnTo>
                    <a:pt x="216" y="42"/>
                  </a:lnTo>
                  <a:lnTo>
                    <a:pt x="222" y="40"/>
                  </a:lnTo>
                  <a:lnTo>
                    <a:pt x="228" y="38"/>
                  </a:lnTo>
                  <a:lnTo>
                    <a:pt x="230" y="28"/>
                  </a:lnTo>
                  <a:lnTo>
                    <a:pt x="230" y="16"/>
                  </a:lnTo>
                  <a:lnTo>
                    <a:pt x="230" y="6"/>
                  </a:lnTo>
                  <a:lnTo>
                    <a:pt x="234" y="2"/>
                  </a:lnTo>
                  <a:lnTo>
                    <a:pt x="238" y="0"/>
                  </a:lnTo>
                  <a:lnTo>
                    <a:pt x="246" y="4"/>
                  </a:lnTo>
                  <a:lnTo>
                    <a:pt x="251" y="10"/>
                  </a:lnTo>
                  <a:lnTo>
                    <a:pt x="253" y="16"/>
                  </a:lnTo>
                  <a:lnTo>
                    <a:pt x="257" y="22"/>
                  </a:lnTo>
                  <a:lnTo>
                    <a:pt x="265" y="30"/>
                  </a:lnTo>
                  <a:lnTo>
                    <a:pt x="269" y="34"/>
                  </a:lnTo>
                  <a:lnTo>
                    <a:pt x="273" y="36"/>
                  </a:lnTo>
                  <a:lnTo>
                    <a:pt x="277" y="38"/>
                  </a:lnTo>
                  <a:lnTo>
                    <a:pt x="279" y="38"/>
                  </a:lnTo>
                  <a:lnTo>
                    <a:pt x="285" y="38"/>
                  </a:lnTo>
                  <a:lnTo>
                    <a:pt x="291" y="42"/>
                  </a:lnTo>
                  <a:lnTo>
                    <a:pt x="295" y="42"/>
                  </a:lnTo>
                  <a:lnTo>
                    <a:pt x="295" y="40"/>
                  </a:lnTo>
                  <a:lnTo>
                    <a:pt x="295" y="36"/>
                  </a:lnTo>
                  <a:close/>
                </a:path>
              </a:pathLst>
            </a:custGeom>
            <a:solidFill>
              <a:srgbClr val="D0D0D0"/>
            </a:solidFill>
            <a:ln w="9525">
              <a:solidFill>
                <a:srgbClr val="000000"/>
              </a:solidFill>
              <a:prstDash val="solid"/>
              <a:round/>
              <a:headEnd/>
              <a:tailEnd/>
            </a:ln>
          </p:spPr>
          <p:txBody>
            <a:bodyPr/>
            <a:lstStyle/>
            <a:p>
              <a:endParaRPr lang="cs-CZ"/>
            </a:p>
          </p:txBody>
        </p:sp>
        <p:sp>
          <p:nvSpPr>
            <p:cNvPr id="31" name="Freeform 49"/>
            <p:cNvSpPr>
              <a:spLocks/>
            </p:cNvSpPr>
            <p:nvPr/>
          </p:nvSpPr>
          <p:spPr bwMode="auto">
            <a:xfrm>
              <a:off x="2470" y="2328"/>
              <a:ext cx="508" cy="453"/>
            </a:xfrm>
            <a:custGeom>
              <a:avLst/>
              <a:gdLst>
                <a:gd name="T0" fmla="*/ 755 w 1016"/>
                <a:gd name="T1" fmla="*/ 55 h 906"/>
                <a:gd name="T2" fmla="*/ 904 w 1016"/>
                <a:gd name="T3" fmla="*/ 122 h 906"/>
                <a:gd name="T4" fmla="*/ 927 w 1016"/>
                <a:gd name="T5" fmla="*/ 199 h 906"/>
                <a:gd name="T6" fmla="*/ 943 w 1016"/>
                <a:gd name="T7" fmla="*/ 305 h 906"/>
                <a:gd name="T8" fmla="*/ 906 w 1016"/>
                <a:gd name="T9" fmla="*/ 377 h 906"/>
                <a:gd name="T10" fmla="*/ 925 w 1016"/>
                <a:gd name="T11" fmla="*/ 405 h 906"/>
                <a:gd name="T12" fmla="*/ 943 w 1016"/>
                <a:gd name="T13" fmla="*/ 438 h 906"/>
                <a:gd name="T14" fmla="*/ 953 w 1016"/>
                <a:gd name="T15" fmla="*/ 523 h 906"/>
                <a:gd name="T16" fmla="*/ 994 w 1016"/>
                <a:gd name="T17" fmla="*/ 576 h 906"/>
                <a:gd name="T18" fmla="*/ 1006 w 1016"/>
                <a:gd name="T19" fmla="*/ 601 h 906"/>
                <a:gd name="T20" fmla="*/ 1006 w 1016"/>
                <a:gd name="T21" fmla="*/ 617 h 906"/>
                <a:gd name="T22" fmla="*/ 898 w 1016"/>
                <a:gd name="T23" fmla="*/ 814 h 906"/>
                <a:gd name="T24" fmla="*/ 810 w 1016"/>
                <a:gd name="T25" fmla="*/ 863 h 906"/>
                <a:gd name="T26" fmla="*/ 711 w 1016"/>
                <a:gd name="T27" fmla="*/ 873 h 906"/>
                <a:gd name="T28" fmla="*/ 678 w 1016"/>
                <a:gd name="T29" fmla="*/ 865 h 906"/>
                <a:gd name="T30" fmla="*/ 623 w 1016"/>
                <a:gd name="T31" fmla="*/ 884 h 906"/>
                <a:gd name="T32" fmla="*/ 611 w 1016"/>
                <a:gd name="T33" fmla="*/ 902 h 906"/>
                <a:gd name="T34" fmla="*/ 607 w 1016"/>
                <a:gd name="T35" fmla="*/ 904 h 906"/>
                <a:gd name="T36" fmla="*/ 580 w 1016"/>
                <a:gd name="T37" fmla="*/ 877 h 906"/>
                <a:gd name="T38" fmla="*/ 564 w 1016"/>
                <a:gd name="T39" fmla="*/ 861 h 906"/>
                <a:gd name="T40" fmla="*/ 538 w 1016"/>
                <a:gd name="T41" fmla="*/ 851 h 906"/>
                <a:gd name="T42" fmla="*/ 483 w 1016"/>
                <a:gd name="T43" fmla="*/ 849 h 906"/>
                <a:gd name="T44" fmla="*/ 440 w 1016"/>
                <a:gd name="T45" fmla="*/ 816 h 906"/>
                <a:gd name="T46" fmla="*/ 399 w 1016"/>
                <a:gd name="T47" fmla="*/ 776 h 906"/>
                <a:gd name="T48" fmla="*/ 371 w 1016"/>
                <a:gd name="T49" fmla="*/ 751 h 906"/>
                <a:gd name="T50" fmla="*/ 334 w 1016"/>
                <a:gd name="T51" fmla="*/ 729 h 906"/>
                <a:gd name="T52" fmla="*/ 295 w 1016"/>
                <a:gd name="T53" fmla="*/ 721 h 906"/>
                <a:gd name="T54" fmla="*/ 287 w 1016"/>
                <a:gd name="T55" fmla="*/ 735 h 906"/>
                <a:gd name="T56" fmla="*/ 269 w 1016"/>
                <a:gd name="T57" fmla="*/ 749 h 906"/>
                <a:gd name="T58" fmla="*/ 238 w 1016"/>
                <a:gd name="T59" fmla="*/ 729 h 906"/>
                <a:gd name="T60" fmla="*/ 224 w 1016"/>
                <a:gd name="T61" fmla="*/ 696 h 906"/>
                <a:gd name="T62" fmla="*/ 198 w 1016"/>
                <a:gd name="T63" fmla="*/ 684 h 906"/>
                <a:gd name="T64" fmla="*/ 189 w 1016"/>
                <a:gd name="T65" fmla="*/ 656 h 906"/>
                <a:gd name="T66" fmla="*/ 165 w 1016"/>
                <a:gd name="T67" fmla="*/ 654 h 906"/>
                <a:gd name="T68" fmla="*/ 132 w 1016"/>
                <a:gd name="T69" fmla="*/ 653 h 906"/>
                <a:gd name="T70" fmla="*/ 106 w 1016"/>
                <a:gd name="T71" fmla="*/ 629 h 906"/>
                <a:gd name="T72" fmla="*/ 86 w 1016"/>
                <a:gd name="T73" fmla="*/ 633 h 906"/>
                <a:gd name="T74" fmla="*/ 75 w 1016"/>
                <a:gd name="T75" fmla="*/ 653 h 906"/>
                <a:gd name="T76" fmla="*/ 83 w 1016"/>
                <a:gd name="T77" fmla="*/ 570 h 906"/>
                <a:gd name="T78" fmla="*/ 59 w 1016"/>
                <a:gd name="T79" fmla="*/ 525 h 906"/>
                <a:gd name="T80" fmla="*/ 45 w 1016"/>
                <a:gd name="T81" fmla="*/ 505 h 906"/>
                <a:gd name="T82" fmla="*/ 45 w 1016"/>
                <a:gd name="T83" fmla="*/ 466 h 906"/>
                <a:gd name="T84" fmla="*/ 29 w 1016"/>
                <a:gd name="T85" fmla="*/ 387 h 906"/>
                <a:gd name="T86" fmla="*/ 2 w 1016"/>
                <a:gd name="T87" fmla="*/ 336 h 906"/>
                <a:gd name="T88" fmla="*/ 16 w 1016"/>
                <a:gd name="T89" fmla="*/ 301 h 906"/>
                <a:gd name="T90" fmla="*/ 14 w 1016"/>
                <a:gd name="T91" fmla="*/ 222 h 906"/>
                <a:gd name="T92" fmla="*/ 35 w 1016"/>
                <a:gd name="T93" fmla="*/ 185 h 906"/>
                <a:gd name="T94" fmla="*/ 37 w 1016"/>
                <a:gd name="T95" fmla="*/ 150 h 906"/>
                <a:gd name="T96" fmla="*/ 100 w 1016"/>
                <a:gd name="T97" fmla="*/ 128 h 906"/>
                <a:gd name="T98" fmla="*/ 124 w 1016"/>
                <a:gd name="T99" fmla="*/ 110 h 906"/>
                <a:gd name="T100" fmla="*/ 177 w 1016"/>
                <a:gd name="T101" fmla="*/ 97 h 906"/>
                <a:gd name="T102" fmla="*/ 226 w 1016"/>
                <a:gd name="T103" fmla="*/ 57 h 906"/>
                <a:gd name="T104" fmla="*/ 273 w 1016"/>
                <a:gd name="T105" fmla="*/ 30 h 906"/>
                <a:gd name="T106" fmla="*/ 320 w 1016"/>
                <a:gd name="T107" fmla="*/ 8 h 906"/>
                <a:gd name="T108" fmla="*/ 377 w 1016"/>
                <a:gd name="T109" fmla="*/ 2 h 906"/>
                <a:gd name="T110" fmla="*/ 428 w 1016"/>
                <a:gd name="T111" fmla="*/ 16 h 906"/>
                <a:gd name="T112" fmla="*/ 422 w 1016"/>
                <a:gd name="T113" fmla="*/ 34 h 906"/>
                <a:gd name="T114" fmla="*/ 426 w 1016"/>
                <a:gd name="T115" fmla="*/ 61 h 906"/>
                <a:gd name="T116" fmla="*/ 477 w 1016"/>
                <a:gd name="T117" fmla="*/ 65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6" h="906">
                  <a:moveTo>
                    <a:pt x="521" y="51"/>
                  </a:moveTo>
                  <a:lnTo>
                    <a:pt x="588" y="63"/>
                  </a:lnTo>
                  <a:lnTo>
                    <a:pt x="692" y="71"/>
                  </a:lnTo>
                  <a:lnTo>
                    <a:pt x="755" y="55"/>
                  </a:lnTo>
                  <a:lnTo>
                    <a:pt x="817" y="36"/>
                  </a:lnTo>
                  <a:lnTo>
                    <a:pt x="853" y="40"/>
                  </a:lnTo>
                  <a:lnTo>
                    <a:pt x="888" y="73"/>
                  </a:lnTo>
                  <a:lnTo>
                    <a:pt x="904" y="122"/>
                  </a:lnTo>
                  <a:lnTo>
                    <a:pt x="910" y="146"/>
                  </a:lnTo>
                  <a:lnTo>
                    <a:pt x="918" y="167"/>
                  </a:lnTo>
                  <a:lnTo>
                    <a:pt x="922" y="183"/>
                  </a:lnTo>
                  <a:lnTo>
                    <a:pt x="927" y="199"/>
                  </a:lnTo>
                  <a:lnTo>
                    <a:pt x="943" y="224"/>
                  </a:lnTo>
                  <a:lnTo>
                    <a:pt x="949" y="277"/>
                  </a:lnTo>
                  <a:lnTo>
                    <a:pt x="947" y="291"/>
                  </a:lnTo>
                  <a:lnTo>
                    <a:pt x="943" y="305"/>
                  </a:lnTo>
                  <a:lnTo>
                    <a:pt x="931" y="326"/>
                  </a:lnTo>
                  <a:lnTo>
                    <a:pt x="918" y="346"/>
                  </a:lnTo>
                  <a:lnTo>
                    <a:pt x="904" y="370"/>
                  </a:lnTo>
                  <a:lnTo>
                    <a:pt x="906" y="377"/>
                  </a:lnTo>
                  <a:lnTo>
                    <a:pt x="910" y="385"/>
                  </a:lnTo>
                  <a:lnTo>
                    <a:pt x="914" y="389"/>
                  </a:lnTo>
                  <a:lnTo>
                    <a:pt x="920" y="393"/>
                  </a:lnTo>
                  <a:lnTo>
                    <a:pt x="925" y="405"/>
                  </a:lnTo>
                  <a:lnTo>
                    <a:pt x="933" y="415"/>
                  </a:lnTo>
                  <a:lnTo>
                    <a:pt x="935" y="421"/>
                  </a:lnTo>
                  <a:lnTo>
                    <a:pt x="937" y="427"/>
                  </a:lnTo>
                  <a:lnTo>
                    <a:pt x="943" y="438"/>
                  </a:lnTo>
                  <a:lnTo>
                    <a:pt x="943" y="460"/>
                  </a:lnTo>
                  <a:lnTo>
                    <a:pt x="945" y="482"/>
                  </a:lnTo>
                  <a:lnTo>
                    <a:pt x="947" y="503"/>
                  </a:lnTo>
                  <a:lnTo>
                    <a:pt x="953" y="523"/>
                  </a:lnTo>
                  <a:lnTo>
                    <a:pt x="957" y="535"/>
                  </a:lnTo>
                  <a:lnTo>
                    <a:pt x="965" y="546"/>
                  </a:lnTo>
                  <a:lnTo>
                    <a:pt x="984" y="562"/>
                  </a:lnTo>
                  <a:lnTo>
                    <a:pt x="994" y="576"/>
                  </a:lnTo>
                  <a:lnTo>
                    <a:pt x="1000" y="582"/>
                  </a:lnTo>
                  <a:lnTo>
                    <a:pt x="1004" y="590"/>
                  </a:lnTo>
                  <a:lnTo>
                    <a:pt x="1004" y="596"/>
                  </a:lnTo>
                  <a:lnTo>
                    <a:pt x="1006" y="601"/>
                  </a:lnTo>
                  <a:lnTo>
                    <a:pt x="1006" y="605"/>
                  </a:lnTo>
                  <a:lnTo>
                    <a:pt x="1006" y="609"/>
                  </a:lnTo>
                  <a:lnTo>
                    <a:pt x="1006" y="613"/>
                  </a:lnTo>
                  <a:lnTo>
                    <a:pt x="1006" y="617"/>
                  </a:lnTo>
                  <a:lnTo>
                    <a:pt x="1016" y="654"/>
                  </a:lnTo>
                  <a:lnTo>
                    <a:pt x="971" y="692"/>
                  </a:lnTo>
                  <a:lnTo>
                    <a:pt x="927" y="743"/>
                  </a:lnTo>
                  <a:lnTo>
                    <a:pt x="898" y="814"/>
                  </a:lnTo>
                  <a:lnTo>
                    <a:pt x="908" y="855"/>
                  </a:lnTo>
                  <a:lnTo>
                    <a:pt x="902" y="888"/>
                  </a:lnTo>
                  <a:lnTo>
                    <a:pt x="868" y="888"/>
                  </a:lnTo>
                  <a:lnTo>
                    <a:pt x="810" y="863"/>
                  </a:lnTo>
                  <a:lnTo>
                    <a:pt x="774" y="843"/>
                  </a:lnTo>
                  <a:lnTo>
                    <a:pt x="719" y="859"/>
                  </a:lnTo>
                  <a:lnTo>
                    <a:pt x="715" y="867"/>
                  </a:lnTo>
                  <a:lnTo>
                    <a:pt x="711" y="873"/>
                  </a:lnTo>
                  <a:lnTo>
                    <a:pt x="709" y="875"/>
                  </a:lnTo>
                  <a:lnTo>
                    <a:pt x="705" y="875"/>
                  </a:lnTo>
                  <a:lnTo>
                    <a:pt x="694" y="873"/>
                  </a:lnTo>
                  <a:lnTo>
                    <a:pt x="678" y="865"/>
                  </a:lnTo>
                  <a:lnTo>
                    <a:pt x="650" y="869"/>
                  </a:lnTo>
                  <a:lnTo>
                    <a:pt x="639" y="873"/>
                  </a:lnTo>
                  <a:lnTo>
                    <a:pt x="627" y="878"/>
                  </a:lnTo>
                  <a:lnTo>
                    <a:pt x="623" y="884"/>
                  </a:lnTo>
                  <a:lnTo>
                    <a:pt x="621" y="890"/>
                  </a:lnTo>
                  <a:lnTo>
                    <a:pt x="619" y="894"/>
                  </a:lnTo>
                  <a:lnTo>
                    <a:pt x="613" y="900"/>
                  </a:lnTo>
                  <a:lnTo>
                    <a:pt x="611" y="902"/>
                  </a:lnTo>
                  <a:lnTo>
                    <a:pt x="611" y="904"/>
                  </a:lnTo>
                  <a:lnTo>
                    <a:pt x="609" y="906"/>
                  </a:lnTo>
                  <a:lnTo>
                    <a:pt x="607" y="906"/>
                  </a:lnTo>
                  <a:lnTo>
                    <a:pt x="607" y="904"/>
                  </a:lnTo>
                  <a:lnTo>
                    <a:pt x="603" y="902"/>
                  </a:lnTo>
                  <a:lnTo>
                    <a:pt x="595" y="892"/>
                  </a:lnTo>
                  <a:lnTo>
                    <a:pt x="586" y="880"/>
                  </a:lnTo>
                  <a:lnTo>
                    <a:pt x="580" y="877"/>
                  </a:lnTo>
                  <a:lnTo>
                    <a:pt x="576" y="875"/>
                  </a:lnTo>
                  <a:lnTo>
                    <a:pt x="572" y="867"/>
                  </a:lnTo>
                  <a:lnTo>
                    <a:pt x="568" y="863"/>
                  </a:lnTo>
                  <a:lnTo>
                    <a:pt x="564" y="861"/>
                  </a:lnTo>
                  <a:lnTo>
                    <a:pt x="556" y="859"/>
                  </a:lnTo>
                  <a:lnTo>
                    <a:pt x="550" y="855"/>
                  </a:lnTo>
                  <a:lnTo>
                    <a:pt x="544" y="851"/>
                  </a:lnTo>
                  <a:lnTo>
                    <a:pt x="538" y="851"/>
                  </a:lnTo>
                  <a:lnTo>
                    <a:pt x="531" y="853"/>
                  </a:lnTo>
                  <a:lnTo>
                    <a:pt x="517" y="853"/>
                  </a:lnTo>
                  <a:lnTo>
                    <a:pt x="499" y="851"/>
                  </a:lnTo>
                  <a:lnTo>
                    <a:pt x="483" y="849"/>
                  </a:lnTo>
                  <a:lnTo>
                    <a:pt x="468" y="843"/>
                  </a:lnTo>
                  <a:lnTo>
                    <a:pt x="460" y="833"/>
                  </a:lnTo>
                  <a:lnTo>
                    <a:pt x="452" y="823"/>
                  </a:lnTo>
                  <a:lnTo>
                    <a:pt x="440" y="816"/>
                  </a:lnTo>
                  <a:lnTo>
                    <a:pt x="428" y="810"/>
                  </a:lnTo>
                  <a:lnTo>
                    <a:pt x="419" y="796"/>
                  </a:lnTo>
                  <a:lnTo>
                    <a:pt x="409" y="784"/>
                  </a:lnTo>
                  <a:lnTo>
                    <a:pt x="399" y="776"/>
                  </a:lnTo>
                  <a:lnTo>
                    <a:pt x="383" y="770"/>
                  </a:lnTo>
                  <a:lnTo>
                    <a:pt x="375" y="765"/>
                  </a:lnTo>
                  <a:lnTo>
                    <a:pt x="373" y="759"/>
                  </a:lnTo>
                  <a:lnTo>
                    <a:pt x="371" y="751"/>
                  </a:lnTo>
                  <a:lnTo>
                    <a:pt x="365" y="743"/>
                  </a:lnTo>
                  <a:lnTo>
                    <a:pt x="358" y="737"/>
                  </a:lnTo>
                  <a:lnTo>
                    <a:pt x="352" y="733"/>
                  </a:lnTo>
                  <a:lnTo>
                    <a:pt x="334" y="729"/>
                  </a:lnTo>
                  <a:lnTo>
                    <a:pt x="318" y="727"/>
                  </a:lnTo>
                  <a:lnTo>
                    <a:pt x="301" y="725"/>
                  </a:lnTo>
                  <a:lnTo>
                    <a:pt x="297" y="721"/>
                  </a:lnTo>
                  <a:lnTo>
                    <a:pt x="295" y="721"/>
                  </a:lnTo>
                  <a:lnTo>
                    <a:pt x="295" y="721"/>
                  </a:lnTo>
                  <a:lnTo>
                    <a:pt x="293" y="725"/>
                  </a:lnTo>
                  <a:lnTo>
                    <a:pt x="289" y="729"/>
                  </a:lnTo>
                  <a:lnTo>
                    <a:pt x="287" y="735"/>
                  </a:lnTo>
                  <a:lnTo>
                    <a:pt x="285" y="737"/>
                  </a:lnTo>
                  <a:lnTo>
                    <a:pt x="281" y="743"/>
                  </a:lnTo>
                  <a:lnTo>
                    <a:pt x="275" y="745"/>
                  </a:lnTo>
                  <a:lnTo>
                    <a:pt x="269" y="749"/>
                  </a:lnTo>
                  <a:lnTo>
                    <a:pt x="263" y="751"/>
                  </a:lnTo>
                  <a:lnTo>
                    <a:pt x="252" y="745"/>
                  </a:lnTo>
                  <a:lnTo>
                    <a:pt x="244" y="739"/>
                  </a:lnTo>
                  <a:lnTo>
                    <a:pt x="238" y="729"/>
                  </a:lnTo>
                  <a:lnTo>
                    <a:pt x="228" y="719"/>
                  </a:lnTo>
                  <a:lnTo>
                    <a:pt x="226" y="711"/>
                  </a:lnTo>
                  <a:lnTo>
                    <a:pt x="226" y="706"/>
                  </a:lnTo>
                  <a:lnTo>
                    <a:pt x="224" y="696"/>
                  </a:lnTo>
                  <a:lnTo>
                    <a:pt x="222" y="692"/>
                  </a:lnTo>
                  <a:lnTo>
                    <a:pt x="218" y="690"/>
                  </a:lnTo>
                  <a:lnTo>
                    <a:pt x="210" y="686"/>
                  </a:lnTo>
                  <a:lnTo>
                    <a:pt x="198" y="684"/>
                  </a:lnTo>
                  <a:lnTo>
                    <a:pt x="195" y="674"/>
                  </a:lnTo>
                  <a:lnTo>
                    <a:pt x="195" y="664"/>
                  </a:lnTo>
                  <a:lnTo>
                    <a:pt x="193" y="658"/>
                  </a:lnTo>
                  <a:lnTo>
                    <a:pt x="189" y="656"/>
                  </a:lnTo>
                  <a:lnTo>
                    <a:pt x="183" y="654"/>
                  </a:lnTo>
                  <a:lnTo>
                    <a:pt x="177" y="653"/>
                  </a:lnTo>
                  <a:lnTo>
                    <a:pt x="171" y="653"/>
                  </a:lnTo>
                  <a:lnTo>
                    <a:pt x="165" y="654"/>
                  </a:lnTo>
                  <a:lnTo>
                    <a:pt x="157" y="656"/>
                  </a:lnTo>
                  <a:lnTo>
                    <a:pt x="145" y="656"/>
                  </a:lnTo>
                  <a:lnTo>
                    <a:pt x="138" y="654"/>
                  </a:lnTo>
                  <a:lnTo>
                    <a:pt x="132" y="653"/>
                  </a:lnTo>
                  <a:lnTo>
                    <a:pt x="128" y="649"/>
                  </a:lnTo>
                  <a:lnTo>
                    <a:pt x="120" y="641"/>
                  </a:lnTo>
                  <a:lnTo>
                    <a:pt x="114" y="635"/>
                  </a:lnTo>
                  <a:lnTo>
                    <a:pt x="106" y="629"/>
                  </a:lnTo>
                  <a:lnTo>
                    <a:pt x="100" y="625"/>
                  </a:lnTo>
                  <a:lnTo>
                    <a:pt x="96" y="625"/>
                  </a:lnTo>
                  <a:lnTo>
                    <a:pt x="92" y="629"/>
                  </a:lnTo>
                  <a:lnTo>
                    <a:pt x="86" y="633"/>
                  </a:lnTo>
                  <a:lnTo>
                    <a:pt x="83" y="639"/>
                  </a:lnTo>
                  <a:lnTo>
                    <a:pt x="79" y="643"/>
                  </a:lnTo>
                  <a:lnTo>
                    <a:pt x="77" y="647"/>
                  </a:lnTo>
                  <a:lnTo>
                    <a:pt x="75" y="653"/>
                  </a:lnTo>
                  <a:lnTo>
                    <a:pt x="77" y="639"/>
                  </a:lnTo>
                  <a:lnTo>
                    <a:pt x="79" y="621"/>
                  </a:lnTo>
                  <a:lnTo>
                    <a:pt x="83" y="586"/>
                  </a:lnTo>
                  <a:lnTo>
                    <a:pt x="83" y="570"/>
                  </a:lnTo>
                  <a:lnTo>
                    <a:pt x="79" y="554"/>
                  </a:lnTo>
                  <a:lnTo>
                    <a:pt x="73" y="541"/>
                  </a:lnTo>
                  <a:lnTo>
                    <a:pt x="61" y="531"/>
                  </a:lnTo>
                  <a:lnTo>
                    <a:pt x="59" y="525"/>
                  </a:lnTo>
                  <a:lnTo>
                    <a:pt x="57" y="519"/>
                  </a:lnTo>
                  <a:lnTo>
                    <a:pt x="55" y="515"/>
                  </a:lnTo>
                  <a:lnTo>
                    <a:pt x="49" y="511"/>
                  </a:lnTo>
                  <a:lnTo>
                    <a:pt x="45" y="505"/>
                  </a:lnTo>
                  <a:lnTo>
                    <a:pt x="41" y="499"/>
                  </a:lnTo>
                  <a:lnTo>
                    <a:pt x="41" y="495"/>
                  </a:lnTo>
                  <a:lnTo>
                    <a:pt x="43" y="487"/>
                  </a:lnTo>
                  <a:lnTo>
                    <a:pt x="45" y="466"/>
                  </a:lnTo>
                  <a:lnTo>
                    <a:pt x="41" y="446"/>
                  </a:lnTo>
                  <a:lnTo>
                    <a:pt x="39" y="417"/>
                  </a:lnTo>
                  <a:lnTo>
                    <a:pt x="35" y="401"/>
                  </a:lnTo>
                  <a:lnTo>
                    <a:pt x="29" y="387"/>
                  </a:lnTo>
                  <a:lnTo>
                    <a:pt x="28" y="374"/>
                  </a:lnTo>
                  <a:lnTo>
                    <a:pt x="22" y="360"/>
                  </a:lnTo>
                  <a:lnTo>
                    <a:pt x="12" y="346"/>
                  </a:lnTo>
                  <a:lnTo>
                    <a:pt x="2" y="336"/>
                  </a:lnTo>
                  <a:lnTo>
                    <a:pt x="0" y="326"/>
                  </a:lnTo>
                  <a:lnTo>
                    <a:pt x="2" y="317"/>
                  </a:lnTo>
                  <a:lnTo>
                    <a:pt x="8" y="309"/>
                  </a:lnTo>
                  <a:lnTo>
                    <a:pt x="16" y="301"/>
                  </a:lnTo>
                  <a:lnTo>
                    <a:pt x="18" y="287"/>
                  </a:lnTo>
                  <a:lnTo>
                    <a:pt x="18" y="271"/>
                  </a:lnTo>
                  <a:lnTo>
                    <a:pt x="16" y="238"/>
                  </a:lnTo>
                  <a:lnTo>
                    <a:pt x="14" y="222"/>
                  </a:lnTo>
                  <a:lnTo>
                    <a:pt x="16" y="208"/>
                  </a:lnTo>
                  <a:lnTo>
                    <a:pt x="22" y="199"/>
                  </a:lnTo>
                  <a:lnTo>
                    <a:pt x="33" y="193"/>
                  </a:lnTo>
                  <a:lnTo>
                    <a:pt x="35" y="185"/>
                  </a:lnTo>
                  <a:lnTo>
                    <a:pt x="33" y="175"/>
                  </a:lnTo>
                  <a:lnTo>
                    <a:pt x="31" y="165"/>
                  </a:lnTo>
                  <a:lnTo>
                    <a:pt x="33" y="157"/>
                  </a:lnTo>
                  <a:lnTo>
                    <a:pt x="37" y="150"/>
                  </a:lnTo>
                  <a:lnTo>
                    <a:pt x="43" y="144"/>
                  </a:lnTo>
                  <a:lnTo>
                    <a:pt x="61" y="134"/>
                  </a:lnTo>
                  <a:lnTo>
                    <a:pt x="83" y="130"/>
                  </a:lnTo>
                  <a:lnTo>
                    <a:pt x="100" y="128"/>
                  </a:lnTo>
                  <a:lnTo>
                    <a:pt x="106" y="124"/>
                  </a:lnTo>
                  <a:lnTo>
                    <a:pt x="112" y="118"/>
                  </a:lnTo>
                  <a:lnTo>
                    <a:pt x="118" y="112"/>
                  </a:lnTo>
                  <a:lnTo>
                    <a:pt x="124" y="110"/>
                  </a:lnTo>
                  <a:lnTo>
                    <a:pt x="136" y="106"/>
                  </a:lnTo>
                  <a:lnTo>
                    <a:pt x="151" y="102"/>
                  </a:lnTo>
                  <a:lnTo>
                    <a:pt x="165" y="100"/>
                  </a:lnTo>
                  <a:lnTo>
                    <a:pt x="177" y="97"/>
                  </a:lnTo>
                  <a:lnTo>
                    <a:pt x="189" y="93"/>
                  </a:lnTo>
                  <a:lnTo>
                    <a:pt x="198" y="89"/>
                  </a:lnTo>
                  <a:lnTo>
                    <a:pt x="210" y="71"/>
                  </a:lnTo>
                  <a:lnTo>
                    <a:pt x="226" y="57"/>
                  </a:lnTo>
                  <a:lnTo>
                    <a:pt x="234" y="47"/>
                  </a:lnTo>
                  <a:lnTo>
                    <a:pt x="248" y="40"/>
                  </a:lnTo>
                  <a:lnTo>
                    <a:pt x="259" y="34"/>
                  </a:lnTo>
                  <a:lnTo>
                    <a:pt x="273" y="30"/>
                  </a:lnTo>
                  <a:lnTo>
                    <a:pt x="289" y="20"/>
                  </a:lnTo>
                  <a:lnTo>
                    <a:pt x="297" y="16"/>
                  </a:lnTo>
                  <a:lnTo>
                    <a:pt x="305" y="14"/>
                  </a:lnTo>
                  <a:lnTo>
                    <a:pt x="320" y="8"/>
                  </a:lnTo>
                  <a:lnTo>
                    <a:pt x="336" y="4"/>
                  </a:lnTo>
                  <a:lnTo>
                    <a:pt x="346" y="2"/>
                  </a:lnTo>
                  <a:lnTo>
                    <a:pt x="356" y="0"/>
                  </a:lnTo>
                  <a:lnTo>
                    <a:pt x="377" y="2"/>
                  </a:lnTo>
                  <a:lnTo>
                    <a:pt x="397" y="6"/>
                  </a:lnTo>
                  <a:lnTo>
                    <a:pt x="417" y="12"/>
                  </a:lnTo>
                  <a:lnTo>
                    <a:pt x="422" y="14"/>
                  </a:lnTo>
                  <a:lnTo>
                    <a:pt x="428" y="16"/>
                  </a:lnTo>
                  <a:lnTo>
                    <a:pt x="432" y="20"/>
                  </a:lnTo>
                  <a:lnTo>
                    <a:pt x="434" y="26"/>
                  </a:lnTo>
                  <a:lnTo>
                    <a:pt x="426" y="30"/>
                  </a:lnTo>
                  <a:lnTo>
                    <a:pt x="422" y="34"/>
                  </a:lnTo>
                  <a:lnTo>
                    <a:pt x="419" y="38"/>
                  </a:lnTo>
                  <a:lnTo>
                    <a:pt x="417" y="45"/>
                  </a:lnTo>
                  <a:lnTo>
                    <a:pt x="422" y="53"/>
                  </a:lnTo>
                  <a:lnTo>
                    <a:pt x="426" y="61"/>
                  </a:lnTo>
                  <a:lnTo>
                    <a:pt x="430" y="69"/>
                  </a:lnTo>
                  <a:lnTo>
                    <a:pt x="438" y="77"/>
                  </a:lnTo>
                  <a:lnTo>
                    <a:pt x="458" y="71"/>
                  </a:lnTo>
                  <a:lnTo>
                    <a:pt x="477" y="65"/>
                  </a:lnTo>
                  <a:lnTo>
                    <a:pt x="499" y="57"/>
                  </a:lnTo>
                  <a:lnTo>
                    <a:pt x="521" y="51"/>
                  </a:lnTo>
                  <a:close/>
                </a:path>
              </a:pathLst>
            </a:custGeom>
            <a:solidFill>
              <a:srgbClr val="0066CC"/>
            </a:solidFill>
            <a:ln w="9525">
              <a:solidFill>
                <a:srgbClr val="000000"/>
              </a:solidFill>
              <a:prstDash val="solid"/>
              <a:round/>
              <a:headEnd/>
              <a:tailEnd/>
            </a:ln>
          </p:spPr>
          <p:txBody>
            <a:bodyPr/>
            <a:lstStyle/>
            <a:p>
              <a:endParaRPr lang="cs-CZ"/>
            </a:p>
          </p:txBody>
        </p:sp>
        <p:grpSp>
          <p:nvGrpSpPr>
            <p:cNvPr id="32" name="Group 50"/>
            <p:cNvGrpSpPr>
              <a:grpSpLocks/>
            </p:cNvGrpSpPr>
            <p:nvPr/>
          </p:nvGrpSpPr>
          <p:grpSpPr bwMode="auto">
            <a:xfrm>
              <a:off x="2615" y="2751"/>
              <a:ext cx="292" cy="151"/>
              <a:chOff x="2615" y="2751"/>
              <a:chExt cx="292" cy="151"/>
            </a:xfrm>
          </p:grpSpPr>
          <p:sp>
            <p:nvSpPr>
              <p:cNvPr id="121" name="Freeform 51"/>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 name="T110" fmla="*/ 4 w 583"/>
                  <a:gd name="T111" fmla="*/ 1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lnTo>
                      <a:pt x="4" y="157"/>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22" name="Freeform 52"/>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3" name="Freeform 53"/>
            <p:cNvSpPr>
              <a:spLocks/>
            </p:cNvSpPr>
            <p:nvPr/>
          </p:nvSpPr>
          <p:spPr bwMode="auto">
            <a:xfrm>
              <a:off x="2220" y="2799"/>
              <a:ext cx="414" cy="210"/>
            </a:xfrm>
            <a:custGeom>
              <a:avLst/>
              <a:gdLst>
                <a:gd name="T0" fmla="*/ 813 w 827"/>
                <a:gd name="T1" fmla="*/ 207 h 421"/>
                <a:gd name="T2" fmla="*/ 827 w 827"/>
                <a:gd name="T3" fmla="*/ 195 h 421"/>
                <a:gd name="T4" fmla="*/ 806 w 827"/>
                <a:gd name="T5" fmla="*/ 126 h 421"/>
                <a:gd name="T6" fmla="*/ 794 w 827"/>
                <a:gd name="T7" fmla="*/ 85 h 421"/>
                <a:gd name="T8" fmla="*/ 784 w 827"/>
                <a:gd name="T9" fmla="*/ 46 h 421"/>
                <a:gd name="T10" fmla="*/ 717 w 827"/>
                <a:gd name="T11" fmla="*/ 36 h 421"/>
                <a:gd name="T12" fmla="*/ 674 w 827"/>
                <a:gd name="T13" fmla="*/ 14 h 421"/>
                <a:gd name="T14" fmla="*/ 611 w 827"/>
                <a:gd name="T15" fmla="*/ 0 h 421"/>
                <a:gd name="T16" fmla="*/ 576 w 827"/>
                <a:gd name="T17" fmla="*/ 34 h 421"/>
                <a:gd name="T18" fmla="*/ 534 w 827"/>
                <a:gd name="T19" fmla="*/ 65 h 421"/>
                <a:gd name="T20" fmla="*/ 485 w 827"/>
                <a:gd name="T21" fmla="*/ 53 h 421"/>
                <a:gd name="T22" fmla="*/ 452 w 827"/>
                <a:gd name="T23" fmla="*/ 42 h 421"/>
                <a:gd name="T24" fmla="*/ 434 w 827"/>
                <a:gd name="T25" fmla="*/ 65 h 421"/>
                <a:gd name="T26" fmla="*/ 417 w 827"/>
                <a:gd name="T27" fmla="*/ 83 h 421"/>
                <a:gd name="T28" fmla="*/ 411 w 827"/>
                <a:gd name="T29" fmla="*/ 108 h 421"/>
                <a:gd name="T30" fmla="*/ 383 w 827"/>
                <a:gd name="T31" fmla="*/ 116 h 421"/>
                <a:gd name="T32" fmla="*/ 358 w 827"/>
                <a:gd name="T33" fmla="*/ 132 h 421"/>
                <a:gd name="T34" fmla="*/ 363 w 827"/>
                <a:gd name="T35" fmla="*/ 203 h 421"/>
                <a:gd name="T36" fmla="*/ 363 w 827"/>
                <a:gd name="T37" fmla="*/ 232 h 421"/>
                <a:gd name="T38" fmla="*/ 340 w 827"/>
                <a:gd name="T39" fmla="*/ 216 h 421"/>
                <a:gd name="T40" fmla="*/ 291 w 827"/>
                <a:gd name="T41" fmla="*/ 205 h 421"/>
                <a:gd name="T42" fmla="*/ 248 w 827"/>
                <a:gd name="T43" fmla="*/ 222 h 421"/>
                <a:gd name="T44" fmla="*/ 214 w 827"/>
                <a:gd name="T45" fmla="*/ 230 h 421"/>
                <a:gd name="T46" fmla="*/ 183 w 827"/>
                <a:gd name="T47" fmla="*/ 240 h 421"/>
                <a:gd name="T48" fmla="*/ 149 w 827"/>
                <a:gd name="T49" fmla="*/ 250 h 421"/>
                <a:gd name="T50" fmla="*/ 126 w 827"/>
                <a:gd name="T51" fmla="*/ 230 h 421"/>
                <a:gd name="T52" fmla="*/ 90 w 827"/>
                <a:gd name="T53" fmla="*/ 238 h 421"/>
                <a:gd name="T54" fmla="*/ 67 w 827"/>
                <a:gd name="T55" fmla="*/ 258 h 421"/>
                <a:gd name="T56" fmla="*/ 25 w 827"/>
                <a:gd name="T57" fmla="*/ 224 h 421"/>
                <a:gd name="T58" fmla="*/ 4 w 827"/>
                <a:gd name="T59" fmla="*/ 262 h 421"/>
                <a:gd name="T60" fmla="*/ 14 w 827"/>
                <a:gd name="T61" fmla="*/ 309 h 421"/>
                <a:gd name="T62" fmla="*/ 25 w 827"/>
                <a:gd name="T63" fmla="*/ 323 h 421"/>
                <a:gd name="T64" fmla="*/ 47 w 827"/>
                <a:gd name="T65" fmla="*/ 336 h 421"/>
                <a:gd name="T66" fmla="*/ 84 w 827"/>
                <a:gd name="T67" fmla="*/ 334 h 421"/>
                <a:gd name="T68" fmla="*/ 137 w 827"/>
                <a:gd name="T69" fmla="*/ 346 h 421"/>
                <a:gd name="T70" fmla="*/ 212 w 827"/>
                <a:gd name="T71" fmla="*/ 325 h 421"/>
                <a:gd name="T72" fmla="*/ 261 w 827"/>
                <a:gd name="T73" fmla="*/ 311 h 421"/>
                <a:gd name="T74" fmla="*/ 285 w 827"/>
                <a:gd name="T75" fmla="*/ 352 h 421"/>
                <a:gd name="T76" fmla="*/ 328 w 827"/>
                <a:gd name="T77" fmla="*/ 387 h 421"/>
                <a:gd name="T78" fmla="*/ 403 w 827"/>
                <a:gd name="T79" fmla="*/ 393 h 421"/>
                <a:gd name="T80" fmla="*/ 493 w 827"/>
                <a:gd name="T81" fmla="*/ 413 h 421"/>
                <a:gd name="T82" fmla="*/ 570 w 827"/>
                <a:gd name="T83" fmla="*/ 383 h 421"/>
                <a:gd name="T84" fmla="*/ 662 w 827"/>
                <a:gd name="T85" fmla="*/ 372 h 421"/>
                <a:gd name="T86" fmla="*/ 713 w 827"/>
                <a:gd name="T87" fmla="*/ 350 h 421"/>
                <a:gd name="T88" fmla="*/ 754 w 827"/>
                <a:gd name="T89" fmla="*/ 315 h 421"/>
                <a:gd name="T90" fmla="*/ 764 w 827"/>
                <a:gd name="T91" fmla="*/ 260 h 421"/>
                <a:gd name="T92" fmla="*/ 754 w 827"/>
                <a:gd name="T93" fmla="*/ 22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7" h="421">
                  <a:moveTo>
                    <a:pt x="760" y="207"/>
                  </a:moveTo>
                  <a:lnTo>
                    <a:pt x="813" y="207"/>
                  </a:lnTo>
                  <a:lnTo>
                    <a:pt x="815" y="195"/>
                  </a:lnTo>
                  <a:lnTo>
                    <a:pt x="827" y="195"/>
                  </a:lnTo>
                  <a:lnTo>
                    <a:pt x="827" y="148"/>
                  </a:lnTo>
                  <a:lnTo>
                    <a:pt x="806" y="126"/>
                  </a:lnTo>
                  <a:lnTo>
                    <a:pt x="808" y="106"/>
                  </a:lnTo>
                  <a:lnTo>
                    <a:pt x="794" y="85"/>
                  </a:lnTo>
                  <a:lnTo>
                    <a:pt x="792" y="61"/>
                  </a:lnTo>
                  <a:lnTo>
                    <a:pt x="784" y="46"/>
                  </a:lnTo>
                  <a:lnTo>
                    <a:pt x="764" y="30"/>
                  </a:lnTo>
                  <a:lnTo>
                    <a:pt x="717" y="36"/>
                  </a:lnTo>
                  <a:lnTo>
                    <a:pt x="692" y="30"/>
                  </a:lnTo>
                  <a:lnTo>
                    <a:pt x="674" y="14"/>
                  </a:lnTo>
                  <a:lnTo>
                    <a:pt x="639" y="0"/>
                  </a:lnTo>
                  <a:lnTo>
                    <a:pt x="611" y="0"/>
                  </a:lnTo>
                  <a:lnTo>
                    <a:pt x="593" y="10"/>
                  </a:lnTo>
                  <a:lnTo>
                    <a:pt x="576" y="34"/>
                  </a:lnTo>
                  <a:lnTo>
                    <a:pt x="562" y="57"/>
                  </a:lnTo>
                  <a:lnTo>
                    <a:pt x="534" y="65"/>
                  </a:lnTo>
                  <a:lnTo>
                    <a:pt x="509" y="61"/>
                  </a:lnTo>
                  <a:lnTo>
                    <a:pt x="485" y="53"/>
                  </a:lnTo>
                  <a:lnTo>
                    <a:pt x="464" y="46"/>
                  </a:lnTo>
                  <a:lnTo>
                    <a:pt x="452" y="42"/>
                  </a:lnTo>
                  <a:lnTo>
                    <a:pt x="450" y="61"/>
                  </a:lnTo>
                  <a:lnTo>
                    <a:pt x="434" y="65"/>
                  </a:lnTo>
                  <a:lnTo>
                    <a:pt x="430" y="77"/>
                  </a:lnTo>
                  <a:lnTo>
                    <a:pt x="417" y="83"/>
                  </a:lnTo>
                  <a:lnTo>
                    <a:pt x="413" y="93"/>
                  </a:lnTo>
                  <a:lnTo>
                    <a:pt x="411" y="108"/>
                  </a:lnTo>
                  <a:lnTo>
                    <a:pt x="399" y="114"/>
                  </a:lnTo>
                  <a:lnTo>
                    <a:pt x="383" y="116"/>
                  </a:lnTo>
                  <a:lnTo>
                    <a:pt x="371" y="122"/>
                  </a:lnTo>
                  <a:lnTo>
                    <a:pt x="358" y="132"/>
                  </a:lnTo>
                  <a:lnTo>
                    <a:pt x="354" y="165"/>
                  </a:lnTo>
                  <a:lnTo>
                    <a:pt x="363" y="203"/>
                  </a:lnTo>
                  <a:lnTo>
                    <a:pt x="369" y="213"/>
                  </a:lnTo>
                  <a:lnTo>
                    <a:pt x="363" y="232"/>
                  </a:lnTo>
                  <a:lnTo>
                    <a:pt x="348" y="236"/>
                  </a:lnTo>
                  <a:lnTo>
                    <a:pt x="340" y="216"/>
                  </a:lnTo>
                  <a:lnTo>
                    <a:pt x="301" y="214"/>
                  </a:lnTo>
                  <a:lnTo>
                    <a:pt x="291" y="205"/>
                  </a:lnTo>
                  <a:lnTo>
                    <a:pt x="289" y="216"/>
                  </a:lnTo>
                  <a:lnTo>
                    <a:pt x="248" y="222"/>
                  </a:lnTo>
                  <a:lnTo>
                    <a:pt x="220" y="216"/>
                  </a:lnTo>
                  <a:lnTo>
                    <a:pt x="214" y="230"/>
                  </a:lnTo>
                  <a:lnTo>
                    <a:pt x="200" y="230"/>
                  </a:lnTo>
                  <a:lnTo>
                    <a:pt x="183" y="240"/>
                  </a:lnTo>
                  <a:lnTo>
                    <a:pt x="181" y="250"/>
                  </a:lnTo>
                  <a:lnTo>
                    <a:pt x="149" y="250"/>
                  </a:lnTo>
                  <a:lnTo>
                    <a:pt x="137" y="236"/>
                  </a:lnTo>
                  <a:lnTo>
                    <a:pt x="126" y="230"/>
                  </a:lnTo>
                  <a:lnTo>
                    <a:pt x="100" y="230"/>
                  </a:lnTo>
                  <a:lnTo>
                    <a:pt x="90" y="238"/>
                  </a:lnTo>
                  <a:lnTo>
                    <a:pt x="79" y="248"/>
                  </a:lnTo>
                  <a:lnTo>
                    <a:pt x="67" y="258"/>
                  </a:lnTo>
                  <a:lnTo>
                    <a:pt x="41" y="230"/>
                  </a:lnTo>
                  <a:lnTo>
                    <a:pt x="25" y="224"/>
                  </a:lnTo>
                  <a:lnTo>
                    <a:pt x="0" y="228"/>
                  </a:lnTo>
                  <a:lnTo>
                    <a:pt x="4" y="262"/>
                  </a:lnTo>
                  <a:lnTo>
                    <a:pt x="2" y="291"/>
                  </a:lnTo>
                  <a:lnTo>
                    <a:pt x="14" y="309"/>
                  </a:lnTo>
                  <a:lnTo>
                    <a:pt x="18" y="321"/>
                  </a:lnTo>
                  <a:lnTo>
                    <a:pt x="25" y="323"/>
                  </a:lnTo>
                  <a:lnTo>
                    <a:pt x="37" y="323"/>
                  </a:lnTo>
                  <a:lnTo>
                    <a:pt x="47" y="336"/>
                  </a:lnTo>
                  <a:lnTo>
                    <a:pt x="63" y="325"/>
                  </a:lnTo>
                  <a:lnTo>
                    <a:pt x="84" y="334"/>
                  </a:lnTo>
                  <a:lnTo>
                    <a:pt x="118" y="344"/>
                  </a:lnTo>
                  <a:lnTo>
                    <a:pt x="137" y="346"/>
                  </a:lnTo>
                  <a:lnTo>
                    <a:pt x="173" y="334"/>
                  </a:lnTo>
                  <a:lnTo>
                    <a:pt x="212" y="325"/>
                  </a:lnTo>
                  <a:lnTo>
                    <a:pt x="240" y="323"/>
                  </a:lnTo>
                  <a:lnTo>
                    <a:pt x="261" y="311"/>
                  </a:lnTo>
                  <a:lnTo>
                    <a:pt x="273" y="332"/>
                  </a:lnTo>
                  <a:lnTo>
                    <a:pt x="285" y="352"/>
                  </a:lnTo>
                  <a:lnTo>
                    <a:pt x="299" y="368"/>
                  </a:lnTo>
                  <a:lnTo>
                    <a:pt x="328" y="387"/>
                  </a:lnTo>
                  <a:lnTo>
                    <a:pt x="344" y="387"/>
                  </a:lnTo>
                  <a:lnTo>
                    <a:pt x="403" y="393"/>
                  </a:lnTo>
                  <a:lnTo>
                    <a:pt x="436" y="407"/>
                  </a:lnTo>
                  <a:lnTo>
                    <a:pt x="493" y="413"/>
                  </a:lnTo>
                  <a:lnTo>
                    <a:pt x="546" y="421"/>
                  </a:lnTo>
                  <a:lnTo>
                    <a:pt x="570" y="383"/>
                  </a:lnTo>
                  <a:lnTo>
                    <a:pt x="640" y="385"/>
                  </a:lnTo>
                  <a:lnTo>
                    <a:pt x="662" y="372"/>
                  </a:lnTo>
                  <a:lnTo>
                    <a:pt x="690" y="376"/>
                  </a:lnTo>
                  <a:lnTo>
                    <a:pt x="713" y="350"/>
                  </a:lnTo>
                  <a:lnTo>
                    <a:pt x="735" y="323"/>
                  </a:lnTo>
                  <a:lnTo>
                    <a:pt x="754" y="315"/>
                  </a:lnTo>
                  <a:lnTo>
                    <a:pt x="754" y="270"/>
                  </a:lnTo>
                  <a:lnTo>
                    <a:pt x="764" y="260"/>
                  </a:lnTo>
                  <a:lnTo>
                    <a:pt x="764" y="246"/>
                  </a:lnTo>
                  <a:lnTo>
                    <a:pt x="754" y="222"/>
                  </a:lnTo>
                  <a:lnTo>
                    <a:pt x="760" y="207"/>
                  </a:lnTo>
                  <a:close/>
                </a:path>
              </a:pathLst>
            </a:custGeom>
            <a:solidFill>
              <a:srgbClr val="FA0000"/>
            </a:solidFill>
            <a:ln w="9525">
              <a:solidFill>
                <a:srgbClr val="000000"/>
              </a:solidFill>
              <a:prstDash val="solid"/>
              <a:round/>
              <a:headEnd/>
              <a:tailEnd/>
            </a:ln>
          </p:spPr>
          <p:txBody>
            <a:bodyPr/>
            <a:lstStyle/>
            <a:p>
              <a:endParaRPr lang="cs-CZ"/>
            </a:p>
          </p:txBody>
        </p:sp>
        <p:sp>
          <p:nvSpPr>
            <p:cNvPr id="34" name="Freeform 54"/>
            <p:cNvSpPr>
              <a:spLocks/>
            </p:cNvSpPr>
            <p:nvPr/>
          </p:nvSpPr>
          <p:spPr bwMode="auto">
            <a:xfrm>
              <a:off x="2016" y="2896"/>
              <a:ext cx="244" cy="142"/>
            </a:xfrm>
            <a:custGeom>
              <a:avLst/>
              <a:gdLst>
                <a:gd name="T0" fmla="*/ 486 w 488"/>
                <a:gd name="T1" fmla="*/ 139 h 285"/>
                <a:gd name="T2" fmla="*/ 476 w 488"/>
                <a:gd name="T3" fmla="*/ 133 h 285"/>
                <a:gd name="T4" fmla="*/ 460 w 488"/>
                <a:gd name="T5" fmla="*/ 141 h 285"/>
                <a:gd name="T6" fmla="*/ 444 w 488"/>
                <a:gd name="T7" fmla="*/ 126 h 285"/>
                <a:gd name="T8" fmla="*/ 425 w 488"/>
                <a:gd name="T9" fmla="*/ 126 h 285"/>
                <a:gd name="T10" fmla="*/ 409 w 488"/>
                <a:gd name="T11" fmla="*/ 98 h 285"/>
                <a:gd name="T12" fmla="*/ 409 w 488"/>
                <a:gd name="T13" fmla="*/ 59 h 285"/>
                <a:gd name="T14" fmla="*/ 409 w 488"/>
                <a:gd name="T15" fmla="*/ 33 h 285"/>
                <a:gd name="T16" fmla="*/ 379 w 488"/>
                <a:gd name="T17" fmla="*/ 25 h 285"/>
                <a:gd name="T18" fmla="*/ 352 w 488"/>
                <a:gd name="T19" fmla="*/ 8 h 285"/>
                <a:gd name="T20" fmla="*/ 326 w 488"/>
                <a:gd name="T21" fmla="*/ 4 h 285"/>
                <a:gd name="T22" fmla="*/ 199 w 488"/>
                <a:gd name="T23" fmla="*/ 16 h 285"/>
                <a:gd name="T24" fmla="*/ 187 w 488"/>
                <a:gd name="T25" fmla="*/ 0 h 285"/>
                <a:gd name="T26" fmla="*/ 173 w 488"/>
                <a:gd name="T27" fmla="*/ 8 h 285"/>
                <a:gd name="T28" fmla="*/ 159 w 488"/>
                <a:gd name="T29" fmla="*/ 16 h 285"/>
                <a:gd name="T30" fmla="*/ 132 w 488"/>
                <a:gd name="T31" fmla="*/ 8 h 285"/>
                <a:gd name="T32" fmla="*/ 116 w 488"/>
                <a:gd name="T33" fmla="*/ 14 h 285"/>
                <a:gd name="T34" fmla="*/ 118 w 488"/>
                <a:gd name="T35" fmla="*/ 41 h 285"/>
                <a:gd name="T36" fmla="*/ 57 w 488"/>
                <a:gd name="T37" fmla="*/ 84 h 285"/>
                <a:gd name="T38" fmla="*/ 57 w 488"/>
                <a:gd name="T39" fmla="*/ 110 h 285"/>
                <a:gd name="T40" fmla="*/ 4 w 488"/>
                <a:gd name="T41" fmla="*/ 157 h 285"/>
                <a:gd name="T42" fmla="*/ 0 w 488"/>
                <a:gd name="T43" fmla="*/ 202 h 285"/>
                <a:gd name="T44" fmla="*/ 10 w 488"/>
                <a:gd name="T45" fmla="*/ 226 h 285"/>
                <a:gd name="T46" fmla="*/ 24 w 488"/>
                <a:gd name="T47" fmla="*/ 200 h 285"/>
                <a:gd name="T48" fmla="*/ 38 w 488"/>
                <a:gd name="T49" fmla="*/ 177 h 285"/>
                <a:gd name="T50" fmla="*/ 81 w 488"/>
                <a:gd name="T51" fmla="*/ 177 h 285"/>
                <a:gd name="T52" fmla="*/ 83 w 488"/>
                <a:gd name="T53" fmla="*/ 206 h 285"/>
                <a:gd name="T54" fmla="*/ 73 w 488"/>
                <a:gd name="T55" fmla="*/ 236 h 285"/>
                <a:gd name="T56" fmla="*/ 87 w 488"/>
                <a:gd name="T57" fmla="*/ 249 h 285"/>
                <a:gd name="T58" fmla="*/ 100 w 488"/>
                <a:gd name="T59" fmla="*/ 249 h 285"/>
                <a:gd name="T60" fmla="*/ 118 w 488"/>
                <a:gd name="T61" fmla="*/ 259 h 285"/>
                <a:gd name="T62" fmla="*/ 152 w 488"/>
                <a:gd name="T63" fmla="*/ 263 h 285"/>
                <a:gd name="T64" fmla="*/ 179 w 488"/>
                <a:gd name="T65" fmla="*/ 267 h 285"/>
                <a:gd name="T66" fmla="*/ 197 w 488"/>
                <a:gd name="T67" fmla="*/ 269 h 285"/>
                <a:gd name="T68" fmla="*/ 212 w 488"/>
                <a:gd name="T69" fmla="*/ 251 h 285"/>
                <a:gd name="T70" fmla="*/ 226 w 488"/>
                <a:gd name="T71" fmla="*/ 238 h 285"/>
                <a:gd name="T72" fmla="*/ 228 w 488"/>
                <a:gd name="T73" fmla="*/ 216 h 285"/>
                <a:gd name="T74" fmla="*/ 246 w 488"/>
                <a:gd name="T75" fmla="*/ 208 h 285"/>
                <a:gd name="T76" fmla="*/ 264 w 488"/>
                <a:gd name="T77" fmla="*/ 200 h 285"/>
                <a:gd name="T78" fmla="*/ 275 w 488"/>
                <a:gd name="T79" fmla="*/ 224 h 285"/>
                <a:gd name="T80" fmla="*/ 275 w 488"/>
                <a:gd name="T81" fmla="*/ 242 h 285"/>
                <a:gd name="T82" fmla="*/ 317 w 488"/>
                <a:gd name="T83" fmla="*/ 285 h 285"/>
                <a:gd name="T84" fmla="*/ 330 w 488"/>
                <a:gd name="T85" fmla="*/ 271 h 285"/>
                <a:gd name="T86" fmla="*/ 340 w 488"/>
                <a:gd name="T87" fmla="*/ 251 h 285"/>
                <a:gd name="T88" fmla="*/ 350 w 488"/>
                <a:gd name="T89" fmla="*/ 222 h 285"/>
                <a:gd name="T90" fmla="*/ 368 w 488"/>
                <a:gd name="T91" fmla="*/ 202 h 285"/>
                <a:gd name="T92" fmla="*/ 387 w 488"/>
                <a:gd name="T93" fmla="*/ 214 h 285"/>
                <a:gd name="T94" fmla="*/ 403 w 488"/>
                <a:gd name="T95" fmla="*/ 220 h 285"/>
                <a:gd name="T96" fmla="*/ 425 w 488"/>
                <a:gd name="T97" fmla="*/ 224 h 285"/>
                <a:gd name="T98" fmla="*/ 450 w 488"/>
                <a:gd name="T99" fmla="*/ 232 h 285"/>
                <a:gd name="T100" fmla="*/ 458 w 488"/>
                <a:gd name="T101" fmla="*/ 220 h 285"/>
                <a:gd name="T102" fmla="*/ 448 w 488"/>
                <a:gd name="T103" fmla="*/ 200 h 285"/>
                <a:gd name="T104" fmla="*/ 450 w 488"/>
                <a:gd name="T105" fmla="*/ 186 h 285"/>
                <a:gd name="T106" fmla="*/ 470 w 488"/>
                <a:gd name="T107" fmla="*/ 179 h 285"/>
                <a:gd name="T108" fmla="*/ 488 w 488"/>
                <a:gd name="T109" fmla="*/ 181 h 285"/>
                <a:gd name="T110" fmla="*/ 486 w 488"/>
                <a:gd name="T111" fmla="*/ 13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8" h="285">
                  <a:moveTo>
                    <a:pt x="486" y="139"/>
                  </a:moveTo>
                  <a:lnTo>
                    <a:pt x="476" y="133"/>
                  </a:lnTo>
                  <a:lnTo>
                    <a:pt x="460" y="141"/>
                  </a:lnTo>
                  <a:lnTo>
                    <a:pt x="444" y="126"/>
                  </a:lnTo>
                  <a:lnTo>
                    <a:pt x="425" y="126"/>
                  </a:lnTo>
                  <a:lnTo>
                    <a:pt x="409" y="98"/>
                  </a:lnTo>
                  <a:lnTo>
                    <a:pt x="409" y="59"/>
                  </a:lnTo>
                  <a:lnTo>
                    <a:pt x="409" y="33"/>
                  </a:lnTo>
                  <a:lnTo>
                    <a:pt x="379" y="25"/>
                  </a:lnTo>
                  <a:lnTo>
                    <a:pt x="352" y="8"/>
                  </a:lnTo>
                  <a:lnTo>
                    <a:pt x="326" y="4"/>
                  </a:lnTo>
                  <a:lnTo>
                    <a:pt x="199" y="16"/>
                  </a:lnTo>
                  <a:lnTo>
                    <a:pt x="187" y="0"/>
                  </a:lnTo>
                  <a:lnTo>
                    <a:pt x="173" y="8"/>
                  </a:lnTo>
                  <a:lnTo>
                    <a:pt x="159" y="16"/>
                  </a:lnTo>
                  <a:lnTo>
                    <a:pt x="132" y="8"/>
                  </a:lnTo>
                  <a:lnTo>
                    <a:pt x="116" y="14"/>
                  </a:lnTo>
                  <a:lnTo>
                    <a:pt x="118" y="41"/>
                  </a:lnTo>
                  <a:lnTo>
                    <a:pt x="57" y="84"/>
                  </a:lnTo>
                  <a:lnTo>
                    <a:pt x="57" y="110"/>
                  </a:lnTo>
                  <a:lnTo>
                    <a:pt x="4" y="157"/>
                  </a:lnTo>
                  <a:lnTo>
                    <a:pt x="0" y="202"/>
                  </a:lnTo>
                  <a:lnTo>
                    <a:pt x="10" y="226"/>
                  </a:lnTo>
                  <a:lnTo>
                    <a:pt x="24" y="200"/>
                  </a:lnTo>
                  <a:lnTo>
                    <a:pt x="38" y="177"/>
                  </a:lnTo>
                  <a:lnTo>
                    <a:pt x="81" y="177"/>
                  </a:lnTo>
                  <a:lnTo>
                    <a:pt x="83" y="206"/>
                  </a:lnTo>
                  <a:lnTo>
                    <a:pt x="73" y="236"/>
                  </a:lnTo>
                  <a:lnTo>
                    <a:pt x="87" y="249"/>
                  </a:lnTo>
                  <a:lnTo>
                    <a:pt x="100" y="249"/>
                  </a:lnTo>
                  <a:lnTo>
                    <a:pt x="118" y="259"/>
                  </a:lnTo>
                  <a:lnTo>
                    <a:pt x="152" y="263"/>
                  </a:lnTo>
                  <a:lnTo>
                    <a:pt x="179" y="267"/>
                  </a:lnTo>
                  <a:lnTo>
                    <a:pt x="197" y="269"/>
                  </a:lnTo>
                  <a:lnTo>
                    <a:pt x="212" y="251"/>
                  </a:lnTo>
                  <a:lnTo>
                    <a:pt x="226" y="238"/>
                  </a:lnTo>
                  <a:lnTo>
                    <a:pt x="228" y="216"/>
                  </a:lnTo>
                  <a:lnTo>
                    <a:pt x="246" y="208"/>
                  </a:lnTo>
                  <a:lnTo>
                    <a:pt x="264" y="200"/>
                  </a:lnTo>
                  <a:lnTo>
                    <a:pt x="275" y="224"/>
                  </a:lnTo>
                  <a:lnTo>
                    <a:pt x="275" y="242"/>
                  </a:lnTo>
                  <a:lnTo>
                    <a:pt x="317" y="285"/>
                  </a:lnTo>
                  <a:lnTo>
                    <a:pt x="330" y="271"/>
                  </a:lnTo>
                  <a:lnTo>
                    <a:pt x="340" y="251"/>
                  </a:lnTo>
                  <a:lnTo>
                    <a:pt x="350" y="222"/>
                  </a:lnTo>
                  <a:lnTo>
                    <a:pt x="368" y="202"/>
                  </a:lnTo>
                  <a:lnTo>
                    <a:pt x="387" y="214"/>
                  </a:lnTo>
                  <a:lnTo>
                    <a:pt x="403" y="220"/>
                  </a:lnTo>
                  <a:lnTo>
                    <a:pt x="425" y="224"/>
                  </a:lnTo>
                  <a:lnTo>
                    <a:pt x="450" y="232"/>
                  </a:lnTo>
                  <a:lnTo>
                    <a:pt x="458" y="220"/>
                  </a:lnTo>
                  <a:lnTo>
                    <a:pt x="448" y="200"/>
                  </a:lnTo>
                  <a:lnTo>
                    <a:pt x="450" y="186"/>
                  </a:lnTo>
                  <a:lnTo>
                    <a:pt x="470" y="179"/>
                  </a:lnTo>
                  <a:lnTo>
                    <a:pt x="488" y="181"/>
                  </a:lnTo>
                  <a:lnTo>
                    <a:pt x="486" y="139"/>
                  </a:lnTo>
                  <a:close/>
                </a:path>
              </a:pathLst>
            </a:custGeom>
            <a:solidFill>
              <a:srgbClr val="D0D0D0"/>
            </a:solidFill>
            <a:ln w="9525">
              <a:solidFill>
                <a:srgbClr val="000000"/>
              </a:solidFill>
              <a:prstDash val="solid"/>
              <a:round/>
              <a:headEnd/>
              <a:tailEnd/>
            </a:ln>
          </p:spPr>
          <p:txBody>
            <a:bodyPr/>
            <a:lstStyle/>
            <a:p>
              <a:endParaRPr lang="cs-CZ"/>
            </a:p>
          </p:txBody>
        </p:sp>
        <p:sp>
          <p:nvSpPr>
            <p:cNvPr id="35" name="Freeform 55"/>
            <p:cNvSpPr>
              <a:spLocks/>
            </p:cNvSpPr>
            <p:nvPr/>
          </p:nvSpPr>
          <p:spPr bwMode="auto">
            <a:xfrm>
              <a:off x="2807" y="3537"/>
              <a:ext cx="25" cy="34"/>
            </a:xfrm>
            <a:custGeom>
              <a:avLst/>
              <a:gdLst>
                <a:gd name="T0" fmla="*/ 31 w 49"/>
                <a:gd name="T1" fmla="*/ 67 h 67"/>
                <a:gd name="T2" fmla="*/ 49 w 49"/>
                <a:gd name="T3" fmla="*/ 61 h 67"/>
                <a:gd name="T4" fmla="*/ 45 w 49"/>
                <a:gd name="T5" fmla="*/ 39 h 67"/>
                <a:gd name="T6" fmla="*/ 27 w 49"/>
                <a:gd name="T7" fmla="*/ 10 h 67"/>
                <a:gd name="T8" fmla="*/ 14 w 49"/>
                <a:gd name="T9" fmla="*/ 0 h 67"/>
                <a:gd name="T10" fmla="*/ 0 w 49"/>
                <a:gd name="T11" fmla="*/ 10 h 67"/>
                <a:gd name="T12" fmla="*/ 12 w 49"/>
                <a:gd name="T13" fmla="*/ 39 h 67"/>
                <a:gd name="T14" fmla="*/ 31 w 49"/>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7">
                  <a:moveTo>
                    <a:pt x="31" y="67"/>
                  </a:moveTo>
                  <a:lnTo>
                    <a:pt x="49" y="61"/>
                  </a:lnTo>
                  <a:lnTo>
                    <a:pt x="45" y="39"/>
                  </a:lnTo>
                  <a:lnTo>
                    <a:pt x="27" y="10"/>
                  </a:lnTo>
                  <a:lnTo>
                    <a:pt x="14" y="0"/>
                  </a:lnTo>
                  <a:lnTo>
                    <a:pt x="0" y="10"/>
                  </a:lnTo>
                  <a:lnTo>
                    <a:pt x="12" y="39"/>
                  </a:lnTo>
                  <a:lnTo>
                    <a:pt x="31" y="67"/>
                  </a:lnTo>
                  <a:close/>
                </a:path>
              </a:pathLst>
            </a:custGeom>
            <a:solidFill>
              <a:srgbClr val="FFFFFF"/>
            </a:solidFill>
            <a:ln w="9525">
              <a:solidFill>
                <a:srgbClr val="000000"/>
              </a:solidFill>
              <a:prstDash val="solid"/>
              <a:round/>
              <a:headEnd/>
              <a:tailEnd/>
            </a:ln>
          </p:spPr>
          <p:txBody>
            <a:bodyPr/>
            <a:lstStyle/>
            <a:p>
              <a:endParaRPr lang="cs-CZ"/>
            </a:p>
          </p:txBody>
        </p:sp>
        <p:sp>
          <p:nvSpPr>
            <p:cNvPr id="36" name="Freeform 56"/>
            <p:cNvSpPr>
              <a:spLocks/>
            </p:cNvSpPr>
            <p:nvPr/>
          </p:nvSpPr>
          <p:spPr bwMode="auto">
            <a:xfrm>
              <a:off x="2857" y="3646"/>
              <a:ext cx="27" cy="23"/>
            </a:xfrm>
            <a:custGeom>
              <a:avLst/>
              <a:gdLst>
                <a:gd name="T0" fmla="*/ 18 w 53"/>
                <a:gd name="T1" fmla="*/ 45 h 45"/>
                <a:gd name="T2" fmla="*/ 43 w 53"/>
                <a:gd name="T3" fmla="*/ 43 h 45"/>
                <a:gd name="T4" fmla="*/ 53 w 53"/>
                <a:gd name="T5" fmla="*/ 33 h 45"/>
                <a:gd name="T6" fmla="*/ 41 w 53"/>
                <a:gd name="T7" fmla="*/ 22 h 45"/>
                <a:gd name="T8" fmla="*/ 34 w 53"/>
                <a:gd name="T9" fmla="*/ 2 h 45"/>
                <a:gd name="T10" fmla="*/ 22 w 53"/>
                <a:gd name="T11" fmla="*/ 0 h 45"/>
                <a:gd name="T12" fmla="*/ 8 w 53"/>
                <a:gd name="T13" fmla="*/ 12 h 45"/>
                <a:gd name="T14" fmla="*/ 0 w 53"/>
                <a:gd name="T15" fmla="*/ 31 h 45"/>
                <a:gd name="T16" fmla="*/ 18 w 53"/>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5">
                  <a:moveTo>
                    <a:pt x="18" y="45"/>
                  </a:moveTo>
                  <a:lnTo>
                    <a:pt x="43" y="43"/>
                  </a:lnTo>
                  <a:lnTo>
                    <a:pt x="53" y="33"/>
                  </a:lnTo>
                  <a:lnTo>
                    <a:pt x="41" y="22"/>
                  </a:lnTo>
                  <a:lnTo>
                    <a:pt x="34" y="2"/>
                  </a:lnTo>
                  <a:lnTo>
                    <a:pt x="22" y="0"/>
                  </a:lnTo>
                  <a:lnTo>
                    <a:pt x="8" y="12"/>
                  </a:lnTo>
                  <a:lnTo>
                    <a:pt x="0" y="31"/>
                  </a:lnTo>
                  <a:lnTo>
                    <a:pt x="18" y="45"/>
                  </a:lnTo>
                  <a:close/>
                </a:path>
              </a:pathLst>
            </a:custGeom>
            <a:solidFill>
              <a:srgbClr val="FFFFFF"/>
            </a:solidFill>
            <a:ln w="9525">
              <a:solidFill>
                <a:srgbClr val="000000"/>
              </a:solidFill>
              <a:prstDash val="solid"/>
              <a:round/>
              <a:headEnd/>
              <a:tailEnd/>
            </a:ln>
          </p:spPr>
          <p:txBody>
            <a:bodyPr/>
            <a:lstStyle/>
            <a:p>
              <a:endParaRPr lang="cs-CZ"/>
            </a:p>
          </p:txBody>
        </p:sp>
        <p:sp>
          <p:nvSpPr>
            <p:cNvPr id="37" name="Freeform 57"/>
            <p:cNvSpPr>
              <a:spLocks/>
            </p:cNvSpPr>
            <p:nvPr/>
          </p:nvSpPr>
          <p:spPr bwMode="auto">
            <a:xfrm>
              <a:off x="2841" y="3340"/>
              <a:ext cx="374" cy="350"/>
            </a:xfrm>
            <a:custGeom>
              <a:avLst/>
              <a:gdLst>
                <a:gd name="T0" fmla="*/ 727 w 746"/>
                <a:gd name="T1" fmla="*/ 0 h 699"/>
                <a:gd name="T2" fmla="*/ 746 w 746"/>
                <a:gd name="T3" fmla="*/ 23 h 699"/>
                <a:gd name="T4" fmla="*/ 725 w 746"/>
                <a:gd name="T5" fmla="*/ 77 h 699"/>
                <a:gd name="T6" fmla="*/ 721 w 746"/>
                <a:gd name="T7" fmla="*/ 134 h 699"/>
                <a:gd name="T8" fmla="*/ 705 w 746"/>
                <a:gd name="T9" fmla="*/ 179 h 699"/>
                <a:gd name="T10" fmla="*/ 668 w 746"/>
                <a:gd name="T11" fmla="*/ 159 h 699"/>
                <a:gd name="T12" fmla="*/ 619 w 746"/>
                <a:gd name="T13" fmla="*/ 159 h 699"/>
                <a:gd name="T14" fmla="*/ 577 w 746"/>
                <a:gd name="T15" fmla="*/ 141 h 699"/>
                <a:gd name="T16" fmla="*/ 540 w 746"/>
                <a:gd name="T17" fmla="*/ 171 h 699"/>
                <a:gd name="T18" fmla="*/ 495 w 746"/>
                <a:gd name="T19" fmla="*/ 167 h 699"/>
                <a:gd name="T20" fmla="*/ 458 w 746"/>
                <a:gd name="T21" fmla="*/ 196 h 699"/>
                <a:gd name="T22" fmla="*/ 420 w 746"/>
                <a:gd name="T23" fmla="*/ 228 h 699"/>
                <a:gd name="T24" fmla="*/ 456 w 746"/>
                <a:gd name="T25" fmla="*/ 247 h 699"/>
                <a:gd name="T26" fmla="*/ 497 w 746"/>
                <a:gd name="T27" fmla="*/ 283 h 699"/>
                <a:gd name="T28" fmla="*/ 450 w 746"/>
                <a:gd name="T29" fmla="*/ 271 h 699"/>
                <a:gd name="T30" fmla="*/ 440 w 746"/>
                <a:gd name="T31" fmla="*/ 283 h 699"/>
                <a:gd name="T32" fmla="*/ 461 w 746"/>
                <a:gd name="T33" fmla="*/ 312 h 699"/>
                <a:gd name="T34" fmla="*/ 438 w 746"/>
                <a:gd name="T35" fmla="*/ 312 h 699"/>
                <a:gd name="T36" fmla="*/ 405 w 746"/>
                <a:gd name="T37" fmla="*/ 287 h 699"/>
                <a:gd name="T38" fmla="*/ 416 w 746"/>
                <a:gd name="T39" fmla="*/ 316 h 699"/>
                <a:gd name="T40" fmla="*/ 401 w 746"/>
                <a:gd name="T41" fmla="*/ 336 h 699"/>
                <a:gd name="T42" fmla="*/ 363 w 746"/>
                <a:gd name="T43" fmla="*/ 295 h 699"/>
                <a:gd name="T44" fmla="*/ 322 w 746"/>
                <a:gd name="T45" fmla="*/ 263 h 699"/>
                <a:gd name="T46" fmla="*/ 289 w 746"/>
                <a:gd name="T47" fmla="*/ 269 h 699"/>
                <a:gd name="T48" fmla="*/ 300 w 746"/>
                <a:gd name="T49" fmla="*/ 346 h 699"/>
                <a:gd name="T50" fmla="*/ 330 w 746"/>
                <a:gd name="T51" fmla="*/ 397 h 699"/>
                <a:gd name="T52" fmla="*/ 391 w 746"/>
                <a:gd name="T53" fmla="*/ 454 h 699"/>
                <a:gd name="T54" fmla="*/ 361 w 746"/>
                <a:gd name="T55" fmla="*/ 464 h 699"/>
                <a:gd name="T56" fmla="*/ 334 w 746"/>
                <a:gd name="T57" fmla="*/ 454 h 699"/>
                <a:gd name="T58" fmla="*/ 349 w 746"/>
                <a:gd name="T59" fmla="*/ 499 h 699"/>
                <a:gd name="T60" fmla="*/ 302 w 746"/>
                <a:gd name="T61" fmla="*/ 503 h 699"/>
                <a:gd name="T62" fmla="*/ 336 w 746"/>
                <a:gd name="T63" fmla="*/ 536 h 699"/>
                <a:gd name="T64" fmla="*/ 397 w 746"/>
                <a:gd name="T65" fmla="*/ 558 h 699"/>
                <a:gd name="T66" fmla="*/ 436 w 746"/>
                <a:gd name="T67" fmla="*/ 583 h 699"/>
                <a:gd name="T68" fmla="*/ 475 w 746"/>
                <a:gd name="T69" fmla="*/ 603 h 699"/>
                <a:gd name="T70" fmla="*/ 499 w 746"/>
                <a:gd name="T71" fmla="*/ 638 h 699"/>
                <a:gd name="T72" fmla="*/ 503 w 746"/>
                <a:gd name="T73" fmla="*/ 699 h 699"/>
                <a:gd name="T74" fmla="*/ 442 w 746"/>
                <a:gd name="T75" fmla="*/ 678 h 699"/>
                <a:gd name="T76" fmla="*/ 395 w 746"/>
                <a:gd name="T77" fmla="*/ 658 h 699"/>
                <a:gd name="T78" fmla="*/ 369 w 746"/>
                <a:gd name="T79" fmla="*/ 617 h 699"/>
                <a:gd name="T80" fmla="*/ 340 w 746"/>
                <a:gd name="T81" fmla="*/ 607 h 699"/>
                <a:gd name="T82" fmla="*/ 279 w 746"/>
                <a:gd name="T83" fmla="*/ 607 h 699"/>
                <a:gd name="T84" fmla="*/ 196 w 746"/>
                <a:gd name="T85" fmla="*/ 609 h 699"/>
                <a:gd name="T86" fmla="*/ 153 w 746"/>
                <a:gd name="T87" fmla="*/ 601 h 699"/>
                <a:gd name="T88" fmla="*/ 118 w 746"/>
                <a:gd name="T89" fmla="*/ 599 h 699"/>
                <a:gd name="T90" fmla="*/ 76 w 746"/>
                <a:gd name="T91" fmla="*/ 538 h 699"/>
                <a:gd name="T92" fmla="*/ 116 w 746"/>
                <a:gd name="T93" fmla="*/ 524 h 699"/>
                <a:gd name="T94" fmla="*/ 76 w 746"/>
                <a:gd name="T95" fmla="*/ 503 h 699"/>
                <a:gd name="T96" fmla="*/ 51 w 746"/>
                <a:gd name="T97" fmla="*/ 477 h 699"/>
                <a:gd name="T98" fmla="*/ 12 w 746"/>
                <a:gd name="T99" fmla="*/ 446 h 699"/>
                <a:gd name="T100" fmla="*/ 0 w 746"/>
                <a:gd name="T101" fmla="*/ 401 h 699"/>
                <a:gd name="T102" fmla="*/ 33 w 746"/>
                <a:gd name="T103" fmla="*/ 344 h 699"/>
                <a:gd name="T104" fmla="*/ 90 w 746"/>
                <a:gd name="T105" fmla="*/ 263 h 699"/>
                <a:gd name="T106" fmla="*/ 88 w 746"/>
                <a:gd name="T107" fmla="*/ 224 h 699"/>
                <a:gd name="T108" fmla="*/ 90 w 746"/>
                <a:gd name="T109" fmla="*/ 212 h 699"/>
                <a:gd name="T110" fmla="*/ 147 w 746"/>
                <a:gd name="T111" fmla="*/ 200 h 699"/>
                <a:gd name="T112" fmla="*/ 275 w 746"/>
                <a:gd name="T113" fmla="*/ 149 h 699"/>
                <a:gd name="T114" fmla="*/ 348 w 746"/>
                <a:gd name="T115" fmla="*/ 108 h 699"/>
                <a:gd name="T116" fmla="*/ 442 w 746"/>
                <a:gd name="T117" fmla="*/ 88 h 699"/>
                <a:gd name="T118" fmla="*/ 520 w 746"/>
                <a:gd name="T119" fmla="*/ 57 h 699"/>
                <a:gd name="T120" fmla="*/ 587 w 746"/>
                <a:gd name="T121" fmla="*/ 84 h 699"/>
                <a:gd name="T122" fmla="*/ 680 w 746"/>
                <a:gd name="T123" fmla="*/ 71 h 699"/>
                <a:gd name="T124" fmla="*/ 695 w 746"/>
                <a:gd name="T125" fmla="*/ 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99">
                  <a:moveTo>
                    <a:pt x="695" y="2"/>
                  </a:moveTo>
                  <a:lnTo>
                    <a:pt x="727" y="0"/>
                  </a:lnTo>
                  <a:lnTo>
                    <a:pt x="729" y="16"/>
                  </a:lnTo>
                  <a:lnTo>
                    <a:pt x="746" y="23"/>
                  </a:lnTo>
                  <a:lnTo>
                    <a:pt x="742" y="53"/>
                  </a:lnTo>
                  <a:lnTo>
                    <a:pt x="725" y="77"/>
                  </a:lnTo>
                  <a:lnTo>
                    <a:pt x="725" y="108"/>
                  </a:lnTo>
                  <a:lnTo>
                    <a:pt x="721" y="134"/>
                  </a:lnTo>
                  <a:lnTo>
                    <a:pt x="719" y="151"/>
                  </a:lnTo>
                  <a:lnTo>
                    <a:pt x="705" y="179"/>
                  </a:lnTo>
                  <a:lnTo>
                    <a:pt x="689" y="167"/>
                  </a:lnTo>
                  <a:lnTo>
                    <a:pt x="668" y="159"/>
                  </a:lnTo>
                  <a:lnTo>
                    <a:pt x="650" y="157"/>
                  </a:lnTo>
                  <a:lnTo>
                    <a:pt x="619" y="159"/>
                  </a:lnTo>
                  <a:lnTo>
                    <a:pt x="591" y="149"/>
                  </a:lnTo>
                  <a:lnTo>
                    <a:pt x="577" y="141"/>
                  </a:lnTo>
                  <a:lnTo>
                    <a:pt x="550" y="159"/>
                  </a:lnTo>
                  <a:lnTo>
                    <a:pt x="540" y="171"/>
                  </a:lnTo>
                  <a:lnTo>
                    <a:pt x="511" y="171"/>
                  </a:lnTo>
                  <a:lnTo>
                    <a:pt x="495" y="167"/>
                  </a:lnTo>
                  <a:lnTo>
                    <a:pt x="479" y="189"/>
                  </a:lnTo>
                  <a:lnTo>
                    <a:pt x="458" y="196"/>
                  </a:lnTo>
                  <a:lnTo>
                    <a:pt x="434" y="206"/>
                  </a:lnTo>
                  <a:lnTo>
                    <a:pt x="420" y="228"/>
                  </a:lnTo>
                  <a:lnTo>
                    <a:pt x="432" y="244"/>
                  </a:lnTo>
                  <a:lnTo>
                    <a:pt x="456" y="247"/>
                  </a:lnTo>
                  <a:lnTo>
                    <a:pt x="479" y="259"/>
                  </a:lnTo>
                  <a:lnTo>
                    <a:pt x="497" y="283"/>
                  </a:lnTo>
                  <a:lnTo>
                    <a:pt x="477" y="279"/>
                  </a:lnTo>
                  <a:lnTo>
                    <a:pt x="450" y="271"/>
                  </a:lnTo>
                  <a:lnTo>
                    <a:pt x="436" y="271"/>
                  </a:lnTo>
                  <a:lnTo>
                    <a:pt x="440" y="283"/>
                  </a:lnTo>
                  <a:lnTo>
                    <a:pt x="456" y="293"/>
                  </a:lnTo>
                  <a:lnTo>
                    <a:pt x="461" y="312"/>
                  </a:lnTo>
                  <a:lnTo>
                    <a:pt x="461" y="328"/>
                  </a:lnTo>
                  <a:lnTo>
                    <a:pt x="438" y="312"/>
                  </a:lnTo>
                  <a:lnTo>
                    <a:pt x="424" y="297"/>
                  </a:lnTo>
                  <a:lnTo>
                    <a:pt x="405" y="287"/>
                  </a:lnTo>
                  <a:lnTo>
                    <a:pt x="397" y="299"/>
                  </a:lnTo>
                  <a:lnTo>
                    <a:pt x="416" y="316"/>
                  </a:lnTo>
                  <a:lnTo>
                    <a:pt x="424" y="334"/>
                  </a:lnTo>
                  <a:lnTo>
                    <a:pt x="401" y="336"/>
                  </a:lnTo>
                  <a:lnTo>
                    <a:pt x="379" y="312"/>
                  </a:lnTo>
                  <a:lnTo>
                    <a:pt x="363" y="295"/>
                  </a:lnTo>
                  <a:lnTo>
                    <a:pt x="344" y="279"/>
                  </a:lnTo>
                  <a:lnTo>
                    <a:pt x="322" y="263"/>
                  </a:lnTo>
                  <a:lnTo>
                    <a:pt x="310" y="247"/>
                  </a:lnTo>
                  <a:lnTo>
                    <a:pt x="289" y="269"/>
                  </a:lnTo>
                  <a:lnTo>
                    <a:pt x="289" y="306"/>
                  </a:lnTo>
                  <a:lnTo>
                    <a:pt x="300" y="346"/>
                  </a:lnTo>
                  <a:lnTo>
                    <a:pt x="322" y="369"/>
                  </a:lnTo>
                  <a:lnTo>
                    <a:pt x="330" y="397"/>
                  </a:lnTo>
                  <a:lnTo>
                    <a:pt x="375" y="422"/>
                  </a:lnTo>
                  <a:lnTo>
                    <a:pt x="391" y="454"/>
                  </a:lnTo>
                  <a:lnTo>
                    <a:pt x="381" y="468"/>
                  </a:lnTo>
                  <a:lnTo>
                    <a:pt x="361" y="464"/>
                  </a:lnTo>
                  <a:lnTo>
                    <a:pt x="344" y="440"/>
                  </a:lnTo>
                  <a:lnTo>
                    <a:pt x="334" y="454"/>
                  </a:lnTo>
                  <a:lnTo>
                    <a:pt x="346" y="477"/>
                  </a:lnTo>
                  <a:lnTo>
                    <a:pt x="349" y="499"/>
                  </a:lnTo>
                  <a:lnTo>
                    <a:pt x="326" y="505"/>
                  </a:lnTo>
                  <a:lnTo>
                    <a:pt x="302" y="503"/>
                  </a:lnTo>
                  <a:lnTo>
                    <a:pt x="310" y="526"/>
                  </a:lnTo>
                  <a:lnTo>
                    <a:pt x="336" y="536"/>
                  </a:lnTo>
                  <a:lnTo>
                    <a:pt x="369" y="548"/>
                  </a:lnTo>
                  <a:lnTo>
                    <a:pt x="397" y="558"/>
                  </a:lnTo>
                  <a:lnTo>
                    <a:pt x="412" y="570"/>
                  </a:lnTo>
                  <a:lnTo>
                    <a:pt x="436" y="583"/>
                  </a:lnTo>
                  <a:lnTo>
                    <a:pt x="456" y="595"/>
                  </a:lnTo>
                  <a:lnTo>
                    <a:pt x="475" y="603"/>
                  </a:lnTo>
                  <a:lnTo>
                    <a:pt x="495" y="609"/>
                  </a:lnTo>
                  <a:lnTo>
                    <a:pt x="499" y="638"/>
                  </a:lnTo>
                  <a:lnTo>
                    <a:pt x="505" y="674"/>
                  </a:lnTo>
                  <a:lnTo>
                    <a:pt x="503" y="699"/>
                  </a:lnTo>
                  <a:lnTo>
                    <a:pt x="475" y="680"/>
                  </a:lnTo>
                  <a:lnTo>
                    <a:pt x="442" y="678"/>
                  </a:lnTo>
                  <a:lnTo>
                    <a:pt x="412" y="658"/>
                  </a:lnTo>
                  <a:lnTo>
                    <a:pt x="395" y="658"/>
                  </a:lnTo>
                  <a:lnTo>
                    <a:pt x="381" y="638"/>
                  </a:lnTo>
                  <a:lnTo>
                    <a:pt x="369" y="617"/>
                  </a:lnTo>
                  <a:lnTo>
                    <a:pt x="351" y="623"/>
                  </a:lnTo>
                  <a:lnTo>
                    <a:pt x="340" y="607"/>
                  </a:lnTo>
                  <a:lnTo>
                    <a:pt x="308" y="601"/>
                  </a:lnTo>
                  <a:lnTo>
                    <a:pt x="279" y="607"/>
                  </a:lnTo>
                  <a:lnTo>
                    <a:pt x="241" y="605"/>
                  </a:lnTo>
                  <a:lnTo>
                    <a:pt x="196" y="609"/>
                  </a:lnTo>
                  <a:lnTo>
                    <a:pt x="173" y="607"/>
                  </a:lnTo>
                  <a:lnTo>
                    <a:pt x="153" y="601"/>
                  </a:lnTo>
                  <a:lnTo>
                    <a:pt x="133" y="615"/>
                  </a:lnTo>
                  <a:lnTo>
                    <a:pt x="118" y="599"/>
                  </a:lnTo>
                  <a:lnTo>
                    <a:pt x="98" y="562"/>
                  </a:lnTo>
                  <a:lnTo>
                    <a:pt x="76" y="538"/>
                  </a:lnTo>
                  <a:lnTo>
                    <a:pt x="108" y="534"/>
                  </a:lnTo>
                  <a:lnTo>
                    <a:pt x="116" y="524"/>
                  </a:lnTo>
                  <a:lnTo>
                    <a:pt x="98" y="505"/>
                  </a:lnTo>
                  <a:lnTo>
                    <a:pt x="76" y="503"/>
                  </a:lnTo>
                  <a:lnTo>
                    <a:pt x="67" y="521"/>
                  </a:lnTo>
                  <a:lnTo>
                    <a:pt x="51" y="477"/>
                  </a:lnTo>
                  <a:lnTo>
                    <a:pt x="23" y="458"/>
                  </a:lnTo>
                  <a:lnTo>
                    <a:pt x="12" y="446"/>
                  </a:lnTo>
                  <a:lnTo>
                    <a:pt x="10" y="414"/>
                  </a:lnTo>
                  <a:lnTo>
                    <a:pt x="0" y="401"/>
                  </a:lnTo>
                  <a:lnTo>
                    <a:pt x="25" y="369"/>
                  </a:lnTo>
                  <a:lnTo>
                    <a:pt x="33" y="344"/>
                  </a:lnTo>
                  <a:lnTo>
                    <a:pt x="53" y="326"/>
                  </a:lnTo>
                  <a:lnTo>
                    <a:pt x="90" y="263"/>
                  </a:lnTo>
                  <a:lnTo>
                    <a:pt x="92" y="238"/>
                  </a:lnTo>
                  <a:lnTo>
                    <a:pt x="88" y="224"/>
                  </a:lnTo>
                  <a:lnTo>
                    <a:pt x="76" y="206"/>
                  </a:lnTo>
                  <a:lnTo>
                    <a:pt x="90" y="212"/>
                  </a:lnTo>
                  <a:lnTo>
                    <a:pt x="120" y="196"/>
                  </a:lnTo>
                  <a:lnTo>
                    <a:pt x="147" y="200"/>
                  </a:lnTo>
                  <a:lnTo>
                    <a:pt x="230" y="145"/>
                  </a:lnTo>
                  <a:lnTo>
                    <a:pt x="275" y="149"/>
                  </a:lnTo>
                  <a:lnTo>
                    <a:pt x="312" y="108"/>
                  </a:lnTo>
                  <a:lnTo>
                    <a:pt x="348" y="108"/>
                  </a:lnTo>
                  <a:lnTo>
                    <a:pt x="377" y="94"/>
                  </a:lnTo>
                  <a:lnTo>
                    <a:pt x="442" y="88"/>
                  </a:lnTo>
                  <a:lnTo>
                    <a:pt x="461" y="71"/>
                  </a:lnTo>
                  <a:lnTo>
                    <a:pt x="520" y="57"/>
                  </a:lnTo>
                  <a:lnTo>
                    <a:pt x="542" y="75"/>
                  </a:lnTo>
                  <a:lnTo>
                    <a:pt x="587" y="84"/>
                  </a:lnTo>
                  <a:lnTo>
                    <a:pt x="627" y="92"/>
                  </a:lnTo>
                  <a:lnTo>
                    <a:pt x="680" y="71"/>
                  </a:lnTo>
                  <a:lnTo>
                    <a:pt x="695" y="33"/>
                  </a:lnTo>
                  <a:lnTo>
                    <a:pt x="695" y="2"/>
                  </a:lnTo>
                  <a:close/>
                </a:path>
              </a:pathLst>
            </a:custGeom>
            <a:solidFill>
              <a:srgbClr val="FA0000"/>
            </a:solidFill>
            <a:ln w="9525">
              <a:solidFill>
                <a:srgbClr val="000000"/>
              </a:solidFill>
              <a:prstDash val="solid"/>
              <a:round/>
              <a:headEnd/>
              <a:tailEnd/>
            </a:ln>
          </p:spPr>
          <p:txBody>
            <a:bodyPr/>
            <a:lstStyle/>
            <a:p>
              <a:endParaRPr lang="cs-CZ"/>
            </a:p>
          </p:txBody>
        </p:sp>
        <p:sp>
          <p:nvSpPr>
            <p:cNvPr id="38" name="Oval 58"/>
            <p:cNvSpPr>
              <a:spLocks noChangeArrowheads="1"/>
            </p:cNvSpPr>
            <p:nvPr/>
          </p:nvSpPr>
          <p:spPr bwMode="auto">
            <a:xfrm>
              <a:off x="3057" y="3664"/>
              <a:ext cx="16" cy="16"/>
            </a:xfrm>
            <a:prstGeom prst="ellipse">
              <a:avLst/>
            </a:prstGeom>
            <a:solidFill>
              <a:srgbClr val="FFFFFF"/>
            </a:solidFill>
            <a:ln w="9525">
              <a:solidFill>
                <a:srgbClr val="000000"/>
              </a:solidFill>
              <a:round/>
              <a:headEnd/>
              <a:tailEnd/>
            </a:ln>
          </p:spPr>
          <p:txBody>
            <a:bodyPr/>
            <a:lstStyle/>
            <a:p>
              <a:endParaRPr lang="cs-CZ"/>
            </a:p>
          </p:txBody>
        </p:sp>
        <p:sp>
          <p:nvSpPr>
            <p:cNvPr id="39" name="Freeform 59"/>
            <p:cNvSpPr>
              <a:spLocks/>
            </p:cNvSpPr>
            <p:nvPr/>
          </p:nvSpPr>
          <p:spPr bwMode="auto">
            <a:xfrm>
              <a:off x="3018" y="3587"/>
              <a:ext cx="111" cy="79"/>
            </a:xfrm>
            <a:custGeom>
              <a:avLst/>
              <a:gdLst>
                <a:gd name="T0" fmla="*/ 0 w 222"/>
                <a:gd name="T1" fmla="*/ 24 h 159"/>
                <a:gd name="T2" fmla="*/ 36 w 222"/>
                <a:gd name="T3" fmla="*/ 37 h 159"/>
                <a:gd name="T4" fmla="*/ 48 w 222"/>
                <a:gd name="T5" fmla="*/ 51 h 159"/>
                <a:gd name="T6" fmla="*/ 52 w 222"/>
                <a:gd name="T7" fmla="*/ 65 h 159"/>
                <a:gd name="T8" fmla="*/ 77 w 222"/>
                <a:gd name="T9" fmla="*/ 63 h 159"/>
                <a:gd name="T10" fmla="*/ 91 w 222"/>
                <a:gd name="T11" fmla="*/ 81 h 159"/>
                <a:gd name="T12" fmla="*/ 103 w 222"/>
                <a:gd name="T13" fmla="*/ 96 h 159"/>
                <a:gd name="T14" fmla="*/ 132 w 222"/>
                <a:gd name="T15" fmla="*/ 100 h 159"/>
                <a:gd name="T16" fmla="*/ 150 w 222"/>
                <a:gd name="T17" fmla="*/ 98 h 159"/>
                <a:gd name="T18" fmla="*/ 164 w 222"/>
                <a:gd name="T19" fmla="*/ 112 h 159"/>
                <a:gd name="T20" fmla="*/ 185 w 222"/>
                <a:gd name="T21" fmla="*/ 153 h 159"/>
                <a:gd name="T22" fmla="*/ 205 w 222"/>
                <a:gd name="T23" fmla="*/ 159 h 159"/>
                <a:gd name="T24" fmla="*/ 217 w 222"/>
                <a:gd name="T25" fmla="*/ 149 h 159"/>
                <a:gd name="T26" fmla="*/ 222 w 222"/>
                <a:gd name="T27" fmla="*/ 124 h 159"/>
                <a:gd name="T28" fmla="*/ 199 w 222"/>
                <a:gd name="T29" fmla="*/ 108 h 159"/>
                <a:gd name="T30" fmla="*/ 173 w 222"/>
                <a:gd name="T31" fmla="*/ 96 h 159"/>
                <a:gd name="T32" fmla="*/ 160 w 222"/>
                <a:gd name="T33" fmla="*/ 77 h 159"/>
                <a:gd name="T34" fmla="*/ 150 w 222"/>
                <a:gd name="T35" fmla="*/ 47 h 159"/>
                <a:gd name="T36" fmla="*/ 105 w 222"/>
                <a:gd name="T37" fmla="*/ 39 h 159"/>
                <a:gd name="T38" fmla="*/ 79 w 222"/>
                <a:gd name="T39" fmla="*/ 30 h 159"/>
                <a:gd name="T40" fmla="*/ 50 w 222"/>
                <a:gd name="T41" fmla="*/ 6 h 159"/>
                <a:gd name="T42" fmla="*/ 24 w 222"/>
                <a:gd name="T43" fmla="*/ 0 h 159"/>
                <a:gd name="T44" fmla="*/ 0 w 222"/>
                <a:gd name="T45" fmla="*/ 2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2" h="159">
                  <a:moveTo>
                    <a:pt x="0" y="24"/>
                  </a:moveTo>
                  <a:lnTo>
                    <a:pt x="36" y="37"/>
                  </a:lnTo>
                  <a:lnTo>
                    <a:pt x="48" y="51"/>
                  </a:lnTo>
                  <a:lnTo>
                    <a:pt x="52" y="65"/>
                  </a:lnTo>
                  <a:lnTo>
                    <a:pt x="77" y="63"/>
                  </a:lnTo>
                  <a:lnTo>
                    <a:pt x="91" y="81"/>
                  </a:lnTo>
                  <a:lnTo>
                    <a:pt x="103" y="96"/>
                  </a:lnTo>
                  <a:lnTo>
                    <a:pt x="132" y="100"/>
                  </a:lnTo>
                  <a:lnTo>
                    <a:pt x="150" y="98"/>
                  </a:lnTo>
                  <a:lnTo>
                    <a:pt x="164" y="112"/>
                  </a:lnTo>
                  <a:lnTo>
                    <a:pt x="185" y="153"/>
                  </a:lnTo>
                  <a:lnTo>
                    <a:pt x="205" y="159"/>
                  </a:lnTo>
                  <a:lnTo>
                    <a:pt x="217" y="149"/>
                  </a:lnTo>
                  <a:lnTo>
                    <a:pt x="222" y="124"/>
                  </a:lnTo>
                  <a:lnTo>
                    <a:pt x="199" y="108"/>
                  </a:lnTo>
                  <a:lnTo>
                    <a:pt x="173" y="96"/>
                  </a:lnTo>
                  <a:lnTo>
                    <a:pt x="160" y="77"/>
                  </a:lnTo>
                  <a:lnTo>
                    <a:pt x="150" y="47"/>
                  </a:lnTo>
                  <a:lnTo>
                    <a:pt x="105" y="39"/>
                  </a:lnTo>
                  <a:lnTo>
                    <a:pt x="79" y="30"/>
                  </a:lnTo>
                  <a:lnTo>
                    <a:pt x="50" y="6"/>
                  </a:lnTo>
                  <a:lnTo>
                    <a:pt x="24" y="0"/>
                  </a:lnTo>
                  <a:lnTo>
                    <a:pt x="0" y="24"/>
                  </a:lnTo>
                  <a:close/>
                </a:path>
              </a:pathLst>
            </a:custGeom>
            <a:solidFill>
              <a:srgbClr val="FFFFFF"/>
            </a:solidFill>
            <a:ln w="9525">
              <a:solidFill>
                <a:srgbClr val="000000"/>
              </a:solidFill>
              <a:prstDash val="solid"/>
              <a:round/>
              <a:headEnd/>
              <a:tailEnd/>
            </a:ln>
          </p:spPr>
          <p:txBody>
            <a:bodyPr/>
            <a:lstStyle/>
            <a:p>
              <a:endParaRPr lang="cs-CZ"/>
            </a:p>
          </p:txBody>
        </p:sp>
        <p:sp>
          <p:nvSpPr>
            <p:cNvPr id="40" name="Freeform 60"/>
            <p:cNvSpPr>
              <a:spLocks/>
            </p:cNvSpPr>
            <p:nvPr/>
          </p:nvSpPr>
          <p:spPr bwMode="auto">
            <a:xfrm>
              <a:off x="3134" y="3660"/>
              <a:ext cx="24" cy="24"/>
            </a:xfrm>
            <a:custGeom>
              <a:avLst/>
              <a:gdLst>
                <a:gd name="T0" fmla="*/ 0 w 47"/>
                <a:gd name="T1" fmla="*/ 6 h 48"/>
                <a:gd name="T2" fmla="*/ 18 w 47"/>
                <a:gd name="T3" fmla="*/ 32 h 48"/>
                <a:gd name="T4" fmla="*/ 24 w 47"/>
                <a:gd name="T5" fmla="*/ 48 h 48"/>
                <a:gd name="T6" fmla="*/ 40 w 47"/>
                <a:gd name="T7" fmla="*/ 48 h 48"/>
                <a:gd name="T8" fmla="*/ 47 w 47"/>
                <a:gd name="T9" fmla="*/ 34 h 48"/>
                <a:gd name="T10" fmla="*/ 32 w 47"/>
                <a:gd name="T11" fmla="*/ 12 h 48"/>
                <a:gd name="T12" fmla="*/ 16 w 47"/>
                <a:gd name="T13" fmla="*/ 0 h 48"/>
                <a:gd name="T14" fmla="*/ 0 w 47"/>
                <a:gd name="T15" fmla="*/ 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8">
                  <a:moveTo>
                    <a:pt x="0" y="6"/>
                  </a:moveTo>
                  <a:lnTo>
                    <a:pt x="18" y="32"/>
                  </a:lnTo>
                  <a:lnTo>
                    <a:pt x="24" y="48"/>
                  </a:lnTo>
                  <a:lnTo>
                    <a:pt x="40" y="48"/>
                  </a:lnTo>
                  <a:lnTo>
                    <a:pt x="47" y="34"/>
                  </a:lnTo>
                  <a:lnTo>
                    <a:pt x="32" y="12"/>
                  </a:lnTo>
                  <a:lnTo>
                    <a:pt x="16" y="0"/>
                  </a:lnTo>
                  <a:lnTo>
                    <a:pt x="0" y="6"/>
                  </a:lnTo>
                  <a:close/>
                </a:path>
              </a:pathLst>
            </a:custGeom>
            <a:solidFill>
              <a:srgbClr val="FFFFFF"/>
            </a:solidFill>
            <a:ln w="9525">
              <a:solidFill>
                <a:srgbClr val="000000"/>
              </a:solidFill>
              <a:prstDash val="solid"/>
              <a:round/>
              <a:headEnd/>
              <a:tailEnd/>
            </a:ln>
          </p:spPr>
          <p:txBody>
            <a:bodyPr/>
            <a:lstStyle/>
            <a:p>
              <a:endParaRPr lang="cs-CZ"/>
            </a:p>
          </p:txBody>
        </p:sp>
        <p:sp>
          <p:nvSpPr>
            <p:cNvPr id="41" name="Freeform 61"/>
            <p:cNvSpPr>
              <a:spLocks/>
            </p:cNvSpPr>
            <p:nvPr/>
          </p:nvSpPr>
          <p:spPr bwMode="auto">
            <a:xfrm>
              <a:off x="3097" y="3432"/>
              <a:ext cx="20" cy="20"/>
            </a:xfrm>
            <a:custGeom>
              <a:avLst/>
              <a:gdLst>
                <a:gd name="T0" fmla="*/ 6 w 41"/>
                <a:gd name="T1" fmla="*/ 29 h 39"/>
                <a:gd name="T2" fmla="*/ 23 w 41"/>
                <a:gd name="T3" fmla="*/ 39 h 39"/>
                <a:gd name="T4" fmla="*/ 33 w 41"/>
                <a:gd name="T5" fmla="*/ 29 h 39"/>
                <a:gd name="T6" fmla="*/ 41 w 41"/>
                <a:gd name="T7" fmla="*/ 13 h 39"/>
                <a:gd name="T8" fmla="*/ 27 w 41"/>
                <a:gd name="T9" fmla="*/ 0 h 39"/>
                <a:gd name="T10" fmla="*/ 6 w 41"/>
                <a:gd name="T11" fmla="*/ 5 h 39"/>
                <a:gd name="T12" fmla="*/ 0 w 41"/>
                <a:gd name="T13" fmla="*/ 17 h 39"/>
                <a:gd name="T14" fmla="*/ 6 w 41"/>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9">
                  <a:moveTo>
                    <a:pt x="6" y="29"/>
                  </a:moveTo>
                  <a:lnTo>
                    <a:pt x="23" y="39"/>
                  </a:lnTo>
                  <a:lnTo>
                    <a:pt x="33" y="29"/>
                  </a:lnTo>
                  <a:lnTo>
                    <a:pt x="41" y="13"/>
                  </a:lnTo>
                  <a:lnTo>
                    <a:pt x="27" y="0"/>
                  </a:lnTo>
                  <a:lnTo>
                    <a:pt x="6" y="5"/>
                  </a:lnTo>
                  <a:lnTo>
                    <a:pt x="0" y="17"/>
                  </a:lnTo>
                  <a:lnTo>
                    <a:pt x="6" y="29"/>
                  </a:lnTo>
                  <a:close/>
                </a:path>
              </a:pathLst>
            </a:custGeom>
            <a:solidFill>
              <a:srgbClr val="FFFFFF"/>
            </a:solidFill>
            <a:ln w="9525">
              <a:solidFill>
                <a:srgbClr val="000000"/>
              </a:solidFill>
              <a:prstDash val="solid"/>
              <a:round/>
              <a:headEnd/>
              <a:tailEnd/>
            </a:ln>
          </p:spPr>
          <p:txBody>
            <a:bodyPr/>
            <a:lstStyle/>
            <a:p>
              <a:endParaRPr lang="cs-CZ"/>
            </a:p>
          </p:txBody>
        </p:sp>
        <p:sp>
          <p:nvSpPr>
            <p:cNvPr id="42" name="Freeform 62"/>
            <p:cNvSpPr>
              <a:spLocks/>
            </p:cNvSpPr>
            <p:nvPr/>
          </p:nvSpPr>
          <p:spPr bwMode="auto">
            <a:xfrm>
              <a:off x="3138" y="3491"/>
              <a:ext cx="20" cy="22"/>
            </a:xfrm>
            <a:custGeom>
              <a:avLst/>
              <a:gdLst>
                <a:gd name="T0" fmla="*/ 4 w 39"/>
                <a:gd name="T1" fmla="*/ 18 h 44"/>
                <a:gd name="T2" fmla="*/ 0 w 39"/>
                <a:gd name="T3" fmla="*/ 30 h 44"/>
                <a:gd name="T4" fmla="*/ 8 w 39"/>
                <a:gd name="T5" fmla="*/ 44 h 44"/>
                <a:gd name="T6" fmla="*/ 34 w 39"/>
                <a:gd name="T7" fmla="*/ 32 h 44"/>
                <a:gd name="T8" fmla="*/ 39 w 39"/>
                <a:gd name="T9" fmla="*/ 18 h 44"/>
                <a:gd name="T10" fmla="*/ 34 w 39"/>
                <a:gd name="T11" fmla="*/ 2 h 44"/>
                <a:gd name="T12" fmla="*/ 20 w 39"/>
                <a:gd name="T13" fmla="*/ 0 h 44"/>
                <a:gd name="T14" fmla="*/ 4 w 39"/>
                <a:gd name="T15" fmla="*/ 18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4">
                  <a:moveTo>
                    <a:pt x="4" y="18"/>
                  </a:moveTo>
                  <a:lnTo>
                    <a:pt x="0" y="30"/>
                  </a:lnTo>
                  <a:lnTo>
                    <a:pt x="8" y="44"/>
                  </a:lnTo>
                  <a:lnTo>
                    <a:pt x="34" y="32"/>
                  </a:lnTo>
                  <a:lnTo>
                    <a:pt x="39" y="18"/>
                  </a:lnTo>
                  <a:lnTo>
                    <a:pt x="34" y="2"/>
                  </a:lnTo>
                  <a:lnTo>
                    <a:pt x="20" y="0"/>
                  </a:lnTo>
                  <a:lnTo>
                    <a:pt x="4" y="18"/>
                  </a:lnTo>
                  <a:close/>
                </a:path>
              </a:pathLst>
            </a:custGeom>
            <a:solidFill>
              <a:srgbClr val="FFFFFF"/>
            </a:solidFill>
            <a:ln w="9525">
              <a:solidFill>
                <a:srgbClr val="000000"/>
              </a:solidFill>
              <a:prstDash val="solid"/>
              <a:round/>
              <a:headEnd/>
              <a:tailEnd/>
            </a:ln>
          </p:spPr>
          <p:txBody>
            <a:bodyPr/>
            <a:lstStyle/>
            <a:p>
              <a:endParaRPr lang="cs-CZ"/>
            </a:p>
          </p:txBody>
        </p:sp>
        <p:sp>
          <p:nvSpPr>
            <p:cNvPr id="43" name="Freeform 63"/>
            <p:cNvSpPr>
              <a:spLocks/>
            </p:cNvSpPr>
            <p:nvPr/>
          </p:nvSpPr>
          <p:spPr bwMode="auto">
            <a:xfrm>
              <a:off x="3082" y="3856"/>
              <a:ext cx="183" cy="57"/>
            </a:xfrm>
            <a:custGeom>
              <a:avLst/>
              <a:gdLst>
                <a:gd name="T0" fmla="*/ 0 w 366"/>
                <a:gd name="T1" fmla="*/ 75 h 114"/>
                <a:gd name="T2" fmla="*/ 73 w 366"/>
                <a:gd name="T3" fmla="*/ 67 h 114"/>
                <a:gd name="T4" fmla="*/ 126 w 366"/>
                <a:gd name="T5" fmla="*/ 73 h 114"/>
                <a:gd name="T6" fmla="*/ 138 w 366"/>
                <a:gd name="T7" fmla="*/ 85 h 114"/>
                <a:gd name="T8" fmla="*/ 157 w 366"/>
                <a:gd name="T9" fmla="*/ 85 h 114"/>
                <a:gd name="T10" fmla="*/ 177 w 366"/>
                <a:gd name="T11" fmla="*/ 114 h 114"/>
                <a:gd name="T12" fmla="*/ 216 w 366"/>
                <a:gd name="T13" fmla="*/ 101 h 114"/>
                <a:gd name="T14" fmla="*/ 244 w 366"/>
                <a:gd name="T15" fmla="*/ 89 h 114"/>
                <a:gd name="T16" fmla="*/ 261 w 366"/>
                <a:gd name="T17" fmla="*/ 91 h 114"/>
                <a:gd name="T18" fmla="*/ 289 w 366"/>
                <a:gd name="T19" fmla="*/ 77 h 114"/>
                <a:gd name="T20" fmla="*/ 299 w 366"/>
                <a:gd name="T21" fmla="*/ 81 h 114"/>
                <a:gd name="T22" fmla="*/ 320 w 366"/>
                <a:gd name="T23" fmla="*/ 67 h 114"/>
                <a:gd name="T24" fmla="*/ 340 w 366"/>
                <a:gd name="T25" fmla="*/ 77 h 114"/>
                <a:gd name="T26" fmla="*/ 352 w 366"/>
                <a:gd name="T27" fmla="*/ 73 h 114"/>
                <a:gd name="T28" fmla="*/ 352 w 366"/>
                <a:gd name="T29" fmla="*/ 51 h 114"/>
                <a:gd name="T30" fmla="*/ 366 w 366"/>
                <a:gd name="T31" fmla="*/ 36 h 114"/>
                <a:gd name="T32" fmla="*/ 346 w 366"/>
                <a:gd name="T33" fmla="*/ 36 h 114"/>
                <a:gd name="T34" fmla="*/ 324 w 366"/>
                <a:gd name="T35" fmla="*/ 42 h 114"/>
                <a:gd name="T36" fmla="*/ 307 w 366"/>
                <a:gd name="T37" fmla="*/ 53 h 114"/>
                <a:gd name="T38" fmla="*/ 289 w 366"/>
                <a:gd name="T39" fmla="*/ 40 h 114"/>
                <a:gd name="T40" fmla="*/ 269 w 366"/>
                <a:gd name="T41" fmla="*/ 24 h 114"/>
                <a:gd name="T42" fmla="*/ 224 w 366"/>
                <a:gd name="T43" fmla="*/ 40 h 114"/>
                <a:gd name="T44" fmla="*/ 197 w 366"/>
                <a:gd name="T45" fmla="*/ 28 h 114"/>
                <a:gd name="T46" fmla="*/ 171 w 366"/>
                <a:gd name="T47" fmla="*/ 14 h 114"/>
                <a:gd name="T48" fmla="*/ 146 w 366"/>
                <a:gd name="T49" fmla="*/ 24 h 114"/>
                <a:gd name="T50" fmla="*/ 132 w 366"/>
                <a:gd name="T51" fmla="*/ 36 h 114"/>
                <a:gd name="T52" fmla="*/ 98 w 366"/>
                <a:gd name="T53" fmla="*/ 34 h 114"/>
                <a:gd name="T54" fmla="*/ 81 w 366"/>
                <a:gd name="T55" fmla="*/ 22 h 114"/>
                <a:gd name="T56" fmla="*/ 75 w 366"/>
                <a:gd name="T57" fmla="*/ 8 h 114"/>
                <a:gd name="T58" fmla="*/ 49 w 366"/>
                <a:gd name="T59" fmla="*/ 6 h 114"/>
                <a:gd name="T60" fmla="*/ 26 w 366"/>
                <a:gd name="T61" fmla="*/ 0 h 114"/>
                <a:gd name="T62" fmla="*/ 14 w 366"/>
                <a:gd name="T63" fmla="*/ 4 h 114"/>
                <a:gd name="T64" fmla="*/ 10 w 366"/>
                <a:gd name="T65" fmla="*/ 14 h 114"/>
                <a:gd name="T66" fmla="*/ 2 w 366"/>
                <a:gd name="T67" fmla="*/ 26 h 114"/>
                <a:gd name="T68" fmla="*/ 6 w 366"/>
                <a:gd name="T69" fmla="*/ 50 h 114"/>
                <a:gd name="T70" fmla="*/ 0 w 366"/>
                <a:gd name="T71" fmla="*/ 7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114">
                  <a:moveTo>
                    <a:pt x="0" y="75"/>
                  </a:moveTo>
                  <a:lnTo>
                    <a:pt x="73" y="67"/>
                  </a:lnTo>
                  <a:lnTo>
                    <a:pt x="126" y="73"/>
                  </a:lnTo>
                  <a:lnTo>
                    <a:pt x="138" y="85"/>
                  </a:lnTo>
                  <a:lnTo>
                    <a:pt x="157" y="85"/>
                  </a:lnTo>
                  <a:lnTo>
                    <a:pt x="177" y="114"/>
                  </a:lnTo>
                  <a:lnTo>
                    <a:pt x="216" y="101"/>
                  </a:lnTo>
                  <a:lnTo>
                    <a:pt x="244" y="89"/>
                  </a:lnTo>
                  <a:lnTo>
                    <a:pt x="261" y="91"/>
                  </a:lnTo>
                  <a:lnTo>
                    <a:pt x="289" y="77"/>
                  </a:lnTo>
                  <a:lnTo>
                    <a:pt x="299" y="81"/>
                  </a:lnTo>
                  <a:lnTo>
                    <a:pt x="320" y="67"/>
                  </a:lnTo>
                  <a:lnTo>
                    <a:pt x="340" y="77"/>
                  </a:lnTo>
                  <a:lnTo>
                    <a:pt x="352" y="73"/>
                  </a:lnTo>
                  <a:lnTo>
                    <a:pt x="352" y="51"/>
                  </a:lnTo>
                  <a:lnTo>
                    <a:pt x="366" y="36"/>
                  </a:lnTo>
                  <a:lnTo>
                    <a:pt x="346" y="36"/>
                  </a:lnTo>
                  <a:lnTo>
                    <a:pt x="324" y="42"/>
                  </a:lnTo>
                  <a:lnTo>
                    <a:pt x="307" y="53"/>
                  </a:lnTo>
                  <a:lnTo>
                    <a:pt x="289" y="40"/>
                  </a:lnTo>
                  <a:lnTo>
                    <a:pt x="269" y="24"/>
                  </a:lnTo>
                  <a:lnTo>
                    <a:pt x="224" y="40"/>
                  </a:lnTo>
                  <a:lnTo>
                    <a:pt x="197" y="28"/>
                  </a:lnTo>
                  <a:lnTo>
                    <a:pt x="171" y="14"/>
                  </a:lnTo>
                  <a:lnTo>
                    <a:pt x="146" y="24"/>
                  </a:lnTo>
                  <a:lnTo>
                    <a:pt x="132" y="36"/>
                  </a:lnTo>
                  <a:lnTo>
                    <a:pt x="98" y="34"/>
                  </a:lnTo>
                  <a:lnTo>
                    <a:pt x="81" y="22"/>
                  </a:lnTo>
                  <a:lnTo>
                    <a:pt x="75" y="8"/>
                  </a:lnTo>
                  <a:lnTo>
                    <a:pt x="49" y="6"/>
                  </a:lnTo>
                  <a:lnTo>
                    <a:pt x="26" y="0"/>
                  </a:lnTo>
                  <a:lnTo>
                    <a:pt x="14" y="4"/>
                  </a:lnTo>
                  <a:lnTo>
                    <a:pt x="10" y="14"/>
                  </a:lnTo>
                  <a:lnTo>
                    <a:pt x="2" y="26"/>
                  </a:lnTo>
                  <a:lnTo>
                    <a:pt x="6" y="50"/>
                  </a:lnTo>
                  <a:lnTo>
                    <a:pt x="0" y="75"/>
                  </a:lnTo>
                  <a:close/>
                </a:path>
              </a:pathLst>
            </a:custGeom>
            <a:solidFill>
              <a:srgbClr val="FFFFFF"/>
            </a:solidFill>
            <a:ln w="9525">
              <a:solidFill>
                <a:srgbClr val="000000"/>
              </a:solidFill>
              <a:prstDash val="solid"/>
              <a:round/>
              <a:headEnd/>
              <a:tailEnd/>
            </a:ln>
          </p:spPr>
          <p:txBody>
            <a:bodyPr/>
            <a:lstStyle/>
            <a:p>
              <a:endParaRPr lang="cs-CZ"/>
            </a:p>
          </p:txBody>
        </p:sp>
        <p:sp>
          <p:nvSpPr>
            <p:cNvPr id="44" name="Freeform 64"/>
            <p:cNvSpPr>
              <a:spLocks/>
            </p:cNvSpPr>
            <p:nvPr/>
          </p:nvSpPr>
          <p:spPr bwMode="auto">
            <a:xfrm>
              <a:off x="2909" y="3645"/>
              <a:ext cx="153" cy="154"/>
            </a:xfrm>
            <a:custGeom>
              <a:avLst/>
              <a:gdLst>
                <a:gd name="T0" fmla="*/ 67 w 307"/>
                <a:gd name="T1" fmla="*/ 169 h 306"/>
                <a:gd name="T2" fmla="*/ 61 w 307"/>
                <a:gd name="T3" fmla="*/ 220 h 306"/>
                <a:gd name="T4" fmla="*/ 75 w 307"/>
                <a:gd name="T5" fmla="*/ 249 h 306"/>
                <a:gd name="T6" fmla="*/ 101 w 307"/>
                <a:gd name="T7" fmla="*/ 267 h 306"/>
                <a:gd name="T8" fmla="*/ 116 w 307"/>
                <a:gd name="T9" fmla="*/ 222 h 306"/>
                <a:gd name="T10" fmla="*/ 146 w 307"/>
                <a:gd name="T11" fmla="*/ 246 h 306"/>
                <a:gd name="T12" fmla="*/ 156 w 307"/>
                <a:gd name="T13" fmla="*/ 259 h 306"/>
                <a:gd name="T14" fmla="*/ 165 w 307"/>
                <a:gd name="T15" fmla="*/ 273 h 306"/>
                <a:gd name="T16" fmla="*/ 171 w 307"/>
                <a:gd name="T17" fmla="*/ 287 h 306"/>
                <a:gd name="T18" fmla="*/ 173 w 307"/>
                <a:gd name="T19" fmla="*/ 306 h 306"/>
                <a:gd name="T20" fmla="*/ 191 w 307"/>
                <a:gd name="T21" fmla="*/ 301 h 306"/>
                <a:gd name="T22" fmla="*/ 199 w 307"/>
                <a:gd name="T23" fmla="*/ 259 h 306"/>
                <a:gd name="T24" fmla="*/ 228 w 307"/>
                <a:gd name="T25" fmla="*/ 285 h 306"/>
                <a:gd name="T26" fmla="*/ 238 w 307"/>
                <a:gd name="T27" fmla="*/ 287 h 306"/>
                <a:gd name="T28" fmla="*/ 262 w 307"/>
                <a:gd name="T29" fmla="*/ 301 h 306"/>
                <a:gd name="T30" fmla="*/ 268 w 307"/>
                <a:gd name="T31" fmla="*/ 269 h 306"/>
                <a:gd name="T32" fmla="*/ 260 w 307"/>
                <a:gd name="T33" fmla="*/ 226 h 306"/>
                <a:gd name="T34" fmla="*/ 236 w 307"/>
                <a:gd name="T35" fmla="*/ 183 h 306"/>
                <a:gd name="T36" fmla="*/ 214 w 307"/>
                <a:gd name="T37" fmla="*/ 143 h 306"/>
                <a:gd name="T38" fmla="*/ 211 w 307"/>
                <a:gd name="T39" fmla="*/ 126 h 306"/>
                <a:gd name="T40" fmla="*/ 240 w 307"/>
                <a:gd name="T41" fmla="*/ 145 h 306"/>
                <a:gd name="T42" fmla="*/ 264 w 307"/>
                <a:gd name="T43" fmla="*/ 163 h 306"/>
                <a:gd name="T44" fmla="*/ 279 w 307"/>
                <a:gd name="T45" fmla="*/ 151 h 306"/>
                <a:gd name="T46" fmla="*/ 301 w 307"/>
                <a:gd name="T47" fmla="*/ 143 h 306"/>
                <a:gd name="T48" fmla="*/ 307 w 307"/>
                <a:gd name="T49" fmla="*/ 130 h 306"/>
                <a:gd name="T50" fmla="*/ 289 w 307"/>
                <a:gd name="T51" fmla="*/ 114 h 306"/>
                <a:gd name="T52" fmla="*/ 268 w 307"/>
                <a:gd name="T53" fmla="*/ 106 h 306"/>
                <a:gd name="T54" fmla="*/ 248 w 307"/>
                <a:gd name="T55" fmla="*/ 80 h 306"/>
                <a:gd name="T56" fmla="*/ 248 w 307"/>
                <a:gd name="T57" fmla="*/ 65 h 306"/>
                <a:gd name="T58" fmla="*/ 279 w 307"/>
                <a:gd name="T59" fmla="*/ 57 h 306"/>
                <a:gd name="T60" fmla="*/ 270 w 307"/>
                <a:gd name="T61" fmla="*/ 47 h 306"/>
                <a:gd name="T62" fmla="*/ 250 w 307"/>
                <a:gd name="T63" fmla="*/ 47 h 306"/>
                <a:gd name="T64" fmla="*/ 216 w 307"/>
                <a:gd name="T65" fmla="*/ 39 h 306"/>
                <a:gd name="T66" fmla="*/ 193 w 307"/>
                <a:gd name="T67" fmla="*/ 35 h 306"/>
                <a:gd name="T68" fmla="*/ 169 w 307"/>
                <a:gd name="T69" fmla="*/ 25 h 306"/>
                <a:gd name="T70" fmla="*/ 134 w 307"/>
                <a:gd name="T71" fmla="*/ 31 h 306"/>
                <a:gd name="T72" fmla="*/ 89 w 307"/>
                <a:gd name="T73" fmla="*/ 2 h 306"/>
                <a:gd name="T74" fmla="*/ 77 w 307"/>
                <a:gd name="T75" fmla="*/ 0 h 306"/>
                <a:gd name="T76" fmla="*/ 59 w 307"/>
                <a:gd name="T77" fmla="*/ 24 h 306"/>
                <a:gd name="T78" fmla="*/ 42 w 307"/>
                <a:gd name="T79" fmla="*/ 39 h 306"/>
                <a:gd name="T80" fmla="*/ 28 w 307"/>
                <a:gd name="T81" fmla="*/ 31 h 306"/>
                <a:gd name="T82" fmla="*/ 14 w 307"/>
                <a:gd name="T83" fmla="*/ 53 h 306"/>
                <a:gd name="T84" fmla="*/ 6 w 307"/>
                <a:gd name="T85" fmla="*/ 75 h 306"/>
                <a:gd name="T86" fmla="*/ 0 w 307"/>
                <a:gd name="T87" fmla="*/ 100 h 306"/>
                <a:gd name="T88" fmla="*/ 8 w 307"/>
                <a:gd name="T89" fmla="*/ 128 h 306"/>
                <a:gd name="T90" fmla="*/ 32 w 307"/>
                <a:gd name="T91" fmla="*/ 139 h 306"/>
                <a:gd name="T92" fmla="*/ 59 w 307"/>
                <a:gd name="T93" fmla="*/ 155 h 306"/>
                <a:gd name="T94" fmla="*/ 67 w 307"/>
                <a:gd name="T95" fmla="*/ 1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 h="306">
                  <a:moveTo>
                    <a:pt x="67" y="169"/>
                  </a:moveTo>
                  <a:lnTo>
                    <a:pt x="61" y="220"/>
                  </a:lnTo>
                  <a:lnTo>
                    <a:pt x="75" y="249"/>
                  </a:lnTo>
                  <a:lnTo>
                    <a:pt x="101" y="267"/>
                  </a:lnTo>
                  <a:lnTo>
                    <a:pt x="116" y="222"/>
                  </a:lnTo>
                  <a:lnTo>
                    <a:pt x="146" y="246"/>
                  </a:lnTo>
                  <a:lnTo>
                    <a:pt x="156" y="259"/>
                  </a:lnTo>
                  <a:lnTo>
                    <a:pt x="165" y="273"/>
                  </a:lnTo>
                  <a:lnTo>
                    <a:pt x="171" y="287"/>
                  </a:lnTo>
                  <a:lnTo>
                    <a:pt x="173" y="306"/>
                  </a:lnTo>
                  <a:lnTo>
                    <a:pt x="191" y="301"/>
                  </a:lnTo>
                  <a:lnTo>
                    <a:pt x="199" y="259"/>
                  </a:lnTo>
                  <a:lnTo>
                    <a:pt x="228" y="285"/>
                  </a:lnTo>
                  <a:lnTo>
                    <a:pt x="238" y="287"/>
                  </a:lnTo>
                  <a:lnTo>
                    <a:pt x="262" y="301"/>
                  </a:lnTo>
                  <a:lnTo>
                    <a:pt x="268" y="269"/>
                  </a:lnTo>
                  <a:lnTo>
                    <a:pt x="260" y="226"/>
                  </a:lnTo>
                  <a:lnTo>
                    <a:pt x="236" y="183"/>
                  </a:lnTo>
                  <a:lnTo>
                    <a:pt x="214" y="143"/>
                  </a:lnTo>
                  <a:lnTo>
                    <a:pt x="211" y="126"/>
                  </a:lnTo>
                  <a:lnTo>
                    <a:pt x="240" y="145"/>
                  </a:lnTo>
                  <a:lnTo>
                    <a:pt x="264" y="163"/>
                  </a:lnTo>
                  <a:lnTo>
                    <a:pt x="279" y="151"/>
                  </a:lnTo>
                  <a:lnTo>
                    <a:pt x="301" y="143"/>
                  </a:lnTo>
                  <a:lnTo>
                    <a:pt x="307" y="130"/>
                  </a:lnTo>
                  <a:lnTo>
                    <a:pt x="289" y="114"/>
                  </a:lnTo>
                  <a:lnTo>
                    <a:pt x="268" y="106"/>
                  </a:lnTo>
                  <a:lnTo>
                    <a:pt x="248" y="80"/>
                  </a:lnTo>
                  <a:lnTo>
                    <a:pt x="248" y="65"/>
                  </a:lnTo>
                  <a:lnTo>
                    <a:pt x="279" y="57"/>
                  </a:lnTo>
                  <a:lnTo>
                    <a:pt x="270" y="47"/>
                  </a:lnTo>
                  <a:lnTo>
                    <a:pt x="250" y="47"/>
                  </a:lnTo>
                  <a:lnTo>
                    <a:pt x="216" y="39"/>
                  </a:lnTo>
                  <a:lnTo>
                    <a:pt x="193" y="35"/>
                  </a:lnTo>
                  <a:lnTo>
                    <a:pt x="169" y="25"/>
                  </a:lnTo>
                  <a:lnTo>
                    <a:pt x="134" y="31"/>
                  </a:lnTo>
                  <a:lnTo>
                    <a:pt x="89" y="2"/>
                  </a:lnTo>
                  <a:lnTo>
                    <a:pt x="77" y="0"/>
                  </a:lnTo>
                  <a:lnTo>
                    <a:pt x="59" y="24"/>
                  </a:lnTo>
                  <a:lnTo>
                    <a:pt x="42" y="39"/>
                  </a:lnTo>
                  <a:lnTo>
                    <a:pt x="28" y="31"/>
                  </a:lnTo>
                  <a:lnTo>
                    <a:pt x="14" y="53"/>
                  </a:lnTo>
                  <a:lnTo>
                    <a:pt x="6" y="75"/>
                  </a:lnTo>
                  <a:lnTo>
                    <a:pt x="0" y="100"/>
                  </a:lnTo>
                  <a:lnTo>
                    <a:pt x="8" y="128"/>
                  </a:lnTo>
                  <a:lnTo>
                    <a:pt x="32" y="139"/>
                  </a:lnTo>
                  <a:lnTo>
                    <a:pt x="59" y="155"/>
                  </a:lnTo>
                  <a:lnTo>
                    <a:pt x="67" y="169"/>
                  </a:lnTo>
                  <a:close/>
                </a:path>
              </a:pathLst>
            </a:custGeom>
            <a:solidFill>
              <a:srgbClr val="FFFFFF"/>
            </a:solidFill>
            <a:ln w="9525">
              <a:solidFill>
                <a:srgbClr val="000000"/>
              </a:solidFill>
              <a:prstDash val="solid"/>
              <a:round/>
              <a:headEnd/>
              <a:tailEnd/>
            </a:ln>
          </p:spPr>
          <p:txBody>
            <a:bodyPr/>
            <a:lstStyle/>
            <a:p>
              <a:endParaRPr lang="cs-CZ"/>
            </a:p>
          </p:txBody>
        </p:sp>
        <p:sp>
          <p:nvSpPr>
            <p:cNvPr id="45" name="Freeform 65"/>
            <p:cNvSpPr>
              <a:spLocks/>
            </p:cNvSpPr>
            <p:nvPr/>
          </p:nvSpPr>
          <p:spPr bwMode="auto">
            <a:xfrm>
              <a:off x="3185" y="3718"/>
              <a:ext cx="13" cy="26"/>
            </a:xfrm>
            <a:custGeom>
              <a:avLst/>
              <a:gdLst>
                <a:gd name="T0" fmla="*/ 4 w 26"/>
                <a:gd name="T1" fmla="*/ 16 h 51"/>
                <a:gd name="T2" fmla="*/ 0 w 26"/>
                <a:gd name="T3" fmla="*/ 46 h 51"/>
                <a:gd name="T4" fmla="*/ 16 w 26"/>
                <a:gd name="T5" fmla="*/ 51 h 51"/>
                <a:gd name="T6" fmla="*/ 24 w 26"/>
                <a:gd name="T7" fmla="*/ 38 h 51"/>
                <a:gd name="T8" fmla="*/ 26 w 26"/>
                <a:gd name="T9" fmla="*/ 14 h 51"/>
                <a:gd name="T10" fmla="*/ 20 w 26"/>
                <a:gd name="T11" fmla="*/ 0 h 51"/>
                <a:gd name="T12" fmla="*/ 4 w 26"/>
                <a:gd name="T13" fmla="*/ 16 h 51"/>
              </a:gdLst>
              <a:ahLst/>
              <a:cxnLst>
                <a:cxn ang="0">
                  <a:pos x="T0" y="T1"/>
                </a:cxn>
                <a:cxn ang="0">
                  <a:pos x="T2" y="T3"/>
                </a:cxn>
                <a:cxn ang="0">
                  <a:pos x="T4" y="T5"/>
                </a:cxn>
                <a:cxn ang="0">
                  <a:pos x="T6" y="T7"/>
                </a:cxn>
                <a:cxn ang="0">
                  <a:pos x="T8" y="T9"/>
                </a:cxn>
                <a:cxn ang="0">
                  <a:pos x="T10" y="T11"/>
                </a:cxn>
                <a:cxn ang="0">
                  <a:pos x="T12" y="T13"/>
                </a:cxn>
              </a:cxnLst>
              <a:rect l="0" t="0" r="r" b="b"/>
              <a:pathLst>
                <a:path w="26" h="51">
                  <a:moveTo>
                    <a:pt x="4" y="16"/>
                  </a:moveTo>
                  <a:lnTo>
                    <a:pt x="0" y="46"/>
                  </a:lnTo>
                  <a:lnTo>
                    <a:pt x="16" y="51"/>
                  </a:lnTo>
                  <a:lnTo>
                    <a:pt x="24" y="38"/>
                  </a:lnTo>
                  <a:lnTo>
                    <a:pt x="26" y="14"/>
                  </a:lnTo>
                  <a:lnTo>
                    <a:pt x="20" y="0"/>
                  </a:lnTo>
                  <a:lnTo>
                    <a:pt x="4" y="16"/>
                  </a:lnTo>
                  <a:close/>
                </a:path>
              </a:pathLst>
            </a:custGeom>
            <a:solidFill>
              <a:srgbClr val="FFFFFF"/>
            </a:solidFill>
            <a:ln w="9525">
              <a:solidFill>
                <a:srgbClr val="000000"/>
              </a:solidFill>
              <a:prstDash val="solid"/>
              <a:round/>
              <a:headEnd/>
              <a:tailEnd/>
            </a:ln>
          </p:spPr>
          <p:txBody>
            <a:bodyPr/>
            <a:lstStyle/>
            <a:p>
              <a:endParaRPr lang="cs-CZ"/>
            </a:p>
          </p:txBody>
        </p:sp>
        <p:sp>
          <p:nvSpPr>
            <p:cNvPr id="46" name="Freeform 66"/>
            <p:cNvSpPr>
              <a:spLocks/>
            </p:cNvSpPr>
            <p:nvPr/>
          </p:nvSpPr>
          <p:spPr bwMode="auto">
            <a:xfrm>
              <a:off x="3200" y="3595"/>
              <a:ext cx="26" cy="37"/>
            </a:xfrm>
            <a:custGeom>
              <a:avLst/>
              <a:gdLst>
                <a:gd name="T0" fmla="*/ 6 w 51"/>
                <a:gd name="T1" fmla="*/ 0 h 72"/>
                <a:gd name="T2" fmla="*/ 37 w 51"/>
                <a:gd name="T3" fmla="*/ 0 h 72"/>
                <a:gd name="T4" fmla="*/ 45 w 51"/>
                <a:gd name="T5" fmla="*/ 17 h 72"/>
                <a:gd name="T6" fmla="*/ 51 w 51"/>
                <a:gd name="T7" fmla="*/ 33 h 72"/>
                <a:gd name="T8" fmla="*/ 41 w 51"/>
                <a:gd name="T9" fmla="*/ 49 h 72"/>
                <a:gd name="T10" fmla="*/ 35 w 51"/>
                <a:gd name="T11" fmla="*/ 65 h 72"/>
                <a:gd name="T12" fmla="*/ 24 w 51"/>
                <a:gd name="T13" fmla="*/ 72 h 72"/>
                <a:gd name="T14" fmla="*/ 14 w 51"/>
                <a:gd name="T15" fmla="*/ 57 h 72"/>
                <a:gd name="T16" fmla="*/ 16 w 51"/>
                <a:gd name="T17" fmla="*/ 35 h 72"/>
                <a:gd name="T18" fmla="*/ 0 w 51"/>
                <a:gd name="T19" fmla="*/ 15 h 72"/>
                <a:gd name="T20" fmla="*/ 6 w 51"/>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72">
                  <a:moveTo>
                    <a:pt x="6" y="0"/>
                  </a:moveTo>
                  <a:lnTo>
                    <a:pt x="37" y="0"/>
                  </a:lnTo>
                  <a:lnTo>
                    <a:pt x="45" y="17"/>
                  </a:lnTo>
                  <a:lnTo>
                    <a:pt x="51" y="33"/>
                  </a:lnTo>
                  <a:lnTo>
                    <a:pt x="41" y="49"/>
                  </a:lnTo>
                  <a:lnTo>
                    <a:pt x="35" y="65"/>
                  </a:lnTo>
                  <a:lnTo>
                    <a:pt x="24" y="72"/>
                  </a:lnTo>
                  <a:lnTo>
                    <a:pt x="14" y="57"/>
                  </a:lnTo>
                  <a:lnTo>
                    <a:pt x="16" y="35"/>
                  </a:lnTo>
                  <a:lnTo>
                    <a:pt x="0" y="15"/>
                  </a:lnTo>
                  <a:lnTo>
                    <a:pt x="6" y="0"/>
                  </a:lnTo>
                  <a:close/>
                </a:path>
              </a:pathLst>
            </a:custGeom>
            <a:solidFill>
              <a:srgbClr val="FFFFFF"/>
            </a:solidFill>
            <a:ln w="9525">
              <a:solidFill>
                <a:srgbClr val="000000"/>
              </a:solidFill>
              <a:prstDash val="solid"/>
              <a:round/>
              <a:headEnd/>
              <a:tailEnd/>
            </a:ln>
          </p:spPr>
          <p:txBody>
            <a:bodyPr/>
            <a:lstStyle/>
            <a:p>
              <a:endParaRPr lang="cs-CZ"/>
            </a:p>
          </p:txBody>
        </p:sp>
        <p:sp>
          <p:nvSpPr>
            <p:cNvPr id="47" name="Freeform 67"/>
            <p:cNvSpPr>
              <a:spLocks/>
            </p:cNvSpPr>
            <p:nvPr/>
          </p:nvSpPr>
          <p:spPr bwMode="auto">
            <a:xfrm>
              <a:off x="3350" y="3754"/>
              <a:ext cx="31" cy="48"/>
            </a:xfrm>
            <a:custGeom>
              <a:avLst/>
              <a:gdLst>
                <a:gd name="T0" fmla="*/ 55 w 60"/>
                <a:gd name="T1" fmla="*/ 43 h 96"/>
                <a:gd name="T2" fmla="*/ 60 w 60"/>
                <a:gd name="T3" fmla="*/ 33 h 96"/>
                <a:gd name="T4" fmla="*/ 57 w 60"/>
                <a:gd name="T5" fmla="*/ 0 h 96"/>
                <a:gd name="T6" fmla="*/ 27 w 60"/>
                <a:gd name="T7" fmla="*/ 20 h 96"/>
                <a:gd name="T8" fmla="*/ 5 w 60"/>
                <a:gd name="T9" fmla="*/ 51 h 96"/>
                <a:gd name="T10" fmla="*/ 0 w 60"/>
                <a:gd name="T11" fmla="*/ 71 h 96"/>
                <a:gd name="T12" fmla="*/ 5 w 60"/>
                <a:gd name="T13" fmla="*/ 96 h 96"/>
                <a:gd name="T14" fmla="*/ 39 w 60"/>
                <a:gd name="T15" fmla="*/ 73 h 96"/>
                <a:gd name="T16" fmla="*/ 51 w 60"/>
                <a:gd name="T17" fmla="*/ 57 h 96"/>
                <a:gd name="T18" fmla="*/ 55 w 60"/>
                <a:gd name="T19"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5" y="43"/>
                  </a:moveTo>
                  <a:lnTo>
                    <a:pt x="60" y="33"/>
                  </a:lnTo>
                  <a:lnTo>
                    <a:pt x="57" y="0"/>
                  </a:lnTo>
                  <a:lnTo>
                    <a:pt x="27" y="20"/>
                  </a:lnTo>
                  <a:lnTo>
                    <a:pt x="5" y="51"/>
                  </a:lnTo>
                  <a:lnTo>
                    <a:pt x="0" y="71"/>
                  </a:lnTo>
                  <a:lnTo>
                    <a:pt x="5" y="96"/>
                  </a:lnTo>
                  <a:lnTo>
                    <a:pt x="39" y="73"/>
                  </a:lnTo>
                  <a:lnTo>
                    <a:pt x="51" y="57"/>
                  </a:lnTo>
                  <a:lnTo>
                    <a:pt x="55" y="43"/>
                  </a:lnTo>
                  <a:close/>
                </a:path>
              </a:pathLst>
            </a:custGeom>
            <a:solidFill>
              <a:srgbClr val="FFFFFF"/>
            </a:solidFill>
            <a:ln w="9525">
              <a:solidFill>
                <a:srgbClr val="000000"/>
              </a:solidFill>
              <a:prstDash val="solid"/>
              <a:round/>
              <a:headEnd/>
              <a:tailEnd/>
            </a:ln>
          </p:spPr>
          <p:txBody>
            <a:bodyPr/>
            <a:lstStyle/>
            <a:p>
              <a:endParaRPr lang="cs-CZ"/>
            </a:p>
          </p:txBody>
        </p:sp>
        <p:sp>
          <p:nvSpPr>
            <p:cNvPr id="48" name="Freeform 68"/>
            <p:cNvSpPr>
              <a:spLocks/>
            </p:cNvSpPr>
            <p:nvPr/>
          </p:nvSpPr>
          <p:spPr bwMode="auto">
            <a:xfrm>
              <a:off x="3196" y="3529"/>
              <a:ext cx="50" cy="33"/>
            </a:xfrm>
            <a:custGeom>
              <a:avLst/>
              <a:gdLst>
                <a:gd name="T0" fmla="*/ 16 w 100"/>
                <a:gd name="T1" fmla="*/ 53 h 67"/>
                <a:gd name="T2" fmla="*/ 41 w 100"/>
                <a:gd name="T3" fmla="*/ 39 h 67"/>
                <a:gd name="T4" fmla="*/ 49 w 100"/>
                <a:gd name="T5" fmla="*/ 51 h 67"/>
                <a:gd name="T6" fmla="*/ 45 w 100"/>
                <a:gd name="T7" fmla="*/ 67 h 67"/>
                <a:gd name="T8" fmla="*/ 71 w 100"/>
                <a:gd name="T9" fmla="*/ 65 h 67"/>
                <a:gd name="T10" fmla="*/ 83 w 100"/>
                <a:gd name="T11" fmla="*/ 55 h 67"/>
                <a:gd name="T12" fmla="*/ 100 w 100"/>
                <a:gd name="T13" fmla="*/ 55 h 67"/>
                <a:gd name="T14" fmla="*/ 83 w 100"/>
                <a:gd name="T15" fmla="*/ 20 h 67"/>
                <a:gd name="T16" fmla="*/ 59 w 100"/>
                <a:gd name="T17" fmla="*/ 0 h 67"/>
                <a:gd name="T18" fmla="*/ 32 w 100"/>
                <a:gd name="T19" fmla="*/ 16 h 67"/>
                <a:gd name="T20" fmla="*/ 6 w 100"/>
                <a:gd name="T21" fmla="*/ 32 h 67"/>
                <a:gd name="T22" fmla="*/ 0 w 100"/>
                <a:gd name="T23" fmla="*/ 51 h 67"/>
                <a:gd name="T24" fmla="*/ 16 w 100"/>
                <a:gd name="T25" fmla="*/ 5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67">
                  <a:moveTo>
                    <a:pt x="16" y="53"/>
                  </a:moveTo>
                  <a:lnTo>
                    <a:pt x="41" y="39"/>
                  </a:lnTo>
                  <a:lnTo>
                    <a:pt x="49" y="51"/>
                  </a:lnTo>
                  <a:lnTo>
                    <a:pt x="45" y="67"/>
                  </a:lnTo>
                  <a:lnTo>
                    <a:pt x="71" y="65"/>
                  </a:lnTo>
                  <a:lnTo>
                    <a:pt x="83" y="55"/>
                  </a:lnTo>
                  <a:lnTo>
                    <a:pt x="100" y="55"/>
                  </a:lnTo>
                  <a:lnTo>
                    <a:pt x="83" y="20"/>
                  </a:lnTo>
                  <a:lnTo>
                    <a:pt x="59" y="0"/>
                  </a:lnTo>
                  <a:lnTo>
                    <a:pt x="32" y="16"/>
                  </a:lnTo>
                  <a:lnTo>
                    <a:pt x="6" y="32"/>
                  </a:lnTo>
                  <a:lnTo>
                    <a:pt x="0" y="51"/>
                  </a:lnTo>
                  <a:lnTo>
                    <a:pt x="16" y="53"/>
                  </a:lnTo>
                  <a:close/>
                </a:path>
              </a:pathLst>
            </a:custGeom>
            <a:solidFill>
              <a:srgbClr val="FFFFFF"/>
            </a:solidFill>
            <a:ln w="9525">
              <a:solidFill>
                <a:srgbClr val="000000"/>
              </a:solidFill>
              <a:prstDash val="solid"/>
              <a:round/>
              <a:headEnd/>
              <a:tailEnd/>
            </a:ln>
          </p:spPr>
          <p:txBody>
            <a:bodyPr/>
            <a:lstStyle/>
            <a:p>
              <a:endParaRPr lang="cs-CZ"/>
            </a:p>
          </p:txBody>
        </p:sp>
        <p:sp>
          <p:nvSpPr>
            <p:cNvPr id="49" name="Freeform 69"/>
            <p:cNvSpPr>
              <a:spLocks/>
            </p:cNvSpPr>
            <p:nvPr/>
          </p:nvSpPr>
          <p:spPr bwMode="auto">
            <a:xfrm>
              <a:off x="2729" y="2280"/>
              <a:ext cx="154" cy="84"/>
            </a:xfrm>
            <a:custGeom>
              <a:avLst/>
              <a:gdLst>
                <a:gd name="T0" fmla="*/ 0 w 306"/>
                <a:gd name="T1" fmla="*/ 139 h 169"/>
                <a:gd name="T2" fmla="*/ 27 w 306"/>
                <a:gd name="T3" fmla="*/ 110 h 169"/>
                <a:gd name="T4" fmla="*/ 23 w 306"/>
                <a:gd name="T5" fmla="*/ 75 h 169"/>
                <a:gd name="T6" fmla="*/ 47 w 306"/>
                <a:gd name="T7" fmla="*/ 57 h 169"/>
                <a:gd name="T8" fmla="*/ 94 w 306"/>
                <a:gd name="T9" fmla="*/ 61 h 169"/>
                <a:gd name="T10" fmla="*/ 139 w 306"/>
                <a:gd name="T11" fmla="*/ 59 h 169"/>
                <a:gd name="T12" fmla="*/ 145 w 306"/>
                <a:gd name="T13" fmla="*/ 26 h 169"/>
                <a:gd name="T14" fmla="*/ 153 w 306"/>
                <a:gd name="T15" fmla="*/ 0 h 169"/>
                <a:gd name="T16" fmla="*/ 182 w 306"/>
                <a:gd name="T17" fmla="*/ 10 h 169"/>
                <a:gd name="T18" fmla="*/ 210 w 306"/>
                <a:gd name="T19" fmla="*/ 20 h 169"/>
                <a:gd name="T20" fmla="*/ 285 w 306"/>
                <a:gd name="T21" fmla="*/ 22 h 169"/>
                <a:gd name="T22" fmla="*/ 302 w 306"/>
                <a:gd name="T23" fmla="*/ 61 h 169"/>
                <a:gd name="T24" fmla="*/ 304 w 306"/>
                <a:gd name="T25" fmla="*/ 106 h 169"/>
                <a:gd name="T26" fmla="*/ 306 w 306"/>
                <a:gd name="T27" fmla="*/ 132 h 169"/>
                <a:gd name="T28" fmla="*/ 167 w 306"/>
                <a:gd name="T29" fmla="*/ 169 h 169"/>
                <a:gd name="T30" fmla="*/ 61 w 306"/>
                <a:gd name="T31" fmla="*/ 159 h 169"/>
                <a:gd name="T32" fmla="*/ 0 w 306"/>
                <a:gd name="T33" fmla="*/ 13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 h="169">
                  <a:moveTo>
                    <a:pt x="0" y="139"/>
                  </a:moveTo>
                  <a:lnTo>
                    <a:pt x="27" y="110"/>
                  </a:lnTo>
                  <a:lnTo>
                    <a:pt x="23" y="75"/>
                  </a:lnTo>
                  <a:lnTo>
                    <a:pt x="47" y="57"/>
                  </a:lnTo>
                  <a:lnTo>
                    <a:pt x="94" y="61"/>
                  </a:lnTo>
                  <a:lnTo>
                    <a:pt x="139" y="59"/>
                  </a:lnTo>
                  <a:lnTo>
                    <a:pt x="145" y="26"/>
                  </a:lnTo>
                  <a:lnTo>
                    <a:pt x="153" y="0"/>
                  </a:lnTo>
                  <a:lnTo>
                    <a:pt x="182" y="10"/>
                  </a:lnTo>
                  <a:lnTo>
                    <a:pt x="210" y="20"/>
                  </a:lnTo>
                  <a:lnTo>
                    <a:pt x="285" y="22"/>
                  </a:lnTo>
                  <a:lnTo>
                    <a:pt x="302" y="61"/>
                  </a:lnTo>
                  <a:lnTo>
                    <a:pt x="304" y="106"/>
                  </a:lnTo>
                  <a:lnTo>
                    <a:pt x="306" y="132"/>
                  </a:lnTo>
                  <a:lnTo>
                    <a:pt x="167" y="169"/>
                  </a:lnTo>
                  <a:lnTo>
                    <a:pt x="61" y="159"/>
                  </a:lnTo>
                  <a:lnTo>
                    <a:pt x="0" y="139"/>
                  </a:lnTo>
                  <a:close/>
                </a:path>
              </a:pathLst>
            </a:custGeom>
            <a:solidFill>
              <a:srgbClr val="FFFFFF"/>
            </a:solidFill>
            <a:ln w="9525">
              <a:solidFill>
                <a:srgbClr val="000000"/>
              </a:solidFill>
              <a:prstDash val="solid"/>
              <a:round/>
              <a:headEnd/>
              <a:tailEnd/>
            </a:ln>
          </p:spPr>
          <p:txBody>
            <a:bodyPr/>
            <a:lstStyle/>
            <a:p>
              <a:endParaRPr lang="cs-CZ"/>
            </a:p>
          </p:txBody>
        </p:sp>
        <p:sp>
          <p:nvSpPr>
            <p:cNvPr id="50" name="Freeform 70"/>
            <p:cNvSpPr>
              <a:spLocks/>
            </p:cNvSpPr>
            <p:nvPr/>
          </p:nvSpPr>
          <p:spPr bwMode="auto">
            <a:xfrm>
              <a:off x="2785" y="2167"/>
              <a:ext cx="272" cy="209"/>
            </a:xfrm>
            <a:custGeom>
              <a:avLst/>
              <a:gdLst>
                <a:gd name="T0" fmla="*/ 43 w 542"/>
                <a:gd name="T1" fmla="*/ 222 h 419"/>
                <a:gd name="T2" fmla="*/ 100 w 542"/>
                <a:gd name="T3" fmla="*/ 248 h 419"/>
                <a:gd name="T4" fmla="*/ 169 w 542"/>
                <a:gd name="T5" fmla="*/ 248 h 419"/>
                <a:gd name="T6" fmla="*/ 188 w 542"/>
                <a:gd name="T7" fmla="*/ 287 h 419"/>
                <a:gd name="T8" fmla="*/ 192 w 542"/>
                <a:gd name="T9" fmla="*/ 350 h 419"/>
                <a:gd name="T10" fmla="*/ 234 w 542"/>
                <a:gd name="T11" fmla="*/ 371 h 419"/>
                <a:gd name="T12" fmla="*/ 261 w 542"/>
                <a:gd name="T13" fmla="*/ 407 h 419"/>
                <a:gd name="T14" fmla="*/ 273 w 542"/>
                <a:gd name="T15" fmla="*/ 419 h 419"/>
                <a:gd name="T16" fmla="*/ 322 w 542"/>
                <a:gd name="T17" fmla="*/ 407 h 419"/>
                <a:gd name="T18" fmla="*/ 355 w 542"/>
                <a:gd name="T19" fmla="*/ 405 h 419"/>
                <a:gd name="T20" fmla="*/ 365 w 542"/>
                <a:gd name="T21" fmla="*/ 397 h 419"/>
                <a:gd name="T22" fmla="*/ 379 w 542"/>
                <a:gd name="T23" fmla="*/ 397 h 419"/>
                <a:gd name="T24" fmla="*/ 387 w 542"/>
                <a:gd name="T25" fmla="*/ 363 h 419"/>
                <a:gd name="T26" fmla="*/ 424 w 542"/>
                <a:gd name="T27" fmla="*/ 340 h 419"/>
                <a:gd name="T28" fmla="*/ 452 w 542"/>
                <a:gd name="T29" fmla="*/ 348 h 419"/>
                <a:gd name="T30" fmla="*/ 467 w 542"/>
                <a:gd name="T31" fmla="*/ 360 h 419"/>
                <a:gd name="T32" fmla="*/ 469 w 542"/>
                <a:gd name="T33" fmla="*/ 336 h 419"/>
                <a:gd name="T34" fmla="*/ 450 w 542"/>
                <a:gd name="T35" fmla="*/ 310 h 419"/>
                <a:gd name="T36" fmla="*/ 460 w 542"/>
                <a:gd name="T37" fmla="*/ 281 h 419"/>
                <a:gd name="T38" fmla="*/ 469 w 542"/>
                <a:gd name="T39" fmla="*/ 253 h 419"/>
                <a:gd name="T40" fmla="*/ 473 w 542"/>
                <a:gd name="T41" fmla="*/ 210 h 419"/>
                <a:gd name="T42" fmla="*/ 511 w 542"/>
                <a:gd name="T43" fmla="*/ 185 h 419"/>
                <a:gd name="T44" fmla="*/ 536 w 542"/>
                <a:gd name="T45" fmla="*/ 181 h 419"/>
                <a:gd name="T46" fmla="*/ 542 w 542"/>
                <a:gd name="T47" fmla="*/ 163 h 419"/>
                <a:gd name="T48" fmla="*/ 507 w 542"/>
                <a:gd name="T49" fmla="*/ 153 h 419"/>
                <a:gd name="T50" fmla="*/ 499 w 542"/>
                <a:gd name="T51" fmla="*/ 126 h 419"/>
                <a:gd name="T52" fmla="*/ 520 w 542"/>
                <a:gd name="T53" fmla="*/ 108 h 419"/>
                <a:gd name="T54" fmla="*/ 520 w 542"/>
                <a:gd name="T55" fmla="*/ 96 h 419"/>
                <a:gd name="T56" fmla="*/ 499 w 542"/>
                <a:gd name="T57" fmla="*/ 90 h 419"/>
                <a:gd name="T58" fmla="*/ 442 w 542"/>
                <a:gd name="T59" fmla="*/ 57 h 419"/>
                <a:gd name="T60" fmla="*/ 397 w 542"/>
                <a:gd name="T61" fmla="*/ 35 h 419"/>
                <a:gd name="T62" fmla="*/ 367 w 542"/>
                <a:gd name="T63" fmla="*/ 22 h 419"/>
                <a:gd name="T64" fmla="*/ 334 w 542"/>
                <a:gd name="T65" fmla="*/ 0 h 419"/>
                <a:gd name="T66" fmla="*/ 310 w 542"/>
                <a:gd name="T67" fmla="*/ 24 h 419"/>
                <a:gd name="T68" fmla="*/ 293 w 542"/>
                <a:gd name="T69" fmla="*/ 37 h 419"/>
                <a:gd name="T70" fmla="*/ 257 w 542"/>
                <a:gd name="T71" fmla="*/ 28 h 419"/>
                <a:gd name="T72" fmla="*/ 218 w 542"/>
                <a:gd name="T73" fmla="*/ 24 h 419"/>
                <a:gd name="T74" fmla="*/ 161 w 542"/>
                <a:gd name="T75" fmla="*/ 31 h 419"/>
                <a:gd name="T76" fmla="*/ 155 w 542"/>
                <a:gd name="T77" fmla="*/ 41 h 419"/>
                <a:gd name="T78" fmla="*/ 133 w 542"/>
                <a:gd name="T79" fmla="*/ 31 h 419"/>
                <a:gd name="T80" fmla="*/ 86 w 542"/>
                <a:gd name="T81" fmla="*/ 49 h 419"/>
                <a:gd name="T82" fmla="*/ 41 w 542"/>
                <a:gd name="T83" fmla="*/ 73 h 419"/>
                <a:gd name="T84" fmla="*/ 19 w 542"/>
                <a:gd name="T85" fmla="*/ 100 h 419"/>
                <a:gd name="T86" fmla="*/ 0 w 542"/>
                <a:gd name="T87" fmla="*/ 106 h 419"/>
                <a:gd name="T88" fmla="*/ 10 w 542"/>
                <a:gd name="T89" fmla="*/ 143 h 419"/>
                <a:gd name="T90" fmla="*/ 19 w 542"/>
                <a:gd name="T91" fmla="*/ 185 h 419"/>
                <a:gd name="T92" fmla="*/ 25 w 542"/>
                <a:gd name="T93" fmla="*/ 210 h 419"/>
                <a:gd name="T94" fmla="*/ 43 w 542"/>
                <a:gd name="T95" fmla="*/ 22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2" h="419">
                  <a:moveTo>
                    <a:pt x="43" y="222"/>
                  </a:moveTo>
                  <a:lnTo>
                    <a:pt x="100" y="248"/>
                  </a:lnTo>
                  <a:lnTo>
                    <a:pt x="169" y="248"/>
                  </a:lnTo>
                  <a:lnTo>
                    <a:pt x="188" y="287"/>
                  </a:lnTo>
                  <a:lnTo>
                    <a:pt x="192" y="350"/>
                  </a:lnTo>
                  <a:lnTo>
                    <a:pt x="234" y="371"/>
                  </a:lnTo>
                  <a:lnTo>
                    <a:pt x="261" y="407"/>
                  </a:lnTo>
                  <a:lnTo>
                    <a:pt x="273" y="419"/>
                  </a:lnTo>
                  <a:lnTo>
                    <a:pt x="322" y="407"/>
                  </a:lnTo>
                  <a:lnTo>
                    <a:pt x="355" y="405"/>
                  </a:lnTo>
                  <a:lnTo>
                    <a:pt x="365" y="397"/>
                  </a:lnTo>
                  <a:lnTo>
                    <a:pt x="379" y="397"/>
                  </a:lnTo>
                  <a:lnTo>
                    <a:pt x="387" y="363"/>
                  </a:lnTo>
                  <a:lnTo>
                    <a:pt x="424" y="340"/>
                  </a:lnTo>
                  <a:lnTo>
                    <a:pt x="452" y="348"/>
                  </a:lnTo>
                  <a:lnTo>
                    <a:pt x="467" y="360"/>
                  </a:lnTo>
                  <a:lnTo>
                    <a:pt x="469" y="336"/>
                  </a:lnTo>
                  <a:lnTo>
                    <a:pt x="450" y="310"/>
                  </a:lnTo>
                  <a:lnTo>
                    <a:pt x="460" y="281"/>
                  </a:lnTo>
                  <a:lnTo>
                    <a:pt x="469" y="253"/>
                  </a:lnTo>
                  <a:lnTo>
                    <a:pt x="473" y="210"/>
                  </a:lnTo>
                  <a:lnTo>
                    <a:pt x="511" y="185"/>
                  </a:lnTo>
                  <a:lnTo>
                    <a:pt x="536" y="181"/>
                  </a:lnTo>
                  <a:lnTo>
                    <a:pt x="542" y="163"/>
                  </a:lnTo>
                  <a:lnTo>
                    <a:pt x="507" y="153"/>
                  </a:lnTo>
                  <a:lnTo>
                    <a:pt x="499" y="126"/>
                  </a:lnTo>
                  <a:lnTo>
                    <a:pt x="520" y="108"/>
                  </a:lnTo>
                  <a:lnTo>
                    <a:pt x="520" y="96"/>
                  </a:lnTo>
                  <a:lnTo>
                    <a:pt x="499" y="90"/>
                  </a:lnTo>
                  <a:lnTo>
                    <a:pt x="442" y="57"/>
                  </a:lnTo>
                  <a:lnTo>
                    <a:pt x="397" y="35"/>
                  </a:lnTo>
                  <a:lnTo>
                    <a:pt x="367" y="22"/>
                  </a:lnTo>
                  <a:lnTo>
                    <a:pt x="334" y="0"/>
                  </a:lnTo>
                  <a:lnTo>
                    <a:pt x="310" y="24"/>
                  </a:lnTo>
                  <a:lnTo>
                    <a:pt x="293" y="37"/>
                  </a:lnTo>
                  <a:lnTo>
                    <a:pt x="257" y="28"/>
                  </a:lnTo>
                  <a:lnTo>
                    <a:pt x="218" y="24"/>
                  </a:lnTo>
                  <a:lnTo>
                    <a:pt x="161" y="31"/>
                  </a:lnTo>
                  <a:lnTo>
                    <a:pt x="155" y="41"/>
                  </a:lnTo>
                  <a:lnTo>
                    <a:pt x="133" y="31"/>
                  </a:lnTo>
                  <a:lnTo>
                    <a:pt x="86" y="49"/>
                  </a:lnTo>
                  <a:lnTo>
                    <a:pt x="41" y="73"/>
                  </a:lnTo>
                  <a:lnTo>
                    <a:pt x="19" y="100"/>
                  </a:lnTo>
                  <a:lnTo>
                    <a:pt x="0" y="106"/>
                  </a:lnTo>
                  <a:lnTo>
                    <a:pt x="10" y="143"/>
                  </a:lnTo>
                  <a:lnTo>
                    <a:pt x="19" y="185"/>
                  </a:lnTo>
                  <a:lnTo>
                    <a:pt x="25" y="210"/>
                  </a:lnTo>
                  <a:lnTo>
                    <a:pt x="43" y="222"/>
                  </a:lnTo>
                  <a:close/>
                </a:path>
              </a:pathLst>
            </a:custGeom>
            <a:solidFill>
              <a:srgbClr val="D0D0D0"/>
            </a:solidFill>
            <a:ln w="9525">
              <a:solidFill>
                <a:srgbClr val="000000"/>
              </a:solidFill>
              <a:prstDash val="solid"/>
              <a:round/>
              <a:headEnd/>
              <a:tailEnd/>
            </a:ln>
          </p:spPr>
          <p:txBody>
            <a:bodyPr/>
            <a:lstStyle/>
            <a:p>
              <a:endParaRPr lang="cs-CZ"/>
            </a:p>
          </p:txBody>
        </p:sp>
        <p:grpSp>
          <p:nvGrpSpPr>
            <p:cNvPr id="51" name="Group 71"/>
            <p:cNvGrpSpPr>
              <a:grpSpLocks/>
            </p:cNvGrpSpPr>
            <p:nvPr/>
          </p:nvGrpSpPr>
          <p:grpSpPr bwMode="auto">
            <a:xfrm>
              <a:off x="2769" y="2254"/>
              <a:ext cx="21" cy="54"/>
              <a:chOff x="2769" y="2254"/>
              <a:chExt cx="21" cy="54"/>
            </a:xfrm>
          </p:grpSpPr>
          <p:sp>
            <p:nvSpPr>
              <p:cNvPr id="119" name="Freeform 72"/>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 name="T10" fmla="*/ 0 w 44"/>
                  <a:gd name="T11" fmla="*/ 108 h 108"/>
                </a:gdLst>
                <a:ahLst/>
                <a:cxnLst>
                  <a:cxn ang="0">
                    <a:pos x="T0" y="T1"/>
                  </a:cxn>
                  <a:cxn ang="0">
                    <a:pos x="T2" y="T3"/>
                  </a:cxn>
                  <a:cxn ang="0">
                    <a:pos x="T4" y="T5"/>
                  </a:cxn>
                  <a:cxn ang="0">
                    <a:pos x="T6" y="T7"/>
                  </a:cxn>
                  <a:cxn ang="0">
                    <a:pos x="T8" y="T9"/>
                  </a:cxn>
                  <a:cxn ang="0">
                    <a:pos x="T10" y="T11"/>
                  </a:cxn>
                </a:cxnLst>
                <a:rect l="0" t="0" r="r" b="b"/>
                <a:pathLst>
                  <a:path w="44" h="108">
                    <a:moveTo>
                      <a:pt x="0" y="108"/>
                    </a:moveTo>
                    <a:lnTo>
                      <a:pt x="24" y="80"/>
                    </a:lnTo>
                    <a:lnTo>
                      <a:pt x="36" y="61"/>
                    </a:lnTo>
                    <a:lnTo>
                      <a:pt x="44" y="14"/>
                    </a:lnTo>
                    <a:lnTo>
                      <a:pt x="44"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20" name="Freeform 73"/>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Lst>
                <a:ahLst/>
                <a:cxnLst>
                  <a:cxn ang="0">
                    <a:pos x="T0" y="T1"/>
                  </a:cxn>
                  <a:cxn ang="0">
                    <a:pos x="T2" y="T3"/>
                  </a:cxn>
                  <a:cxn ang="0">
                    <a:pos x="T4" y="T5"/>
                  </a:cxn>
                  <a:cxn ang="0">
                    <a:pos x="T6" y="T7"/>
                  </a:cxn>
                  <a:cxn ang="0">
                    <a:pos x="T8" y="T9"/>
                  </a:cxn>
                </a:cxnLst>
                <a:rect l="0" t="0" r="r" b="b"/>
                <a:pathLst>
                  <a:path w="44" h="108">
                    <a:moveTo>
                      <a:pt x="0" y="108"/>
                    </a:moveTo>
                    <a:lnTo>
                      <a:pt x="24" y="80"/>
                    </a:lnTo>
                    <a:lnTo>
                      <a:pt x="36" y="61"/>
                    </a:lnTo>
                    <a:lnTo>
                      <a:pt x="44" y="14"/>
                    </a:lnTo>
                    <a:lnTo>
                      <a:pt x="44"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52" name="Freeform 74"/>
            <p:cNvSpPr>
              <a:spLocks/>
            </p:cNvSpPr>
            <p:nvPr/>
          </p:nvSpPr>
          <p:spPr bwMode="auto">
            <a:xfrm>
              <a:off x="2863" y="1902"/>
              <a:ext cx="214" cy="167"/>
            </a:xfrm>
            <a:custGeom>
              <a:avLst/>
              <a:gdLst>
                <a:gd name="T0" fmla="*/ 108 w 428"/>
                <a:gd name="T1" fmla="*/ 312 h 334"/>
                <a:gd name="T2" fmla="*/ 139 w 428"/>
                <a:gd name="T3" fmla="*/ 288 h 334"/>
                <a:gd name="T4" fmla="*/ 177 w 428"/>
                <a:gd name="T5" fmla="*/ 277 h 334"/>
                <a:gd name="T6" fmla="*/ 202 w 428"/>
                <a:gd name="T7" fmla="*/ 275 h 334"/>
                <a:gd name="T8" fmla="*/ 224 w 428"/>
                <a:gd name="T9" fmla="*/ 288 h 334"/>
                <a:gd name="T10" fmla="*/ 248 w 428"/>
                <a:gd name="T11" fmla="*/ 288 h 334"/>
                <a:gd name="T12" fmla="*/ 275 w 428"/>
                <a:gd name="T13" fmla="*/ 314 h 334"/>
                <a:gd name="T14" fmla="*/ 310 w 428"/>
                <a:gd name="T15" fmla="*/ 334 h 334"/>
                <a:gd name="T16" fmla="*/ 367 w 428"/>
                <a:gd name="T17" fmla="*/ 308 h 334"/>
                <a:gd name="T18" fmla="*/ 379 w 428"/>
                <a:gd name="T19" fmla="*/ 306 h 334"/>
                <a:gd name="T20" fmla="*/ 383 w 428"/>
                <a:gd name="T21" fmla="*/ 249 h 334"/>
                <a:gd name="T22" fmla="*/ 399 w 428"/>
                <a:gd name="T23" fmla="*/ 255 h 334"/>
                <a:gd name="T24" fmla="*/ 415 w 428"/>
                <a:gd name="T25" fmla="*/ 269 h 334"/>
                <a:gd name="T26" fmla="*/ 428 w 428"/>
                <a:gd name="T27" fmla="*/ 261 h 334"/>
                <a:gd name="T28" fmla="*/ 428 w 428"/>
                <a:gd name="T29" fmla="*/ 235 h 334"/>
                <a:gd name="T30" fmla="*/ 413 w 428"/>
                <a:gd name="T31" fmla="*/ 222 h 334"/>
                <a:gd name="T32" fmla="*/ 395 w 428"/>
                <a:gd name="T33" fmla="*/ 216 h 334"/>
                <a:gd name="T34" fmla="*/ 362 w 428"/>
                <a:gd name="T35" fmla="*/ 220 h 334"/>
                <a:gd name="T36" fmla="*/ 360 w 428"/>
                <a:gd name="T37" fmla="*/ 200 h 334"/>
                <a:gd name="T38" fmla="*/ 377 w 428"/>
                <a:gd name="T39" fmla="*/ 184 h 334"/>
                <a:gd name="T40" fmla="*/ 385 w 428"/>
                <a:gd name="T41" fmla="*/ 161 h 334"/>
                <a:gd name="T42" fmla="*/ 385 w 428"/>
                <a:gd name="T43" fmla="*/ 149 h 334"/>
                <a:gd name="T44" fmla="*/ 371 w 428"/>
                <a:gd name="T45" fmla="*/ 137 h 334"/>
                <a:gd name="T46" fmla="*/ 371 w 428"/>
                <a:gd name="T47" fmla="*/ 114 h 334"/>
                <a:gd name="T48" fmla="*/ 360 w 428"/>
                <a:gd name="T49" fmla="*/ 84 h 334"/>
                <a:gd name="T50" fmla="*/ 367 w 428"/>
                <a:gd name="T51" fmla="*/ 68 h 334"/>
                <a:gd name="T52" fmla="*/ 371 w 428"/>
                <a:gd name="T53" fmla="*/ 55 h 334"/>
                <a:gd name="T54" fmla="*/ 391 w 428"/>
                <a:gd name="T55" fmla="*/ 27 h 334"/>
                <a:gd name="T56" fmla="*/ 393 w 428"/>
                <a:gd name="T57" fmla="*/ 7 h 334"/>
                <a:gd name="T58" fmla="*/ 379 w 428"/>
                <a:gd name="T59" fmla="*/ 0 h 334"/>
                <a:gd name="T60" fmla="*/ 358 w 428"/>
                <a:gd name="T61" fmla="*/ 0 h 334"/>
                <a:gd name="T62" fmla="*/ 344 w 428"/>
                <a:gd name="T63" fmla="*/ 19 h 334"/>
                <a:gd name="T64" fmla="*/ 308 w 428"/>
                <a:gd name="T65" fmla="*/ 21 h 334"/>
                <a:gd name="T66" fmla="*/ 271 w 428"/>
                <a:gd name="T67" fmla="*/ 31 h 334"/>
                <a:gd name="T68" fmla="*/ 253 w 428"/>
                <a:gd name="T69" fmla="*/ 21 h 334"/>
                <a:gd name="T70" fmla="*/ 224 w 428"/>
                <a:gd name="T71" fmla="*/ 19 h 334"/>
                <a:gd name="T72" fmla="*/ 214 w 428"/>
                <a:gd name="T73" fmla="*/ 19 h 334"/>
                <a:gd name="T74" fmla="*/ 193 w 428"/>
                <a:gd name="T75" fmla="*/ 11 h 334"/>
                <a:gd name="T76" fmla="*/ 171 w 428"/>
                <a:gd name="T77" fmla="*/ 17 h 334"/>
                <a:gd name="T78" fmla="*/ 155 w 428"/>
                <a:gd name="T79" fmla="*/ 27 h 334"/>
                <a:gd name="T80" fmla="*/ 145 w 428"/>
                <a:gd name="T81" fmla="*/ 41 h 334"/>
                <a:gd name="T82" fmla="*/ 120 w 428"/>
                <a:gd name="T83" fmla="*/ 41 h 334"/>
                <a:gd name="T84" fmla="*/ 98 w 428"/>
                <a:gd name="T85" fmla="*/ 41 h 334"/>
                <a:gd name="T86" fmla="*/ 82 w 428"/>
                <a:gd name="T87" fmla="*/ 53 h 334"/>
                <a:gd name="T88" fmla="*/ 65 w 428"/>
                <a:gd name="T89" fmla="*/ 62 h 334"/>
                <a:gd name="T90" fmla="*/ 55 w 428"/>
                <a:gd name="T91" fmla="*/ 72 h 334"/>
                <a:gd name="T92" fmla="*/ 43 w 428"/>
                <a:gd name="T93" fmla="*/ 84 h 334"/>
                <a:gd name="T94" fmla="*/ 33 w 428"/>
                <a:gd name="T95" fmla="*/ 96 h 334"/>
                <a:gd name="T96" fmla="*/ 20 w 428"/>
                <a:gd name="T97" fmla="*/ 102 h 334"/>
                <a:gd name="T98" fmla="*/ 6 w 428"/>
                <a:gd name="T99" fmla="*/ 114 h 334"/>
                <a:gd name="T100" fmla="*/ 0 w 428"/>
                <a:gd name="T101" fmla="*/ 129 h 334"/>
                <a:gd name="T102" fmla="*/ 12 w 428"/>
                <a:gd name="T103" fmla="*/ 163 h 334"/>
                <a:gd name="T104" fmla="*/ 27 w 428"/>
                <a:gd name="T105" fmla="*/ 180 h 334"/>
                <a:gd name="T106" fmla="*/ 14 w 428"/>
                <a:gd name="T107" fmla="*/ 200 h 334"/>
                <a:gd name="T108" fmla="*/ 26 w 428"/>
                <a:gd name="T109" fmla="*/ 212 h 334"/>
                <a:gd name="T110" fmla="*/ 31 w 428"/>
                <a:gd name="T111" fmla="*/ 227 h 334"/>
                <a:gd name="T112" fmla="*/ 35 w 428"/>
                <a:gd name="T113" fmla="*/ 241 h 334"/>
                <a:gd name="T114" fmla="*/ 65 w 428"/>
                <a:gd name="T115" fmla="*/ 247 h 334"/>
                <a:gd name="T116" fmla="*/ 86 w 428"/>
                <a:gd name="T117" fmla="*/ 247 h 334"/>
                <a:gd name="T118" fmla="*/ 104 w 428"/>
                <a:gd name="T119" fmla="*/ 235 h 334"/>
                <a:gd name="T120" fmla="*/ 108 w 428"/>
                <a:gd name="T121" fmla="*/ 249 h 334"/>
                <a:gd name="T122" fmla="*/ 108 w 428"/>
                <a:gd name="T123" fmla="*/ 290 h 334"/>
                <a:gd name="T124" fmla="*/ 108 w 428"/>
                <a:gd name="T1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8" h="334">
                  <a:moveTo>
                    <a:pt x="108" y="312"/>
                  </a:moveTo>
                  <a:lnTo>
                    <a:pt x="139" y="288"/>
                  </a:lnTo>
                  <a:lnTo>
                    <a:pt x="177" y="277"/>
                  </a:lnTo>
                  <a:lnTo>
                    <a:pt x="202" y="275"/>
                  </a:lnTo>
                  <a:lnTo>
                    <a:pt x="224" y="288"/>
                  </a:lnTo>
                  <a:lnTo>
                    <a:pt x="248" y="288"/>
                  </a:lnTo>
                  <a:lnTo>
                    <a:pt x="275" y="314"/>
                  </a:lnTo>
                  <a:lnTo>
                    <a:pt x="310" y="334"/>
                  </a:lnTo>
                  <a:lnTo>
                    <a:pt x="367" y="308"/>
                  </a:lnTo>
                  <a:lnTo>
                    <a:pt x="379" y="306"/>
                  </a:lnTo>
                  <a:lnTo>
                    <a:pt x="383" y="249"/>
                  </a:lnTo>
                  <a:lnTo>
                    <a:pt x="399" y="255"/>
                  </a:lnTo>
                  <a:lnTo>
                    <a:pt x="415" y="269"/>
                  </a:lnTo>
                  <a:lnTo>
                    <a:pt x="428" y="261"/>
                  </a:lnTo>
                  <a:lnTo>
                    <a:pt x="428" y="235"/>
                  </a:lnTo>
                  <a:lnTo>
                    <a:pt x="413" y="222"/>
                  </a:lnTo>
                  <a:lnTo>
                    <a:pt x="395" y="216"/>
                  </a:lnTo>
                  <a:lnTo>
                    <a:pt x="362" y="220"/>
                  </a:lnTo>
                  <a:lnTo>
                    <a:pt x="360" y="200"/>
                  </a:lnTo>
                  <a:lnTo>
                    <a:pt x="377" y="184"/>
                  </a:lnTo>
                  <a:lnTo>
                    <a:pt x="385" y="161"/>
                  </a:lnTo>
                  <a:lnTo>
                    <a:pt x="385" y="149"/>
                  </a:lnTo>
                  <a:lnTo>
                    <a:pt x="371" y="137"/>
                  </a:lnTo>
                  <a:lnTo>
                    <a:pt x="371" y="114"/>
                  </a:lnTo>
                  <a:lnTo>
                    <a:pt x="360" y="84"/>
                  </a:lnTo>
                  <a:lnTo>
                    <a:pt x="367" y="68"/>
                  </a:lnTo>
                  <a:lnTo>
                    <a:pt x="371" y="55"/>
                  </a:lnTo>
                  <a:lnTo>
                    <a:pt x="391" y="27"/>
                  </a:lnTo>
                  <a:lnTo>
                    <a:pt x="393" y="7"/>
                  </a:lnTo>
                  <a:lnTo>
                    <a:pt x="379" y="0"/>
                  </a:lnTo>
                  <a:lnTo>
                    <a:pt x="358" y="0"/>
                  </a:lnTo>
                  <a:lnTo>
                    <a:pt x="344" y="19"/>
                  </a:lnTo>
                  <a:lnTo>
                    <a:pt x="308" y="21"/>
                  </a:lnTo>
                  <a:lnTo>
                    <a:pt x="271" y="31"/>
                  </a:lnTo>
                  <a:lnTo>
                    <a:pt x="253" y="21"/>
                  </a:lnTo>
                  <a:lnTo>
                    <a:pt x="224" y="19"/>
                  </a:lnTo>
                  <a:lnTo>
                    <a:pt x="214" y="19"/>
                  </a:lnTo>
                  <a:lnTo>
                    <a:pt x="193" y="11"/>
                  </a:lnTo>
                  <a:lnTo>
                    <a:pt x="171" y="17"/>
                  </a:lnTo>
                  <a:lnTo>
                    <a:pt x="155" y="27"/>
                  </a:lnTo>
                  <a:lnTo>
                    <a:pt x="145" y="41"/>
                  </a:lnTo>
                  <a:lnTo>
                    <a:pt x="120" y="41"/>
                  </a:lnTo>
                  <a:lnTo>
                    <a:pt x="98" y="41"/>
                  </a:lnTo>
                  <a:lnTo>
                    <a:pt x="82" y="53"/>
                  </a:lnTo>
                  <a:lnTo>
                    <a:pt x="65" y="62"/>
                  </a:lnTo>
                  <a:lnTo>
                    <a:pt x="55" y="72"/>
                  </a:lnTo>
                  <a:lnTo>
                    <a:pt x="43" y="84"/>
                  </a:lnTo>
                  <a:lnTo>
                    <a:pt x="33" y="96"/>
                  </a:lnTo>
                  <a:lnTo>
                    <a:pt x="20" y="102"/>
                  </a:lnTo>
                  <a:lnTo>
                    <a:pt x="6" y="114"/>
                  </a:lnTo>
                  <a:lnTo>
                    <a:pt x="0" y="129"/>
                  </a:lnTo>
                  <a:lnTo>
                    <a:pt x="12" y="163"/>
                  </a:lnTo>
                  <a:lnTo>
                    <a:pt x="27" y="180"/>
                  </a:lnTo>
                  <a:lnTo>
                    <a:pt x="14" y="200"/>
                  </a:lnTo>
                  <a:lnTo>
                    <a:pt x="26" y="212"/>
                  </a:lnTo>
                  <a:lnTo>
                    <a:pt x="31" y="227"/>
                  </a:lnTo>
                  <a:lnTo>
                    <a:pt x="35" y="241"/>
                  </a:lnTo>
                  <a:lnTo>
                    <a:pt x="65" y="247"/>
                  </a:lnTo>
                  <a:lnTo>
                    <a:pt x="86" y="247"/>
                  </a:lnTo>
                  <a:lnTo>
                    <a:pt x="104" y="235"/>
                  </a:lnTo>
                  <a:lnTo>
                    <a:pt x="108" y="249"/>
                  </a:lnTo>
                  <a:lnTo>
                    <a:pt x="108" y="290"/>
                  </a:lnTo>
                  <a:lnTo>
                    <a:pt x="108" y="312"/>
                  </a:lnTo>
                  <a:close/>
                </a:path>
              </a:pathLst>
            </a:custGeom>
            <a:solidFill>
              <a:srgbClr val="E93011"/>
            </a:solidFill>
            <a:ln w="9525">
              <a:solidFill>
                <a:srgbClr val="000000"/>
              </a:solidFill>
              <a:prstDash val="solid"/>
              <a:round/>
              <a:headEnd/>
              <a:tailEnd/>
            </a:ln>
          </p:spPr>
          <p:txBody>
            <a:bodyPr/>
            <a:lstStyle/>
            <a:p>
              <a:endParaRPr lang="cs-CZ"/>
            </a:p>
          </p:txBody>
        </p:sp>
        <p:sp>
          <p:nvSpPr>
            <p:cNvPr id="53" name="Freeform 75"/>
            <p:cNvSpPr>
              <a:spLocks/>
            </p:cNvSpPr>
            <p:nvPr/>
          </p:nvSpPr>
          <p:spPr bwMode="auto">
            <a:xfrm>
              <a:off x="1256" y="1025"/>
              <a:ext cx="340" cy="307"/>
            </a:xfrm>
            <a:custGeom>
              <a:avLst/>
              <a:gdLst>
                <a:gd name="T0" fmla="*/ 162 w 680"/>
                <a:gd name="T1" fmla="*/ 560 h 615"/>
                <a:gd name="T2" fmla="*/ 234 w 680"/>
                <a:gd name="T3" fmla="*/ 601 h 615"/>
                <a:gd name="T4" fmla="*/ 287 w 680"/>
                <a:gd name="T5" fmla="*/ 599 h 615"/>
                <a:gd name="T6" fmla="*/ 327 w 680"/>
                <a:gd name="T7" fmla="*/ 584 h 615"/>
                <a:gd name="T8" fmla="*/ 380 w 680"/>
                <a:gd name="T9" fmla="*/ 605 h 615"/>
                <a:gd name="T10" fmla="*/ 460 w 680"/>
                <a:gd name="T11" fmla="*/ 591 h 615"/>
                <a:gd name="T12" fmla="*/ 503 w 680"/>
                <a:gd name="T13" fmla="*/ 595 h 615"/>
                <a:gd name="T14" fmla="*/ 543 w 680"/>
                <a:gd name="T15" fmla="*/ 597 h 615"/>
                <a:gd name="T16" fmla="*/ 574 w 680"/>
                <a:gd name="T17" fmla="*/ 550 h 615"/>
                <a:gd name="T18" fmla="*/ 639 w 680"/>
                <a:gd name="T19" fmla="*/ 534 h 615"/>
                <a:gd name="T20" fmla="*/ 649 w 680"/>
                <a:gd name="T21" fmla="*/ 489 h 615"/>
                <a:gd name="T22" fmla="*/ 657 w 680"/>
                <a:gd name="T23" fmla="*/ 477 h 615"/>
                <a:gd name="T24" fmla="*/ 665 w 680"/>
                <a:gd name="T25" fmla="*/ 462 h 615"/>
                <a:gd name="T26" fmla="*/ 647 w 680"/>
                <a:gd name="T27" fmla="*/ 424 h 615"/>
                <a:gd name="T28" fmla="*/ 643 w 680"/>
                <a:gd name="T29" fmla="*/ 358 h 615"/>
                <a:gd name="T30" fmla="*/ 649 w 680"/>
                <a:gd name="T31" fmla="*/ 309 h 615"/>
                <a:gd name="T32" fmla="*/ 610 w 680"/>
                <a:gd name="T33" fmla="*/ 301 h 615"/>
                <a:gd name="T34" fmla="*/ 604 w 680"/>
                <a:gd name="T35" fmla="*/ 232 h 615"/>
                <a:gd name="T36" fmla="*/ 545 w 680"/>
                <a:gd name="T37" fmla="*/ 279 h 615"/>
                <a:gd name="T38" fmla="*/ 490 w 680"/>
                <a:gd name="T39" fmla="*/ 259 h 615"/>
                <a:gd name="T40" fmla="*/ 450 w 680"/>
                <a:gd name="T41" fmla="*/ 228 h 615"/>
                <a:gd name="T42" fmla="*/ 433 w 680"/>
                <a:gd name="T43" fmla="*/ 226 h 615"/>
                <a:gd name="T44" fmla="*/ 362 w 680"/>
                <a:gd name="T45" fmla="*/ 224 h 615"/>
                <a:gd name="T46" fmla="*/ 340 w 680"/>
                <a:gd name="T47" fmla="*/ 145 h 615"/>
                <a:gd name="T48" fmla="*/ 293 w 680"/>
                <a:gd name="T49" fmla="*/ 218 h 615"/>
                <a:gd name="T50" fmla="*/ 258 w 680"/>
                <a:gd name="T51" fmla="*/ 206 h 615"/>
                <a:gd name="T52" fmla="*/ 224 w 680"/>
                <a:gd name="T53" fmla="*/ 240 h 615"/>
                <a:gd name="T54" fmla="*/ 236 w 680"/>
                <a:gd name="T55" fmla="*/ 191 h 615"/>
                <a:gd name="T56" fmla="*/ 254 w 680"/>
                <a:gd name="T57" fmla="*/ 140 h 615"/>
                <a:gd name="T58" fmla="*/ 250 w 680"/>
                <a:gd name="T59" fmla="*/ 51 h 615"/>
                <a:gd name="T60" fmla="*/ 213 w 680"/>
                <a:gd name="T61" fmla="*/ 0 h 615"/>
                <a:gd name="T62" fmla="*/ 224 w 680"/>
                <a:gd name="T63" fmla="*/ 35 h 615"/>
                <a:gd name="T64" fmla="*/ 221 w 680"/>
                <a:gd name="T65" fmla="*/ 90 h 615"/>
                <a:gd name="T66" fmla="*/ 183 w 680"/>
                <a:gd name="T67" fmla="*/ 73 h 615"/>
                <a:gd name="T68" fmla="*/ 173 w 680"/>
                <a:gd name="T69" fmla="*/ 31 h 615"/>
                <a:gd name="T70" fmla="*/ 144 w 680"/>
                <a:gd name="T71" fmla="*/ 51 h 615"/>
                <a:gd name="T72" fmla="*/ 138 w 680"/>
                <a:gd name="T73" fmla="*/ 92 h 615"/>
                <a:gd name="T74" fmla="*/ 103 w 680"/>
                <a:gd name="T75" fmla="*/ 57 h 615"/>
                <a:gd name="T76" fmla="*/ 75 w 680"/>
                <a:gd name="T77" fmla="*/ 77 h 615"/>
                <a:gd name="T78" fmla="*/ 65 w 680"/>
                <a:gd name="T79" fmla="*/ 88 h 615"/>
                <a:gd name="T80" fmla="*/ 118 w 680"/>
                <a:gd name="T81" fmla="*/ 124 h 615"/>
                <a:gd name="T82" fmla="*/ 171 w 680"/>
                <a:gd name="T83" fmla="*/ 138 h 615"/>
                <a:gd name="T84" fmla="*/ 199 w 680"/>
                <a:gd name="T85" fmla="*/ 183 h 615"/>
                <a:gd name="T86" fmla="*/ 136 w 680"/>
                <a:gd name="T87" fmla="*/ 202 h 615"/>
                <a:gd name="T88" fmla="*/ 175 w 680"/>
                <a:gd name="T89" fmla="*/ 230 h 615"/>
                <a:gd name="T90" fmla="*/ 87 w 680"/>
                <a:gd name="T91" fmla="*/ 200 h 615"/>
                <a:gd name="T92" fmla="*/ 8 w 680"/>
                <a:gd name="T93" fmla="*/ 197 h 615"/>
                <a:gd name="T94" fmla="*/ 75 w 680"/>
                <a:gd name="T95" fmla="*/ 238 h 615"/>
                <a:gd name="T96" fmla="*/ 93 w 680"/>
                <a:gd name="T97" fmla="*/ 289 h 615"/>
                <a:gd name="T98" fmla="*/ 87 w 680"/>
                <a:gd name="T99" fmla="*/ 334 h 615"/>
                <a:gd name="T100" fmla="*/ 53 w 680"/>
                <a:gd name="T101" fmla="*/ 362 h 615"/>
                <a:gd name="T102" fmla="*/ 0 w 680"/>
                <a:gd name="T103" fmla="*/ 364 h 615"/>
                <a:gd name="T104" fmla="*/ 83 w 680"/>
                <a:gd name="T105" fmla="*/ 438 h 615"/>
                <a:gd name="T106" fmla="*/ 128 w 680"/>
                <a:gd name="T107" fmla="*/ 52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0" h="615">
                  <a:moveTo>
                    <a:pt x="128" y="529"/>
                  </a:moveTo>
                  <a:lnTo>
                    <a:pt x="148" y="536"/>
                  </a:lnTo>
                  <a:lnTo>
                    <a:pt x="162" y="560"/>
                  </a:lnTo>
                  <a:lnTo>
                    <a:pt x="177" y="582"/>
                  </a:lnTo>
                  <a:lnTo>
                    <a:pt x="199" y="597"/>
                  </a:lnTo>
                  <a:lnTo>
                    <a:pt x="234" y="601"/>
                  </a:lnTo>
                  <a:lnTo>
                    <a:pt x="248" y="615"/>
                  </a:lnTo>
                  <a:lnTo>
                    <a:pt x="266" y="595"/>
                  </a:lnTo>
                  <a:lnTo>
                    <a:pt x="287" y="599"/>
                  </a:lnTo>
                  <a:lnTo>
                    <a:pt x="307" y="589"/>
                  </a:lnTo>
                  <a:lnTo>
                    <a:pt x="319" y="595"/>
                  </a:lnTo>
                  <a:lnTo>
                    <a:pt x="327" y="584"/>
                  </a:lnTo>
                  <a:lnTo>
                    <a:pt x="338" y="582"/>
                  </a:lnTo>
                  <a:lnTo>
                    <a:pt x="364" y="603"/>
                  </a:lnTo>
                  <a:lnTo>
                    <a:pt x="380" y="605"/>
                  </a:lnTo>
                  <a:lnTo>
                    <a:pt x="405" y="601"/>
                  </a:lnTo>
                  <a:lnTo>
                    <a:pt x="433" y="591"/>
                  </a:lnTo>
                  <a:lnTo>
                    <a:pt x="460" y="591"/>
                  </a:lnTo>
                  <a:lnTo>
                    <a:pt x="480" y="578"/>
                  </a:lnTo>
                  <a:lnTo>
                    <a:pt x="492" y="568"/>
                  </a:lnTo>
                  <a:lnTo>
                    <a:pt x="503" y="595"/>
                  </a:lnTo>
                  <a:lnTo>
                    <a:pt x="500" y="615"/>
                  </a:lnTo>
                  <a:lnTo>
                    <a:pt x="519" y="601"/>
                  </a:lnTo>
                  <a:lnTo>
                    <a:pt x="543" y="597"/>
                  </a:lnTo>
                  <a:lnTo>
                    <a:pt x="557" y="582"/>
                  </a:lnTo>
                  <a:lnTo>
                    <a:pt x="566" y="566"/>
                  </a:lnTo>
                  <a:lnTo>
                    <a:pt x="574" y="550"/>
                  </a:lnTo>
                  <a:lnTo>
                    <a:pt x="594" y="550"/>
                  </a:lnTo>
                  <a:lnTo>
                    <a:pt x="623" y="552"/>
                  </a:lnTo>
                  <a:lnTo>
                    <a:pt x="639" y="534"/>
                  </a:lnTo>
                  <a:lnTo>
                    <a:pt x="663" y="513"/>
                  </a:lnTo>
                  <a:lnTo>
                    <a:pt x="649" y="499"/>
                  </a:lnTo>
                  <a:lnTo>
                    <a:pt x="649" y="489"/>
                  </a:lnTo>
                  <a:lnTo>
                    <a:pt x="651" y="479"/>
                  </a:lnTo>
                  <a:lnTo>
                    <a:pt x="653" y="477"/>
                  </a:lnTo>
                  <a:lnTo>
                    <a:pt x="657" y="477"/>
                  </a:lnTo>
                  <a:lnTo>
                    <a:pt x="663" y="468"/>
                  </a:lnTo>
                  <a:lnTo>
                    <a:pt x="665" y="464"/>
                  </a:lnTo>
                  <a:lnTo>
                    <a:pt x="665" y="462"/>
                  </a:lnTo>
                  <a:lnTo>
                    <a:pt x="669" y="440"/>
                  </a:lnTo>
                  <a:lnTo>
                    <a:pt x="661" y="424"/>
                  </a:lnTo>
                  <a:lnTo>
                    <a:pt x="647" y="424"/>
                  </a:lnTo>
                  <a:lnTo>
                    <a:pt x="635" y="399"/>
                  </a:lnTo>
                  <a:lnTo>
                    <a:pt x="615" y="381"/>
                  </a:lnTo>
                  <a:lnTo>
                    <a:pt x="643" y="358"/>
                  </a:lnTo>
                  <a:lnTo>
                    <a:pt x="633" y="344"/>
                  </a:lnTo>
                  <a:lnTo>
                    <a:pt x="623" y="328"/>
                  </a:lnTo>
                  <a:lnTo>
                    <a:pt x="649" y="309"/>
                  </a:lnTo>
                  <a:lnTo>
                    <a:pt x="680" y="301"/>
                  </a:lnTo>
                  <a:lnTo>
                    <a:pt x="661" y="295"/>
                  </a:lnTo>
                  <a:lnTo>
                    <a:pt x="610" y="301"/>
                  </a:lnTo>
                  <a:lnTo>
                    <a:pt x="604" y="283"/>
                  </a:lnTo>
                  <a:lnTo>
                    <a:pt x="610" y="255"/>
                  </a:lnTo>
                  <a:lnTo>
                    <a:pt x="604" y="232"/>
                  </a:lnTo>
                  <a:lnTo>
                    <a:pt x="574" y="228"/>
                  </a:lnTo>
                  <a:lnTo>
                    <a:pt x="566" y="255"/>
                  </a:lnTo>
                  <a:lnTo>
                    <a:pt x="545" y="279"/>
                  </a:lnTo>
                  <a:lnTo>
                    <a:pt x="525" y="265"/>
                  </a:lnTo>
                  <a:lnTo>
                    <a:pt x="507" y="250"/>
                  </a:lnTo>
                  <a:lnTo>
                    <a:pt x="490" y="259"/>
                  </a:lnTo>
                  <a:lnTo>
                    <a:pt x="474" y="242"/>
                  </a:lnTo>
                  <a:lnTo>
                    <a:pt x="462" y="216"/>
                  </a:lnTo>
                  <a:lnTo>
                    <a:pt x="450" y="228"/>
                  </a:lnTo>
                  <a:lnTo>
                    <a:pt x="439" y="269"/>
                  </a:lnTo>
                  <a:lnTo>
                    <a:pt x="423" y="281"/>
                  </a:lnTo>
                  <a:lnTo>
                    <a:pt x="433" y="226"/>
                  </a:lnTo>
                  <a:lnTo>
                    <a:pt x="403" y="197"/>
                  </a:lnTo>
                  <a:lnTo>
                    <a:pt x="380" y="198"/>
                  </a:lnTo>
                  <a:lnTo>
                    <a:pt x="362" y="224"/>
                  </a:lnTo>
                  <a:lnTo>
                    <a:pt x="350" y="216"/>
                  </a:lnTo>
                  <a:lnTo>
                    <a:pt x="354" y="171"/>
                  </a:lnTo>
                  <a:lnTo>
                    <a:pt x="340" y="145"/>
                  </a:lnTo>
                  <a:lnTo>
                    <a:pt x="321" y="159"/>
                  </a:lnTo>
                  <a:lnTo>
                    <a:pt x="307" y="193"/>
                  </a:lnTo>
                  <a:lnTo>
                    <a:pt x="293" y="218"/>
                  </a:lnTo>
                  <a:lnTo>
                    <a:pt x="281" y="228"/>
                  </a:lnTo>
                  <a:lnTo>
                    <a:pt x="277" y="200"/>
                  </a:lnTo>
                  <a:lnTo>
                    <a:pt x="258" y="206"/>
                  </a:lnTo>
                  <a:lnTo>
                    <a:pt x="250" y="224"/>
                  </a:lnTo>
                  <a:lnTo>
                    <a:pt x="244" y="234"/>
                  </a:lnTo>
                  <a:lnTo>
                    <a:pt x="224" y="240"/>
                  </a:lnTo>
                  <a:lnTo>
                    <a:pt x="207" y="242"/>
                  </a:lnTo>
                  <a:lnTo>
                    <a:pt x="222" y="208"/>
                  </a:lnTo>
                  <a:lnTo>
                    <a:pt x="236" y="191"/>
                  </a:lnTo>
                  <a:lnTo>
                    <a:pt x="226" y="163"/>
                  </a:lnTo>
                  <a:lnTo>
                    <a:pt x="242" y="153"/>
                  </a:lnTo>
                  <a:lnTo>
                    <a:pt x="254" y="140"/>
                  </a:lnTo>
                  <a:lnTo>
                    <a:pt x="266" y="124"/>
                  </a:lnTo>
                  <a:lnTo>
                    <a:pt x="258" y="104"/>
                  </a:lnTo>
                  <a:lnTo>
                    <a:pt x="250" y="51"/>
                  </a:lnTo>
                  <a:lnTo>
                    <a:pt x="246" y="20"/>
                  </a:lnTo>
                  <a:lnTo>
                    <a:pt x="230" y="6"/>
                  </a:lnTo>
                  <a:lnTo>
                    <a:pt x="213" y="0"/>
                  </a:lnTo>
                  <a:lnTo>
                    <a:pt x="205" y="12"/>
                  </a:lnTo>
                  <a:lnTo>
                    <a:pt x="215" y="22"/>
                  </a:lnTo>
                  <a:lnTo>
                    <a:pt x="224" y="35"/>
                  </a:lnTo>
                  <a:lnTo>
                    <a:pt x="211" y="41"/>
                  </a:lnTo>
                  <a:lnTo>
                    <a:pt x="217" y="63"/>
                  </a:lnTo>
                  <a:lnTo>
                    <a:pt x="221" y="90"/>
                  </a:lnTo>
                  <a:lnTo>
                    <a:pt x="199" y="102"/>
                  </a:lnTo>
                  <a:lnTo>
                    <a:pt x="189" y="88"/>
                  </a:lnTo>
                  <a:lnTo>
                    <a:pt x="183" y="73"/>
                  </a:lnTo>
                  <a:lnTo>
                    <a:pt x="175" y="57"/>
                  </a:lnTo>
                  <a:lnTo>
                    <a:pt x="187" y="47"/>
                  </a:lnTo>
                  <a:lnTo>
                    <a:pt x="173" y="31"/>
                  </a:lnTo>
                  <a:lnTo>
                    <a:pt x="165" y="20"/>
                  </a:lnTo>
                  <a:lnTo>
                    <a:pt x="146" y="33"/>
                  </a:lnTo>
                  <a:lnTo>
                    <a:pt x="144" y="51"/>
                  </a:lnTo>
                  <a:lnTo>
                    <a:pt x="118" y="57"/>
                  </a:lnTo>
                  <a:lnTo>
                    <a:pt x="146" y="73"/>
                  </a:lnTo>
                  <a:lnTo>
                    <a:pt x="138" y="92"/>
                  </a:lnTo>
                  <a:lnTo>
                    <a:pt x="114" y="98"/>
                  </a:lnTo>
                  <a:lnTo>
                    <a:pt x="110" y="75"/>
                  </a:lnTo>
                  <a:lnTo>
                    <a:pt x="103" y="57"/>
                  </a:lnTo>
                  <a:lnTo>
                    <a:pt x="97" y="73"/>
                  </a:lnTo>
                  <a:lnTo>
                    <a:pt x="81" y="94"/>
                  </a:lnTo>
                  <a:lnTo>
                    <a:pt x="75" y="77"/>
                  </a:lnTo>
                  <a:lnTo>
                    <a:pt x="65" y="63"/>
                  </a:lnTo>
                  <a:lnTo>
                    <a:pt x="46" y="73"/>
                  </a:lnTo>
                  <a:lnTo>
                    <a:pt x="65" y="88"/>
                  </a:lnTo>
                  <a:lnTo>
                    <a:pt x="79" y="102"/>
                  </a:lnTo>
                  <a:lnTo>
                    <a:pt x="89" y="118"/>
                  </a:lnTo>
                  <a:lnTo>
                    <a:pt x="118" y="124"/>
                  </a:lnTo>
                  <a:lnTo>
                    <a:pt x="130" y="132"/>
                  </a:lnTo>
                  <a:lnTo>
                    <a:pt x="156" y="120"/>
                  </a:lnTo>
                  <a:lnTo>
                    <a:pt x="171" y="138"/>
                  </a:lnTo>
                  <a:lnTo>
                    <a:pt x="175" y="153"/>
                  </a:lnTo>
                  <a:lnTo>
                    <a:pt x="183" y="171"/>
                  </a:lnTo>
                  <a:lnTo>
                    <a:pt x="199" y="183"/>
                  </a:lnTo>
                  <a:lnTo>
                    <a:pt x="173" y="193"/>
                  </a:lnTo>
                  <a:lnTo>
                    <a:pt x="136" y="189"/>
                  </a:lnTo>
                  <a:lnTo>
                    <a:pt x="136" y="202"/>
                  </a:lnTo>
                  <a:lnTo>
                    <a:pt x="148" y="218"/>
                  </a:lnTo>
                  <a:lnTo>
                    <a:pt x="162" y="226"/>
                  </a:lnTo>
                  <a:lnTo>
                    <a:pt x="175" y="230"/>
                  </a:lnTo>
                  <a:lnTo>
                    <a:pt x="154" y="242"/>
                  </a:lnTo>
                  <a:lnTo>
                    <a:pt x="124" y="230"/>
                  </a:lnTo>
                  <a:lnTo>
                    <a:pt x="87" y="200"/>
                  </a:lnTo>
                  <a:lnTo>
                    <a:pt x="59" y="198"/>
                  </a:lnTo>
                  <a:lnTo>
                    <a:pt x="32" y="183"/>
                  </a:lnTo>
                  <a:lnTo>
                    <a:pt x="8" y="197"/>
                  </a:lnTo>
                  <a:lnTo>
                    <a:pt x="32" y="216"/>
                  </a:lnTo>
                  <a:lnTo>
                    <a:pt x="67" y="220"/>
                  </a:lnTo>
                  <a:lnTo>
                    <a:pt x="75" y="238"/>
                  </a:lnTo>
                  <a:lnTo>
                    <a:pt x="99" y="246"/>
                  </a:lnTo>
                  <a:lnTo>
                    <a:pt x="99" y="269"/>
                  </a:lnTo>
                  <a:lnTo>
                    <a:pt x="93" y="289"/>
                  </a:lnTo>
                  <a:lnTo>
                    <a:pt x="103" y="307"/>
                  </a:lnTo>
                  <a:lnTo>
                    <a:pt x="109" y="320"/>
                  </a:lnTo>
                  <a:lnTo>
                    <a:pt x="87" y="334"/>
                  </a:lnTo>
                  <a:lnTo>
                    <a:pt x="75" y="336"/>
                  </a:lnTo>
                  <a:lnTo>
                    <a:pt x="87" y="358"/>
                  </a:lnTo>
                  <a:lnTo>
                    <a:pt x="53" y="362"/>
                  </a:lnTo>
                  <a:lnTo>
                    <a:pt x="28" y="362"/>
                  </a:lnTo>
                  <a:lnTo>
                    <a:pt x="8" y="346"/>
                  </a:lnTo>
                  <a:lnTo>
                    <a:pt x="0" y="364"/>
                  </a:lnTo>
                  <a:lnTo>
                    <a:pt x="4" y="387"/>
                  </a:lnTo>
                  <a:lnTo>
                    <a:pt x="42" y="407"/>
                  </a:lnTo>
                  <a:lnTo>
                    <a:pt x="83" y="438"/>
                  </a:lnTo>
                  <a:lnTo>
                    <a:pt x="107" y="460"/>
                  </a:lnTo>
                  <a:lnTo>
                    <a:pt x="116" y="495"/>
                  </a:lnTo>
                  <a:lnTo>
                    <a:pt x="128" y="529"/>
                  </a:lnTo>
                  <a:close/>
                </a:path>
              </a:pathLst>
            </a:custGeom>
            <a:solidFill>
              <a:srgbClr val="FFFFFF"/>
            </a:solidFill>
            <a:ln w="9525">
              <a:solidFill>
                <a:srgbClr val="000000"/>
              </a:solidFill>
              <a:prstDash val="solid"/>
              <a:round/>
              <a:headEnd/>
              <a:tailEnd/>
            </a:ln>
          </p:spPr>
          <p:txBody>
            <a:bodyPr/>
            <a:lstStyle/>
            <a:p>
              <a:endParaRPr lang="cs-CZ"/>
            </a:p>
          </p:txBody>
        </p:sp>
        <p:sp>
          <p:nvSpPr>
            <p:cNvPr id="54" name="Oval 76"/>
            <p:cNvSpPr>
              <a:spLocks noChangeArrowheads="1"/>
            </p:cNvSpPr>
            <p:nvPr/>
          </p:nvSpPr>
          <p:spPr bwMode="auto">
            <a:xfrm>
              <a:off x="1280" y="1212"/>
              <a:ext cx="16" cy="17"/>
            </a:xfrm>
            <a:prstGeom prst="ellipse">
              <a:avLst/>
            </a:prstGeom>
            <a:solidFill>
              <a:srgbClr val="FFFFFF"/>
            </a:solidFill>
            <a:ln w="9525">
              <a:solidFill>
                <a:srgbClr val="000000"/>
              </a:solidFill>
              <a:round/>
              <a:headEnd/>
              <a:tailEnd/>
            </a:ln>
          </p:spPr>
          <p:txBody>
            <a:bodyPr/>
            <a:lstStyle/>
            <a:p>
              <a:endParaRPr lang="cs-CZ"/>
            </a:p>
          </p:txBody>
        </p:sp>
        <p:sp>
          <p:nvSpPr>
            <p:cNvPr id="55" name="Oval 77"/>
            <p:cNvSpPr>
              <a:spLocks noChangeArrowheads="1"/>
            </p:cNvSpPr>
            <p:nvPr/>
          </p:nvSpPr>
          <p:spPr bwMode="auto">
            <a:xfrm>
              <a:off x="1003" y="3417"/>
              <a:ext cx="16" cy="15"/>
            </a:xfrm>
            <a:prstGeom prst="ellipse">
              <a:avLst/>
            </a:prstGeom>
            <a:solidFill>
              <a:srgbClr val="FFFFFF"/>
            </a:solidFill>
            <a:ln w="9525">
              <a:solidFill>
                <a:srgbClr val="000000"/>
              </a:solidFill>
              <a:round/>
              <a:headEnd/>
              <a:tailEnd/>
            </a:ln>
          </p:spPr>
          <p:txBody>
            <a:bodyPr/>
            <a:lstStyle/>
            <a:p>
              <a:endParaRPr lang="cs-CZ"/>
            </a:p>
          </p:txBody>
        </p:sp>
        <p:sp>
          <p:nvSpPr>
            <p:cNvPr id="56" name="Freeform 78"/>
            <p:cNvSpPr>
              <a:spLocks/>
            </p:cNvSpPr>
            <p:nvPr/>
          </p:nvSpPr>
          <p:spPr bwMode="auto">
            <a:xfrm>
              <a:off x="2026" y="2678"/>
              <a:ext cx="39" cy="58"/>
            </a:xfrm>
            <a:custGeom>
              <a:avLst/>
              <a:gdLst>
                <a:gd name="T0" fmla="*/ 0 w 78"/>
                <a:gd name="T1" fmla="*/ 96 h 116"/>
                <a:gd name="T2" fmla="*/ 45 w 78"/>
                <a:gd name="T3" fmla="*/ 94 h 116"/>
                <a:gd name="T4" fmla="*/ 73 w 78"/>
                <a:gd name="T5" fmla="*/ 116 h 116"/>
                <a:gd name="T6" fmla="*/ 75 w 78"/>
                <a:gd name="T7" fmla="*/ 94 h 116"/>
                <a:gd name="T8" fmla="*/ 78 w 78"/>
                <a:gd name="T9" fmla="*/ 53 h 116"/>
                <a:gd name="T10" fmla="*/ 59 w 78"/>
                <a:gd name="T11" fmla="*/ 37 h 116"/>
                <a:gd name="T12" fmla="*/ 73 w 78"/>
                <a:gd name="T13" fmla="*/ 11 h 116"/>
                <a:gd name="T14" fmla="*/ 37 w 78"/>
                <a:gd name="T15" fmla="*/ 0 h 116"/>
                <a:gd name="T16" fmla="*/ 12 w 78"/>
                <a:gd name="T17" fmla="*/ 19 h 116"/>
                <a:gd name="T18" fmla="*/ 6 w 78"/>
                <a:gd name="T19" fmla="*/ 49 h 116"/>
                <a:gd name="T20" fmla="*/ 0 w 78"/>
                <a:gd name="T21" fmla="*/ 76 h 116"/>
                <a:gd name="T22" fmla="*/ 0 w 78"/>
                <a:gd name="T23"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16">
                  <a:moveTo>
                    <a:pt x="0" y="96"/>
                  </a:moveTo>
                  <a:lnTo>
                    <a:pt x="45" y="94"/>
                  </a:lnTo>
                  <a:lnTo>
                    <a:pt x="73" y="116"/>
                  </a:lnTo>
                  <a:lnTo>
                    <a:pt x="75" y="94"/>
                  </a:lnTo>
                  <a:lnTo>
                    <a:pt x="78" y="53"/>
                  </a:lnTo>
                  <a:lnTo>
                    <a:pt x="59" y="37"/>
                  </a:lnTo>
                  <a:lnTo>
                    <a:pt x="73" y="11"/>
                  </a:lnTo>
                  <a:lnTo>
                    <a:pt x="37" y="0"/>
                  </a:lnTo>
                  <a:lnTo>
                    <a:pt x="12" y="19"/>
                  </a:lnTo>
                  <a:lnTo>
                    <a:pt x="6" y="49"/>
                  </a:lnTo>
                  <a:lnTo>
                    <a:pt x="0" y="76"/>
                  </a:lnTo>
                  <a:lnTo>
                    <a:pt x="0" y="96"/>
                  </a:lnTo>
                  <a:close/>
                </a:path>
              </a:pathLst>
            </a:custGeom>
            <a:solidFill>
              <a:srgbClr val="FFFFFF"/>
            </a:solidFill>
            <a:ln w="9525">
              <a:solidFill>
                <a:srgbClr val="000000"/>
              </a:solidFill>
              <a:prstDash val="solid"/>
              <a:round/>
              <a:headEnd/>
              <a:tailEnd/>
            </a:ln>
          </p:spPr>
          <p:txBody>
            <a:bodyPr/>
            <a:lstStyle/>
            <a:p>
              <a:endParaRPr lang="cs-CZ"/>
            </a:p>
          </p:txBody>
        </p:sp>
        <p:sp>
          <p:nvSpPr>
            <p:cNvPr id="57" name="Oval 79"/>
            <p:cNvSpPr>
              <a:spLocks noChangeArrowheads="1"/>
            </p:cNvSpPr>
            <p:nvPr/>
          </p:nvSpPr>
          <p:spPr bwMode="auto">
            <a:xfrm>
              <a:off x="2044" y="2712"/>
              <a:ext cx="14" cy="16"/>
            </a:xfrm>
            <a:prstGeom prst="ellipse">
              <a:avLst/>
            </a:prstGeom>
            <a:solidFill>
              <a:srgbClr val="FFFFFF"/>
            </a:solidFill>
            <a:ln w="9525">
              <a:solidFill>
                <a:srgbClr val="000000"/>
              </a:solidFill>
              <a:round/>
              <a:headEnd/>
              <a:tailEnd/>
            </a:ln>
          </p:spPr>
          <p:txBody>
            <a:bodyPr/>
            <a:lstStyle/>
            <a:p>
              <a:endParaRPr lang="cs-CZ"/>
            </a:p>
          </p:txBody>
        </p:sp>
        <p:sp>
          <p:nvSpPr>
            <p:cNvPr id="58" name="Oval 80"/>
            <p:cNvSpPr>
              <a:spLocks noChangeArrowheads="1"/>
            </p:cNvSpPr>
            <p:nvPr/>
          </p:nvSpPr>
          <p:spPr bwMode="auto">
            <a:xfrm>
              <a:off x="1993" y="2521"/>
              <a:ext cx="15" cy="15"/>
            </a:xfrm>
            <a:prstGeom prst="ellipse">
              <a:avLst/>
            </a:prstGeom>
            <a:solidFill>
              <a:srgbClr val="FFFFFF"/>
            </a:solidFill>
            <a:ln w="9525">
              <a:solidFill>
                <a:srgbClr val="000000"/>
              </a:solidFill>
              <a:round/>
              <a:headEnd/>
              <a:tailEnd/>
            </a:ln>
          </p:spPr>
          <p:txBody>
            <a:bodyPr/>
            <a:lstStyle/>
            <a:p>
              <a:endParaRPr lang="cs-CZ"/>
            </a:p>
          </p:txBody>
        </p:sp>
        <p:sp>
          <p:nvSpPr>
            <p:cNvPr id="59" name="Freeform 81"/>
            <p:cNvSpPr>
              <a:spLocks/>
            </p:cNvSpPr>
            <p:nvPr/>
          </p:nvSpPr>
          <p:spPr bwMode="auto">
            <a:xfrm>
              <a:off x="1832" y="3479"/>
              <a:ext cx="25" cy="20"/>
            </a:xfrm>
            <a:custGeom>
              <a:avLst/>
              <a:gdLst>
                <a:gd name="T0" fmla="*/ 18 w 49"/>
                <a:gd name="T1" fmla="*/ 27 h 39"/>
                <a:gd name="T2" fmla="*/ 37 w 49"/>
                <a:gd name="T3" fmla="*/ 39 h 39"/>
                <a:gd name="T4" fmla="*/ 49 w 49"/>
                <a:gd name="T5" fmla="*/ 20 h 39"/>
                <a:gd name="T6" fmla="*/ 25 w 49"/>
                <a:gd name="T7" fmla="*/ 0 h 39"/>
                <a:gd name="T8" fmla="*/ 0 w 49"/>
                <a:gd name="T9" fmla="*/ 10 h 39"/>
                <a:gd name="T10" fmla="*/ 18 w 49"/>
                <a:gd name="T11" fmla="*/ 27 h 39"/>
              </a:gdLst>
              <a:ahLst/>
              <a:cxnLst>
                <a:cxn ang="0">
                  <a:pos x="T0" y="T1"/>
                </a:cxn>
                <a:cxn ang="0">
                  <a:pos x="T2" y="T3"/>
                </a:cxn>
                <a:cxn ang="0">
                  <a:pos x="T4" y="T5"/>
                </a:cxn>
                <a:cxn ang="0">
                  <a:pos x="T6" y="T7"/>
                </a:cxn>
                <a:cxn ang="0">
                  <a:pos x="T8" y="T9"/>
                </a:cxn>
                <a:cxn ang="0">
                  <a:pos x="T10" y="T11"/>
                </a:cxn>
              </a:cxnLst>
              <a:rect l="0" t="0" r="r" b="b"/>
              <a:pathLst>
                <a:path w="49" h="39">
                  <a:moveTo>
                    <a:pt x="18" y="27"/>
                  </a:moveTo>
                  <a:lnTo>
                    <a:pt x="37" y="39"/>
                  </a:lnTo>
                  <a:lnTo>
                    <a:pt x="49" y="20"/>
                  </a:lnTo>
                  <a:lnTo>
                    <a:pt x="25" y="0"/>
                  </a:lnTo>
                  <a:lnTo>
                    <a:pt x="0" y="10"/>
                  </a:lnTo>
                  <a:lnTo>
                    <a:pt x="18" y="27"/>
                  </a:lnTo>
                  <a:close/>
                </a:path>
              </a:pathLst>
            </a:custGeom>
            <a:solidFill>
              <a:srgbClr val="FFFFFF"/>
            </a:solidFill>
            <a:ln w="9525">
              <a:solidFill>
                <a:srgbClr val="000000"/>
              </a:solidFill>
              <a:prstDash val="solid"/>
              <a:round/>
              <a:headEnd/>
              <a:tailEnd/>
            </a:ln>
          </p:spPr>
          <p:txBody>
            <a:bodyPr/>
            <a:lstStyle/>
            <a:p>
              <a:endParaRPr lang="cs-CZ"/>
            </a:p>
          </p:txBody>
        </p:sp>
        <p:sp>
          <p:nvSpPr>
            <p:cNvPr id="60" name="Freeform 82"/>
            <p:cNvSpPr>
              <a:spLocks/>
            </p:cNvSpPr>
            <p:nvPr/>
          </p:nvSpPr>
          <p:spPr bwMode="auto">
            <a:xfrm>
              <a:off x="1662" y="3534"/>
              <a:ext cx="22" cy="26"/>
            </a:xfrm>
            <a:custGeom>
              <a:avLst/>
              <a:gdLst>
                <a:gd name="T0" fmla="*/ 0 w 43"/>
                <a:gd name="T1" fmla="*/ 39 h 51"/>
                <a:gd name="T2" fmla="*/ 18 w 43"/>
                <a:gd name="T3" fmla="*/ 51 h 51"/>
                <a:gd name="T4" fmla="*/ 31 w 43"/>
                <a:gd name="T5" fmla="*/ 31 h 51"/>
                <a:gd name="T6" fmla="*/ 43 w 43"/>
                <a:gd name="T7" fmla="*/ 12 h 51"/>
                <a:gd name="T8" fmla="*/ 27 w 43"/>
                <a:gd name="T9" fmla="*/ 0 h 51"/>
                <a:gd name="T10" fmla="*/ 8 w 43"/>
                <a:gd name="T11" fmla="*/ 14 h 51"/>
                <a:gd name="T12" fmla="*/ 0 w 43"/>
                <a:gd name="T13" fmla="*/ 39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0" y="39"/>
                  </a:moveTo>
                  <a:lnTo>
                    <a:pt x="18" y="51"/>
                  </a:lnTo>
                  <a:lnTo>
                    <a:pt x="31" y="31"/>
                  </a:lnTo>
                  <a:lnTo>
                    <a:pt x="43" y="12"/>
                  </a:lnTo>
                  <a:lnTo>
                    <a:pt x="27" y="0"/>
                  </a:lnTo>
                  <a:lnTo>
                    <a:pt x="8" y="14"/>
                  </a:lnTo>
                  <a:lnTo>
                    <a:pt x="0" y="39"/>
                  </a:lnTo>
                  <a:close/>
                </a:path>
              </a:pathLst>
            </a:custGeom>
            <a:solidFill>
              <a:srgbClr val="FFFFFF"/>
            </a:solidFill>
            <a:ln w="9525">
              <a:solidFill>
                <a:srgbClr val="000000"/>
              </a:solidFill>
              <a:prstDash val="solid"/>
              <a:round/>
              <a:headEnd/>
              <a:tailEnd/>
            </a:ln>
          </p:spPr>
          <p:txBody>
            <a:bodyPr/>
            <a:lstStyle/>
            <a:p>
              <a:endParaRPr lang="cs-CZ"/>
            </a:p>
          </p:txBody>
        </p:sp>
        <p:sp>
          <p:nvSpPr>
            <p:cNvPr id="61" name="Freeform 83"/>
            <p:cNvSpPr>
              <a:spLocks/>
            </p:cNvSpPr>
            <p:nvPr/>
          </p:nvSpPr>
          <p:spPr bwMode="auto">
            <a:xfrm>
              <a:off x="1740" y="3479"/>
              <a:ext cx="64" cy="57"/>
            </a:xfrm>
            <a:custGeom>
              <a:avLst/>
              <a:gdLst>
                <a:gd name="T0" fmla="*/ 8 w 128"/>
                <a:gd name="T1" fmla="*/ 69 h 114"/>
                <a:gd name="T2" fmla="*/ 49 w 128"/>
                <a:gd name="T3" fmla="*/ 75 h 114"/>
                <a:gd name="T4" fmla="*/ 87 w 128"/>
                <a:gd name="T5" fmla="*/ 114 h 114"/>
                <a:gd name="T6" fmla="*/ 124 w 128"/>
                <a:gd name="T7" fmla="*/ 69 h 114"/>
                <a:gd name="T8" fmla="*/ 128 w 128"/>
                <a:gd name="T9" fmla="*/ 55 h 114"/>
                <a:gd name="T10" fmla="*/ 106 w 128"/>
                <a:gd name="T11" fmla="*/ 39 h 114"/>
                <a:gd name="T12" fmla="*/ 98 w 128"/>
                <a:gd name="T13" fmla="*/ 23 h 114"/>
                <a:gd name="T14" fmla="*/ 96 w 128"/>
                <a:gd name="T15" fmla="*/ 0 h 114"/>
                <a:gd name="T16" fmla="*/ 30 w 128"/>
                <a:gd name="T17" fmla="*/ 31 h 114"/>
                <a:gd name="T18" fmla="*/ 0 w 128"/>
                <a:gd name="T19" fmla="*/ 53 h 114"/>
                <a:gd name="T20" fmla="*/ 8 w 128"/>
                <a:gd name="T21" fmla="*/ 6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14">
                  <a:moveTo>
                    <a:pt x="8" y="69"/>
                  </a:moveTo>
                  <a:lnTo>
                    <a:pt x="49" y="75"/>
                  </a:lnTo>
                  <a:lnTo>
                    <a:pt x="87" y="114"/>
                  </a:lnTo>
                  <a:lnTo>
                    <a:pt x="124" y="69"/>
                  </a:lnTo>
                  <a:lnTo>
                    <a:pt x="128" y="55"/>
                  </a:lnTo>
                  <a:lnTo>
                    <a:pt x="106" y="39"/>
                  </a:lnTo>
                  <a:lnTo>
                    <a:pt x="98" y="23"/>
                  </a:lnTo>
                  <a:lnTo>
                    <a:pt x="96" y="0"/>
                  </a:lnTo>
                  <a:lnTo>
                    <a:pt x="30" y="31"/>
                  </a:lnTo>
                  <a:lnTo>
                    <a:pt x="0" y="53"/>
                  </a:lnTo>
                  <a:lnTo>
                    <a:pt x="8" y="69"/>
                  </a:lnTo>
                  <a:close/>
                </a:path>
              </a:pathLst>
            </a:custGeom>
            <a:solidFill>
              <a:srgbClr val="FFFFFF"/>
            </a:solidFill>
            <a:ln w="9525">
              <a:solidFill>
                <a:srgbClr val="000000"/>
              </a:solidFill>
              <a:prstDash val="solid"/>
              <a:round/>
              <a:headEnd/>
              <a:tailEnd/>
            </a:ln>
          </p:spPr>
          <p:txBody>
            <a:bodyPr/>
            <a:lstStyle/>
            <a:p>
              <a:endParaRPr lang="cs-CZ"/>
            </a:p>
          </p:txBody>
        </p:sp>
        <p:sp>
          <p:nvSpPr>
            <p:cNvPr id="62" name="Freeform 84"/>
            <p:cNvSpPr>
              <a:spLocks/>
            </p:cNvSpPr>
            <p:nvPr/>
          </p:nvSpPr>
          <p:spPr bwMode="auto">
            <a:xfrm>
              <a:off x="2135" y="3297"/>
              <a:ext cx="60" cy="128"/>
            </a:xfrm>
            <a:custGeom>
              <a:avLst/>
              <a:gdLst>
                <a:gd name="T0" fmla="*/ 102 w 120"/>
                <a:gd name="T1" fmla="*/ 0 h 258"/>
                <a:gd name="T2" fmla="*/ 75 w 120"/>
                <a:gd name="T3" fmla="*/ 34 h 258"/>
                <a:gd name="T4" fmla="*/ 55 w 120"/>
                <a:gd name="T5" fmla="*/ 44 h 258"/>
                <a:gd name="T6" fmla="*/ 37 w 120"/>
                <a:gd name="T7" fmla="*/ 59 h 258"/>
                <a:gd name="T8" fmla="*/ 18 w 120"/>
                <a:gd name="T9" fmla="*/ 59 h 258"/>
                <a:gd name="T10" fmla="*/ 4 w 120"/>
                <a:gd name="T11" fmla="*/ 83 h 258"/>
                <a:gd name="T12" fmla="*/ 0 w 120"/>
                <a:gd name="T13" fmla="*/ 124 h 258"/>
                <a:gd name="T14" fmla="*/ 10 w 120"/>
                <a:gd name="T15" fmla="*/ 148 h 258"/>
                <a:gd name="T16" fmla="*/ 14 w 120"/>
                <a:gd name="T17" fmla="*/ 203 h 258"/>
                <a:gd name="T18" fmla="*/ 37 w 120"/>
                <a:gd name="T19" fmla="*/ 234 h 258"/>
                <a:gd name="T20" fmla="*/ 69 w 120"/>
                <a:gd name="T21" fmla="*/ 258 h 258"/>
                <a:gd name="T22" fmla="*/ 65 w 120"/>
                <a:gd name="T23" fmla="*/ 258 h 258"/>
                <a:gd name="T24" fmla="*/ 88 w 120"/>
                <a:gd name="T25" fmla="*/ 213 h 258"/>
                <a:gd name="T26" fmla="*/ 110 w 120"/>
                <a:gd name="T27" fmla="*/ 152 h 258"/>
                <a:gd name="T28" fmla="*/ 120 w 120"/>
                <a:gd name="T29" fmla="*/ 116 h 258"/>
                <a:gd name="T30" fmla="*/ 100 w 120"/>
                <a:gd name="T31" fmla="*/ 61 h 258"/>
                <a:gd name="T32" fmla="*/ 102 w 120"/>
                <a:gd name="T3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258">
                  <a:moveTo>
                    <a:pt x="102" y="0"/>
                  </a:moveTo>
                  <a:lnTo>
                    <a:pt x="75" y="34"/>
                  </a:lnTo>
                  <a:lnTo>
                    <a:pt x="55" y="44"/>
                  </a:lnTo>
                  <a:lnTo>
                    <a:pt x="37" y="59"/>
                  </a:lnTo>
                  <a:lnTo>
                    <a:pt x="18" y="59"/>
                  </a:lnTo>
                  <a:lnTo>
                    <a:pt x="4" y="83"/>
                  </a:lnTo>
                  <a:lnTo>
                    <a:pt x="0" y="124"/>
                  </a:lnTo>
                  <a:lnTo>
                    <a:pt x="10" y="148"/>
                  </a:lnTo>
                  <a:lnTo>
                    <a:pt x="14" y="203"/>
                  </a:lnTo>
                  <a:lnTo>
                    <a:pt x="37" y="234"/>
                  </a:lnTo>
                  <a:lnTo>
                    <a:pt x="69" y="258"/>
                  </a:lnTo>
                  <a:lnTo>
                    <a:pt x="65" y="258"/>
                  </a:lnTo>
                  <a:lnTo>
                    <a:pt x="88" y="213"/>
                  </a:lnTo>
                  <a:lnTo>
                    <a:pt x="110" y="152"/>
                  </a:lnTo>
                  <a:lnTo>
                    <a:pt x="120" y="116"/>
                  </a:lnTo>
                  <a:lnTo>
                    <a:pt x="100" y="61"/>
                  </a:lnTo>
                  <a:lnTo>
                    <a:pt x="102" y="0"/>
                  </a:lnTo>
                  <a:close/>
                </a:path>
              </a:pathLst>
            </a:custGeom>
            <a:solidFill>
              <a:srgbClr val="FFFFFF"/>
            </a:solidFill>
            <a:ln w="9525">
              <a:solidFill>
                <a:srgbClr val="000000"/>
              </a:solidFill>
              <a:prstDash val="solid"/>
              <a:round/>
              <a:headEnd/>
              <a:tailEnd/>
            </a:ln>
          </p:spPr>
          <p:txBody>
            <a:bodyPr/>
            <a:lstStyle/>
            <a:p>
              <a:endParaRPr lang="cs-CZ"/>
            </a:p>
          </p:txBody>
        </p:sp>
        <p:sp>
          <p:nvSpPr>
            <p:cNvPr id="63" name="Freeform 85"/>
            <p:cNvSpPr>
              <a:spLocks/>
            </p:cNvSpPr>
            <p:nvPr/>
          </p:nvSpPr>
          <p:spPr bwMode="auto">
            <a:xfrm>
              <a:off x="2098" y="3436"/>
              <a:ext cx="97" cy="191"/>
            </a:xfrm>
            <a:custGeom>
              <a:avLst/>
              <a:gdLst>
                <a:gd name="T0" fmla="*/ 12 w 195"/>
                <a:gd name="T1" fmla="*/ 40 h 382"/>
                <a:gd name="T2" fmla="*/ 46 w 195"/>
                <a:gd name="T3" fmla="*/ 59 h 382"/>
                <a:gd name="T4" fmla="*/ 89 w 195"/>
                <a:gd name="T5" fmla="*/ 28 h 382"/>
                <a:gd name="T6" fmla="*/ 120 w 195"/>
                <a:gd name="T7" fmla="*/ 6 h 382"/>
                <a:gd name="T8" fmla="*/ 144 w 195"/>
                <a:gd name="T9" fmla="*/ 0 h 382"/>
                <a:gd name="T10" fmla="*/ 181 w 195"/>
                <a:gd name="T11" fmla="*/ 44 h 382"/>
                <a:gd name="T12" fmla="*/ 185 w 195"/>
                <a:gd name="T13" fmla="*/ 81 h 382"/>
                <a:gd name="T14" fmla="*/ 195 w 195"/>
                <a:gd name="T15" fmla="*/ 120 h 382"/>
                <a:gd name="T16" fmla="*/ 175 w 195"/>
                <a:gd name="T17" fmla="*/ 152 h 382"/>
                <a:gd name="T18" fmla="*/ 181 w 195"/>
                <a:gd name="T19" fmla="*/ 185 h 382"/>
                <a:gd name="T20" fmla="*/ 177 w 195"/>
                <a:gd name="T21" fmla="*/ 274 h 382"/>
                <a:gd name="T22" fmla="*/ 169 w 195"/>
                <a:gd name="T23" fmla="*/ 311 h 382"/>
                <a:gd name="T24" fmla="*/ 150 w 195"/>
                <a:gd name="T25" fmla="*/ 340 h 382"/>
                <a:gd name="T26" fmla="*/ 116 w 195"/>
                <a:gd name="T27" fmla="*/ 334 h 382"/>
                <a:gd name="T28" fmla="*/ 85 w 195"/>
                <a:gd name="T29" fmla="*/ 362 h 382"/>
                <a:gd name="T30" fmla="*/ 53 w 195"/>
                <a:gd name="T31" fmla="*/ 382 h 382"/>
                <a:gd name="T32" fmla="*/ 28 w 195"/>
                <a:gd name="T33" fmla="*/ 338 h 382"/>
                <a:gd name="T34" fmla="*/ 20 w 195"/>
                <a:gd name="T35" fmla="*/ 313 h 382"/>
                <a:gd name="T36" fmla="*/ 18 w 195"/>
                <a:gd name="T37" fmla="*/ 274 h 382"/>
                <a:gd name="T38" fmla="*/ 18 w 195"/>
                <a:gd name="T39" fmla="*/ 246 h 382"/>
                <a:gd name="T40" fmla="*/ 32 w 195"/>
                <a:gd name="T41" fmla="*/ 211 h 382"/>
                <a:gd name="T42" fmla="*/ 38 w 195"/>
                <a:gd name="T43" fmla="*/ 160 h 382"/>
                <a:gd name="T44" fmla="*/ 32 w 195"/>
                <a:gd name="T45" fmla="*/ 116 h 382"/>
                <a:gd name="T46" fmla="*/ 20 w 195"/>
                <a:gd name="T47" fmla="*/ 95 h 382"/>
                <a:gd name="T48" fmla="*/ 0 w 195"/>
                <a:gd name="T49" fmla="*/ 77 h 382"/>
                <a:gd name="T50" fmla="*/ 12 w 195"/>
                <a:gd name="T51" fmla="*/ 4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5" h="382">
                  <a:moveTo>
                    <a:pt x="12" y="40"/>
                  </a:moveTo>
                  <a:lnTo>
                    <a:pt x="46" y="59"/>
                  </a:lnTo>
                  <a:lnTo>
                    <a:pt x="89" y="28"/>
                  </a:lnTo>
                  <a:lnTo>
                    <a:pt x="120" y="6"/>
                  </a:lnTo>
                  <a:lnTo>
                    <a:pt x="144" y="0"/>
                  </a:lnTo>
                  <a:lnTo>
                    <a:pt x="181" y="44"/>
                  </a:lnTo>
                  <a:lnTo>
                    <a:pt x="185" y="81"/>
                  </a:lnTo>
                  <a:lnTo>
                    <a:pt x="195" y="120"/>
                  </a:lnTo>
                  <a:lnTo>
                    <a:pt x="175" y="152"/>
                  </a:lnTo>
                  <a:lnTo>
                    <a:pt x="181" y="185"/>
                  </a:lnTo>
                  <a:lnTo>
                    <a:pt x="177" y="274"/>
                  </a:lnTo>
                  <a:lnTo>
                    <a:pt x="169" y="311"/>
                  </a:lnTo>
                  <a:lnTo>
                    <a:pt x="150" y="340"/>
                  </a:lnTo>
                  <a:lnTo>
                    <a:pt x="116" y="334"/>
                  </a:lnTo>
                  <a:lnTo>
                    <a:pt x="85" y="362"/>
                  </a:lnTo>
                  <a:lnTo>
                    <a:pt x="53" y="382"/>
                  </a:lnTo>
                  <a:lnTo>
                    <a:pt x="28" y="338"/>
                  </a:lnTo>
                  <a:lnTo>
                    <a:pt x="20" y="313"/>
                  </a:lnTo>
                  <a:lnTo>
                    <a:pt x="18" y="274"/>
                  </a:lnTo>
                  <a:lnTo>
                    <a:pt x="18" y="246"/>
                  </a:lnTo>
                  <a:lnTo>
                    <a:pt x="32" y="211"/>
                  </a:lnTo>
                  <a:lnTo>
                    <a:pt x="38" y="160"/>
                  </a:lnTo>
                  <a:lnTo>
                    <a:pt x="32" y="116"/>
                  </a:lnTo>
                  <a:lnTo>
                    <a:pt x="20" y="95"/>
                  </a:lnTo>
                  <a:lnTo>
                    <a:pt x="0" y="77"/>
                  </a:lnTo>
                  <a:lnTo>
                    <a:pt x="12" y="40"/>
                  </a:lnTo>
                  <a:close/>
                </a:path>
              </a:pathLst>
            </a:custGeom>
            <a:solidFill>
              <a:srgbClr val="FFFFFF"/>
            </a:solidFill>
            <a:ln w="9525">
              <a:solidFill>
                <a:srgbClr val="000000"/>
              </a:solidFill>
              <a:prstDash val="solid"/>
              <a:round/>
              <a:headEnd/>
              <a:tailEnd/>
            </a:ln>
          </p:spPr>
          <p:txBody>
            <a:bodyPr/>
            <a:lstStyle/>
            <a:p>
              <a:endParaRPr lang="cs-CZ"/>
            </a:p>
          </p:txBody>
        </p:sp>
        <p:sp>
          <p:nvSpPr>
            <p:cNvPr id="64" name="Freeform 86"/>
            <p:cNvSpPr>
              <a:spLocks/>
            </p:cNvSpPr>
            <p:nvPr/>
          </p:nvSpPr>
          <p:spPr bwMode="auto">
            <a:xfrm>
              <a:off x="1458" y="2129"/>
              <a:ext cx="117" cy="127"/>
            </a:xfrm>
            <a:custGeom>
              <a:avLst/>
              <a:gdLst>
                <a:gd name="T0" fmla="*/ 0 w 234"/>
                <a:gd name="T1" fmla="*/ 106 h 256"/>
                <a:gd name="T2" fmla="*/ 20 w 234"/>
                <a:gd name="T3" fmla="*/ 126 h 256"/>
                <a:gd name="T4" fmla="*/ 30 w 234"/>
                <a:gd name="T5" fmla="*/ 152 h 256"/>
                <a:gd name="T6" fmla="*/ 34 w 234"/>
                <a:gd name="T7" fmla="*/ 175 h 256"/>
                <a:gd name="T8" fmla="*/ 45 w 234"/>
                <a:gd name="T9" fmla="*/ 189 h 256"/>
                <a:gd name="T10" fmla="*/ 63 w 234"/>
                <a:gd name="T11" fmla="*/ 179 h 256"/>
                <a:gd name="T12" fmla="*/ 85 w 234"/>
                <a:gd name="T13" fmla="*/ 165 h 256"/>
                <a:gd name="T14" fmla="*/ 108 w 234"/>
                <a:gd name="T15" fmla="*/ 162 h 256"/>
                <a:gd name="T16" fmla="*/ 138 w 234"/>
                <a:gd name="T17" fmla="*/ 169 h 256"/>
                <a:gd name="T18" fmla="*/ 157 w 234"/>
                <a:gd name="T19" fmla="*/ 187 h 256"/>
                <a:gd name="T20" fmla="*/ 153 w 234"/>
                <a:gd name="T21" fmla="*/ 207 h 256"/>
                <a:gd name="T22" fmla="*/ 146 w 234"/>
                <a:gd name="T23" fmla="*/ 230 h 256"/>
                <a:gd name="T24" fmla="*/ 136 w 234"/>
                <a:gd name="T25" fmla="*/ 248 h 256"/>
                <a:gd name="T26" fmla="*/ 150 w 234"/>
                <a:gd name="T27" fmla="*/ 256 h 256"/>
                <a:gd name="T28" fmla="*/ 163 w 234"/>
                <a:gd name="T29" fmla="*/ 242 h 256"/>
                <a:gd name="T30" fmla="*/ 177 w 234"/>
                <a:gd name="T31" fmla="*/ 248 h 256"/>
                <a:gd name="T32" fmla="*/ 185 w 234"/>
                <a:gd name="T33" fmla="*/ 220 h 256"/>
                <a:gd name="T34" fmla="*/ 210 w 234"/>
                <a:gd name="T35" fmla="*/ 232 h 256"/>
                <a:gd name="T36" fmla="*/ 216 w 234"/>
                <a:gd name="T37" fmla="*/ 220 h 256"/>
                <a:gd name="T38" fmla="*/ 214 w 234"/>
                <a:gd name="T39" fmla="*/ 195 h 256"/>
                <a:gd name="T40" fmla="*/ 232 w 234"/>
                <a:gd name="T41" fmla="*/ 189 h 256"/>
                <a:gd name="T42" fmla="*/ 234 w 234"/>
                <a:gd name="T43" fmla="*/ 167 h 256"/>
                <a:gd name="T44" fmla="*/ 201 w 234"/>
                <a:gd name="T45" fmla="*/ 150 h 256"/>
                <a:gd name="T46" fmla="*/ 205 w 234"/>
                <a:gd name="T47" fmla="*/ 134 h 256"/>
                <a:gd name="T48" fmla="*/ 220 w 234"/>
                <a:gd name="T49" fmla="*/ 134 h 256"/>
                <a:gd name="T50" fmla="*/ 222 w 234"/>
                <a:gd name="T51" fmla="*/ 101 h 256"/>
                <a:gd name="T52" fmla="*/ 210 w 234"/>
                <a:gd name="T53" fmla="*/ 79 h 256"/>
                <a:gd name="T54" fmla="*/ 203 w 234"/>
                <a:gd name="T55" fmla="*/ 55 h 256"/>
                <a:gd name="T56" fmla="*/ 175 w 234"/>
                <a:gd name="T57" fmla="*/ 46 h 256"/>
                <a:gd name="T58" fmla="*/ 138 w 234"/>
                <a:gd name="T59" fmla="*/ 50 h 256"/>
                <a:gd name="T60" fmla="*/ 120 w 234"/>
                <a:gd name="T61" fmla="*/ 50 h 256"/>
                <a:gd name="T62" fmla="*/ 110 w 234"/>
                <a:gd name="T63" fmla="*/ 36 h 256"/>
                <a:gd name="T64" fmla="*/ 122 w 234"/>
                <a:gd name="T65" fmla="*/ 22 h 256"/>
                <a:gd name="T66" fmla="*/ 116 w 234"/>
                <a:gd name="T67" fmla="*/ 0 h 256"/>
                <a:gd name="T68" fmla="*/ 104 w 234"/>
                <a:gd name="T69" fmla="*/ 8 h 256"/>
                <a:gd name="T70" fmla="*/ 87 w 234"/>
                <a:gd name="T71" fmla="*/ 28 h 256"/>
                <a:gd name="T72" fmla="*/ 79 w 234"/>
                <a:gd name="T73" fmla="*/ 51 h 256"/>
                <a:gd name="T74" fmla="*/ 65 w 234"/>
                <a:gd name="T75" fmla="*/ 75 h 256"/>
                <a:gd name="T76" fmla="*/ 49 w 234"/>
                <a:gd name="T77" fmla="*/ 87 h 256"/>
                <a:gd name="T78" fmla="*/ 40 w 234"/>
                <a:gd name="T79" fmla="*/ 85 h 256"/>
                <a:gd name="T80" fmla="*/ 20 w 234"/>
                <a:gd name="T81" fmla="*/ 103 h 256"/>
                <a:gd name="T82" fmla="*/ 0 w 234"/>
                <a:gd name="T83" fmla="*/ 10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256">
                  <a:moveTo>
                    <a:pt x="0" y="106"/>
                  </a:moveTo>
                  <a:lnTo>
                    <a:pt x="20" y="126"/>
                  </a:lnTo>
                  <a:lnTo>
                    <a:pt x="30" y="152"/>
                  </a:lnTo>
                  <a:lnTo>
                    <a:pt x="34" y="175"/>
                  </a:lnTo>
                  <a:lnTo>
                    <a:pt x="45" y="189"/>
                  </a:lnTo>
                  <a:lnTo>
                    <a:pt x="63" y="179"/>
                  </a:lnTo>
                  <a:lnTo>
                    <a:pt x="85" y="165"/>
                  </a:lnTo>
                  <a:lnTo>
                    <a:pt x="108" y="162"/>
                  </a:lnTo>
                  <a:lnTo>
                    <a:pt x="138" y="169"/>
                  </a:lnTo>
                  <a:lnTo>
                    <a:pt x="157" y="187"/>
                  </a:lnTo>
                  <a:lnTo>
                    <a:pt x="153" y="207"/>
                  </a:lnTo>
                  <a:lnTo>
                    <a:pt x="146" y="230"/>
                  </a:lnTo>
                  <a:lnTo>
                    <a:pt x="136" y="248"/>
                  </a:lnTo>
                  <a:lnTo>
                    <a:pt x="150" y="256"/>
                  </a:lnTo>
                  <a:lnTo>
                    <a:pt x="163" y="242"/>
                  </a:lnTo>
                  <a:lnTo>
                    <a:pt x="177" y="248"/>
                  </a:lnTo>
                  <a:lnTo>
                    <a:pt x="185" y="220"/>
                  </a:lnTo>
                  <a:lnTo>
                    <a:pt x="210" y="232"/>
                  </a:lnTo>
                  <a:lnTo>
                    <a:pt x="216" y="220"/>
                  </a:lnTo>
                  <a:lnTo>
                    <a:pt x="214" y="195"/>
                  </a:lnTo>
                  <a:lnTo>
                    <a:pt x="232" y="189"/>
                  </a:lnTo>
                  <a:lnTo>
                    <a:pt x="234" y="167"/>
                  </a:lnTo>
                  <a:lnTo>
                    <a:pt x="201" y="150"/>
                  </a:lnTo>
                  <a:lnTo>
                    <a:pt x="205" y="134"/>
                  </a:lnTo>
                  <a:lnTo>
                    <a:pt x="220" y="134"/>
                  </a:lnTo>
                  <a:lnTo>
                    <a:pt x="222" y="101"/>
                  </a:lnTo>
                  <a:lnTo>
                    <a:pt x="210" y="79"/>
                  </a:lnTo>
                  <a:lnTo>
                    <a:pt x="203" y="55"/>
                  </a:lnTo>
                  <a:lnTo>
                    <a:pt x="175" y="46"/>
                  </a:lnTo>
                  <a:lnTo>
                    <a:pt x="138" y="50"/>
                  </a:lnTo>
                  <a:lnTo>
                    <a:pt x="120" y="50"/>
                  </a:lnTo>
                  <a:lnTo>
                    <a:pt x="110" y="36"/>
                  </a:lnTo>
                  <a:lnTo>
                    <a:pt x="122" y="22"/>
                  </a:lnTo>
                  <a:lnTo>
                    <a:pt x="116" y="0"/>
                  </a:lnTo>
                  <a:lnTo>
                    <a:pt x="104" y="8"/>
                  </a:lnTo>
                  <a:lnTo>
                    <a:pt x="87" y="28"/>
                  </a:lnTo>
                  <a:lnTo>
                    <a:pt x="79" y="51"/>
                  </a:lnTo>
                  <a:lnTo>
                    <a:pt x="65" y="75"/>
                  </a:lnTo>
                  <a:lnTo>
                    <a:pt x="49" y="87"/>
                  </a:lnTo>
                  <a:lnTo>
                    <a:pt x="40" y="85"/>
                  </a:lnTo>
                  <a:lnTo>
                    <a:pt x="20" y="103"/>
                  </a:lnTo>
                  <a:lnTo>
                    <a:pt x="0" y="106"/>
                  </a:lnTo>
                  <a:close/>
                </a:path>
              </a:pathLst>
            </a:custGeom>
            <a:solidFill>
              <a:srgbClr val="D0D0D0"/>
            </a:solidFill>
            <a:ln w="9525">
              <a:solidFill>
                <a:srgbClr val="000000"/>
              </a:solidFill>
              <a:prstDash val="solid"/>
              <a:round/>
              <a:headEnd/>
              <a:tailEnd/>
            </a:ln>
          </p:spPr>
          <p:txBody>
            <a:bodyPr/>
            <a:lstStyle/>
            <a:p>
              <a:endParaRPr lang="cs-CZ"/>
            </a:p>
          </p:txBody>
        </p:sp>
        <p:grpSp>
          <p:nvGrpSpPr>
            <p:cNvPr id="65" name="Group 87"/>
            <p:cNvGrpSpPr>
              <a:grpSpLocks/>
            </p:cNvGrpSpPr>
            <p:nvPr/>
          </p:nvGrpSpPr>
          <p:grpSpPr bwMode="auto">
            <a:xfrm>
              <a:off x="1684" y="1590"/>
              <a:ext cx="41" cy="52"/>
              <a:chOff x="1684" y="1590"/>
              <a:chExt cx="41" cy="52"/>
            </a:xfrm>
          </p:grpSpPr>
          <p:sp>
            <p:nvSpPr>
              <p:cNvPr id="117" name="Freeform 88"/>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 name="T36" fmla="*/ 39 w 83"/>
                  <a:gd name="T3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lnTo>
                      <a:pt x="39"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18" name="Freeform 89"/>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66" name="Freeform 90"/>
            <p:cNvSpPr>
              <a:spLocks/>
            </p:cNvSpPr>
            <p:nvPr/>
          </p:nvSpPr>
          <p:spPr bwMode="auto">
            <a:xfrm>
              <a:off x="1687" y="1641"/>
              <a:ext cx="11" cy="22"/>
            </a:xfrm>
            <a:custGeom>
              <a:avLst/>
              <a:gdLst>
                <a:gd name="T0" fmla="*/ 2 w 22"/>
                <a:gd name="T1" fmla="*/ 2 h 43"/>
                <a:gd name="T2" fmla="*/ 0 w 22"/>
                <a:gd name="T3" fmla="*/ 22 h 43"/>
                <a:gd name="T4" fmla="*/ 0 w 22"/>
                <a:gd name="T5" fmla="*/ 43 h 43"/>
                <a:gd name="T6" fmla="*/ 20 w 22"/>
                <a:gd name="T7" fmla="*/ 35 h 43"/>
                <a:gd name="T8" fmla="*/ 22 w 22"/>
                <a:gd name="T9" fmla="*/ 20 h 43"/>
                <a:gd name="T10" fmla="*/ 16 w 22"/>
                <a:gd name="T11" fmla="*/ 0 h 43"/>
                <a:gd name="T12" fmla="*/ 2 w 22"/>
                <a:gd name="T13" fmla="*/ 2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 y="2"/>
                  </a:moveTo>
                  <a:lnTo>
                    <a:pt x="0" y="22"/>
                  </a:lnTo>
                  <a:lnTo>
                    <a:pt x="0" y="43"/>
                  </a:lnTo>
                  <a:lnTo>
                    <a:pt x="20" y="35"/>
                  </a:lnTo>
                  <a:lnTo>
                    <a:pt x="22" y="20"/>
                  </a:lnTo>
                  <a:lnTo>
                    <a:pt x="16" y="0"/>
                  </a:lnTo>
                  <a:lnTo>
                    <a:pt x="2" y="2"/>
                  </a:lnTo>
                  <a:close/>
                </a:path>
              </a:pathLst>
            </a:custGeom>
            <a:solidFill>
              <a:srgbClr val="FFFFFF"/>
            </a:solidFill>
            <a:ln w="9525">
              <a:solidFill>
                <a:srgbClr val="000000"/>
              </a:solidFill>
              <a:prstDash val="solid"/>
              <a:round/>
              <a:headEnd/>
              <a:tailEnd/>
            </a:ln>
          </p:spPr>
          <p:txBody>
            <a:bodyPr/>
            <a:lstStyle/>
            <a:p>
              <a:endParaRPr lang="cs-CZ"/>
            </a:p>
          </p:txBody>
        </p:sp>
        <p:grpSp>
          <p:nvGrpSpPr>
            <p:cNvPr id="67" name="Group 91"/>
            <p:cNvGrpSpPr>
              <a:grpSpLocks/>
            </p:cNvGrpSpPr>
            <p:nvPr/>
          </p:nvGrpSpPr>
          <p:grpSpPr bwMode="auto">
            <a:xfrm>
              <a:off x="1859" y="1784"/>
              <a:ext cx="24" cy="62"/>
              <a:chOff x="1859" y="1784"/>
              <a:chExt cx="24" cy="62"/>
            </a:xfrm>
          </p:grpSpPr>
          <p:sp>
            <p:nvSpPr>
              <p:cNvPr id="115" name="Freeform 92"/>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 name="T36" fmla="*/ 0 w 49"/>
                  <a:gd name="T3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16" name="Freeform 93"/>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68" name="Freeform 94"/>
            <p:cNvSpPr>
              <a:spLocks/>
            </p:cNvSpPr>
            <p:nvPr/>
          </p:nvSpPr>
          <p:spPr bwMode="auto">
            <a:xfrm>
              <a:off x="1758" y="1880"/>
              <a:ext cx="34" cy="33"/>
            </a:xfrm>
            <a:custGeom>
              <a:avLst/>
              <a:gdLst>
                <a:gd name="T0" fmla="*/ 14 w 69"/>
                <a:gd name="T1" fmla="*/ 65 h 65"/>
                <a:gd name="T2" fmla="*/ 24 w 69"/>
                <a:gd name="T3" fmla="*/ 57 h 65"/>
                <a:gd name="T4" fmla="*/ 34 w 69"/>
                <a:gd name="T5" fmla="*/ 44 h 65"/>
                <a:gd name="T6" fmla="*/ 44 w 69"/>
                <a:gd name="T7" fmla="*/ 46 h 65"/>
                <a:gd name="T8" fmla="*/ 52 w 69"/>
                <a:gd name="T9" fmla="*/ 59 h 65"/>
                <a:gd name="T10" fmla="*/ 63 w 69"/>
                <a:gd name="T11" fmla="*/ 59 h 65"/>
                <a:gd name="T12" fmla="*/ 69 w 69"/>
                <a:gd name="T13" fmla="*/ 47 h 65"/>
                <a:gd name="T14" fmla="*/ 56 w 69"/>
                <a:gd name="T15" fmla="*/ 32 h 65"/>
                <a:gd name="T16" fmla="*/ 44 w 69"/>
                <a:gd name="T17" fmla="*/ 10 h 65"/>
                <a:gd name="T18" fmla="*/ 32 w 69"/>
                <a:gd name="T19" fmla="*/ 0 h 65"/>
                <a:gd name="T20" fmla="*/ 20 w 69"/>
                <a:gd name="T21" fmla="*/ 10 h 65"/>
                <a:gd name="T22" fmla="*/ 16 w 69"/>
                <a:gd name="T23" fmla="*/ 22 h 65"/>
                <a:gd name="T24" fmla="*/ 18 w 69"/>
                <a:gd name="T25" fmla="*/ 36 h 65"/>
                <a:gd name="T26" fmla="*/ 0 w 69"/>
                <a:gd name="T27" fmla="*/ 51 h 65"/>
                <a:gd name="T28" fmla="*/ 14 w 69"/>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5">
                  <a:moveTo>
                    <a:pt x="14" y="65"/>
                  </a:moveTo>
                  <a:lnTo>
                    <a:pt x="24" y="57"/>
                  </a:lnTo>
                  <a:lnTo>
                    <a:pt x="34" y="44"/>
                  </a:lnTo>
                  <a:lnTo>
                    <a:pt x="44" y="46"/>
                  </a:lnTo>
                  <a:lnTo>
                    <a:pt x="52" y="59"/>
                  </a:lnTo>
                  <a:lnTo>
                    <a:pt x="63" y="59"/>
                  </a:lnTo>
                  <a:lnTo>
                    <a:pt x="69" y="47"/>
                  </a:lnTo>
                  <a:lnTo>
                    <a:pt x="56" y="32"/>
                  </a:lnTo>
                  <a:lnTo>
                    <a:pt x="44" y="10"/>
                  </a:lnTo>
                  <a:lnTo>
                    <a:pt x="32" y="0"/>
                  </a:lnTo>
                  <a:lnTo>
                    <a:pt x="20" y="10"/>
                  </a:lnTo>
                  <a:lnTo>
                    <a:pt x="16" y="22"/>
                  </a:lnTo>
                  <a:lnTo>
                    <a:pt x="18" y="36"/>
                  </a:lnTo>
                  <a:lnTo>
                    <a:pt x="0" y="51"/>
                  </a:lnTo>
                  <a:lnTo>
                    <a:pt x="14" y="65"/>
                  </a:lnTo>
                  <a:close/>
                </a:path>
              </a:pathLst>
            </a:custGeom>
            <a:solidFill>
              <a:srgbClr val="FFFFFF"/>
            </a:solidFill>
            <a:ln w="9525">
              <a:solidFill>
                <a:srgbClr val="000000"/>
              </a:solidFill>
              <a:prstDash val="solid"/>
              <a:round/>
              <a:headEnd/>
              <a:tailEnd/>
            </a:ln>
          </p:spPr>
          <p:txBody>
            <a:bodyPr/>
            <a:lstStyle/>
            <a:p>
              <a:endParaRPr lang="cs-CZ"/>
            </a:p>
          </p:txBody>
        </p:sp>
        <p:sp>
          <p:nvSpPr>
            <p:cNvPr id="69" name="Freeform 95"/>
            <p:cNvSpPr>
              <a:spLocks/>
            </p:cNvSpPr>
            <p:nvPr/>
          </p:nvSpPr>
          <p:spPr bwMode="auto">
            <a:xfrm>
              <a:off x="1567" y="1946"/>
              <a:ext cx="15" cy="20"/>
            </a:xfrm>
            <a:custGeom>
              <a:avLst/>
              <a:gdLst>
                <a:gd name="T0" fmla="*/ 22 w 30"/>
                <a:gd name="T1" fmla="*/ 39 h 39"/>
                <a:gd name="T2" fmla="*/ 28 w 30"/>
                <a:gd name="T3" fmla="*/ 27 h 39"/>
                <a:gd name="T4" fmla="*/ 30 w 30"/>
                <a:gd name="T5" fmla="*/ 8 h 39"/>
                <a:gd name="T6" fmla="*/ 16 w 30"/>
                <a:gd name="T7" fmla="*/ 0 h 39"/>
                <a:gd name="T8" fmla="*/ 2 w 30"/>
                <a:gd name="T9" fmla="*/ 2 h 39"/>
                <a:gd name="T10" fmla="*/ 0 w 30"/>
                <a:gd name="T11" fmla="*/ 14 h 39"/>
                <a:gd name="T12" fmla="*/ 8 w 30"/>
                <a:gd name="T13" fmla="*/ 24 h 39"/>
                <a:gd name="T14" fmla="*/ 22 w 30"/>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9">
                  <a:moveTo>
                    <a:pt x="22" y="39"/>
                  </a:moveTo>
                  <a:lnTo>
                    <a:pt x="28" y="27"/>
                  </a:lnTo>
                  <a:lnTo>
                    <a:pt x="30" y="8"/>
                  </a:lnTo>
                  <a:lnTo>
                    <a:pt x="16" y="0"/>
                  </a:lnTo>
                  <a:lnTo>
                    <a:pt x="2" y="2"/>
                  </a:lnTo>
                  <a:lnTo>
                    <a:pt x="0" y="14"/>
                  </a:lnTo>
                  <a:lnTo>
                    <a:pt x="8" y="24"/>
                  </a:lnTo>
                  <a:lnTo>
                    <a:pt x="22" y="39"/>
                  </a:lnTo>
                  <a:close/>
                </a:path>
              </a:pathLst>
            </a:custGeom>
            <a:solidFill>
              <a:srgbClr val="FFFFFF"/>
            </a:solidFill>
            <a:ln w="9525">
              <a:solidFill>
                <a:srgbClr val="000000"/>
              </a:solidFill>
              <a:prstDash val="solid"/>
              <a:round/>
              <a:headEnd/>
              <a:tailEnd/>
            </a:ln>
          </p:spPr>
          <p:txBody>
            <a:bodyPr/>
            <a:lstStyle/>
            <a:p>
              <a:endParaRPr lang="cs-CZ"/>
            </a:p>
          </p:txBody>
        </p:sp>
        <p:sp>
          <p:nvSpPr>
            <p:cNvPr id="70" name="Freeform 96"/>
            <p:cNvSpPr>
              <a:spLocks/>
            </p:cNvSpPr>
            <p:nvPr/>
          </p:nvSpPr>
          <p:spPr bwMode="auto">
            <a:xfrm>
              <a:off x="1590" y="1902"/>
              <a:ext cx="53" cy="47"/>
            </a:xfrm>
            <a:custGeom>
              <a:avLst/>
              <a:gdLst>
                <a:gd name="T0" fmla="*/ 7 w 106"/>
                <a:gd name="T1" fmla="*/ 94 h 94"/>
                <a:gd name="T2" fmla="*/ 27 w 106"/>
                <a:gd name="T3" fmla="*/ 82 h 94"/>
                <a:gd name="T4" fmla="*/ 37 w 106"/>
                <a:gd name="T5" fmla="*/ 64 h 94"/>
                <a:gd name="T6" fmla="*/ 62 w 106"/>
                <a:gd name="T7" fmla="*/ 70 h 94"/>
                <a:gd name="T8" fmla="*/ 70 w 106"/>
                <a:gd name="T9" fmla="*/ 57 h 94"/>
                <a:gd name="T10" fmla="*/ 74 w 106"/>
                <a:gd name="T11" fmla="*/ 37 h 94"/>
                <a:gd name="T12" fmla="*/ 96 w 106"/>
                <a:gd name="T13" fmla="*/ 35 h 94"/>
                <a:gd name="T14" fmla="*/ 90 w 106"/>
                <a:gd name="T15" fmla="*/ 11 h 94"/>
                <a:gd name="T16" fmla="*/ 106 w 106"/>
                <a:gd name="T17" fmla="*/ 5 h 94"/>
                <a:gd name="T18" fmla="*/ 70 w 106"/>
                <a:gd name="T19" fmla="*/ 0 h 94"/>
                <a:gd name="T20" fmla="*/ 60 w 106"/>
                <a:gd name="T21" fmla="*/ 7 h 94"/>
                <a:gd name="T22" fmla="*/ 49 w 106"/>
                <a:gd name="T23" fmla="*/ 7 h 94"/>
                <a:gd name="T24" fmla="*/ 37 w 106"/>
                <a:gd name="T25" fmla="*/ 29 h 94"/>
                <a:gd name="T26" fmla="*/ 21 w 106"/>
                <a:gd name="T27" fmla="*/ 17 h 94"/>
                <a:gd name="T28" fmla="*/ 17 w 106"/>
                <a:gd name="T29" fmla="*/ 33 h 94"/>
                <a:gd name="T30" fmla="*/ 7 w 106"/>
                <a:gd name="T31" fmla="*/ 49 h 94"/>
                <a:gd name="T32" fmla="*/ 13 w 106"/>
                <a:gd name="T33" fmla="*/ 66 h 94"/>
                <a:gd name="T34" fmla="*/ 0 w 106"/>
                <a:gd name="T35" fmla="*/ 78 h 94"/>
                <a:gd name="T36" fmla="*/ 7 w 106"/>
                <a:gd name="T3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94">
                  <a:moveTo>
                    <a:pt x="7" y="94"/>
                  </a:moveTo>
                  <a:lnTo>
                    <a:pt x="27" y="82"/>
                  </a:lnTo>
                  <a:lnTo>
                    <a:pt x="37" y="64"/>
                  </a:lnTo>
                  <a:lnTo>
                    <a:pt x="62" y="70"/>
                  </a:lnTo>
                  <a:lnTo>
                    <a:pt x="70" y="57"/>
                  </a:lnTo>
                  <a:lnTo>
                    <a:pt x="74" y="37"/>
                  </a:lnTo>
                  <a:lnTo>
                    <a:pt x="96" y="35"/>
                  </a:lnTo>
                  <a:lnTo>
                    <a:pt x="90" y="11"/>
                  </a:lnTo>
                  <a:lnTo>
                    <a:pt x="106" y="5"/>
                  </a:lnTo>
                  <a:lnTo>
                    <a:pt x="70" y="0"/>
                  </a:lnTo>
                  <a:lnTo>
                    <a:pt x="60" y="7"/>
                  </a:lnTo>
                  <a:lnTo>
                    <a:pt x="49" y="7"/>
                  </a:lnTo>
                  <a:lnTo>
                    <a:pt x="37" y="29"/>
                  </a:lnTo>
                  <a:lnTo>
                    <a:pt x="21" y="17"/>
                  </a:lnTo>
                  <a:lnTo>
                    <a:pt x="17" y="33"/>
                  </a:lnTo>
                  <a:lnTo>
                    <a:pt x="7" y="49"/>
                  </a:lnTo>
                  <a:lnTo>
                    <a:pt x="13" y="66"/>
                  </a:lnTo>
                  <a:lnTo>
                    <a:pt x="0" y="78"/>
                  </a:lnTo>
                  <a:lnTo>
                    <a:pt x="7" y="94"/>
                  </a:lnTo>
                  <a:close/>
                </a:path>
              </a:pathLst>
            </a:custGeom>
            <a:solidFill>
              <a:srgbClr val="FFFFFF"/>
            </a:solidFill>
            <a:ln w="9525">
              <a:solidFill>
                <a:srgbClr val="000000"/>
              </a:solidFill>
              <a:prstDash val="solid"/>
              <a:round/>
              <a:headEnd/>
              <a:tailEnd/>
            </a:ln>
          </p:spPr>
          <p:txBody>
            <a:bodyPr/>
            <a:lstStyle/>
            <a:p>
              <a:endParaRPr lang="cs-CZ"/>
            </a:p>
          </p:txBody>
        </p:sp>
        <p:sp>
          <p:nvSpPr>
            <p:cNvPr id="71" name="Freeform 97"/>
            <p:cNvSpPr>
              <a:spLocks/>
            </p:cNvSpPr>
            <p:nvPr/>
          </p:nvSpPr>
          <p:spPr bwMode="auto">
            <a:xfrm>
              <a:off x="1592" y="1959"/>
              <a:ext cx="29" cy="48"/>
            </a:xfrm>
            <a:custGeom>
              <a:avLst/>
              <a:gdLst>
                <a:gd name="T0" fmla="*/ 26 w 59"/>
                <a:gd name="T1" fmla="*/ 96 h 96"/>
                <a:gd name="T2" fmla="*/ 59 w 59"/>
                <a:gd name="T3" fmla="*/ 96 h 96"/>
                <a:gd name="T4" fmla="*/ 57 w 59"/>
                <a:gd name="T5" fmla="*/ 21 h 96"/>
                <a:gd name="T6" fmla="*/ 40 w 59"/>
                <a:gd name="T7" fmla="*/ 0 h 96"/>
                <a:gd name="T8" fmla="*/ 28 w 59"/>
                <a:gd name="T9" fmla="*/ 21 h 96"/>
                <a:gd name="T10" fmla="*/ 10 w 59"/>
                <a:gd name="T11" fmla="*/ 15 h 96"/>
                <a:gd name="T12" fmla="*/ 0 w 59"/>
                <a:gd name="T13" fmla="*/ 29 h 96"/>
                <a:gd name="T14" fmla="*/ 8 w 59"/>
                <a:gd name="T15" fmla="*/ 43 h 96"/>
                <a:gd name="T16" fmla="*/ 20 w 59"/>
                <a:gd name="T17" fmla="*/ 55 h 96"/>
                <a:gd name="T18" fmla="*/ 26 w 59"/>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96">
                  <a:moveTo>
                    <a:pt x="26" y="96"/>
                  </a:moveTo>
                  <a:lnTo>
                    <a:pt x="59" y="96"/>
                  </a:lnTo>
                  <a:lnTo>
                    <a:pt x="57" y="21"/>
                  </a:lnTo>
                  <a:lnTo>
                    <a:pt x="40" y="0"/>
                  </a:lnTo>
                  <a:lnTo>
                    <a:pt x="28" y="21"/>
                  </a:lnTo>
                  <a:lnTo>
                    <a:pt x="10" y="15"/>
                  </a:lnTo>
                  <a:lnTo>
                    <a:pt x="0" y="29"/>
                  </a:lnTo>
                  <a:lnTo>
                    <a:pt x="8" y="43"/>
                  </a:lnTo>
                  <a:lnTo>
                    <a:pt x="20" y="55"/>
                  </a:lnTo>
                  <a:lnTo>
                    <a:pt x="26" y="96"/>
                  </a:lnTo>
                  <a:close/>
                </a:path>
              </a:pathLst>
            </a:custGeom>
            <a:solidFill>
              <a:srgbClr val="FFFFFF"/>
            </a:solidFill>
            <a:ln w="9525">
              <a:solidFill>
                <a:srgbClr val="000000"/>
              </a:solidFill>
              <a:prstDash val="solid"/>
              <a:round/>
              <a:headEnd/>
              <a:tailEnd/>
            </a:ln>
          </p:spPr>
          <p:txBody>
            <a:bodyPr/>
            <a:lstStyle/>
            <a:p>
              <a:endParaRPr lang="cs-CZ"/>
            </a:p>
          </p:txBody>
        </p:sp>
        <p:sp>
          <p:nvSpPr>
            <p:cNvPr id="72" name="Freeform 98"/>
            <p:cNvSpPr>
              <a:spLocks/>
            </p:cNvSpPr>
            <p:nvPr/>
          </p:nvSpPr>
          <p:spPr bwMode="auto">
            <a:xfrm>
              <a:off x="1571" y="2048"/>
              <a:ext cx="31" cy="29"/>
            </a:xfrm>
            <a:custGeom>
              <a:avLst/>
              <a:gdLst>
                <a:gd name="T0" fmla="*/ 39 w 61"/>
                <a:gd name="T1" fmla="*/ 0 h 57"/>
                <a:gd name="T2" fmla="*/ 61 w 61"/>
                <a:gd name="T3" fmla="*/ 26 h 57"/>
                <a:gd name="T4" fmla="*/ 61 w 61"/>
                <a:gd name="T5" fmla="*/ 44 h 57"/>
                <a:gd name="T6" fmla="*/ 39 w 61"/>
                <a:gd name="T7" fmla="*/ 57 h 57"/>
                <a:gd name="T8" fmla="*/ 10 w 61"/>
                <a:gd name="T9" fmla="*/ 53 h 57"/>
                <a:gd name="T10" fmla="*/ 0 w 61"/>
                <a:gd name="T11" fmla="*/ 44 h 57"/>
                <a:gd name="T12" fmla="*/ 28 w 61"/>
                <a:gd name="T13" fmla="*/ 44 h 57"/>
                <a:gd name="T14" fmla="*/ 38 w 61"/>
                <a:gd name="T15" fmla="*/ 30 h 57"/>
                <a:gd name="T16" fmla="*/ 30 w 61"/>
                <a:gd name="T17" fmla="*/ 14 h 57"/>
                <a:gd name="T18" fmla="*/ 39 w 61"/>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7">
                  <a:moveTo>
                    <a:pt x="39" y="0"/>
                  </a:moveTo>
                  <a:lnTo>
                    <a:pt x="61" y="26"/>
                  </a:lnTo>
                  <a:lnTo>
                    <a:pt x="61" y="44"/>
                  </a:lnTo>
                  <a:lnTo>
                    <a:pt x="39" y="57"/>
                  </a:lnTo>
                  <a:lnTo>
                    <a:pt x="10" y="53"/>
                  </a:lnTo>
                  <a:lnTo>
                    <a:pt x="0" y="44"/>
                  </a:lnTo>
                  <a:lnTo>
                    <a:pt x="28" y="44"/>
                  </a:lnTo>
                  <a:lnTo>
                    <a:pt x="38" y="30"/>
                  </a:lnTo>
                  <a:lnTo>
                    <a:pt x="30" y="14"/>
                  </a:lnTo>
                  <a:lnTo>
                    <a:pt x="39" y="0"/>
                  </a:lnTo>
                  <a:close/>
                </a:path>
              </a:pathLst>
            </a:custGeom>
            <a:solidFill>
              <a:srgbClr val="FFFFFF"/>
            </a:solidFill>
            <a:ln w="9525">
              <a:solidFill>
                <a:srgbClr val="000000"/>
              </a:solidFill>
              <a:prstDash val="solid"/>
              <a:round/>
              <a:headEnd/>
              <a:tailEnd/>
            </a:ln>
          </p:spPr>
          <p:txBody>
            <a:bodyPr/>
            <a:lstStyle/>
            <a:p>
              <a:endParaRPr lang="cs-CZ"/>
            </a:p>
          </p:txBody>
        </p:sp>
        <p:grpSp>
          <p:nvGrpSpPr>
            <p:cNvPr id="73" name="Group 99"/>
            <p:cNvGrpSpPr>
              <a:grpSpLocks/>
            </p:cNvGrpSpPr>
            <p:nvPr/>
          </p:nvGrpSpPr>
          <p:grpSpPr bwMode="auto">
            <a:xfrm>
              <a:off x="1578" y="2111"/>
              <a:ext cx="41" cy="48"/>
              <a:chOff x="1578" y="2111"/>
              <a:chExt cx="41" cy="48"/>
            </a:xfrm>
          </p:grpSpPr>
          <p:sp>
            <p:nvSpPr>
              <p:cNvPr id="113" name="Freeform 100"/>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 name="T30" fmla="*/ 51 w 82"/>
                  <a:gd name="T3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lnTo>
                      <a:pt x="5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14" name="Freeform 101"/>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74" name="Freeform 102"/>
            <p:cNvSpPr>
              <a:spLocks/>
            </p:cNvSpPr>
            <p:nvPr/>
          </p:nvSpPr>
          <p:spPr bwMode="auto">
            <a:xfrm>
              <a:off x="1553" y="2093"/>
              <a:ext cx="45" cy="34"/>
            </a:xfrm>
            <a:custGeom>
              <a:avLst/>
              <a:gdLst>
                <a:gd name="T0" fmla="*/ 23 w 88"/>
                <a:gd name="T1" fmla="*/ 66 h 66"/>
                <a:gd name="T2" fmla="*/ 29 w 88"/>
                <a:gd name="T3" fmla="*/ 57 h 66"/>
                <a:gd name="T4" fmla="*/ 43 w 88"/>
                <a:gd name="T5" fmla="*/ 57 h 66"/>
                <a:gd name="T6" fmla="*/ 49 w 88"/>
                <a:gd name="T7" fmla="*/ 37 h 66"/>
                <a:gd name="T8" fmla="*/ 67 w 88"/>
                <a:gd name="T9" fmla="*/ 37 h 66"/>
                <a:gd name="T10" fmla="*/ 82 w 88"/>
                <a:gd name="T11" fmla="*/ 13 h 66"/>
                <a:gd name="T12" fmla="*/ 88 w 88"/>
                <a:gd name="T13" fmla="*/ 0 h 66"/>
                <a:gd name="T14" fmla="*/ 71 w 88"/>
                <a:gd name="T15" fmla="*/ 6 h 66"/>
                <a:gd name="T16" fmla="*/ 47 w 88"/>
                <a:gd name="T17" fmla="*/ 27 h 66"/>
                <a:gd name="T18" fmla="*/ 41 w 88"/>
                <a:gd name="T19" fmla="*/ 13 h 66"/>
                <a:gd name="T20" fmla="*/ 27 w 88"/>
                <a:gd name="T21" fmla="*/ 21 h 66"/>
                <a:gd name="T22" fmla="*/ 8 w 88"/>
                <a:gd name="T23" fmla="*/ 19 h 66"/>
                <a:gd name="T24" fmla="*/ 0 w 88"/>
                <a:gd name="T25" fmla="*/ 33 h 66"/>
                <a:gd name="T26" fmla="*/ 4 w 88"/>
                <a:gd name="T27" fmla="*/ 45 h 66"/>
                <a:gd name="T28" fmla="*/ 14 w 88"/>
                <a:gd name="T29" fmla="*/ 49 h 66"/>
                <a:gd name="T30" fmla="*/ 23 w 88"/>
                <a:gd name="T3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6">
                  <a:moveTo>
                    <a:pt x="23" y="66"/>
                  </a:moveTo>
                  <a:lnTo>
                    <a:pt x="29" y="57"/>
                  </a:lnTo>
                  <a:lnTo>
                    <a:pt x="43" y="57"/>
                  </a:lnTo>
                  <a:lnTo>
                    <a:pt x="49" y="37"/>
                  </a:lnTo>
                  <a:lnTo>
                    <a:pt x="67" y="37"/>
                  </a:lnTo>
                  <a:lnTo>
                    <a:pt x="82" y="13"/>
                  </a:lnTo>
                  <a:lnTo>
                    <a:pt x="88" y="0"/>
                  </a:lnTo>
                  <a:lnTo>
                    <a:pt x="71" y="6"/>
                  </a:lnTo>
                  <a:lnTo>
                    <a:pt x="47" y="27"/>
                  </a:lnTo>
                  <a:lnTo>
                    <a:pt x="41" y="13"/>
                  </a:lnTo>
                  <a:lnTo>
                    <a:pt x="27" y="21"/>
                  </a:lnTo>
                  <a:lnTo>
                    <a:pt x="8" y="19"/>
                  </a:lnTo>
                  <a:lnTo>
                    <a:pt x="0" y="33"/>
                  </a:lnTo>
                  <a:lnTo>
                    <a:pt x="4" y="45"/>
                  </a:lnTo>
                  <a:lnTo>
                    <a:pt x="14" y="49"/>
                  </a:lnTo>
                  <a:lnTo>
                    <a:pt x="23" y="66"/>
                  </a:lnTo>
                  <a:close/>
                </a:path>
              </a:pathLst>
            </a:custGeom>
            <a:solidFill>
              <a:srgbClr val="FFFFFF"/>
            </a:solidFill>
            <a:ln w="9525">
              <a:solidFill>
                <a:srgbClr val="000000"/>
              </a:solidFill>
              <a:prstDash val="solid"/>
              <a:round/>
              <a:headEnd/>
              <a:tailEnd/>
            </a:ln>
          </p:spPr>
          <p:txBody>
            <a:bodyPr/>
            <a:lstStyle/>
            <a:p>
              <a:endParaRPr lang="cs-CZ"/>
            </a:p>
          </p:txBody>
        </p:sp>
        <p:sp>
          <p:nvSpPr>
            <p:cNvPr id="75" name="Freeform 103"/>
            <p:cNvSpPr>
              <a:spLocks/>
            </p:cNvSpPr>
            <p:nvPr/>
          </p:nvSpPr>
          <p:spPr bwMode="auto">
            <a:xfrm>
              <a:off x="1596" y="2246"/>
              <a:ext cx="25" cy="25"/>
            </a:xfrm>
            <a:custGeom>
              <a:avLst/>
              <a:gdLst>
                <a:gd name="T0" fmla="*/ 4 w 51"/>
                <a:gd name="T1" fmla="*/ 51 h 51"/>
                <a:gd name="T2" fmla="*/ 20 w 51"/>
                <a:gd name="T3" fmla="*/ 36 h 51"/>
                <a:gd name="T4" fmla="*/ 38 w 51"/>
                <a:gd name="T5" fmla="*/ 39 h 51"/>
                <a:gd name="T6" fmla="*/ 49 w 51"/>
                <a:gd name="T7" fmla="*/ 26 h 51"/>
                <a:gd name="T8" fmla="*/ 51 w 51"/>
                <a:gd name="T9" fmla="*/ 0 h 51"/>
                <a:gd name="T10" fmla="*/ 26 w 51"/>
                <a:gd name="T11" fmla="*/ 6 h 51"/>
                <a:gd name="T12" fmla="*/ 8 w 51"/>
                <a:gd name="T13" fmla="*/ 20 h 51"/>
                <a:gd name="T14" fmla="*/ 0 w 51"/>
                <a:gd name="T15" fmla="*/ 32 h 51"/>
                <a:gd name="T16" fmla="*/ 4 w 5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4" y="51"/>
                  </a:moveTo>
                  <a:lnTo>
                    <a:pt x="20" y="36"/>
                  </a:lnTo>
                  <a:lnTo>
                    <a:pt x="38" y="39"/>
                  </a:lnTo>
                  <a:lnTo>
                    <a:pt x="49" y="26"/>
                  </a:lnTo>
                  <a:lnTo>
                    <a:pt x="51" y="0"/>
                  </a:lnTo>
                  <a:lnTo>
                    <a:pt x="26" y="6"/>
                  </a:lnTo>
                  <a:lnTo>
                    <a:pt x="8" y="20"/>
                  </a:lnTo>
                  <a:lnTo>
                    <a:pt x="0" y="32"/>
                  </a:lnTo>
                  <a:lnTo>
                    <a:pt x="4" y="51"/>
                  </a:lnTo>
                  <a:close/>
                </a:path>
              </a:pathLst>
            </a:custGeom>
            <a:solidFill>
              <a:srgbClr val="FFFFFF"/>
            </a:solidFill>
            <a:ln w="9525">
              <a:solidFill>
                <a:srgbClr val="000000"/>
              </a:solidFill>
              <a:prstDash val="solid"/>
              <a:round/>
              <a:headEnd/>
              <a:tailEnd/>
            </a:ln>
          </p:spPr>
          <p:txBody>
            <a:bodyPr/>
            <a:lstStyle/>
            <a:p>
              <a:endParaRPr lang="cs-CZ"/>
            </a:p>
          </p:txBody>
        </p:sp>
        <p:sp>
          <p:nvSpPr>
            <p:cNvPr id="76" name="Freeform 104"/>
            <p:cNvSpPr>
              <a:spLocks/>
            </p:cNvSpPr>
            <p:nvPr/>
          </p:nvSpPr>
          <p:spPr bwMode="auto">
            <a:xfrm>
              <a:off x="2646" y="2082"/>
              <a:ext cx="35" cy="78"/>
            </a:xfrm>
            <a:custGeom>
              <a:avLst/>
              <a:gdLst>
                <a:gd name="T0" fmla="*/ 10 w 70"/>
                <a:gd name="T1" fmla="*/ 157 h 157"/>
                <a:gd name="T2" fmla="*/ 67 w 70"/>
                <a:gd name="T3" fmla="*/ 69 h 157"/>
                <a:gd name="T4" fmla="*/ 61 w 70"/>
                <a:gd name="T5" fmla="*/ 32 h 157"/>
                <a:gd name="T6" fmla="*/ 70 w 70"/>
                <a:gd name="T7" fmla="*/ 4 h 157"/>
                <a:gd name="T8" fmla="*/ 37 w 70"/>
                <a:gd name="T9" fmla="*/ 0 h 157"/>
                <a:gd name="T10" fmla="*/ 6 w 70"/>
                <a:gd name="T11" fmla="*/ 41 h 157"/>
                <a:gd name="T12" fmla="*/ 0 w 70"/>
                <a:gd name="T13" fmla="*/ 89 h 157"/>
                <a:gd name="T14" fmla="*/ 0 w 70"/>
                <a:gd name="T15" fmla="*/ 116 h 157"/>
                <a:gd name="T16" fmla="*/ 10 w 70"/>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57">
                  <a:moveTo>
                    <a:pt x="10" y="157"/>
                  </a:moveTo>
                  <a:lnTo>
                    <a:pt x="67" y="69"/>
                  </a:lnTo>
                  <a:lnTo>
                    <a:pt x="61" y="32"/>
                  </a:lnTo>
                  <a:lnTo>
                    <a:pt x="70" y="4"/>
                  </a:lnTo>
                  <a:lnTo>
                    <a:pt x="37" y="0"/>
                  </a:lnTo>
                  <a:lnTo>
                    <a:pt x="6" y="41"/>
                  </a:lnTo>
                  <a:lnTo>
                    <a:pt x="0" y="89"/>
                  </a:lnTo>
                  <a:lnTo>
                    <a:pt x="0" y="116"/>
                  </a:lnTo>
                  <a:lnTo>
                    <a:pt x="10" y="157"/>
                  </a:lnTo>
                  <a:close/>
                </a:path>
              </a:pathLst>
            </a:custGeom>
            <a:solidFill>
              <a:srgbClr val="FFFFFF"/>
            </a:solidFill>
            <a:ln w="9525">
              <a:solidFill>
                <a:srgbClr val="000000"/>
              </a:solidFill>
              <a:prstDash val="solid"/>
              <a:round/>
              <a:headEnd/>
              <a:tailEnd/>
            </a:ln>
          </p:spPr>
          <p:txBody>
            <a:bodyPr/>
            <a:lstStyle/>
            <a:p>
              <a:endParaRPr lang="cs-CZ"/>
            </a:p>
          </p:txBody>
        </p:sp>
        <p:sp>
          <p:nvSpPr>
            <p:cNvPr id="77" name="Freeform 105"/>
            <p:cNvSpPr>
              <a:spLocks/>
            </p:cNvSpPr>
            <p:nvPr/>
          </p:nvSpPr>
          <p:spPr bwMode="auto">
            <a:xfrm>
              <a:off x="2803" y="2009"/>
              <a:ext cx="57" cy="53"/>
            </a:xfrm>
            <a:custGeom>
              <a:avLst/>
              <a:gdLst>
                <a:gd name="T0" fmla="*/ 24 w 114"/>
                <a:gd name="T1" fmla="*/ 106 h 106"/>
                <a:gd name="T2" fmla="*/ 49 w 114"/>
                <a:gd name="T3" fmla="*/ 49 h 106"/>
                <a:gd name="T4" fmla="*/ 79 w 114"/>
                <a:gd name="T5" fmla="*/ 59 h 106"/>
                <a:gd name="T6" fmla="*/ 114 w 114"/>
                <a:gd name="T7" fmla="*/ 15 h 106"/>
                <a:gd name="T8" fmla="*/ 92 w 114"/>
                <a:gd name="T9" fmla="*/ 0 h 106"/>
                <a:gd name="T10" fmla="*/ 65 w 114"/>
                <a:gd name="T11" fmla="*/ 0 h 106"/>
                <a:gd name="T12" fmla="*/ 37 w 114"/>
                <a:gd name="T13" fmla="*/ 0 h 106"/>
                <a:gd name="T14" fmla="*/ 24 w 114"/>
                <a:gd name="T15" fmla="*/ 15 h 106"/>
                <a:gd name="T16" fmla="*/ 0 w 114"/>
                <a:gd name="T17" fmla="*/ 25 h 106"/>
                <a:gd name="T18" fmla="*/ 8 w 114"/>
                <a:gd name="T19" fmla="*/ 59 h 106"/>
                <a:gd name="T20" fmla="*/ 32 w 114"/>
                <a:gd name="T21" fmla="*/ 82 h 106"/>
                <a:gd name="T22" fmla="*/ 24 w 114"/>
                <a:gd name="T2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06">
                  <a:moveTo>
                    <a:pt x="24" y="106"/>
                  </a:moveTo>
                  <a:lnTo>
                    <a:pt x="49" y="49"/>
                  </a:lnTo>
                  <a:lnTo>
                    <a:pt x="79" y="59"/>
                  </a:lnTo>
                  <a:lnTo>
                    <a:pt x="114" y="15"/>
                  </a:lnTo>
                  <a:lnTo>
                    <a:pt x="92" y="0"/>
                  </a:lnTo>
                  <a:lnTo>
                    <a:pt x="65" y="0"/>
                  </a:lnTo>
                  <a:lnTo>
                    <a:pt x="37" y="0"/>
                  </a:lnTo>
                  <a:lnTo>
                    <a:pt x="24" y="15"/>
                  </a:lnTo>
                  <a:lnTo>
                    <a:pt x="0" y="25"/>
                  </a:lnTo>
                  <a:lnTo>
                    <a:pt x="8" y="59"/>
                  </a:lnTo>
                  <a:lnTo>
                    <a:pt x="32" y="82"/>
                  </a:lnTo>
                  <a:lnTo>
                    <a:pt x="24" y="106"/>
                  </a:lnTo>
                  <a:close/>
                </a:path>
              </a:pathLst>
            </a:custGeom>
            <a:solidFill>
              <a:srgbClr val="FFFFFF"/>
            </a:solidFill>
            <a:ln w="9525">
              <a:solidFill>
                <a:srgbClr val="000000"/>
              </a:solidFill>
              <a:prstDash val="solid"/>
              <a:round/>
              <a:headEnd/>
              <a:tailEnd/>
            </a:ln>
          </p:spPr>
          <p:txBody>
            <a:bodyPr/>
            <a:lstStyle/>
            <a:p>
              <a:endParaRPr lang="cs-CZ"/>
            </a:p>
          </p:txBody>
        </p:sp>
        <p:sp>
          <p:nvSpPr>
            <p:cNvPr id="78" name="Freeform 106"/>
            <p:cNvSpPr>
              <a:spLocks/>
            </p:cNvSpPr>
            <p:nvPr/>
          </p:nvSpPr>
          <p:spPr bwMode="auto">
            <a:xfrm>
              <a:off x="2808" y="1970"/>
              <a:ext cx="36" cy="35"/>
            </a:xfrm>
            <a:custGeom>
              <a:avLst/>
              <a:gdLst>
                <a:gd name="T0" fmla="*/ 0 w 73"/>
                <a:gd name="T1" fmla="*/ 37 h 71"/>
                <a:gd name="T2" fmla="*/ 31 w 73"/>
                <a:gd name="T3" fmla="*/ 51 h 71"/>
                <a:gd name="T4" fmla="*/ 41 w 73"/>
                <a:gd name="T5" fmla="*/ 71 h 71"/>
                <a:gd name="T6" fmla="*/ 69 w 73"/>
                <a:gd name="T7" fmla="*/ 39 h 71"/>
                <a:gd name="T8" fmla="*/ 73 w 73"/>
                <a:gd name="T9" fmla="*/ 16 h 71"/>
                <a:gd name="T10" fmla="*/ 35 w 73"/>
                <a:gd name="T11" fmla="*/ 0 h 71"/>
                <a:gd name="T12" fmla="*/ 22 w 73"/>
                <a:gd name="T13" fmla="*/ 20 h 71"/>
                <a:gd name="T14" fmla="*/ 0 w 73"/>
                <a:gd name="T15" fmla="*/ 37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1">
                  <a:moveTo>
                    <a:pt x="0" y="37"/>
                  </a:moveTo>
                  <a:lnTo>
                    <a:pt x="31" y="51"/>
                  </a:lnTo>
                  <a:lnTo>
                    <a:pt x="41" y="71"/>
                  </a:lnTo>
                  <a:lnTo>
                    <a:pt x="69" y="39"/>
                  </a:lnTo>
                  <a:lnTo>
                    <a:pt x="73" y="16"/>
                  </a:lnTo>
                  <a:lnTo>
                    <a:pt x="35" y="0"/>
                  </a:lnTo>
                  <a:lnTo>
                    <a:pt x="22" y="20"/>
                  </a:lnTo>
                  <a:lnTo>
                    <a:pt x="0" y="37"/>
                  </a:lnTo>
                  <a:close/>
                </a:path>
              </a:pathLst>
            </a:custGeom>
            <a:solidFill>
              <a:srgbClr val="FFFFFF"/>
            </a:solidFill>
            <a:ln w="9525">
              <a:solidFill>
                <a:srgbClr val="000000"/>
              </a:solidFill>
              <a:prstDash val="solid"/>
              <a:round/>
              <a:headEnd/>
              <a:tailEnd/>
            </a:ln>
          </p:spPr>
          <p:txBody>
            <a:bodyPr/>
            <a:lstStyle/>
            <a:p>
              <a:endParaRPr lang="cs-CZ"/>
            </a:p>
          </p:txBody>
        </p:sp>
        <p:sp>
          <p:nvSpPr>
            <p:cNvPr id="79" name="Freeform 107"/>
            <p:cNvSpPr>
              <a:spLocks/>
            </p:cNvSpPr>
            <p:nvPr/>
          </p:nvSpPr>
          <p:spPr bwMode="auto">
            <a:xfrm>
              <a:off x="2701" y="1875"/>
              <a:ext cx="19" cy="29"/>
            </a:xfrm>
            <a:custGeom>
              <a:avLst/>
              <a:gdLst>
                <a:gd name="T0" fmla="*/ 37 w 37"/>
                <a:gd name="T1" fmla="*/ 56 h 56"/>
                <a:gd name="T2" fmla="*/ 19 w 37"/>
                <a:gd name="T3" fmla="*/ 39 h 56"/>
                <a:gd name="T4" fmla="*/ 31 w 37"/>
                <a:gd name="T5" fmla="*/ 19 h 56"/>
                <a:gd name="T6" fmla="*/ 19 w 37"/>
                <a:gd name="T7" fmla="*/ 0 h 56"/>
                <a:gd name="T8" fmla="*/ 4 w 37"/>
                <a:gd name="T9" fmla="*/ 19 h 56"/>
                <a:gd name="T10" fmla="*/ 0 w 37"/>
                <a:gd name="T11" fmla="*/ 47 h 56"/>
                <a:gd name="T12" fmla="*/ 37 w 37"/>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37" h="56">
                  <a:moveTo>
                    <a:pt x="37" y="56"/>
                  </a:moveTo>
                  <a:lnTo>
                    <a:pt x="19" y="39"/>
                  </a:lnTo>
                  <a:lnTo>
                    <a:pt x="31" y="19"/>
                  </a:lnTo>
                  <a:lnTo>
                    <a:pt x="19" y="0"/>
                  </a:lnTo>
                  <a:lnTo>
                    <a:pt x="4" y="19"/>
                  </a:lnTo>
                  <a:lnTo>
                    <a:pt x="0" y="47"/>
                  </a:lnTo>
                  <a:lnTo>
                    <a:pt x="37" y="56"/>
                  </a:lnTo>
                  <a:close/>
                </a:path>
              </a:pathLst>
            </a:custGeom>
            <a:solidFill>
              <a:srgbClr val="FFFFFF"/>
            </a:solidFill>
            <a:ln w="9525">
              <a:solidFill>
                <a:srgbClr val="000000"/>
              </a:solidFill>
              <a:prstDash val="solid"/>
              <a:round/>
              <a:headEnd/>
              <a:tailEnd/>
            </a:ln>
          </p:spPr>
          <p:txBody>
            <a:bodyPr/>
            <a:lstStyle/>
            <a:p>
              <a:endParaRPr lang="cs-CZ"/>
            </a:p>
          </p:txBody>
        </p:sp>
        <p:sp>
          <p:nvSpPr>
            <p:cNvPr id="80" name="Freeform 108"/>
            <p:cNvSpPr>
              <a:spLocks/>
            </p:cNvSpPr>
            <p:nvPr/>
          </p:nvSpPr>
          <p:spPr bwMode="auto">
            <a:xfrm>
              <a:off x="2201" y="2092"/>
              <a:ext cx="129" cy="226"/>
            </a:xfrm>
            <a:custGeom>
              <a:avLst/>
              <a:gdLst>
                <a:gd name="T0" fmla="*/ 47 w 257"/>
                <a:gd name="T1" fmla="*/ 434 h 452"/>
                <a:gd name="T2" fmla="*/ 98 w 257"/>
                <a:gd name="T3" fmla="*/ 452 h 452"/>
                <a:gd name="T4" fmla="*/ 110 w 257"/>
                <a:gd name="T5" fmla="*/ 446 h 452"/>
                <a:gd name="T6" fmla="*/ 120 w 257"/>
                <a:gd name="T7" fmla="*/ 430 h 452"/>
                <a:gd name="T8" fmla="*/ 100 w 257"/>
                <a:gd name="T9" fmla="*/ 416 h 452"/>
                <a:gd name="T10" fmla="*/ 129 w 257"/>
                <a:gd name="T11" fmla="*/ 395 h 452"/>
                <a:gd name="T12" fmla="*/ 125 w 257"/>
                <a:gd name="T13" fmla="*/ 353 h 452"/>
                <a:gd name="T14" fmla="*/ 145 w 257"/>
                <a:gd name="T15" fmla="*/ 342 h 452"/>
                <a:gd name="T16" fmla="*/ 147 w 257"/>
                <a:gd name="T17" fmla="*/ 314 h 452"/>
                <a:gd name="T18" fmla="*/ 169 w 257"/>
                <a:gd name="T19" fmla="*/ 314 h 452"/>
                <a:gd name="T20" fmla="*/ 171 w 257"/>
                <a:gd name="T21" fmla="*/ 292 h 452"/>
                <a:gd name="T22" fmla="*/ 200 w 257"/>
                <a:gd name="T23" fmla="*/ 294 h 452"/>
                <a:gd name="T24" fmla="*/ 198 w 257"/>
                <a:gd name="T25" fmla="*/ 247 h 452"/>
                <a:gd name="T26" fmla="*/ 222 w 257"/>
                <a:gd name="T27" fmla="*/ 257 h 452"/>
                <a:gd name="T28" fmla="*/ 230 w 257"/>
                <a:gd name="T29" fmla="*/ 241 h 452"/>
                <a:gd name="T30" fmla="*/ 253 w 257"/>
                <a:gd name="T31" fmla="*/ 232 h 452"/>
                <a:gd name="T32" fmla="*/ 257 w 257"/>
                <a:gd name="T33" fmla="*/ 198 h 452"/>
                <a:gd name="T34" fmla="*/ 226 w 257"/>
                <a:gd name="T35" fmla="*/ 200 h 452"/>
                <a:gd name="T36" fmla="*/ 212 w 257"/>
                <a:gd name="T37" fmla="*/ 212 h 452"/>
                <a:gd name="T38" fmla="*/ 194 w 257"/>
                <a:gd name="T39" fmla="*/ 208 h 452"/>
                <a:gd name="T40" fmla="*/ 196 w 257"/>
                <a:gd name="T41" fmla="*/ 192 h 452"/>
                <a:gd name="T42" fmla="*/ 202 w 257"/>
                <a:gd name="T43" fmla="*/ 171 h 452"/>
                <a:gd name="T44" fmla="*/ 200 w 257"/>
                <a:gd name="T45" fmla="*/ 159 h 452"/>
                <a:gd name="T46" fmla="*/ 202 w 257"/>
                <a:gd name="T47" fmla="*/ 145 h 452"/>
                <a:gd name="T48" fmla="*/ 208 w 257"/>
                <a:gd name="T49" fmla="*/ 108 h 452"/>
                <a:gd name="T50" fmla="*/ 218 w 257"/>
                <a:gd name="T51" fmla="*/ 100 h 452"/>
                <a:gd name="T52" fmla="*/ 228 w 257"/>
                <a:gd name="T53" fmla="*/ 84 h 452"/>
                <a:gd name="T54" fmla="*/ 233 w 257"/>
                <a:gd name="T55" fmla="*/ 70 h 452"/>
                <a:gd name="T56" fmla="*/ 232 w 257"/>
                <a:gd name="T57" fmla="*/ 0 h 452"/>
                <a:gd name="T58" fmla="*/ 198 w 257"/>
                <a:gd name="T59" fmla="*/ 19 h 452"/>
                <a:gd name="T60" fmla="*/ 157 w 257"/>
                <a:gd name="T61" fmla="*/ 43 h 452"/>
                <a:gd name="T62" fmla="*/ 151 w 257"/>
                <a:gd name="T63" fmla="*/ 72 h 452"/>
                <a:gd name="T64" fmla="*/ 127 w 257"/>
                <a:gd name="T65" fmla="*/ 82 h 452"/>
                <a:gd name="T66" fmla="*/ 66 w 257"/>
                <a:gd name="T67" fmla="*/ 88 h 452"/>
                <a:gd name="T68" fmla="*/ 49 w 257"/>
                <a:gd name="T69" fmla="*/ 106 h 452"/>
                <a:gd name="T70" fmla="*/ 39 w 257"/>
                <a:gd name="T71" fmla="*/ 122 h 452"/>
                <a:gd name="T72" fmla="*/ 31 w 257"/>
                <a:gd name="T73" fmla="*/ 147 h 452"/>
                <a:gd name="T74" fmla="*/ 19 w 257"/>
                <a:gd name="T75" fmla="*/ 155 h 452"/>
                <a:gd name="T76" fmla="*/ 15 w 257"/>
                <a:gd name="T77" fmla="*/ 182 h 452"/>
                <a:gd name="T78" fmla="*/ 8 w 257"/>
                <a:gd name="T79" fmla="*/ 194 h 452"/>
                <a:gd name="T80" fmla="*/ 4 w 257"/>
                <a:gd name="T81" fmla="*/ 220 h 452"/>
                <a:gd name="T82" fmla="*/ 0 w 257"/>
                <a:gd name="T83" fmla="*/ 328 h 452"/>
                <a:gd name="T84" fmla="*/ 23 w 257"/>
                <a:gd name="T85" fmla="*/ 334 h 452"/>
                <a:gd name="T86" fmla="*/ 25 w 257"/>
                <a:gd name="T87" fmla="*/ 353 h 452"/>
                <a:gd name="T88" fmla="*/ 43 w 257"/>
                <a:gd name="T89" fmla="*/ 363 h 452"/>
                <a:gd name="T90" fmla="*/ 47 w 257"/>
                <a:gd name="T91" fmla="*/ 43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452">
                  <a:moveTo>
                    <a:pt x="47" y="434"/>
                  </a:moveTo>
                  <a:lnTo>
                    <a:pt x="98" y="452"/>
                  </a:lnTo>
                  <a:lnTo>
                    <a:pt x="110" y="446"/>
                  </a:lnTo>
                  <a:lnTo>
                    <a:pt x="120" y="430"/>
                  </a:lnTo>
                  <a:lnTo>
                    <a:pt x="100" y="416"/>
                  </a:lnTo>
                  <a:lnTo>
                    <a:pt x="129" y="395"/>
                  </a:lnTo>
                  <a:lnTo>
                    <a:pt x="125" y="353"/>
                  </a:lnTo>
                  <a:lnTo>
                    <a:pt x="145" y="342"/>
                  </a:lnTo>
                  <a:lnTo>
                    <a:pt x="147" y="314"/>
                  </a:lnTo>
                  <a:lnTo>
                    <a:pt x="169" y="314"/>
                  </a:lnTo>
                  <a:lnTo>
                    <a:pt x="171" y="292"/>
                  </a:lnTo>
                  <a:lnTo>
                    <a:pt x="200" y="294"/>
                  </a:lnTo>
                  <a:lnTo>
                    <a:pt x="198" y="247"/>
                  </a:lnTo>
                  <a:lnTo>
                    <a:pt x="222" y="257"/>
                  </a:lnTo>
                  <a:lnTo>
                    <a:pt x="230" y="241"/>
                  </a:lnTo>
                  <a:lnTo>
                    <a:pt x="253" y="232"/>
                  </a:lnTo>
                  <a:lnTo>
                    <a:pt x="257" y="198"/>
                  </a:lnTo>
                  <a:lnTo>
                    <a:pt x="226" y="200"/>
                  </a:lnTo>
                  <a:lnTo>
                    <a:pt x="212" y="212"/>
                  </a:lnTo>
                  <a:lnTo>
                    <a:pt x="194" y="208"/>
                  </a:lnTo>
                  <a:lnTo>
                    <a:pt x="196" y="192"/>
                  </a:lnTo>
                  <a:lnTo>
                    <a:pt x="202" y="171"/>
                  </a:lnTo>
                  <a:lnTo>
                    <a:pt x="200" y="159"/>
                  </a:lnTo>
                  <a:lnTo>
                    <a:pt x="202" y="145"/>
                  </a:lnTo>
                  <a:lnTo>
                    <a:pt x="208" y="108"/>
                  </a:lnTo>
                  <a:lnTo>
                    <a:pt x="218" y="100"/>
                  </a:lnTo>
                  <a:lnTo>
                    <a:pt x="228" y="84"/>
                  </a:lnTo>
                  <a:lnTo>
                    <a:pt x="233" y="70"/>
                  </a:lnTo>
                  <a:lnTo>
                    <a:pt x="232" y="0"/>
                  </a:lnTo>
                  <a:lnTo>
                    <a:pt x="198" y="19"/>
                  </a:lnTo>
                  <a:lnTo>
                    <a:pt x="157" y="43"/>
                  </a:lnTo>
                  <a:lnTo>
                    <a:pt x="151" y="72"/>
                  </a:lnTo>
                  <a:lnTo>
                    <a:pt x="127" y="82"/>
                  </a:lnTo>
                  <a:lnTo>
                    <a:pt x="66" y="88"/>
                  </a:lnTo>
                  <a:lnTo>
                    <a:pt x="49" y="106"/>
                  </a:lnTo>
                  <a:lnTo>
                    <a:pt x="39" y="122"/>
                  </a:lnTo>
                  <a:lnTo>
                    <a:pt x="31" y="147"/>
                  </a:lnTo>
                  <a:lnTo>
                    <a:pt x="19" y="155"/>
                  </a:lnTo>
                  <a:lnTo>
                    <a:pt x="15" y="182"/>
                  </a:lnTo>
                  <a:lnTo>
                    <a:pt x="8" y="194"/>
                  </a:lnTo>
                  <a:lnTo>
                    <a:pt x="4" y="220"/>
                  </a:lnTo>
                  <a:lnTo>
                    <a:pt x="0" y="328"/>
                  </a:lnTo>
                  <a:lnTo>
                    <a:pt x="23" y="334"/>
                  </a:lnTo>
                  <a:lnTo>
                    <a:pt x="25" y="353"/>
                  </a:lnTo>
                  <a:lnTo>
                    <a:pt x="43" y="363"/>
                  </a:lnTo>
                  <a:lnTo>
                    <a:pt x="47" y="434"/>
                  </a:lnTo>
                  <a:close/>
                </a:path>
              </a:pathLst>
            </a:custGeom>
            <a:solidFill>
              <a:srgbClr val="FA0000"/>
            </a:solidFill>
            <a:ln w="9525">
              <a:solidFill>
                <a:srgbClr val="000000"/>
              </a:solidFill>
              <a:prstDash val="solid"/>
              <a:round/>
              <a:headEnd/>
              <a:tailEnd/>
            </a:ln>
          </p:spPr>
          <p:txBody>
            <a:bodyPr/>
            <a:lstStyle/>
            <a:p>
              <a:endParaRPr lang="cs-CZ"/>
            </a:p>
          </p:txBody>
        </p:sp>
        <p:sp>
          <p:nvSpPr>
            <p:cNvPr id="81" name="Freeform 109"/>
            <p:cNvSpPr>
              <a:spLocks/>
            </p:cNvSpPr>
            <p:nvPr/>
          </p:nvSpPr>
          <p:spPr bwMode="auto">
            <a:xfrm>
              <a:off x="2332" y="2227"/>
              <a:ext cx="84" cy="89"/>
            </a:xfrm>
            <a:custGeom>
              <a:avLst/>
              <a:gdLst>
                <a:gd name="T0" fmla="*/ 167 w 167"/>
                <a:gd name="T1" fmla="*/ 63 h 179"/>
                <a:gd name="T2" fmla="*/ 143 w 167"/>
                <a:gd name="T3" fmla="*/ 65 h 179"/>
                <a:gd name="T4" fmla="*/ 124 w 167"/>
                <a:gd name="T5" fmla="*/ 88 h 179"/>
                <a:gd name="T6" fmla="*/ 122 w 167"/>
                <a:gd name="T7" fmla="*/ 106 h 179"/>
                <a:gd name="T8" fmla="*/ 136 w 167"/>
                <a:gd name="T9" fmla="*/ 132 h 179"/>
                <a:gd name="T10" fmla="*/ 108 w 167"/>
                <a:gd name="T11" fmla="*/ 145 h 179"/>
                <a:gd name="T12" fmla="*/ 106 w 167"/>
                <a:gd name="T13" fmla="*/ 175 h 179"/>
                <a:gd name="T14" fmla="*/ 92 w 167"/>
                <a:gd name="T15" fmla="*/ 179 h 179"/>
                <a:gd name="T16" fmla="*/ 69 w 167"/>
                <a:gd name="T17" fmla="*/ 167 h 179"/>
                <a:gd name="T18" fmla="*/ 59 w 167"/>
                <a:gd name="T19" fmla="*/ 147 h 179"/>
                <a:gd name="T20" fmla="*/ 31 w 167"/>
                <a:gd name="T21" fmla="*/ 145 h 179"/>
                <a:gd name="T22" fmla="*/ 20 w 167"/>
                <a:gd name="T23" fmla="*/ 130 h 179"/>
                <a:gd name="T24" fmla="*/ 12 w 167"/>
                <a:gd name="T25" fmla="*/ 116 h 179"/>
                <a:gd name="T26" fmla="*/ 22 w 167"/>
                <a:gd name="T27" fmla="*/ 96 h 179"/>
                <a:gd name="T28" fmla="*/ 20 w 167"/>
                <a:gd name="T29" fmla="*/ 80 h 179"/>
                <a:gd name="T30" fmla="*/ 0 w 167"/>
                <a:gd name="T31" fmla="*/ 59 h 179"/>
                <a:gd name="T32" fmla="*/ 14 w 167"/>
                <a:gd name="T33" fmla="*/ 51 h 179"/>
                <a:gd name="T34" fmla="*/ 31 w 167"/>
                <a:gd name="T35" fmla="*/ 55 h 179"/>
                <a:gd name="T36" fmla="*/ 45 w 167"/>
                <a:gd name="T37" fmla="*/ 41 h 179"/>
                <a:gd name="T38" fmla="*/ 45 w 167"/>
                <a:gd name="T39" fmla="*/ 12 h 179"/>
                <a:gd name="T40" fmla="*/ 81 w 167"/>
                <a:gd name="T41" fmla="*/ 21 h 179"/>
                <a:gd name="T42" fmla="*/ 79 w 167"/>
                <a:gd name="T43" fmla="*/ 33 h 179"/>
                <a:gd name="T44" fmla="*/ 77 w 167"/>
                <a:gd name="T45" fmla="*/ 57 h 179"/>
                <a:gd name="T46" fmla="*/ 92 w 167"/>
                <a:gd name="T47" fmla="*/ 55 h 179"/>
                <a:gd name="T48" fmla="*/ 102 w 167"/>
                <a:gd name="T49" fmla="*/ 51 h 179"/>
                <a:gd name="T50" fmla="*/ 96 w 167"/>
                <a:gd name="T51" fmla="*/ 12 h 179"/>
                <a:gd name="T52" fmla="*/ 116 w 167"/>
                <a:gd name="T53" fmla="*/ 0 h 179"/>
                <a:gd name="T54" fmla="*/ 132 w 167"/>
                <a:gd name="T55" fmla="*/ 2 h 179"/>
                <a:gd name="T56" fmla="*/ 167 w 167"/>
                <a:gd name="T57" fmla="*/ 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179">
                  <a:moveTo>
                    <a:pt x="167" y="63"/>
                  </a:moveTo>
                  <a:lnTo>
                    <a:pt x="143" y="65"/>
                  </a:lnTo>
                  <a:lnTo>
                    <a:pt x="124" y="88"/>
                  </a:lnTo>
                  <a:lnTo>
                    <a:pt x="122" y="106"/>
                  </a:lnTo>
                  <a:lnTo>
                    <a:pt x="136" y="132"/>
                  </a:lnTo>
                  <a:lnTo>
                    <a:pt x="108" y="145"/>
                  </a:lnTo>
                  <a:lnTo>
                    <a:pt x="106" y="175"/>
                  </a:lnTo>
                  <a:lnTo>
                    <a:pt x="92" y="179"/>
                  </a:lnTo>
                  <a:lnTo>
                    <a:pt x="69" y="167"/>
                  </a:lnTo>
                  <a:lnTo>
                    <a:pt x="59" y="147"/>
                  </a:lnTo>
                  <a:lnTo>
                    <a:pt x="31" y="145"/>
                  </a:lnTo>
                  <a:lnTo>
                    <a:pt x="20" y="130"/>
                  </a:lnTo>
                  <a:lnTo>
                    <a:pt x="12" y="116"/>
                  </a:lnTo>
                  <a:lnTo>
                    <a:pt x="22" y="96"/>
                  </a:lnTo>
                  <a:lnTo>
                    <a:pt x="20" y="80"/>
                  </a:lnTo>
                  <a:lnTo>
                    <a:pt x="0" y="59"/>
                  </a:lnTo>
                  <a:lnTo>
                    <a:pt x="14" y="51"/>
                  </a:lnTo>
                  <a:lnTo>
                    <a:pt x="31" y="55"/>
                  </a:lnTo>
                  <a:lnTo>
                    <a:pt x="45" y="41"/>
                  </a:lnTo>
                  <a:lnTo>
                    <a:pt x="45" y="12"/>
                  </a:lnTo>
                  <a:lnTo>
                    <a:pt x="81" y="21"/>
                  </a:lnTo>
                  <a:lnTo>
                    <a:pt x="79" y="33"/>
                  </a:lnTo>
                  <a:lnTo>
                    <a:pt x="77" y="57"/>
                  </a:lnTo>
                  <a:lnTo>
                    <a:pt x="92" y="55"/>
                  </a:lnTo>
                  <a:lnTo>
                    <a:pt x="102" y="51"/>
                  </a:lnTo>
                  <a:lnTo>
                    <a:pt x="96" y="12"/>
                  </a:lnTo>
                  <a:lnTo>
                    <a:pt x="116" y="0"/>
                  </a:lnTo>
                  <a:lnTo>
                    <a:pt x="132" y="2"/>
                  </a:lnTo>
                  <a:lnTo>
                    <a:pt x="167" y="63"/>
                  </a:lnTo>
                  <a:close/>
                </a:path>
              </a:pathLst>
            </a:custGeom>
            <a:solidFill>
              <a:srgbClr val="FFFFFF"/>
            </a:solidFill>
            <a:ln w="9525">
              <a:solidFill>
                <a:srgbClr val="000000"/>
              </a:solidFill>
              <a:prstDash val="solid"/>
              <a:round/>
              <a:headEnd/>
              <a:tailEnd/>
            </a:ln>
          </p:spPr>
          <p:txBody>
            <a:bodyPr/>
            <a:lstStyle/>
            <a:p>
              <a:endParaRPr lang="cs-CZ"/>
            </a:p>
          </p:txBody>
        </p:sp>
        <p:sp>
          <p:nvSpPr>
            <p:cNvPr id="82" name="Freeform 110"/>
            <p:cNvSpPr>
              <a:spLocks/>
            </p:cNvSpPr>
            <p:nvPr/>
          </p:nvSpPr>
          <p:spPr bwMode="auto">
            <a:xfrm>
              <a:off x="2367" y="2316"/>
              <a:ext cx="20" cy="35"/>
            </a:xfrm>
            <a:custGeom>
              <a:avLst/>
              <a:gdLst>
                <a:gd name="T0" fmla="*/ 17 w 39"/>
                <a:gd name="T1" fmla="*/ 68 h 68"/>
                <a:gd name="T2" fmla="*/ 23 w 39"/>
                <a:gd name="T3" fmla="*/ 35 h 68"/>
                <a:gd name="T4" fmla="*/ 39 w 39"/>
                <a:gd name="T5" fmla="*/ 31 h 68"/>
                <a:gd name="T6" fmla="*/ 29 w 39"/>
                <a:gd name="T7" fmla="*/ 13 h 68"/>
                <a:gd name="T8" fmla="*/ 17 w 39"/>
                <a:gd name="T9" fmla="*/ 0 h 68"/>
                <a:gd name="T10" fmla="*/ 0 w 39"/>
                <a:gd name="T11" fmla="*/ 6 h 68"/>
                <a:gd name="T12" fmla="*/ 6 w 39"/>
                <a:gd name="T13" fmla="*/ 23 h 68"/>
                <a:gd name="T14" fmla="*/ 2 w 39"/>
                <a:gd name="T15" fmla="*/ 37 h 68"/>
                <a:gd name="T16" fmla="*/ 17 w 3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68">
                  <a:moveTo>
                    <a:pt x="17" y="68"/>
                  </a:moveTo>
                  <a:lnTo>
                    <a:pt x="23" y="35"/>
                  </a:lnTo>
                  <a:lnTo>
                    <a:pt x="39" y="31"/>
                  </a:lnTo>
                  <a:lnTo>
                    <a:pt x="29" y="13"/>
                  </a:lnTo>
                  <a:lnTo>
                    <a:pt x="17" y="0"/>
                  </a:lnTo>
                  <a:lnTo>
                    <a:pt x="0" y="6"/>
                  </a:lnTo>
                  <a:lnTo>
                    <a:pt x="6" y="23"/>
                  </a:lnTo>
                  <a:lnTo>
                    <a:pt x="2" y="37"/>
                  </a:lnTo>
                  <a:lnTo>
                    <a:pt x="17" y="68"/>
                  </a:lnTo>
                  <a:close/>
                </a:path>
              </a:pathLst>
            </a:custGeom>
            <a:solidFill>
              <a:srgbClr val="FFFFFF"/>
            </a:solidFill>
            <a:ln w="9525">
              <a:solidFill>
                <a:srgbClr val="000000"/>
              </a:solidFill>
              <a:prstDash val="solid"/>
              <a:round/>
              <a:headEnd/>
              <a:tailEnd/>
            </a:ln>
          </p:spPr>
          <p:txBody>
            <a:bodyPr/>
            <a:lstStyle/>
            <a:p>
              <a:endParaRPr lang="cs-CZ"/>
            </a:p>
          </p:txBody>
        </p:sp>
        <p:sp>
          <p:nvSpPr>
            <p:cNvPr id="83" name="Freeform 111"/>
            <p:cNvSpPr>
              <a:spLocks/>
            </p:cNvSpPr>
            <p:nvPr/>
          </p:nvSpPr>
          <p:spPr bwMode="auto">
            <a:xfrm>
              <a:off x="2335" y="2317"/>
              <a:ext cx="33" cy="32"/>
            </a:xfrm>
            <a:custGeom>
              <a:avLst/>
              <a:gdLst>
                <a:gd name="T0" fmla="*/ 65 w 65"/>
                <a:gd name="T1" fmla="*/ 47 h 62"/>
                <a:gd name="T2" fmla="*/ 49 w 65"/>
                <a:gd name="T3" fmla="*/ 51 h 62"/>
                <a:gd name="T4" fmla="*/ 31 w 65"/>
                <a:gd name="T5" fmla="*/ 62 h 62"/>
                <a:gd name="T6" fmla="*/ 19 w 65"/>
                <a:gd name="T7" fmla="*/ 47 h 62"/>
                <a:gd name="T8" fmla="*/ 0 w 65"/>
                <a:gd name="T9" fmla="*/ 37 h 62"/>
                <a:gd name="T10" fmla="*/ 0 w 65"/>
                <a:gd name="T11" fmla="*/ 11 h 62"/>
                <a:gd name="T12" fmla="*/ 21 w 65"/>
                <a:gd name="T13" fmla="*/ 0 h 62"/>
                <a:gd name="T14" fmla="*/ 33 w 65"/>
                <a:gd name="T15" fmla="*/ 15 h 62"/>
                <a:gd name="T16" fmla="*/ 53 w 65"/>
                <a:gd name="T17" fmla="*/ 15 h 62"/>
                <a:gd name="T18" fmla="*/ 65 w 65"/>
                <a:gd name="T19" fmla="*/ 29 h 62"/>
                <a:gd name="T20" fmla="*/ 65 w 65"/>
                <a:gd name="T2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2">
                  <a:moveTo>
                    <a:pt x="65" y="47"/>
                  </a:moveTo>
                  <a:lnTo>
                    <a:pt x="49" y="51"/>
                  </a:lnTo>
                  <a:lnTo>
                    <a:pt x="31" y="62"/>
                  </a:lnTo>
                  <a:lnTo>
                    <a:pt x="19" y="47"/>
                  </a:lnTo>
                  <a:lnTo>
                    <a:pt x="0" y="37"/>
                  </a:lnTo>
                  <a:lnTo>
                    <a:pt x="0" y="11"/>
                  </a:lnTo>
                  <a:lnTo>
                    <a:pt x="21" y="0"/>
                  </a:lnTo>
                  <a:lnTo>
                    <a:pt x="33" y="15"/>
                  </a:lnTo>
                  <a:lnTo>
                    <a:pt x="53" y="15"/>
                  </a:lnTo>
                  <a:lnTo>
                    <a:pt x="65" y="29"/>
                  </a:lnTo>
                  <a:lnTo>
                    <a:pt x="65" y="47"/>
                  </a:lnTo>
                  <a:close/>
                </a:path>
              </a:pathLst>
            </a:custGeom>
            <a:solidFill>
              <a:srgbClr val="FFFFFF"/>
            </a:solidFill>
            <a:ln w="9525">
              <a:solidFill>
                <a:srgbClr val="000000"/>
              </a:solidFill>
              <a:prstDash val="solid"/>
              <a:round/>
              <a:headEnd/>
              <a:tailEnd/>
            </a:ln>
          </p:spPr>
          <p:txBody>
            <a:bodyPr/>
            <a:lstStyle/>
            <a:p>
              <a:endParaRPr lang="cs-CZ"/>
            </a:p>
          </p:txBody>
        </p:sp>
        <p:sp>
          <p:nvSpPr>
            <p:cNvPr id="84" name="Freeform 112"/>
            <p:cNvSpPr>
              <a:spLocks/>
            </p:cNvSpPr>
            <p:nvPr/>
          </p:nvSpPr>
          <p:spPr bwMode="auto">
            <a:xfrm>
              <a:off x="2276" y="2264"/>
              <a:ext cx="54" cy="73"/>
            </a:xfrm>
            <a:custGeom>
              <a:avLst/>
              <a:gdLst>
                <a:gd name="T0" fmla="*/ 86 w 106"/>
                <a:gd name="T1" fmla="*/ 145 h 145"/>
                <a:gd name="T2" fmla="*/ 96 w 106"/>
                <a:gd name="T3" fmla="*/ 119 h 145"/>
                <a:gd name="T4" fmla="*/ 96 w 106"/>
                <a:gd name="T5" fmla="*/ 102 h 145"/>
                <a:gd name="T6" fmla="*/ 106 w 106"/>
                <a:gd name="T7" fmla="*/ 100 h 145"/>
                <a:gd name="T8" fmla="*/ 100 w 106"/>
                <a:gd name="T9" fmla="*/ 62 h 145"/>
                <a:gd name="T10" fmla="*/ 92 w 106"/>
                <a:gd name="T11" fmla="*/ 51 h 145"/>
                <a:gd name="T12" fmla="*/ 84 w 106"/>
                <a:gd name="T13" fmla="*/ 25 h 145"/>
                <a:gd name="T14" fmla="*/ 88 w 106"/>
                <a:gd name="T15" fmla="*/ 11 h 145"/>
                <a:gd name="T16" fmla="*/ 75 w 106"/>
                <a:gd name="T17" fmla="*/ 1 h 145"/>
                <a:gd name="T18" fmla="*/ 59 w 106"/>
                <a:gd name="T19" fmla="*/ 5 h 145"/>
                <a:gd name="T20" fmla="*/ 33 w 106"/>
                <a:gd name="T21" fmla="*/ 0 h 145"/>
                <a:gd name="T22" fmla="*/ 22 w 106"/>
                <a:gd name="T23" fmla="*/ 9 h 145"/>
                <a:gd name="T24" fmla="*/ 2 w 106"/>
                <a:gd name="T25" fmla="*/ 7 h 145"/>
                <a:gd name="T26" fmla="*/ 0 w 106"/>
                <a:gd name="T27" fmla="*/ 37 h 145"/>
                <a:gd name="T28" fmla="*/ 8 w 106"/>
                <a:gd name="T29" fmla="*/ 49 h 145"/>
                <a:gd name="T30" fmla="*/ 12 w 106"/>
                <a:gd name="T31" fmla="*/ 58 h 145"/>
                <a:gd name="T32" fmla="*/ 31 w 106"/>
                <a:gd name="T33" fmla="*/ 70 h 145"/>
                <a:gd name="T34" fmla="*/ 31 w 106"/>
                <a:gd name="T35" fmla="*/ 86 h 145"/>
                <a:gd name="T36" fmla="*/ 59 w 106"/>
                <a:gd name="T37" fmla="*/ 84 h 145"/>
                <a:gd name="T38" fmla="*/ 77 w 106"/>
                <a:gd name="T39" fmla="*/ 90 h 145"/>
                <a:gd name="T40" fmla="*/ 88 w 106"/>
                <a:gd name="T41" fmla="*/ 92 h 145"/>
                <a:gd name="T42" fmla="*/ 77 w 106"/>
                <a:gd name="T43" fmla="*/ 117 h 145"/>
                <a:gd name="T44" fmla="*/ 86 w 106"/>
                <a:gd name="T45"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45">
                  <a:moveTo>
                    <a:pt x="86" y="145"/>
                  </a:moveTo>
                  <a:lnTo>
                    <a:pt x="96" y="119"/>
                  </a:lnTo>
                  <a:lnTo>
                    <a:pt x="96" y="102"/>
                  </a:lnTo>
                  <a:lnTo>
                    <a:pt x="106" y="100"/>
                  </a:lnTo>
                  <a:lnTo>
                    <a:pt x="100" y="62"/>
                  </a:lnTo>
                  <a:lnTo>
                    <a:pt x="92" y="51"/>
                  </a:lnTo>
                  <a:lnTo>
                    <a:pt x="84" y="25"/>
                  </a:lnTo>
                  <a:lnTo>
                    <a:pt x="88" y="11"/>
                  </a:lnTo>
                  <a:lnTo>
                    <a:pt x="75" y="1"/>
                  </a:lnTo>
                  <a:lnTo>
                    <a:pt x="59" y="5"/>
                  </a:lnTo>
                  <a:lnTo>
                    <a:pt x="33" y="0"/>
                  </a:lnTo>
                  <a:lnTo>
                    <a:pt x="22" y="9"/>
                  </a:lnTo>
                  <a:lnTo>
                    <a:pt x="2" y="7"/>
                  </a:lnTo>
                  <a:lnTo>
                    <a:pt x="0" y="37"/>
                  </a:lnTo>
                  <a:lnTo>
                    <a:pt x="8" y="49"/>
                  </a:lnTo>
                  <a:lnTo>
                    <a:pt x="12" y="58"/>
                  </a:lnTo>
                  <a:lnTo>
                    <a:pt x="31" y="70"/>
                  </a:lnTo>
                  <a:lnTo>
                    <a:pt x="31" y="86"/>
                  </a:lnTo>
                  <a:lnTo>
                    <a:pt x="59" y="84"/>
                  </a:lnTo>
                  <a:lnTo>
                    <a:pt x="77" y="90"/>
                  </a:lnTo>
                  <a:lnTo>
                    <a:pt x="88" y="92"/>
                  </a:lnTo>
                  <a:lnTo>
                    <a:pt x="77" y="117"/>
                  </a:lnTo>
                  <a:lnTo>
                    <a:pt x="86" y="145"/>
                  </a:lnTo>
                  <a:close/>
                </a:path>
              </a:pathLst>
            </a:custGeom>
            <a:solidFill>
              <a:srgbClr val="FFFFFF"/>
            </a:solidFill>
            <a:ln w="9525">
              <a:solidFill>
                <a:srgbClr val="000000"/>
              </a:solidFill>
              <a:prstDash val="solid"/>
              <a:round/>
              <a:headEnd/>
              <a:tailEnd/>
            </a:ln>
          </p:spPr>
          <p:txBody>
            <a:bodyPr/>
            <a:lstStyle/>
            <a:p>
              <a:endParaRPr lang="cs-CZ"/>
            </a:p>
          </p:txBody>
        </p:sp>
        <p:sp>
          <p:nvSpPr>
            <p:cNvPr id="85" name="Oval 113"/>
            <p:cNvSpPr>
              <a:spLocks noChangeArrowheads="1"/>
            </p:cNvSpPr>
            <p:nvPr/>
          </p:nvSpPr>
          <p:spPr bwMode="auto">
            <a:xfrm>
              <a:off x="2399" y="2262"/>
              <a:ext cx="15" cy="15"/>
            </a:xfrm>
            <a:prstGeom prst="ellipse">
              <a:avLst/>
            </a:prstGeom>
            <a:solidFill>
              <a:srgbClr val="FFFFFF"/>
            </a:solidFill>
            <a:ln w="9525">
              <a:solidFill>
                <a:srgbClr val="000000"/>
              </a:solidFill>
              <a:round/>
              <a:headEnd/>
              <a:tailEnd/>
            </a:ln>
          </p:spPr>
          <p:txBody>
            <a:bodyPr/>
            <a:lstStyle/>
            <a:p>
              <a:endParaRPr lang="cs-CZ"/>
            </a:p>
          </p:txBody>
        </p:sp>
        <p:grpSp>
          <p:nvGrpSpPr>
            <p:cNvPr id="86" name="Group 114"/>
            <p:cNvGrpSpPr>
              <a:grpSpLocks/>
            </p:cNvGrpSpPr>
            <p:nvPr/>
          </p:nvGrpSpPr>
          <p:grpSpPr bwMode="auto">
            <a:xfrm>
              <a:off x="2568" y="2125"/>
              <a:ext cx="36" cy="87"/>
              <a:chOff x="2568" y="2125"/>
              <a:chExt cx="36" cy="87"/>
            </a:xfrm>
          </p:grpSpPr>
          <p:sp>
            <p:nvSpPr>
              <p:cNvPr id="111" name="Freeform 115"/>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 name="T24" fmla="*/ 0 w 70"/>
                  <a:gd name="T25"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lnTo>
                      <a:pt x="0"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12" name="Freeform 116"/>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87" name="Group 117"/>
            <p:cNvGrpSpPr>
              <a:grpSpLocks/>
            </p:cNvGrpSpPr>
            <p:nvPr/>
          </p:nvGrpSpPr>
          <p:grpSpPr bwMode="auto">
            <a:xfrm>
              <a:off x="2489" y="1171"/>
              <a:ext cx="84" cy="88"/>
              <a:chOff x="2489" y="1171"/>
              <a:chExt cx="84" cy="88"/>
            </a:xfrm>
          </p:grpSpPr>
          <p:sp>
            <p:nvSpPr>
              <p:cNvPr id="109" name="Freeform 118"/>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 name="T60" fmla="*/ 134 w 169"/>
                  <a:gd name="T61" fmla="*/ 11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lnTo>
                      <a:pt x="13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10" name="Freeform 119"/>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88" name="Freeform 120"/>
            <p:cNvSpPr>
              <a:spLocks/>
            </p:cNvSpPr>
            <p:nvPr/>
          </p:nvSpPr>
          <p:spPr bwMode="auto">
            <a:xfrm>
              <a:off x="2708" y="1038"/>
              <a:ext cx="25" cy="22"/>
            </a:xfrm>
            <a:custGeom>
              <a:avLst/>
              <a:gdLst>
                <a:gd name="T0" fmla="*/ 11 w 51"/>
                <a:gd name="T1" fmla="*/ 43 h 43"/>
                <a:gd name="T2" fmla="*/ 47 w 51"/>
                <a:gd name="T3" fmla="*/ 31 h 43"/>
                <a:gd name="T4" fmla="*/ 51 w 51"/>
                <a:gd name="T5" fmla="*/ 2 h 43"/>
                <a:gd name="T6" fmla="*/ 25 w 51"/>
                <a:gd name="T7" fmla="*/ 0 h 43"/>
                <a:gd name="T8" fmla="*/ 0 w 51"/>
                <a:gd name="T9" fmla="*/ 17 h 43"/>
                <a:gd name="T10" fmla="*/ 11 w 51"/>
                <a:gd name="T11" fmla="*/ 43 h 43"/>
              </a:gdLst>
              <a:ahLst/>
              <a:cxnLst>
                <a:cxn ang="0">
                  <a:pos x="T0" y="T1"/>
                </a:cxn>
                <a:cxn ang="0">
                  <a:pos x="T2" y="T3"/>
                </a:cxn>
                <a:cxn ang="0">
                  <a:pos x="T4" y="T5"/>
                </a:cxn>
                <a:cxn ang="0">
                  <a:pos x="T6" y="T7"/>
                </a:cxn>
                <a:cxn ang="0">
                  <a:pos x="T8" y="T9"/>
                </a:cxn>
                <a:cxn ang="0">
                  <a:pos x="T10" y="T11"/>
                </a:cxn>
              </a:cxnLst>
              <a:rect l="0" t="0" r="r" b="b"/>
              <a:pathLst>
                <a:path w="51" h="43">
                  <a:moveTo>
                    <a:pt x="11" y="43"/>
                  </a:moveTo>
                  <a:lnTo>
                    <a:pt x="47" y="31"/>
                  </a:lnTo>
                  <a:lnTo>
                    <a:pt x="51" y="2"/>
                  </a:lnTo>
                  <a:lnTo>
                    <a:pt x="25" y="0"/>
                  </a:lnTo>
                  <a:lnTo>
                    <a:pt x="0" y="17"/>
                  </a:lnTo>
                  <a:lnTo>
                    <a:pt x="11" y="43"/>
                  </a:lnTo>
                  <a:close/>
                </a:path>
              </a:pathLst>
            </a:custGeom>
            <a:solidFill>
              <a:srgbClr val="FFFFFF"/>
            </a:solidFill>
            <a:ln w="9525">
              <a:solidFill>
                <a:srgbClr val="000000"/>
              </a:solidFill>
              <a:prstDash val="solid"/>
              <a:round/>
              <a:headEnd/>
              <a:tailEnd/>
            </a:ln>
          </p:spPr>
          <p:txBody>
            <a:bodyPr/>
            <a:lstStyle/>
            <a:p>
              <a:endParaRPr lang="cs-CZ"/>
            </a:p>
          </p:txBody>
        </p:sp>
        <p:sp>
          <p:nvSpPr>
            <p:cNvPr id="89" name="Freeform 121"/>
            <p:cNvSpPr>
              <a:spLocks/>
            </p:cNvSpPr>
            <p:nvPr/>
          </p:nvSpPr>
          <p:spPr bwMode="auto">
            <a:xfrm>
              <a:off x="2784" y="996"/>
              <a:ext cx="19" cy="22"/>
            </a:xfrm>
            <a:custGeom>
              <a:avLst/>
              <a:gdLst>
                <a:gd name="T0" fmla="*/ 31 w 37"/>
                <a:gd name="T1" fmla="*/ 43 h 43"/>
                <a:gd name="T2" fmla="*/ 37 w 37"/>
                <a:gd name="T3" fmla="*/ 22 h 43"/>
                <a:gd name="T4" fmla="*/ 19 w 37"/>
                <a:gd name="T5" fmla="*/ 0 h 43"/>
                <a:gd name="T6" fmla="*/ 0 w 37"/>
                <a:gd name="T7" fmla="*/ 16 h 43"/>
                <a:gd name="T8" fmla="*/ 31 w 37"/>
                <a:gd name="T9" fmla="*/ 43 h 43"/>
              </a:gdLst>
              <a:ahLst/>
              <a:cxnLst>
                <a:cxn ang="0">
                  <a:pos x="T0" y="T1"/>
                </a:cxn>
                <a:cxn ang="0">
                  <a:pos x="T2" y="T3"/>
                </a:cxn>
                <a:cxn ang="0">
                  <a:pos x="T4" y="T5"/>
                </a:cxn>
                <a:cxn ang="0">
                  <a:pos x="T6" y="T7"/>
                </a:cxn>
                <a:cxn ang="0">
                  <a:pos x="T8" y="T9"/>
                </a:cxn>
              </a:cxnLst>
              <a:rect l="0" t="0" r="r" b="b"/>
              <a:pathLst>
                <a:path w="37" h="43">
                  <a:moveTo>
                    <a:pt x="31" y="43"/>
                  </a:moveTo>
                  <a:lnTo>
                    <a:pt x="37" y="22"/>
                  </a:lnTo>
                  <a:lnTo>
                    <a:pt x="19" y="0"/>
                  </a:lnTo>
                  <a:lnTo>
                    <a:pt x="0" y="16"/>
                  </a:lnTo>
                  <a:lnTo>
                    <a:pt x="31" y="43"/>
                  </a:lnTo>
                  <a:close/>
                </a:path>
              </a:pathLst>
            </a:custGeom>
            <a:solidFill>
              <a:srgbClr val="FFFFFF"/>
            </a:solidFill>
            <a:ln w="9525">
              <a:solidFill>
                <a:srgbClr val="000000"/>
              </a:solidFill>
              <a:prstDash val="solid"/>
              <a:round/>
              <a:headEnd/>
              <a:tailEnd/>
            </a:ln>
          </p:spPr>
          <p:txBody>
            <a:bodyPr/>
            <a:lstStyle/>
            <a:p>
              <a:endParaRPr lang="cs-CZ"/>
            </a:p>
          </p:txBody>
        </p:sp>
        <p:grpSp>
          <p:nvGrpSpPr>
            <p:cNvPr id="90" name="Group 122"/>
            <p:cNvGrpSpPr>
              <a:grpSpLocks/>
            </p:cNvGrpSpPr>
            <p:nvPr/>
          </p:nvGrpSpPr>
          <p:grpSpPr bwMode="auto">
            <a:xfrm>
              <a:off x="2693" y="1081"/>
              <a:ext cx="20" cy="26"/>
              <a:chOff x="2693" y="1081"/>
              <a:chExt cx="20" cy="26"/>
            </a:xfrm>
          </p:grpSpPr>
          <p:sp>
            <p:nvSpPr>
              <p:cNvPr id="107" name="Freeform 123"/>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 name="T10" fmla="*/ 39 w 39"/>
                  <a:gd name="T11" fmla="*/ 2 h 53"/>
                </a:gdLst>
                <a:ahLst/>
                <a:cxnLst>
                  <a:cxn ang="0">
                    <a:pos x="T0" y="T1"/>
                  </a:cxn>
                  <a:cxn ang="0">
                    <a:pos x="T2" y="T3"/>
                  </a:cxn>
                  <a:cxn ang="0">
                    <a:pos x="T4" y="T5"/>
                  </a:cxn>
                  <a:cxn ang="0">
                    <a:pos x="T6" y="T7"/>
                  </a:cxn>
                  <a:cxn ang="0">
                    <a:pos x="T8" y="T9"/>
                  </a:cxn>
                  <a:cxn ang="0">
                    <a:pos x="T10" y="T11"/>
                  </a:cxn>
                </a:cxnLst>
                <a:rect l="0" t="0" r="r" b="b"/>
                <a:pathLst>
                  <a:path w="39" h="53">
                    <a:moveTo>
                      <a:pt x="39" y="2"/>
                    </a:moveTo>
                    <a:lnTo>
                      <a:pt x="0" y="0"/>
                    </a:lnTo>
                    <a:lnTo>
                      <a:pt x="10" y="26"/>
                    </a:lnTo>
                    <a:lnTo>
                      <a:pt x="24" y="37"/>
                    </a:lnTo>
                    <a:lnTo>
                      <a:pt x="31" y="53"/>
                    </a:lnTo>
                    <a:lnTo>
                      <a:pt x="3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08" name="Freeform 124"/>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Lst>
                <a:ahLst/>
                <a:cxnLst>
                  <a:cxn ang="0">
                    <a:pos x="T0" y="T1"/>
                  </a:cxn>
                  <a:cxn ang="0">
                    <a:pos x="T2" y="T3"/>
                  </a:cxn>
                  <a:cxn ang="0">
                    <a:pos x="T4" y="T5"/>
                  </a:cxn>
                  <a:cxn ang="0">
                    <a:pos x="T6" y="T7"/>
                  </a:cxn>
                  <a:cxn ang="0">
                    <a:pos x="T8" y="T9"/>
                  </a:cxn>
                </a:cxnLst>
                <a:rect l="0" t="0" r="r" b="b"/>
                <a:pathLst>
                  <a:path w="39" h="53">
                    <a:moveTo>
                      <a:pt x="39" y="2"/>
                    </a:moveTo>
                    <a:lnTo>
                      <a:pt x="0" y="0"/>
                    </a:lnTo>
                    <a:lnTo>
                      <a:pt x="10" y="26"/>
                    </a:lnTo>
                    <a:lnTo>
                      <a:pt x="24" y="37"/>
                    </a:lnTo>
                    <a:lnTo>
                      <a:pt x="31" y="5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91" name="Freeform 125"/>
            <p:cNvSpPr>
              <a:spLocks/>
            </p:cNvSpPr>
            <p:nvPr/>
          </p:nvSpPr>
          <p:spPr bwMode="auto">
            <a:xfrm>
              <a:off x="2666" y="1083"/>
              <a:ext cx="10" cy="17"/>
            </a:xfrm>
            <a:custGeom>
              <a:avLst/>
              <a:gdLst>
                <a:gd name="T0" fmla="*/ 8 w 20"/>
                <a:gd name="T1" fmla="*/ 33 h 33"/>
                <a:gd name="T2" fmla="*/ 20 w 20"/>
                <a:gd name="T3" fmla="*/ 12 h 33"/>
                <a:gd name="T4" fmla="*/ 0 w 20"/>
                <a:gd name="T5" fmla="*/ 0 h 33"/>
                <a:gd name="T6" fmla="*/ 8 w 20"/>
                <a:gd name="T7" fmla="*/ 33 h 33"/>
              </a:gdLst>
              <a:ahLst/>
              <a:cxnLst>
                <a:cxn ang="0">
                  <a:pos x="T0" y="T1"/>
                </a:cxn>
                <a:cxn ang="0">
                  <a:pos x="T2" y="T3"/>
                </a:cxn>
                <a:cxn ang="0">
                  <a:pos x="T4" y="T5"/>
                </a:cxn>
                <a:cxn ang="0">
                  <a:pos x="T6" y="T7"/>
                </a:cxn>
              </a:cxnLst>
              <a:rect l="0" t="0" r="r" b="b"/>
              <a:pathLst>
                <a:path w="20" h="33">
                  <a:moveTo>
                    <a:pt x="8" y="33"/>
                  </a:moveTo>
                  <a:lnTo>
                    <a:pt x="20" y="12"/>
                  </a:lnTo>
                  <a:lnTo>
                    <a:pt x="0" y="0"/>
                  </a:lnTo>
                  <a:lnTo>
                    <a:pt x="8" y="33"/>
                  </a:lnTo>
                  <a:close/>
                </a:path>
              </a:pathLst>
            </a:custGeom>
            <a:solidFill>
              <a:srgbClr val="FFFFFF"/>
            </a:solidFill>
            <a:ln w="9525">
              <a:solidFill>
                <a:srgbClr val="000000"/>
              </a:solidFill>
              <a:prstDash val="solid"/>
              <a:round/>
              <a:headEnd/>
              <a:tailEnd/>
            </a:ln>
          </p:spPr>
          <p:txBody>
            <a:bodyPr/>
            <a:lstStyle/>
            <a:p>
              <a:endParaRPr lang="cs-CZ"/>
            </a:p>
          </p:txBody>
        </p:sp>
        <p:sp>
          <p:nvSpPr>
            <p:cNvPr id="92" name="Freeform 126"/>
            <p:cNvSpPr>
              <a:spLocks/>
            </p:cNvSpPr>
            <p:nvPr/>
          </p:nvSpPr>
          <p:spPr bwMode="auto">
            <a:xfrm>
              <a:off x="2642" y="1086"/>
              <a:ext cx="15" cy="18"/>
            </a:xfrm>
            <a:custGeom>
              <a:avLst/>
              <a:gdLst>
                <a:gd name="T0" fmla="*/ 29 w 29"/>
                <a:gd name="T1" fmla="*/ 31 h 35"/>
                <a:gd name="T2" fmla="*/ 0 w 29"/>
                <a:gd name="T3" fmla="*/ 0 h 35"/>
                <a:gd name="T4" fmla="*/ 4 w 29"/>
                <a:gd name="T5" fmla="*/ 35 h 35"/>
                <a:gd name="T6" fmla="*/ 29 w 29"/>
                <a:gd name="T7" fmla="*/ 31 h 35"/>
              </a:gdLst>
              <a:ahLst/>
              <a:cxnLst>
                <a:cxn ang="0">
                  <a:pos x="T0" y="T1"/>
                </a:cxn>
                <a:cxn ang="0">
                  <a:pos x="T2" y="T3"/>
                </a:cxn>
                <a:cxn ang="0">
                  <a:pos x="T4" y="T5"/>
                </a:cxn>
                <a:cxn ang="0">
                  <a:pos x="T6" y="T7"/>
                </a:cxn>
              </a:cxnLst>
              <a:rect l="0" t="0" r="r" b="b"/>
              <a:pathLst>
                <a:path w="29" h="35">
                  <a:moveTo>
                    <a:pt x="29" y="31"/>
                  </a:moveTo>
                  <a:lnTo>
                    <a:pt x="0" y="0"/>
                  </a:lnTo>
                  <a:lnTo>
                    <a:pt x="4" y="35"/>
                  </a:lnTo>
                  <a:lnTo>
                    <a:pt x="29" y="31"/>
                  </a:lnTo>
                  <a:close/>
                </a:path>
              </a:pathLst>
            </a:custGeom>
            <a:solidFill>
              <a:srgbClr val="FFFFFF"/>
            </a:solidFill>
            <a:ln w="9525">
              <a:solidFill>
                <a:srgbClr val="000000"/>
              </a:solidFill>
              <a:prstDash val="solid"/>
              <a:round/>
              <a:headEnd/>
              <a:tailEnd/>
            </a:ln>
          </p:spPr>
          <p:txBody>
            <a:bodyPr/>
            <a:lstStyle/>
            <a:p>
              <a:endParaRPr lang="cs-CZ"/>
            </a:p>
          </p:txBody>
        </p:sp>
        <p:grpSp>
          <p:nvGrpSpPr>
            <p:cNvPr id="93" name="Group 127"/>
            <p:cNvGrpSpPr>
              <a:grpSpLocks/>
            </p:cNvGrpSpPr>
            <p:nvPr/>
          </p:nvGrpSpPr>
          <p:grpSpPr bwMode="auto">
            <a:xfrm>
              <a:off x="2278" y="1608"/>
              <a:ext cx="41" cy="27"/>
              <a:chOff x="2278" y="1608"/>
              <a:chExt cx="41" cy="27"/>
            </a:xfrm>
          </p:grpSpPr>
          <p:sp>
            <p:nvSpPr>
              <p:cNvPr id="105" name="Freeform 128"/>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 name="T12" fmla="*/ 0 w 8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0" h="53">
                    <a:moveTo>
                      <a:pt x="0" y="53"/>
                    </a:moveTo>
                    <a:lnTo>
                      <a:pt x="6" y="24"/>
                    </a:lnTo>
                    <a:lnTo>
                      <a:pt x="31" y="0"/>
                    </a:lnTo>
                    <a:lnTo>
                      <a:pt x="49" y="4"/>
                    </a:lnTo>
                    <a:lnTo>
                      <a:pt x="61" y="18"/>
                    </a:lnTo>
                    <a:lnTo>
                      <a:pt x="80" y="37"/>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06" name="Freeform 129"/>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Lst>
                <a:ahLst/>
                <a:cxnLst>
                  <a:cxn ang="0">
                    <a:pos x="T0" y="T1"/>
                  </a:cxn>
                  <a:cxn ang="0">
                    <a:pos x="T2" y="T3"/>
                  </a:cxn>
                  <a:cxn ang="0">
                    <a:pos x="T4" y="T5"/>
                  </a:cxn>
                  <a:cxn ang="0">
                    <a:pos x="T6" y="T7"/>
                  </a:cxn>
                  <a:cxn ang="0">
                    <a:pos x="T8" y="T9"/>
                  </a:cxn>
                  <a:cxn ang="0">
                    <a:pos x="T10" y="T11"/>
                  </a:cxn>
                </a:cxnLst>
                <a:rect l="0" t="0" r="r" b="b"/>
                <a:pathLst>
                  <a:path w="80" h="53">
                    <a:moveTo>
                      <a:pt x="0" y="53"/>
                    </a:moveTo>
                    <a:lnTo>
                      <a:pt x="6" y="24"/>
                    </a:lnTo>
                    <a:lnTo>
                      <a:pt x="31" y="0"/>
                    </a:lnTo>
                    <a:lnTo>
                      <a:pt x="49" y="4"/>
                    </a:lnTo>
                    <a:lnTo>
                      <a:pt x="61" y="18"/>
                    </a:lnTo>
                    <a:lnTo>
                      <a:pt x="80" y="37"/>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94" name="Freeform 130"/>
            <p:cNvSpPr>
              <a:spLocks/>
            </p:cNvSpPr>
            <p:nvPr/>
          </p:nvSpPr>
          <p:spPr bwMode="auto">
            <a:xfrm>
              <a:off x="3661" y="3742"/>
              <a:ext cx="137" cy="113"/>
            </a:xfrm>
            <a:custGeom>
              <a:avLst/>
              <a:gdLst>
                <a:gd name="T0" fmla="*/ 0 w 276"/>
                <a:gd name="T1" fmla="*/ 177 h 226"/>
                <a:gd name="T2" fmla="*/ 18 w 276"/>
                <a:gd name="T3" fmla="*/ 197 h 226"/>
                <a:gd name="T4" fmla="*/ 46 w 276"/>
                <a:gd name="T5" fmla="*/ 226 h 226"/>
                <a:gd name="T6" fmla="*/ 118 w 276"/>
                <a:gd name="T7" fmla="*/ 224 h 226"/>
                <a:gd name="T8" fmla="*/ 132 w 276"/>
                <a:gd name="T9" fmla="*/ 201 h 226"/>
                <a:gd name="T10" fmla="*/ 150 w 276"/>
                <a:gd name="T11" fmla="*/ 193 h 226"/>
                <a:gd name="T12" fmla="*/ 167 w 276"/>
                <a:gd name="T13" fmla="*/ 193 h 226"/>
                <a:gd name="T14" fmla="*/ 181 w 276"/>
                <a:gd name="T15" fmla="*/ 173 h 226"/>
                <a:gd name="T16" fmla="*/ 189 w 276"/>
                <a:gd name="T17" fmla="*/ 158 h 226"/>
                <a:gd name="T18" fmla="*/ 213 w 276"/>
                <a:gd name="T19" fmla="*/ 146 h 226"/>
                <a:gd name="T20" fmla="*/ 226 w 276"/>
                <a:gd name="T21" fmla="*/ 136 h 226"/>
                <a:gd name="T22" fmla="*/ 228 w 276"/>
                <a:gd name="T23" fmla="*/ 122 h 226"/>
                <a:gd name="T24" fmla="*/ 222 w 276"/>
                <a:gd name="T25" fmla="*/ 103 h 226"/>
                <a:gd name="T26" fmla="*/ 228 w 276"/>
                <a:gd name="T27" fmla="*/ 89 h 226"/>
                <a:gd name="T28" fmla="*/ 248 w 276"/>
                <a:gd name="T29" fmla="*/ 57 h 226"/>
                <a:gd name="T30" fmla="*/ 262 w 276"/>
                <a:gd name="T31" fmla="*/ 44 h 226"/>
                <a:gd name="T32" fmla="*/ 274 w 276"/>
                <a:gd name="T33" fmla="*/ 30 h 226"/>
                <a:gd name="T34" fmla="*/ 276 w 276"/>
                <a:gd name="T35" fmla="*/ 0 h 226"/>
                <a:gd name="T36" fmla="*/ 250 w 276"/>
                <a:gd name="T37" fmla="*/ 8 h 226"/>
                <a:gd name="T38" fmla="*/ 240 w 276"/>
                <a:gd name="T39" fmla="*/ 28 h 226"/>
                <a:gd name="T40" fmla="*/ 222 w 276"/>
                <a:gd name="T41" fmla="*/ 44 h 226"/>
                <a:gd name="T42" fmla="*/ 203 w 276"/>
                <a:gd name="T43" fmla="*/ 57 h 226"/>
                <a:gd name="T44" fmla="*/ 179 w 276"/>
                <a:gd name="T45" fmla="*/ 69 h 226"/>
                <a:gd name="T46" fmla="*/ 160 w 276"/>
                <a:gd name="T47" fmla="*/ 79 h 226"/>
                <a:gd name="T48" fmla="*/ 134 w 276"/>
                <a:gd name="T49" fmla="*/ 93 h 226"/>
                <a:gd name="T50" fmla="*/ 114 w 276"/>
                <a:gd name="T51" fmla="*/ 97 h 226"/>
                <a:gd name="T52" fmla="*/ 87 w 276"/>
                <a:gd name="T53" fmla="*/ 103 h 226"/>
                <a:gd name="T54" fmla="*/ 71 w 276"/>
                <a:gd name="T55" fmla="*/ 138 h 226"/>
                <a:gd name="T56" fmla="*/ 57 w 276"/>
                <a:gd name="T57" fmla="*/ 144 h 226"/>
                <a:gd name="T58" fmla="*/ 38 w 276"/>
                <a:gd name="T59" fmla="*/ 146 h 226"/>
                <a:gd name="T60" fmla="*/ 24 w 276"/>
                <a:gd name="T61" fmla="*/ 160 h 226"/>
                <a:gd name="T62" fmla="*/ 0 w 276"/>
                <a:gd name="T63" fmla="*/ 17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226">
                  <a:moveTo>
                    <a:pt x="0" y="177"/>
                  </a:moveTo>
                  <a:lnTo>
                    <a:pt x="18" y="197"/>
                  </a:lnTo>
                  <a:lnTo>
                    <a:pt x="46" y="226"/>
                  </a:lnTo>
                  <a:lnTo>
                    <a:pt x="118" y="224"/>
                  </a:lnTo>
                  <a:lnTo>
                    <a:pt x="132" y="201"/>
                  </a:lnTo>
                  <a:lnTo>
                    <a:pt x="150" y="193"/>
                  </a:lnTo>
                  <a:lnTo>
                    <a:pt x="167" y="193"/>
                  </a:lnTo>
                  <a:lnTo>
                    <a:pt x="181" y="173"/>
                  </a:lnTo>
                  <a:lnTo>
                    <a:pt x="189" y="158"/>
                  </a:lnTo>
                  <a:lnTo>
                    <a:pt x="213" y="146"/>
                  </a:lnTo>
                  <a:lnTo>
                    <a:pt x="226" y="136"/>
                  </a:lnTo>
                  <a:lnTo>
                    <a:pt x="228" y="122"/>
                  </a:lnTo>
                  <a:lnTo>
                    <a:pt x="222" y="103"/>
                  </a:lnTo>
                  <a:lnTo>
                    <a:pt x="228" y="89"/>
                  </a:lnTo>
                  <a:lnTo>
                    <a:pt x="248" y="57"/>
                  </a:lnTo>
                  <a:lnTo>
                    <a:pt x="262" y="44"/>
                  </a:lnTo>
                  <a:lnTo>
                    <a:pt x="274" y="30"/>
                  </a:lnTo>
                  <a:lnTo>
                    <a:pt x="276" y="0"/>
                  </a:lnTo>
                  <a:lnTo>
                    <a:pt x="250" y="8"/>
                  </a:lnTo>
                  <a:lnTo>
                    <a:pt x="240" y="28"/>
                  </a:lnTo>
                  <a:lnTo>
                    <a:pt x="222" y="44"/>
                  </a:lnTo>
                  <a:lnTo>
                    <a:pt x="203" y="57"/>
                  </a:lnTo>
                  <a:lnTo>
                    <a:pt x="179" y="69"/>
                  </a:lnTo>
                  <a:lnTo>
                    <a:pt x="160" y="79"/>
                  </a:lnTo>
                  <a:lnTo>
                    <a:pt x="134" y="93"/>
                  </a:lnTo>
                  <a:lnTo>
                    <a:pt x="114" y="97"/>
                  </a:lnTo>
                  <a:lnTo>
                    <a:pt x="87" y="103"/>
                  </a:lnTo>
                  <a:lnTo>
                    <a:pt x="71" y="138"/>
                  </a:lnTo>
                  <a:lnTo>
                    <a:pt x="57" y="144"/>
                  </a:lnTo>
                  <a:lnTo>
                    <a:pt x="38" y="146"/>
                  </a:lnTo>
                  <a:lnTo>
                    <a:pt x="24" y="160"/>
                  </a:lnTo>
                  <a:lnTo>
                    <a:pt x="0" y="177"/>
                  </a:lnTo>
                  <a:close/>
                </a:path>
              </a:pathLst>
            </a:custGeom>
            <a:solidFill>
              <a:srgbClr val="FFFFFF"/>
            </a:solidFill>
            <a:ln w="9525">
              <a:solidFill>
                <a:srgbClr val="000000"/>
              </a:solidFill>
              <a:prstDash val="solid"/>
              <a:round/>
              <a:headEnd/>
              <a:tailEnd/>
            </a:ln>
          </p:spPr>
          <p:txBody>
            <a:bodyPr/>
            <a:lstStyle/>
            <a:p>
              <a:endParaRPr lang="cs-CZ"/>
            </a:p>
          </p:txBody>
        </p:sp>
        <p:sp>
          <p:nvSpPr>
            <p:cNvPr id="95" name="Oval 131"/>
            <p:cNvSpPr>
              <a:spLocks noChangeArrowheads="1"/>
            </p:cNvSpPr>
            <p:nvPr/>
          </p:nvSpPr>
          <p:spPr bwMode="auto">
            <a:xfrm>
              <a:off x="2891" y="1850"/>
              <a:ext cx="16" cy="15"/>
            </a:xfrm>
            <a:prstGeom prst="ellipse">
              <a:avLst/>
            </a:prstGeom>
            <a:solidFill>
              <a:srgbClr val="FFFFFF"/>
            </a:solidFill>
            <a:ln w="9525">
              <a:solidFill>
                <a:srgbClr val="000000"/>
              </a:solidFill>
              <a:round/>
              <a:headEnd/>
              <a:tailEnd/>
            </a:ln>
          </p:spPr>
          <p:txBody>
            <a:bodyPr/>
            <a:lstStyle/>
            <a:p>
              <a:endParaRPr lang="cs-CZ"/>
            </a:p>
          </p:txBody>
        </p:sp>
        <p:grpSp>
          <p:nvGrpSpPr>
            <p:cNvPr id="96" name="Group 132"/>
            <p:cNvGrpSpPr>
              <a:grpSpLocks/>
            </p:cNvGrpSpPr>
            <p:nvPr/>
          </p:nvGrpSpPr>
          <p:grpSpPr bwMode="auto">
            <a:xfrm>
              <a:off x="2672" y="1069"/>
              <a:ext cx="445" cy="844"/>
              <a:chOff x="2672" y="1069"/>
              <a:chExt cx="445" cy="844"/>
            </a:xfrm>
          </p:grpSpPr>
          <p:sp>
            <p:nvSpPr>
              <p:cNvPr id="103" name="Freeform 133"/>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lnTo>
                      <a:pt x="283" y="708"/>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04" name="Freeform 134"/>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97" name="Freeform 135"/>
            <p:cNvSpPr>
              <a:spLocks/>
            </p:cNvSpPr>
            <p:nvPr/>
          </p:nvSpPr>
          <p:spPr bwMode="auto">
            <a:xfrm>
              <a:off x="3193" y="3308"/>
              <a:ext cx="183" cy="169"/>
            </a:xfrm>
            <a:custGeom>
              <a:avLst/>
              <a:gdLst>
                <a:gd name="T0" fmla="*/ 0 w 366"/>
                <a:gd name="T1" fmla="*/ 242 h 340"/>
                <a:gd name="T2" fmla="*/ 14 w 366"/>
                <a:gd name="T3" fmla="*/ 220 h 340"/>
                <a:gd name="T4" fmla="*/ 20 w 366"/>
                <a:gd name="T5" fmla="*/ 138 h 340"/>
                <a:gd name="T6" fmla="*/ 36 w 366"/>
                <a:gd name="T7" fmla="*/ 114 h 340"/>
                <a:gd name="T8" fmla="*/ 43 w 366"/>
                <a:gd name="T9" fmla="*/ 85 h 340"/>
                <a:gd name="T10" fmla="*/ 26 w 366"/>
                <a:gd name="T11" fmla="*/ 75 h 340"/>
                <a:gd name="T12" fmla="*/ 20 w 366"/>
                <a:gd name="T13" fmla="*/ 59 h 340"/>
                <a:gd name="T14" fmla="*/ 6 w 366"/>
                <a:gd name="T15" fmla="*/ 57 h 340"/>
                <a:gd name="T16" fmla="*/ 36 w 366"/>
                <a:gd name="T17" fmla="*/ 33 h 340"/>
                <a:gd name="T18" fmla="*/ 61 w 366"/>
                <a:gd name="T19" fmla="*/ 33 h 340"/>
                <a:gd name="T20" fmla="*/ 110 w 366"/>
                <a:gd name="T21" fmla="*/ 0 h 340"/>
                <a:gd name="T22" fmla="*/ 134 w 366"/>
                <a:gd name="T23" fmla="*/ 18 h 340"/>
                <a:gd name="T24" fmla="*/ 165 w 366"/>
                <a:gd name="T25" fmla="*/ 20 h 340"/>
                <a:gd name="T26" fmla="*/ 206 w 366"/>
                <a:gd name="T27" fmla="*/ 8 h 340"/>
                <a:gd name="T28" fmla="*/ 216 w 366"/>
                <a:gd name="T29" fmla="*/ 6 h 340"/>
                <a:gd name="T30" fmla="*/ 218 w 366"/>
                <a:gd name="T31" fmla="*/ 41 h 340"/>
                <a:gd name="T32" fmla="*/ 230 w 366"/>
                <a:gd name="T33" fmla="*/ 57 h 340"/>
                <a:gd name="T34" fmla="*/ 238 w 366"/>
                <a:gd name="T35" fmla="*/ 73 h 340"/>
                <a:gd name="T36" fmla="*/ 261 w 366"/>
                <a:gd name="T37" fmla="*/ 77 h 340"/>
                <a:gd name="T38" fmla="*/ 285 w 366"/>
                <a:gd name="T39" fmla="*/ 87 h 340"/>
                <a:gd name="T40" fmla="*/ 334 w 366"/>
                <a:gd name="T41" fmla="*/ 90 h 340"/>
                <a:gd name="T42" fmla="*/ 352 w 366"/>
                <a:gd name="T43" fmla="*/ 92 h 340"/>
                <a:gd name="T44" fmla="*/ 366 w 366"/>
                <a:gd name="T45" fmla="*/ 100 h 340"/>
                <a:gd name="T46" fmla="*/ 366 w 366"/>
                <a:gd name="T47" fmla="*/ 124 h 340"/>
                <a:gd name="T48" fmla="*/ 346 w 366"/>
                <a:gd name="T49" fmla="*/ 143 h 340"/>
                <a:gd name="T50" fmla="*/ 318 w 366"/>
                <a:gd name="T51" fmla="*/ 151 h 340"/>
                <a:gd name="T52" fmla="*/ 263 w 366"/>
                <a:gd name="T53" fmla="*/ 145 h 340"/>
                <a:gd name="T54" fmla="*/ 228 w 366"/>
                <a:gd name="T55" fmla="*/ 157 h 340"/>
                <a:gd name="T56" fmla="*/ 212 w 366"/>
                <a:gd name="T57" fmla="*/ 163 h 340"/>
                <a:gd name="T58" fmla="*/ 181 w 366"/>
                <a:gd name="T59" fmla="*/ 165 h 340"/>
                <a:gd name="T60" fmla="*/ 165 w 366"/>
                <a:gd name="T61" fmla="*/ 195 h 340"/>
                <a:gd name="T62" fmla="*/ 134 w 366"/>
                <a:gd name="T63" fmla="*/ 224 h 340"/>
                <a:gd name="T64" fmla="*/ 116 w 366"/>
                <a:gd name="T65" fmla="*/ 248 h 340"/>
                <a:gd name="T66" fmla="*/ 91 w 366"/>
                <a:gd name="T67" fmla="*/ 263 h 340"/>
                <a:gd name="T68" fmla="*/ 63 w 366"/>
                <a:gd name="T69" fmla="*/ 293 h 340"/>
                <a:gd name="T70" fmla="*/ 47 w 366"/>
                <a:gd name="T71" fmla="*/ 324 h 340"/>
                <a:gd name="T72" fmla="*/ 26 w 366"/>
                <a:gd name="T73" fmla="*/ 340 h 340"/>
                <a:gd name="T74" fmla="*/ 22 w 366"/>
                <a:gd name="T75" fmla="*/ 314 h 340"/>
                <a:gd name="T76" fmla="*/ 18 w 366"/>
                <a:gd name="T77" fmla="*/ 293 h 340"/>
                <a:gd name="T78" fmla="*/ 47 w 366"/>
                <a:gd name="T79" fmla="*/ 273 h 340"/>
                <a:gd name="T80" fmla="*/ 81 w 366"/>
                <a:gd name="T81" fmla="*/ 257 h 340"/>
                <a:gd name="T82" fmla="*/ 98 w 366"/>
                <a:gd name="T83" fmla="*/ 240 h 340"/>
                <a:gd name="T84" fmla="*/ 81 w 366"/>
                <a:gd name="T85" fmla="*/ 230 h 340"/>
                <a:gd name="T86" fmla="*/ 69 w 366"/>
                <a:gd name="T87" fmla="*/ 246 h 340"/>
                <a:gd name="T88" fmla="*/ 45 w 366"/>
                <a:gd name="T89" fmla="*/ 246 h 340"/>
                <a:gd name="T90" fmla="*/ 24 w 366"/>
                <a:gd name="T91" fmla="*/ 255 h 340"/>
                <a:gd name="T92" fmla="*/ 0 w 366"/>
                <a:gd name="T93" fmla="*/ 24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6" h="340">
                  <a:moveTo>
                    <a:pt x="0" y="242"/>
                  </a:moveTo>
                  <a:lnTo>
                    <a:pt x="14" y="220"/>
                  </a:lnTo>
                  <a:lnTo>
                    <a:pt x="20" y="138"/>
                  </a:lnTo>
                  <a:lnTo>
                    <a:pt x="36" y="114"/>
                  </a:lnTo>
                  <a:lnTo>
                    <a:pt x="43" y="85"/>
                  </a:lnTo>
                  <a:lnTo>
                    <a:pt x="26" y="75"/>
                  </a:lnTo>
                  <a:lnTo>
                    <a:pt x="20" y="59"/>
                  </a:lnTo>
                  <a:lnTo>
                    <a:pt x="6" y="57"/>
                  </a:lnTo>
                  <a:lnTo>
                    <a:pt x="36" y="33"/>
                  </a:lnTo>
                  <a:lnTo>
                    <a:pt x="61" y="33"/>
                  </a:lnTo>
                  <a:lnTo>
                    <a:pt x="110" y="0"/>
                  </a:lnTo>
                  <a:lnTo>
                    <a:pt x="134" y="18"/>
                  </a:lnTo>
                  <a:lnTo>
                    <a:pt x="165" y="20"/>
                  </a:lnTo>
                  <a:lnTo>
                    <a:pt x="206" y="8"/>
                  </a:lnTo>
                  <a:lnTo>
                    <a:pt x="216" y="6"/>
                  </a:lnTo>
                  <a:lnTo>
                    <a:pt x="218" y="41"/>
                  </a:lnTo>
                  <a:lnTo>
                    <a:pt x="230" y="57"/>
                  </a:lnTo>
                  <a:lnTo>
                    <a:pt x="238" y="73"/>
                  </a:lnTo>
                  <a:lnTo>
                    <a:pt x="261" y="77"/>
                  </a:lnTo>
                  <a:lnTo>
                    <a:pt x="285" y="87"/>
                  </a:lnTo>
                  <a:lnTo>
                    <a:pt x="334" y="90"/>
                  </a:lnTo>
                  <a:lnTo>
                    <a:pt x="352" y="92"/>
                  </a:lnTo>
                  <a:lnTo>
                    <a:pt x="366" y="100"/>
                  </a:lnTo>
                  <a:lnTo>
                    <a:pt x="366" y="124"/>
                  </a:lnTo>
                  <a:lnTo>
                    <a:pt x="346" y="143"/>
                  </a:lnTo>
                  <a:lnTo>
                    <a:pt x="318" y="151"/>
                  </a:lnTo>
                  <a:lnTo>
                    <a:pt x="263" y="145"/>
                  </a:lnTo>
                  <a:lnTo>
                    <a:pt x="228" y="157"/>
                  </a:lnTo>
                  <a:lnTo>
                    <a:pt x="212" y="163"/>
                  </a:lnTo>
                  <a:lnTo>
                    <a:pt x="181" y="165"/>
                  </a:lnTo>
                  <a:lnTo>
                    <a:pt x="165" y="195"/>
                  </a:lnTo>
                  <a:lnTo>
                    <a:pt x="134" y="224"/>
                  </a:lnTo>
                  <a:lnTo>
                    <a:pt x="116" y="248"/>
                  </a:lnTo>
                  <a:lnTo>
                    <a:pt x="91" y="263"/>
                  </a:lnTo>
                  <a:lnTo>
                    <a:pt x="63" y="293"/>
                  </a:lnTo>
                  <a:lnTo>
                    <a:pt x="47" y="324"/>
                  </a:lnTo>
                  <a:lnTo>
                    <a:pt x="26" y="340"/>
                  </a:lnTo>
                  <a:lnTo>
                    <a:pt x="22" y="314"/>
                  </a:lnTo>
                  <a:lnTo>
                    <a:pt x="18" y="293"/>
                  </a:lnTo>
                  <a:lnTo>
                    <a:pt x="47" y="273"/>
                  </a:lnTo>
                  <a:lnTo>
                    <a:pt x="81" y="257"/>
                  </a:lnTo>
                  <a:lnTo>
                    <a:pt x="98" y="240"/>
                  </a:lnTo>
                  <a:lnTo>
                    <a:pt x="81" y="230"/>
                  </a:lnTo>
                  <a:lnTo>
                    <a:pt x="69" y="246"/>
                  </a:lnTo>
                  <a:lnTo>
                    <a:pt x="45" y="246"/>
                  </a:lnTo>
                  <a:lnTo>
                    <a:pt x="24" y="255"/>
                  </a:lnTo>
                  <a:lnTo>
                    <a:pt x="0" y="242"/>
                  </a:lnTo>
                  <a:close/>
                </a:path>
              </a:pathLst>
            </a:custGeom>
            <a:solidFill>
              <a:srgbClr val="FFFFFF"/>
            </a:solidFill>
            <a:ln w="9525">
              <a:solidFill>
                <a:srgbClr val="000000"/>
              </a:solidFill>
              <a:prstDash val="solid"/>
              <a:round/>
              <a:headEnd/>
              <a:tailEnd/>
            </a:ln>
          </p:spPr>
          <p:txBody>
            <a:bodyPr/>
            <a:lstStyle/>
            <a:p>
              <a:endParaRPr lang="cs-CZ"/>
            </a:p>
          </p:txBody>
        </p:sp>
        <p:grpSp>
          <p:nvGrpSpPr>
            <p:cNvPr id="98" name="Group 136"/>
            <p:cNvGrpSpPr>
              <a:grpSpLocks/>
            </p:cNvGrpSpPr>
            <p:nvPr/>
          </p:nvGrpSpPr>
          <p:grpSpPr bwMode="auto">
            <a:xfrm>
              <a:off x="3216" y="3113"/>
              <a:ext cx="1190" cy="654"/>
              <a:chOff x="3216" y="3113"/>
              <a:chExt cx="1190" cy="654"/>
            </a:xfrm>
          </p:grpSpPr>
          <p:sp>
            <p:nvSpPr>
              <p:cNvPr id="101" name="Freeform 137"/>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 name="T120" fmla="*/ 328 w 2382"/>
                  <a:gd name="T121" fmla="*/ 531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lnTo>
                      <a:pt x="328" y="5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02" name="Freeform 138"/>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99" name="Oval 139"/>
            <p:cNvSpPr>
              <a:spLocks noChangeArrowheads="1"/>
            </p:cNvSpPr>
            <p:nvPr/>
          </p:nvSpPr>
          <p:spPr bwMode="auto">
            <a:xfrm>
              <a:off x="2477" y="3855"/>
              <a:ext cx="16" cy="16"/>
            </a:xfrm>
            <a:prstGeom prst="ellipse">
              <a:avLst/>
            </a:prstGeom>
            <a:solidFill>
              <a:srgbClr val="FFFFFF"/>
            </a:solidFill>
            <a:ln w="9525">
              <a:solidFill>
                <a:srgbClr val="000000"/>
              </a:solidFill>
              <a:round/>
              <a:headEnd/>
              <a:tailEnd/>
            </a:ln>
          </p:spPr>
          <p:txBody>
            <a:bodyPr/>
            <a:lstStyle/>
            <a:p>
              <a:endParaRPr lang="cs-CZ"/>
            </a:p>
          </p:txBody>
        </p:sp>
        <p:sp>
          <p:nvSpPr>
            <p:cNvPr id="100" name="Freeform 140"/>
            <p:cNvSpPr>
              <a:spLocks/>
            </p:cNvSpPr>
            <p:nvPr/>
          </p:nvSpPr>
          <p:spPr bwMode="auto">
            <a:xfrm>
              <a:off x="1892" y="902"/>
              <a:ext cx="40" cy="23"/>
            </a:xfrm>
            <a:custGeom>
              <a:avLst/>
              <a:gdLst>
                <a:gd name="T0" fmla="*/ 0 w 78"/>
                <a:gd name="T1" fmla="*/ 34 h 48"/>
                <a:gd name="T2" fmla="*/ 11 w 78"/>
                <a:gd name="T3" fmla="*/ 48 h 48"/>
                <a:gd name="T4" fmla="*/ 25 w 78"/>
                <a:gd name="T5" fmla="*/ 32 h 48"/>
                <a:gd name="T6" fmla="*/ 57 w 78"/>
                <a:gd name="T7" fmla="*/ 32 h 48"/>
                <a:gd name="T8" fmla="*/ 72 w 78"/>
                <a:gd name="T9" fmla="*/ 18 h 48"/>
                <a:gd name="T10" fmla="*/ 78 w 78"/>
                <a:gd name="T11" fmla="*/ 4 h 48"/>
                <a:gd name="T12" fmla="*/ 45 w 78"/>
                <a:gd name="T13" fmla="*/ 0 h 48"/>
                <a:gd name="T14" fmla="*/ 37 w 78"/>
                <a:gd name="T15" fmla="*/ 12 h 48"/>
                <a:gd name="T16" fmla="*/ 13 w 78"/>
                <a:gd name="T17" fmla="*/ 14 h 48"/>
                <a:gd name="T18" fmla="*/ 0 w 78"/>
                <a:gd name="T1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8">
                  <a:moveTo>
                    <a:pt x="0" y="34"/>
                  </a:moveTo>
                  <a:lnTo>
                    <a:pt x="11" y="48"/>
                  </a:lnTo>
                  <a:lnTo>
                    <a:pt x="25" y="32"/>
                  </a:lnTo>
                  <a:lnTo>
                    <a:pt x="57" y="32"/>
                  </a:lnTo>
                  <a:lnTo>
                    <a:pt x="72" y="18"/>
                  </a:lnTo>
                  <a:lnTo>
                    <a:pt x="78" y="4"/>
                  </a:lnTo>
                  <a:lnTo>
                    <a:pt x="45" y="0"/>
                  </a:lnTo>
                  <a:lnTo>
                    <a:pt x="37" y="12"/>
                  </a:lnTo>
                  <a:lnTo>
                    <a:pt x="13" y="14"/>
                  </a:lnTo>
                  <a:lnTo>
                    <a:pt x="0" y="34"/>
                  </a:lnTo>
                  <a:close/>
                </a:path>
              </a:pathLst>
            </a:custGeom>
            <a:solidFill>
              <a:srgbClr val="FFFFFF"/>
            </a:solidFill>
            <a:ln w="9525">
              <a:solidFill>
                <a:srgbClr val="000000"/>
              </a:solidFill>
              <a:prstDash val="solid"/>
              <a:round/>
              <a:headEnd/>
              <a:tailEnd/>
            </a:ln>
          </p:spPr>
          <p:txBody>
            <a:bodyPr/>
            <a:lstStyle/>
            <a:p>
              <a:endParaRPr lang="cs-CZ"/>
            </a:p>
          </p:txBody>
        </p:sp>
      </p:grpSp>
      <p:sp>
        <p:nvSpPr>
          <p:cNvPr id="133" name="Freeform 141"/>
          <p:cNvSpPr>
            <a:spLocks/>
          </p:cNvSpPr>
          <p:nvPr/>
        </p:nvSpPr>
        <p:spPr bwMode="auto">
          <a:xfrm>
            <a:off x="2849563" y="1255290"/>
            <a:ext cx="1724025" cy="720725"/>
          </a:xfrm>
          <a:custGeom>
            <a:avLst/>
            <a:gdLst>
              <a:gd name="T0" fmla="*/ 260 w 2172"/>
              <a:gd name="T1" fmla="*/ 0 h 910"/>
              <a:gd name="T2" fmla="*/ 207 w 2172"/>
              <a:gd name="T3" fmla="*/ 2 h 910"/>
              <a:gd name="T4" fmla="*/ 160 w 2172"/>
              <a:gd name="T5" fmla="*/ 10 h 910"/>
              <a:gd name="T6" fmla="*/ 114 w 2172"/>
              <a:gd name="T7" fmla="*/ 22 h 910"/>
              <a:gd name="T8" fmla="*/ 77 w 2172"/>
              <a:gd name="T9" fmla="*/ 37 h 910"/>
              <a:gd name="T10" fmla="*/ 46 w 2172"/>
              <a:gd name="T11" fmla="*/ 57 h 910"/>
              <a:gd name="T12" fmla="*/ 32 w 2172"/>
              <a:gd name="T13" fmla="*/ 67 h 910"/>
              <a:gd name="T14" fmla="*/ 20 w 2172"/>
              <a:gd name="T15" fmla="*/ 79 h 910"/>
              <a:gd name="T16" fmla="*/ 12 w 2172"/>
              <a:gd name="T17" fmla="*/ 91 h 910"/>
              <a:gd name="T18" fmla="*/ 6 w 2172"/>
              <a:gd name="T19" fmla="*/ 102 h 910"/>
              <a:gd name="T20" fmla="*/ 2 w 2172"/>
              <a:gd name="T21" fmla="*/ 114 h 910"/>
              <a:gd name="T22" fmla="*/ 0 w 2172"/>
              <a:gd name="T23" fmla="*/ 128 h 910"/>
              <a:gd name="T24" fmla="*/ 0 w 2172"/>
              <a:gd name="T25" fmla="*/ 450 h 910"/>
              <a:gd name="T26" fmla="*/ 0 w 2172"/>
              <a:gd name="T27" fmla="*/ 643 h 910"/>
              <a:gd name="T28" fmla="*/ 2 w 2172"/>
              <a:gd name="T29" fmla="*/ 656 h 910"/>
              <a:gd name="T30" fmla="*/ 6 w 2172"/>
              <a:gd name="T31" fmla="*/ 668 h 910"/>
              <a:gd name="T32" fmla="*/ 12 w 2172"/>
              <a:gd name="T33" fmla="*/ 682 h 910"/>
              <a:gd name="T34" fmla="*/ 20 w 2172"/>
              <a:gd name="T35" fmla="*/ 694 h 910"/>
              <a:gd name="T36" fmla="*/ 32 w 2172"/>
              <a:gd name="T37" fmla="*/ 705 h 910"/>
              <a:gd name="T38" fmla="*/ 46 w 2172"/>
              <a:gd name="T39" fmla="*/ 715 h 910"/>
              <a:gd name="T40" fmla="*/ 77 w 2172"/>
              <a:gd name="T41" fmla="*/ 735 h 910"/>
              <a:gd name="T42" fmla="*/ 114 w 2172"/>
              <a:gd name="T43" fmla="*/ 751 h 910"/>
              <a:gd name="T44" fmla="*/ 160 w 2172"/>
              <a:gd name="T45" fmla="*/ 762 h 910"/>
              <a:gd name="T46" fmla="*/ 207 w 2172"/>
              <a:gd name="T47" fmla="*/ 770 h 910"/>
              <a:gd name="T48" fmla="*/ 260 w 2172"/>
              <a:gd name="T49" fmla="*/ 772 h 910"/>
              <a:gd name="T50" fmla="*/ 906 w 2172"/>
              <a:gd name="T51" fmla="*/ 772 h 910"/>
              <a:gd name="T52" fmla="*/ 1295 w 2172"/>
              <a:gd name="T53" fmla="*/ 772 h 910"/>
              <a:gd name="T54" fmla="*/ 1348 w 2172"/>
              <a:gd name="T55" fmla="*/ 770 h 910"/>
              <a:gd name="T56" fmla="*/ 1395 w 2172"/>
              <a:gd name="T57" fmla="*/ 762 h 910"/>
              <a:gd name="T58" fmla="*/ 1441 w 2172"/>
              <a:gd name="T59" fmla="*/ 751 h 910"/>
              <a:gd name="T60" fmla="*/ 1478 w 2172"/>
              <a:gd name="T61" fmla="*/ 735 h 910"/>
              <a:gd name="T62" fmla="*/ 1511 w 2172"/>
              <a:gd name="T63" fmla="*/ 715 h 910"/>
              <a:gd name="T64" fmla="*/ 1523 w 2172"/>
              <a:gd name="T65" fmla="*/ 705 h 910"/>
              <a:gd name="T66" fmla="*/ 1535 w 2172"/>
              <a:gd name="T67" fmla="*/ 694 h 910"/>
              <a:gd name="T68" fmla="*/ 1543 w 2172"/>
              <a:gd name="T69" fmla="*/ 682 h 910"/>
              <a:gd name="T70" fmla="*/ 1549 w 2172"/>
              <a:gd name="T71" fmla="*/ 668 h 910"/>
              <a:gd name="T72" fmla="*/ 1553 w 2172"/>
              <a:gd name="T73" fmla="*/ 656 h 910"/>
              <a:gd name="T74" fmla="*/ 1555 w 2172"/>
              <a:gd name="T75" fmla="*/ 643 h 910"/>
              <a:gd name="T76" fmla="*/ 2172 w 2172"/>
              <a:gd name="T77" fmla="*/ 910 h 910"/>
              <a:gd name="T78" fmla="*/ 1555 w 2172"/>
              <a:gd name="T79" fmla="*/ 450 h 910"/>
              <a:gd name="T80" fmla="*/ 1555 w 2172"/>
              <a:gd name="T81" fmla="*/ 128 h 910"/>
              <a:gd name="T82" fmla="*/ 1553 w 2172"/>
              <a:gd name="T83" fmla="*/ 114 h 910"/>
              <a:gd name="T84" fmla="*/ 1549 w 2172"/>
              <a:gd name="T85" fmla="*/ 102 h 910"/>
              <a:gd name="T86" fmla="*/ 1543 w 2172"/>
              <a:gd name="T87" fmla="*/ 91 h 910"/>
              <a:gd name="T88" fmla="*/ 1535 w 2172"/>
              <a:gd name="T89" fmla="*/ 79 h 910"/>
              <a:gd name="T90" fmla="*/ 1523 w 2172"/>
              <a:gd name="T91" fmla="*/ 67 h 910"/>
              <a:gd name="T92" fmla="*/ 1511 w 2172"/>
              <a:gd name="T93" fmla="*/ 57 h 910"/>
              <a:gd name="T94" fmla="*/ 1478 w 2172"/>
              <a:gd name="T95" fmla="*/ 37 h 910"/>
              <a:gd name="T96" fmla="*/ 1441 w 2172"/>
              <a:gd name="T97" fmla="*/ 22 h 910"/>
              <a:gd name="T98" fmla="*/ 1395 w 2172"/>
              <a:gd name="T99" fmla="*/ 10 h 910"/>
              <a:gd name="T100" fmla="*/ 1348 w 2172"/>
              <a:gd name="T101" fmla="*/ 2 h 910"/>
              <a:gd name="T102" fmla="*/ 1295 w 2172"/>
              <a:gd name="T103" fmla="*/ 0 h 910"/>
              <a:gd name="T104" fmla="*/ 906 w 2172"/>
              <a:gd name="T105" fmla="*/ 0 h 910"/>
              <a:gd name="T106" fmla="*/ 260 w 2172"/>
              <a:gd name="T107" fmla="*/ 0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2" h="910">
                <a:moveTo>
                  <a:pt x="260" y="0"/>
                </a:moveTo>
                <a:lnTo>
                  <a:pt x="207" y="2"/>
                </a:lnTo>
                <a:lnTo>
                  <a:pt x="160" y="10"/>
                </a:lnTo>
                <a:lnTo>
                  <a:pt x="114" y="22"/>
                </a:lnTo>
                <a:lnTo>
                  <a:pt x="77" y="37"/>
                </a:lnTo>
                <a:lnTo>
                  <a:pt x="46" y="57"/>
                </a:lnTo>
                <a:lnTo>
                  <a:pt x="32" y="67"/>
                </a:lnTo>
                <a:lnTo>
                  <a:pt x="20" y="79"/>
                </a:lnTo>
                <a:lnTo>
                  <a:pt x="12" y="91"/>
                </a:lnTo>
                <a:lnTo>
                  <a:pt x="6" y="102"/>
                </a:lnTo>
                <a:lnTo>
                  <a:pt x="2" y="114"/>
                </a:lnTo>
                <a:lnTo>
                  <a:pt x="0" y="128"/>
                </a:lnTo>
                <a:lnTo>
                  <a:pt x="0" y="450"/>
                </a:lnTo>
                <a:lnTo>
                  <a:pt x="0" y="643"/>
                </a:lnTo>
                <a:lnTo>
                  <a:pt x="2" y="656"/>
                </a:lnTo>
                <a:lnTo>
                  <a:pt x="6" y="668"/>
                </a:lnTo>
                <a:lnTo>
                  <a:pt x="12" y="682"/>
                </a:lnTo>
                <a:lnTo>
                  <a:pt x="20" y="694"/>
                </a:lnTo>
                <a:lnTo>
                  <a:pt x="32" y="705"/>
                </a:lnTo>
                <a:lnTo>
                  <a:pt x="46" y="715"/>
                </a:lnTo>
                <a:lnTo>
                  <a:pt x="77" y="735"/>
                </a:lnTo>
                <a:lnTo>
                  <a:pt x="114" y="751"/>
                </a:lnTo>
                <a:lnTo>
                  <a:pt x="160" y="762"/>
                </a:lnTo>
                <a:lnTo>
                  <a:pt x="207" y="770"/>
                </a:lnTo>
                <a:lnTo>
                  <a:pt x="260" y="772"/>
                </a:lnTo>
                <a:lnTo>
                  <a:pt x="906" y="772"/>
                </a:lnTo>
                <a:lnTo>
                  <a:pt x="1295" y="772"/>
                </a:lnTo>
                <a:lnTo>
                  <a:pt x="1348" y="770"/>
                </a:lnTo>
                <a:lnTo>
                  <a:pt x="1395" y="762"/>
                </a:lnTo>
                <a:lnTo>
                  <a:pt x="1441" y="751"/>
                </a:lnTo>
                <a:lnTo>
                  <a:pt x="1478" y="735"/>
                </a:lnTo>
                <a:lnTo>
                  <a:pt x="1511" y="715"/>
                </a:lnTo>
                <a:lnTo>
                  <a:pt x="1523" y="705"/>
                </a:lnTo>
                <a:lnTo>
                  <a:pt x="1535" y="694"/>
                </a:lnTo>
                <a:lnTo>
                  <a:pt x="1543" y="682"/>
                </a:lnTo>
                <a:lnTo>
                  <a:pt x="1549" y="668"/>
                </a:lnTo>
                <a:lnTo>
                  <a:pt x="1553" y="656"/>
                </a:lnTo>
                <a:lnTo>
                  <a:pt x="1555" y="643"/>
                </a:lnTo>
                <a:lnTo>
                  <a:pt x="2172" y="910"/>
                </a:lnTo>
                <a:lnTo>
                  <a:pt x="1555" y="450"/>
                </a:lnTo>
                <a:lnTo>
                  <a:pt x="1555" y="128"/>
                </a:lnTo>
                <a:lnTo>
                  <a:pt x="1553" y="114"/>
                </a:lnTo>
                <a:lnTo>
                  <a:pt x="1549" y="102"/>
                </a:lnTo>
                <a:lnTo>
                  <a:pt x="1543" y="91"/>
                </a:lnTo>
                <a:lnTo>
                  <a:pt x="1535" y="79"/>
                </a:lnTo>
                <a:lnTo>
                  <a:pt x="1523" y="67"/>
                </a:lnTo>
                <a:lnTo>
                  <a:pt x="1511" y="57"/>
                </a:lnTo>
                <a:lnTo>
                  <a:pt x="1478" y="37"/>
                </a:lnTo>
                <a:lnTo>
                  <a:pt x="1441" y="22"/>
                </a:lnTo>
                <a:lnTo>
                  <a:pt x="1395" y="10"/>
                </a:lnTo>
                <a:lnTo>
                  <a:pt x="1348" y="2"/>
                </a:lnTo>
                <a:lnTo>
                  <a:pt x="1295" y="0"/>
                </a:lnTo>
                <a:lnTo>
                  <a:pt x="906" y="0"/>
                </a:lnTo>
                <a:lnTo>
                  <a:pt x="260" y="0"/>
                </a:lnTo>
                <a:close/>
              </a:path>
            </a:pathLst>
          </a:custGeom>
          <a:solidFill>
            <a:srgbClr val="FFFFFF"/>
          </a:solidFill>
          <a:ln w="9525">
            <a:solidFill>
              <a:srgbClr val="000000"/>
            </a:solidFill>
            <a:prstDash val="solid"/>
            <a:round/>
            <a:headEnd/>
            <a:tailEnd/>
          </a:ln>
        </p:spPr>
        <p:txBody>
          <a:bodyPr/>
          <a:lstStyle/>
          <a:p>
            <a:endParaRPr lang="cs-CZ"/>
          </a:p>
        </p:txBody>
      </p:sp>
      <p:sp>
        <p:nvSpPr>
          <p:cNvPr id="134" name="Rectangle 142"/>
          <p:cNvSpPr>
            <a:spLocks noChangeArrowheads="1"/>
          </p:cNvSpPr>
          <p:nvPr/>
        </p:nvSpPr>
        <p:spPr bwMode="auto">
          <a:xfrm>
            <a:off x="2932113" y="1318790"/>
            <a:ext cx="4508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Finsko</a:t>
            </a:r>
            <a:endParaRPr lang="cs-CZ" sz="2400" b="0">
              <a:solidFill>
                <a:schemeClr val="tx1"/>
              </a:solidFill>
              <a:latin typeface="Times New Roman" pitchFamily="18" charset="0"/>
              <a:ea typeface="ＭＳ Ｐゴシック" pitchFamily="34" charset="-128"/>
            </a:endParaRPr>
          </a:p>
        </p:txBody>
      </p:sp>
      <p:sp>
        <p:nvSpPr>
          <p:cNvPr id="135" name="Rectangle 143"/>
          <p:cNvSpPr>
            <a:spLocks noChangeArrowheads="1"/>
          </p:cNvSpPr>
          <p:nvPr/>
        </p:nvSpPr>
        <p:spPr bwMode="auto">
          <a:xfrm>
            <a:off x="2932113" y="1490240"/>
            <a:ext cx="10604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Staví se největší </a:t>
            </a:r>
            <a:endParaRPr lang="cs-CZ" sz="2400" b="0">
              <a:solidFill>
                <a:schemeClr val="tx1"/>
              </a:solidFill>
              <a:latin typeface="Times New Roman" pitchFamily="18" charset="0"/>
              <a:ea typeface="ＭＳ Ｐゴシック" pitchFamily="34" charset="-128"/>
            </a:endParaRPr>
          </a:p>
        </p:txBody>
      </p:sp>
      <p:sp>
        <p:nvSpPr>
          <p:cNvPr id="136" name="Rectangle 144"/>
          <p:cNvSpPr>
            <a:spLocks noChangeArrowheads="1"/>
          </p:cNvSpPr>
          <p:nvPr/>
        </p:nvSpPr>
        <p:spPr bwMode="auto">
          <a:xfrm>
            <a:off x="2932113" y="1655340"/>
            <a:ext cx="3651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blok v</a:t>
            </a:r>
            <a:endParaRPr lang="cs-CZ" sz="2400" b="0">
              <a:solidFill>
                <a:schemeClr val="tx1"/>
              </a:solidFill>
              <a:latin typeface="Times New Roman" pitchFamily="18" charset="0"/>
              <a:ea typeface="ＭＳ Ｐゴシック" pitchFamily="34" charset="-128"/>
            </a:endParaRPr>
          </a:p>
        </p:txBody>
      </p:sp>
      <p:sp>
        <p:nvSpPr>
          <p:cNvPr id="137" name="Rectangle 145"/>
          <p:cNvSpPr>
            <a:spLocks noChangeArrowheads="1"/>
          </p:cNvSpPr>
          <p:nvPr/>
        </p:nvSpPr>
        <p:spPr bwMode="auto">
          <a:xfrm>
            <a:off x="3328988" y="1655340"/>
            <a:ext cx="4429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vropě</a:t>
            </a:r>
            <a:endParaRPr lang="cs-CZ" sz="2400" b="0">
              <a:solidFill>
                <a:schemeClr val="tx1"/>
              </a:solidFill>
              <a:latin typeface="Times New Roman" pitchFamily="18" charset="0"/>
              <a:ea typeface="ＭＳ Ｐゴシック" pitchFamily="34" charset="-128"/>
            </a:endParaRPr>
          </a:p>
        </p:txBody>
      </p:sp>
      <p:sp>
        <p:nvSpPr>
          <p:cNvPr id="138" name="Freeform 146"/>
          <p:cNvSpPr>
            <a:spLocks/>
          </p:cNvSpPr>
          <p:nvPr/>
        </p:nvSpPr>
        <p:spPr bwMode="auto">
          <a:xfrm>
            <a:off x="5842000" y="1369590"/>
            <a:ext cx="1243013" cy="1116013"/>
          </a:xfrm>
          <a:custGeom>
            <a:avLst/>
            <a:gdLst>
              <a:gd name="T0" fmla="*/ 261 w 1566"/>
              <a:gd name="T1" fmla="*/ 0 h 1404"/>
              <a:gd name="T2" fmla="*/ 208 w 1566"/>
              <a:gd name="T3" fmla="*/ 3 h 1404"/>
              <a:gd name="T4" fmla="*/ 159 w 1566"/>
              <a:gd name="T5" fmla="*/ 13 h 1404"/>
              <a:gd name="T6" fmla="*/ 114 w 1566"/>
              <a:gd name="T7" fmla="*/ 29 h 1404"/>
              <a:gd name="T8" fmla="*/ 77 w 1566"/>
              <a:gd name="T9" fmla="*/ 49 h 1404"/>
              <a:gd name="T10" fmla="*/ 45 w 1566"/>
              <a:gd name="T11" fmla="*/ 72 h 1404"/>
              <a:gd name="T12" fmla="*/ 31 w 1566"/>
              <a:gd name="T13" fmla="*/ 86 h 1404"/>
              <a:gd name="T14" fmla="*/ 20 w 1566"/>
              <a:gd name="T15" fmla="*/ 102 h 1404"/>
              <a:gd name="T16" fmla="*/ 12 w 1566"/>
              <a:gd name="T17" fmla="*/ 117 h 1404"/>
              <a:gd name="T18" fmla="*/ 6 w 1566"/>
              <a:gd name="T19" fmla="*/ 133 h 1404"/>
              <a:gd name="T20" fmla="*/ 2 w 1566"/>
              <a:gd name="T21" fmla="*/ 149 h 1404"/>
              <a:gd name="T22" fmla="*/ 0 w 1566"/>
              <a:gd name="T23" fmla="*/ 167 h 1404"/>
              <a:gd name="T24" fmla="*/ 0 w 1566"/>
              <a:gd name="T25" fmla="*/ 581 h 1404"/>
              <a:gd name="T26" fmla="*/ 0 w 1566"/>
              <a:gd name="T27" fmla="*/ 831 h 1404"/>
              <a:gd name="T28" fmla="*/ 2 w 1566"/>
              <a:gd name="T29" fmla="*/ 848 h 1404"/>
              <a:gd name="T30" fmla="*/ 6 w 1566"/>
              <a:gd name="T31" fmla="*/ 864 h 1404"/>
              <a:gd name="T32" fmla="*/ 12 w 1566"/>
              <a:gd name="T33" fmla="*/ 880 h 1404"/>
              <a:gd name="T34" fmla="*/ 20 w 1566"/>
              <a:gd name="T35" fmla="*/ 895 h 1404"/>
              <a:gd name="T36" fmla="*/ 31 w 1566"/>
              <a:gd name="T37" fmla="*/ 911 h 1404"/>
              <a:gd name="T38" fmla="*/ 45 w 1566"/>
              <a:gd name="T39" fmla="*/ 925 h 1404"/>
              <a:gd name="T40" fmla="*/ 77 w 1566"/>
              <a:gd name="T41" fmla="*/ 949 h 1404"/>
              <a:gd name="T42" fmla="*/ 114 w 1566"/>
              <a:gd name="T43" fmla="*/ 970 h 1404"/>
              <a:gd name="T44" fmla="*/ 159 w 1566"/>
              <a:gd name="T45" fmla="*/ 984 h 1404"/>
              <a:gd name="T46" fmla="*/ 208 w 1566"/>
              <a:gd name="T47" fmla="*/ 994 h 1404"/>
              <a:gd name="T48" fmla="*/ 261 w 1566"/>
              <a:gd name="T49" fmla="*/ 998 h 1404"/>
              <a:gd name="T50" fmla="*/ 311 w 1566"/>
              <a:gd name="T51" fmla="*/ 1404 h 1404"/>
              <a:gd name="T52" fmla="*/ 652 w 1566"/>
              <a:gd name="T53" fmla="*/ 998 h 1404"/>
              <a:gd name="T54" fmla="*/ 1305 w 1566"/>
              <a:gd name="T55" fmla="*/ 998 h 1404"/>
              <a:gd name="T56" fmla="*/ 1358 w 1566"/>
              <a:gd name="T57" fmla="*/ 994 h 1404"/>
              <a:gd name="T58" fmla="*/ 1407 w 1566"/>
              <a:gd name="T59" fmla="*/ 984 h 1404"/>
              <a:gd name="T60" fmla="*/ 1452 w 1566"/>
              <a:gd name="T61" fmla="*/ 970 h 1404"/>
              <a:gd name="T62" fmla="*/ 1489 w 1566"/>
              <a:gd name="T63" fmla="*/ 949 h 1404"/>
              <a:gd name="T64" fmla="*/ 1521 w 1566"/>
              <a:gd name="T65" fmla="*/ 925 h 1404"/>
              <a:gd name="T66" fmla="*/ 1535 w 1566"/>
              <a:gd name="T67" fmla="*/ 911 h 1404"/>
              <a:gd name="T68" fmla="*/ 1546 w 1566"/>
              <a:gd name="T69" fmla="*/ 895 h 1404"/>
              <a:gd name="T70" fmla="*/ 1554 w 1566"/>
              <a:gd name="T71" fmla="*/ 880 h 1404"/>
              <a:gd name="T72" fmla="*/ 1560 w 1566"/>
              <a:gd name="T73" fmla="*/ 864 h 1404"/>
              <a:gd name="T74" fmla="*/ 1564 w 1566"/>
              <a:gd name="T75" fmla="*/ 848 h 1404"/>
              <a:gd name="T76" fmla="*/ 1566 w 1566"/>
              <a:gd name="T77" fmla="*/ 831 h 1404"/>
              <a:gd name="T78" fmla="*/ 1566 w 1566"/>
              <a:gd name="T79" fmla="*/ 581 h 1404"/>
              <a:gd name="T80" fmla="*/ 1566 w 1566"/>
              <a:gd name="T81" fmla="*/ 167 h 1404"/>
              <a:gd name="T82" fmla="*/ 1564 w 1566"/>
              <a:gd name="T83" fmla="*/ 149 h 1404"/>
              <a:gd name="T84" fmla="*/ 1560 w 1566"/>
              <a:gd name="T85" fmla="*/ 133 h 1404"/>
              <a:gd name="T86" fmla="*/ 1554 w 1566"/>
              <a:gd name="T87" fmla="*/ 117 h 1404"/>
              <a:gd name="T88" fmla="*/ 1546 w 1566"/>
              <a:gd name="T89" fmla="*/ 102 h 1404"/>
              <a:gd name="T90" fmla="*/ 1535 w 1566"/>
              <a:gd name="T91" fmla="*/ 86 h 1404"/>
              <a:gd name="T92" fmla="*/ 1521 w 1566"/>
              <a:gd name="T93" fmla="*/ 72 h 1404"/>
              <a:gd name="T94" fmla="*/ 1489 w 1566"/>
              <a:gd name="T95" fmla="*/ 49 h 1404"/>
              <a:gd name="T96" fmla="*/ 1452 w 1566"/>
              <a:gd name="T97" fmla="*/ 29 h 1404"/>
              <a:gd name="T98" fmla="*/ 1407 w 1566"/>
              <a:gd name="T99" fmla="*/ 13 h 1404"/>
              <a:gd name="T100" fmla="*/ 1358 w 1566"/>
              <a:gd name="T101" fmla="*/ 3 h 1404"/>
              <a:gd name="T102" fmla="*/ 1305 w 1566"/>
              <a:gd name="T103" fmla="*/ 0 h 1404"/>
              <a:gd name="T104" fmla="*/ 652 w 1566"/>
              <a:gd name="T105" fmla="*/ 0 h 1404"/>
              <a:gd name="T106" fmla="*/ 261 w 1566"/>
              <a:gd name="T107" fmla="*/ 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6" h="1404">
                <a:moveTo>
                  <a:pt x="261" y="0"/>
                </a:moveTo>
                <a:lnTo>
                  <a:pt x="208" y="3"/>
                </a:lnTo>
                <a:lnTo>
                  <a:pt x="159" y="13"/>
                </a:lnTo>
                <a:lnTo>
                  <a:pt x="114" y="29"/>
                </a:lnTo>
                <a:lnTo>
                  <a:pt x="77" y="49"/>
                </a:lnTo>
                <a:lnTo>
                  <a:pt x="45" y="72"/>
                </a:lnTo>
                <a:lnTo>
                  <a:pt x="31" y="86"/>
                </a:lnTo>
                <a:lnTo>
                  <a:pt x="20" y="102"/>
                </a:lnTo>
                <a:lnTo>
                  <a:pt x="12" y="117"/>
                </a:lnTo>
                <a:lnTo>
                  <a:pt x="6" y="133"/>
                </a:lnTo>
                <a:lnTo>
                  <a:pt x="2" y="149"/>
                </a:lnTo>
                <a:lnTo>
                  <a:pt x="0" y="167"/>
                </a:lnTo>
                <a:lnTo>
                  <a:pt x="0" y="581"/>
                </a:lnTo>
                <a:lnTo>
                  <a:pt x="0" y="831"/>
                </a:lnTo>
                <a:lnTo>
                  <a:pt x="2" y="848"/>
                </a:lnTo>
                <a:lnTo>
                  <a:pt x="6" y="864"/>
                </a:lnTo>
                <a:lnTo>
                  <a:pt x="12" y="880"/>
                </a:lnTo>
                <a:lnTo>
                  <a:pt x="20" y="895"/>
                </a:lnTo>
                <a:lnTo>
                  <a:pt x="31" y="911"/>
                </a:lnTo>
                <a:lnTo>
                  <a:pt x="45" y="925"/>
                </a:lnTo>
                <a:lnTo>
                  <a:pt x="77" y="949"/>
                </a:lnTo>
                <a:lnTo>
                  <a:pt x="114" y="970"/>
                </a:lnTo>
                <a:lnTo>
                  <a:pt x="159" y="984"/>
                </a:lnTo>
                <a:lnTo>
                  <a:pt x="208" y="994"/>
                </a:lnTo>
                <a:lnTo>
                  <a:pt x="261" y="998"/>
                </a:lnTo>
                <a:lnTo>
                  <a:pt x="311" y="1404"/>
                </a:lnTo>
                <a:lnTo>
                  <a:pt x="652" y="998"/>
                </a:lnTo>
                <a:lnTo>
                  <a:pt x="1305" y="998"/>
                </a:lnTo>
                <a:lnTo>
                  <a:pt x="1358" y="994"/>
                </a:lnTo>
                <a:lnTo>
                  <a:pt x="1407" y="984"/>
                </a:lnTo>
                <a:lnTo>
                  <a:pt x="1452" y="970"/>
                </a:lnTo>
                <a:lnTo>
                  <a:pt x="1489" y="949"/>
                </a:lnTo>
                <a:lnTo>
                  <a:pt x="1521" y="925"/>
                </a:lnTo>
                <a:lnTo>
                  <a:pt x="1535" y="911"/>
                </a:lnTo>
                <a:lnTo>
                  <a:pt x="1546" y="895"/>
                </a:lnTo>
                <a:lnTo>
                  <a:pt x="1554" y="880"/>
                </a:lnTo>
                <a:lnTo>
                  <a:pt x="1560" y="864"/>
                </a:lnTo>
                <a:lnTo>
                  <a:pt x="1564" y="848"/>
                </a:lnTo>
                <a:lnTo>
                  <a:pt x="1566" y="831"/>
                </a:lnTo>
                <a:lnTo>
                  <a:pt x="1566" y="581"/>
                </a:lnTo>
                <a:lnTo>
                  <a:pt x="1566" y="167"/>
                </a:lnTo>
                <a:lnTo>
                  <a:pt x="1564" y="149"/>
                </a:lnTo>
                <a:lnTo>
                  <a:pt x="1560" y="133"/>
                </a:lnTo>
                <a:lnTo>
                  <a:pt x="1554" y="117"/>
                </a:lnTo>
                <a:lnTo>
                  <a:pt x="1546" y="102"/>
                </a:lnTo>
                <a:lnTo>
                  <a:pt x="1535" y="86"/>
                </a:lnTo>
                <a:lnTo>
                  <a:pt x="1521" y="72"/>
                </a:lnTo>
                <a:lnTo>
                  <a:pt x="1489" y="49"/>
                </a:lnTo>
                <a:lnTo>
                  <a:pt x="1452" y="29"/>
                </a:lnTo>
                <a:lnTo>
                  <a:pt x="1407" y="13"/>
                </a:lnTo>
                <a:lnTo>
                  <a:pt x="1358" y="3"/>
                </a:lnTo>
                <a:lnTo>
                  <a:pt x="1305" y="0"/>
                </a:lnTo>
                <a:lnTo>
                  <a:pt x="652" y="0"/>
                </a:lnTo>
                <a:lnTo>
                  <a:pt x="261" y="0"/>
                </a:lnTo>
                <a:close/>
              </a:path>
            </a:pathLst>
          </a:custGeom>
          <a:solidFill>
            <a:srgbClr val="FFFFFF"/>
          </a:solidFill>
          <a:ln w="9525">
            <a:solidFill>
              <a:srgbClr val="000000"/>
            </a:solidFill>
            <a:prstDash val="solid"/>
            <a:round/>
            <a:headEnd/>
            <a:tailEnd/>
          </a:ln>
        </p:spPr>
        <p:txBody>
          <a:bodyPr/>
          <a:lstStyle/>
          <a:p>
            <a:endParaRPr lang="cs-CZ"/>
          </a:p>
        </p:txBody>
      </p:sp>
      <p:sp>
        <p:nvSpPr>
          <p:cNvPr id="139" name="Rectangle 147"/>
          <p:cNvSpPr>
            <a:spLocks noChangeArrowheads="1"/>
          </p:cNvSpPr>
          <p:nvPr/>
        </p:nvSpPr>
        <p:spPr bwMode="auto">
          <a:xfrm>
            <a:off x="5924550" y="1441028"/>
            <a:ext cx="4286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Rusko</a:t>
            </a:r>
            <a:endParaRPr lang="cs-CZ" sz="2400" b="0">
              <a:solidFill>
                <a:schemeClr val="tx1"/>
              </a:solidFill>
              <a:latin typeface="Times New Roman" pitchFamily="18" charset="0"/>
              <a:ea typeface="ＭＳ Ｐゴシック" pitchFamily="34" charset="-128"/>
            </a:endParaRPr>
          </a:p>
        </p:txBody>
      </p:sp>
      <p:sp>
        <p:nvSpPr>
          <p:cNvPr id="140" name="Rectangle 148"/>
          <p:cNvSpPr>
            <a:spLocks noChangeArrowheads="1"/>
          </p:cNvSpPr>
          <p:nvPr/>
        </p:nvSpPr>
        <p:spPr bwMode="auto">
          <a:xfrm>
            <a:off x="5924550" y="1610890"/>
            <a:ext cx="1093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e výstavbě jsou </a:t>
            </a:r>
            <a:endParaRPr lang="cs-CZ" sz="2400" b="0">
              <a:solidFill>
                <a:schemeClr val="tx1"/>
              </a:solidFill>
              <a:latin typeface="Times New Roman" pitchFamily="18" charset="0"/>
              <a:ea typeface="ＭＳ Ｐゴシック" pitchFamily="34" charset="-128"/>
            </a:endParaRPr>
          </a:p>
        </p:txBody>
      </p:sp>
      <p:sp>
        <p:nvSpPr>
          <p:cNvPr id="141" name="Rectangle 149"/>
          <p:cNvSpPr>
            <a:spLocks noChangeArrowheads="1"/>
          </p:cNvSpPr>
          <p:nvPr/>
        </p:nvSpPr>
        <p:spPr bwMode="auto">
          <a:xfrm>
            <a:off x="5924550" y="1775990"/>
            <a:ext cx="8905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čtyři bloky a o </a:t>
            </a:r>
            <a:endParaRPr lang="cs-CZ" sz="2400" b="0">
              <a:solidFill>
                <a:schemeClr val="tx1"/>
              </a:solidFill>
              <a:latin typeface="Times New Roman" pitchFamily="18" charset="0"/>
              <a:ea typeface="ＭＳ Ｐゴシック" pitchFamily="34" charset="-128"/>
            </a:endParaRPr>
          </a:p>
        </p:txBody>
      </p:sp>
      <p:sp>
        <p:nvSpPr>
          <p:cNvPr id="142" name="Rectangle 150"/>
          <p:cNvSpPr>
            <a:spLocks noChangeArrowheads="1"/>
          </p:cNvSpPr>
          <p:nvPr/>
        </p:nvSpPr>
        <p:spPr bwMode="auto">
          <a:xfrm>
            <a:off x="5924550" y="1941090"/>
            <a:ext cx="10477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alších se jedná </a:t>
            </a:r>
            <a:endParaRPr lang="cs-CZ" sz="2400" b="0">
              <a:solidFill>
                <a:schemeClr val="tx1"/>
              </a:solidFill>
              <a:latin typeface="Times New Roman" pitchFamily="18" charset="0"/>
              <a:ea typeface="ＭＳ Ｐゴシック" pitchFamily="34" charset="-128"/>
            </a:endParaRPr>
          </a:p>
        </p:txBody>
      </p:sp>
      <p:sp>
        <p:nvSpPr>
          <p:cNvPr id="143" name="Freeform 151"/>
          <p:cNvSpPr>
            <a:spLocks/>
          </p:cNvSpPr>
          <p:nvPr/>
        </p:nvSpPr>
        <p:spPr bwMode="auto">
          <a:xfrm>
            <a:off x="4903788" y="4893840"/>
            <a:ext cx="2324100" cy="612775"/>
          </a:xfrm>
          <a:custGeom>
            <a:avLst/>
            <a:gdLst>
              <a:gd name="T0" fmla="*/ 1010 w 2928"/>
              <a:gd name="T1" fmla="*/ 2 h 772"/>
              <a:gd name="T2" fmla="*/ 908 w 2928"/>
              <a:gd name="T3" fmla="*/ 16 h 772"/>
              <a:gd name="T4" fmla="*/ 849 w 2928"/>
              <a:gd name="T5" fmla="*/ 29 h 772"/>
              <a:gd name="T6" fmla="*/ 800 w 2928"/>
              <a:gd name="T7" fmla="*/ 47 h 772"/>
              <a:gd name="T8" fmla="*/ 761 w 2928"/>
              <a:gd name="T9" fmla="*/ 67 h 772"/>
              <a:gd name="T10" fmla="*/ 731 w 2928"/>
              <a:gd name="T11" fmla="*/ 90 h 772"/>
              <a:gd name="T12" fmla="*/ 717 w 2928"/>
              <a:gd name="T13" fmla="*/ 114 h 772"/>
              <a:gd name="T14" fmla="*/ 715 w 2928"/>
              <a:gd name="T15" fmla="*/ 450 h 772"/>
              <a:gd name="T16" fmla="*/ 715 w 2928"/>
              <a:gd name="T17" fmla="*/ 642 h 772"/>
              <a:gd name="T18" fmla="*/ 723 w 2928"/>
              <a:gd name="T19" fmla="*/ 668 h 772"/>
              <a:gd name="T20" fmla="*/ 745 w 2928"/>
              <a:gd name="T21" fmla="*/ 693 h 772"/>
              <a:gd name="T22" fmla="*/ 778 w 2928"/>
              <a:gd name="T23" fmla="*/ 715 h 772"/>
              <a:gd name="T24" fmla="*/ 823 w 2928"/>
              <a:gd name="T25" fmla="*/ 735 h 772"/>
              <a:gd name="T26" fmla="*/ 878 w 2928"/>
              <a:gd name="T27" fmla="*/ 750 h 772"/>
              <a:gd name="T28" fmla="*/ 941 w 2928"/>
              <a:gd name="T29" fmla="*/ 762 h 772"/>
              <a:gd name="T30" fmla="*/ 1085 w 2928"/>
              <a:gd name="T31" fmla="*/ 772 h 772"/>
              <a:gd name="T32" fmla="*/ 2558 w 2928"/>
              <a:gd name="T33" fmla="*/ 772 h 772"/>
              <a:gd name="T34" fmla="*/ 2702 w 2928"/>
              <a:gd name="T35" fmla="*/ 762 h 772"/>
              <a:gd name="T36" fmla="*/ 2765 w 2928"/>
              <a:gd name="T37" fmla="*/ 750 h 772"/>
              <a:gd name="T38" fmla="*/ 2820 w 2928"/>
              <a:gd name="T39" fmla="*/ 735 h 772"/>
              <a:gd name="T40" fmla="*/ 2865 w 2928"/>
              <a:gd name="T41" fmla="*/ 715 h 772"/>
              <a:gd name="T42" fmla="*/ 2898 w 2928"/>
              <a:gd name="T43" fmla="*/ 693 h 772"/>
              <a:gd name="T44" fmla="*/ 2920 w 2928"/>
              <a:gd name="T45" fmla="*/ 668 h 772"/>
              <a:gd name="T46" fmla="*/ 2928 w 2928"/>
              <a:gd name="T47" fmla="*/ 642 h 772"/>
              <a:gd name="T48" fmla="*/ 2928 w 2928"/>
              <a:gd name="T49" fmla="*/ 128 h 772"/>
              <a:gd name="T50" fmla="*/ 2920 w 2928"/>
              <a:gd name="T51" fmla="*/ 102 h 772"/>
              <a:gd name="T52" fmla="*/ 2898 w 2928"/>
              <a:gd name="T53" fmla="*/ 78 h 772"/>
              <a:gd name="T54" fmla="*/ 2865 w 2928"/>
              <a:gd name="T55" fmla="*/ 57 h 772"/>
              <a:gd name="T56" fmla="*/ 2820 w 2928"/>
              <a:gd name="T57" fmla="*/ 37 h 772"/>
              <a:gd name="T58" fmla="*/ 2765 w 2928"/>
              <a:gd name="T59" fmla="*/ 21 h 772"/>
              <a:gd name="T60" fmla="*/ 2702 w 2928"/>
              <a:gd name="T61" fmla="*/ 10 h 772"/>
              <a:gd name="T62" fmla="*/ 2558 w 2928"/>
              <a:gd name="T63" fmla="*/ 0 h 772"/>
              <a:gd name="T64" fmla="*/ 1085 w 2928"/>
              <a:gd name="T65"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8" h="772">
                <a:moveTo>
                  <a:pt x="1085" y="0"/>
                </a:moveTo>
                <a:lnTo>
                  <a:pt x="1010" y="2"/>
                </a:lnTo>
                <a:lnTo>
                  <a:pt x="941" y="10"/>
                </a:lnTo>
                <a:lnTo>
                  <a:pt x="908" y="16"/>
                </a:lnTo>
                <a:lnTo>
                  <a:pt x="878" y="21"/>
                </a:lnTo>
                <a:lnTo>
                  <a:pt x="849" y="29"/>
                </a:lnTo>
                <a:lnTo>
                  <a:pt x="823" y="37"/>
                </a:lnTo>
                <a:lnTo>
                  <a:pt x="800" y="47"/>
                </a:lnTo>
                <a:lnTo>
                  <a:pt x="778" y="57"/>
                </a:lnTo>
                <a:lnTo>
                  <a:pt x="761" y="67"/>
                </a:lnTo>
                <a:lnTo>
                  <a:pt x="745" y="78"/>
                </a:lnTo>
                <a:lnTo>
                  <a:pt x="731" y="90"/>
                </a:lnTo>
                <a:lnTo>
                  <a:pt x="723" y="102"/>
                </a:lnTo>
                <a:lnTo>
                  <a:pt x="717" y="114"/>
                </a:lnTo>
                <a:lnTo>
                  <a:pt x="715" y="128"/>
                </a:lnTo>
                <a:lnTo>
                  <a:pt x="715" y="450"/>
                </a:lnTo>
                <a:lnTo>
                  <a:pt x="0" y="393"/>
                </a:lnTo>
                <a:lnTo>
                  <a:pt x="715" y="642"/>
                </a:lnTo>
                <a:lnTo>
                  <a:pt x="717" y="656"/>
                </a:lnTo>
                <a:lnTo>
                  <a:pt x="723" y="668"/>
                </a:lnTo>
                <a:lnTo>
                  <a:pt x="731" y="682"/>
                </a:lnTo>
                <a:lnTo>
                  <a:pt x="745" y="693"/>
                </a:lnTo>
                <a:lnTo>
                  <a:pt x="761" y="705"/>
                </a:lnTo>
                <a:lnTo>
                  <a:pt x="778" y="715"/>
                </a:lnTo>
                <a:lnTo>
                  <a:pt x="800" y="725"/>
                </a:lnTo>
                <a:lnTo>
                  <a:pt x="823" y="735"/>
                </a:lnTo>
                <a:lnTo>
                  <a:pt x="849" y="742"/>
                </a:lnTo>
                <a:lnTo>
                  <a:pt x="878" y="750"/>
                </a:lnTo>
                <a:lnTo>
                  <a:pt x="908" y="756"/>
                </a:lnTo>
                <a:lnTo>
                  <a:pt x="941" y="762"/>
                </a:lnTo>
                <a:lnTo>
                  <a:pt x="1010" y="770"/>
                </a:lnTo>
                <a:lnTo>
                  <a:pt x="1085" y="772"/>
                </a:lnTo>
                <a:lnTo>
                  <a:pt x="1637" y="772"/>
                </a:lnTo>
                <a:lnTo>
                  <a:pt x="2558" y="772"/>
                </a:lnTo>
                <a:lnTo>
                  <a:pt x="2633" y="770"/>
                </a:lnTo>
                <a:lnTo>
                  <a:pt x="2702" y="762"/>
                </a:lnTo>
                <a:lnTo>
                  <a:pt x="2735" y="756"/>
                </a:lnTo>
                <a:lnTo>
                  <a:pt x="2765" y="750"/>
                </a:lnTo>
                <a:lnTo>
                  <a:pt x="2794" y="742"/>
                </a:lnTo>
                <a:lnTo>
                  <a:pt x="2820" y="735"/>
                </a:lnTo>
                <a:lnTo>
                  <a:pt x="2843" y="725"/>
                </a:lnTo>
                <a:lnTo>
                  <a:pt x="2865" y="715"/>
                </a:lnTo>
                <a:lnTo>
                  <a:pt x="2883" y="705"/>
                </a:lnTo>
                <a:lnTo>
                  <a:pt x="2898" y="693"/>
                </a:lnTo>
                <a:lnTo>
                  <a:pt x="2912" y="682"/>
                </a:lnTo>
                <a:lnTo>
                  <a:pt x="2920" y="668"/>
                </a:lnTo>
                <a:lnTo>
                  <a:pt x="2926" y="656"/>
                </a:lnTo>
                <a:lnTo>
                  <a:pt x="2928" y="642"/>
                </a:lnTo>
                <a:lnTo>
                  <a:pt x="2928" y="450"/>
                </a:lnTo>
                <a:lnTo>
                  <a:pt x="2928" y="128"/>
                </a:lnTo>
                <a:lnTo>
                  <a:pt x="2926" y="114"/>
                </a:lnTo>
                <a:lnTo>
                  <a:pt x="2920" y="102"/>
                </a:lnTo>
                <a:lnTo>
                  <a:pt x="2912" y="90"/>
                </a:lnTo>
                <a:lnTo>
                  <a:pt x="2898" y="78"/>
                </a:lnTo>
                <a:lnTo>
                  <a:pt x="2883" y="67"/>
                </a:lnTo>
                <a:lnTo>
                  <a:pt x="2865" y="57"/>
                </a:lnTo>
                <a:lnTo>
                  <a:pt x="2843" y="47"/>
                </a:lnTo>
                <a:lnTo>
                  <a:pt x="2820" y="37"/>
                </a:lnTo>
                <a:lnTo>
                  <a:pt x="2794" y="29"/>
                </a:lnTo>
                <a:lnTo>
                  <a:pt x="2765" y="21"/>
                </a:lnTo>
                <a:lnTo>
                  <a:pt x="2735" y="16"/>
                </a:lnTo>
                <a:lnTo>
                  <a:pt x="2702" y="10"/>
                </a:lnTo>
                <a:lnTo>
                  <a:pt x="2633" y="2"/>
                </a:lnTo>
                <a:lnTo>
                  <a:pt x="2558" y="0"/>
                </a:lnTo>
                <a:lnTo>
                  <a:pt x="1637" y="0"/>
                </a:lnTo>
                <a:lnTo>
                  <a:pt x="1085" y="0"/>
                </a:lnTo>
                <a:close/>
              </a:path>
            </a:pathLst>
          </a:custGeom>
          <a:solidFill>
            <a:srgbClr val="FFFFFF"/>
          </a:solidFill>
          <a:ln w="9525">
            <a:solidFill>
              <a:srgbClr val="000000"/>
            </a:solidFill>
            <a:prstDash val="solid"/>
            <a:round/>
            <a:headEnd/>
            <a:tailEnd/>
          </a:ln>
        </p:spPr>
        <p:txBody>
          <a:bodyPr/>
          <a:lstStyle/>
          <a:p>
            <a:endParaRPr lang="cs-CZ"/>
          </a:p>
        </p:txBody>
      </p:sp>
      <p:sp>
        <p:nvSpPr>
          <p:cNvPr id="144" name="Rectangle 152"/>
          <p:cNvSpPr>
            <a:spLocks noChangeArrowheads="1"/>
          </p:cNvSpPr>
          <p:nvPr/>
        </p:nvSpPr>
        <p:spPr bwMode="auto">
          <a:xfrm>
            <a:off x="5573713" y="4958928"/>
            <a:ext cx="15621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Bulharsko a Rumunsko</a:t>
            </a:r>
            <a:endParaRPr lang="cs-CZ" sz="2400" b="0">
              <a:solidFill>
                <a:schemeClr val="tx1"/>
              </a:solidFill>
              <a:latin typeface="Times New Roman" pitchFamily="18" charset="0"/>
              <a:ea typeface="ＭＳ Ｐゴシック" pitchFamily="34" charset="-128"/>
            </a:endParaRPr>
          </a:p>
        </p:txBody>
      </p:sp>
      <p:sp>
        <p:nvSpPr>
          <p:cNvPr id="145" name="Rectangle 153"/>
          <p:cNvSpPr>
            <a:spLocks noChangeArrowheads="1"/>
          </p:cNvSpPr>
          <p:nvPr/>
        </p:nvSpPr>
        <p:spPr bwMode="auto">
          <a:xfrm>
            <a:off x="5573713" y="5128790"/>
            <a:ext cx="4810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Zdroje (</a:t>
            </a:r>
            <a:endParaRPr lang="cs-CZ" sz="2400" b="0">
              <a:solidFill>
                <a:schemeClr val="tx1"/>
              </a:solidFill>
              <a:latin typeface="Times New Roman" pitchFamily="18" charset="0"/>
              <a:ea typeface="ＭＳ Ｐゴシック" pitchFamily="34" charset="-128"/>
            </a:endParaRPr>
          </a:p>
        </p:txBody>
      </p:sp>
      <p:sp>
        <p:nvSpPr>
          <p:cNvPr id="146" name="Rectangle 154"/>
          <p:cNvSpPr>
            <a:spLocks noChangeArrowheads="1"/>
          </p:cNvSpPr>
          <p:nvPr/>
        </p:nvSpPr>
        <p:spPr bwMode="auto">
          <a:xfrm>
            <a:off x="6045200" y="5128790"/>
            <a:ext cx="4365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Belene</a:t>
            </a:r>
            <a:endParaRPr lang="cs-CZ" sz="2400" b="0">
              <a:solidFill>
                <a:schemeClr val="tx1"/>
              </a:solidFill>
              <a:latin typeface="Times New Roman" pitchFamily="18" charset="0"/>
              <a:ea typeface="ＭＳ Ｐゴシック" pitchFamily="34" charset="-128"/>
            </a:endParaRPr>
          </a:p>
        </p:txBody>
      </p:sp>
      <p:sp>
        <p:nvSpPr>
          <p:cNvPr id="147" name="Rectangle 155"/>
          <p:cNvSpPr>
            <a:spLocks noChangeArrowheads="1"/>
          </p:cNvSpPr>
          <p:nvPr/>
        </p:nvSpPr>
        <p:spPr bwMode="auto">
          <a:xfrm>
            <a:off x="6473825" y="5128790"/>
            <a:ext cx="762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 </a:t>
            </a:r>
            <a:endParaRPr lang="cs-CZ" sz="2400" b="0">
              <a:solidFill>
                <a:schemeClr val="tx1"/>
              </a:solidFill>
              <a:latin typeface="Times New Roman" pitchFamily="18" charset="0"/>
              <a:ea typeface="ＭＳ Ｐゴシック" pitchFamily="34" charset="-128"/>
            </a:endParaRPr>
          </a:p>
        </p:txBody>
      </p:sp>
      <p:sp>
        <p:nvSpPr>
          <p:cNvPr id="148" name="Rectangle 156"/>
          <p:cNvSpPr>
            <a:spLocks noChangeArrowheads="1"/>
          </p:cNvSpPr>
          <p:nvPr/>
        </p:nvSpPr>
        <p:spPr bwMode="auto">
          <a:xfrm>
            <a:off x="5573713" y="5293890"/>
            <a:ext cx="6842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Cernavoda</a:t>
            </a:r>
            <a:endParaRPr lang="cs-CZ" sz="2400" b="0">
              <a:solidFill>
                <a:schemeClr val="tx1"/>
              </a:solidFill>
              <a:latin typeface="Times New Roman" pitchFamily="18" charset="0"/>
              <a:ea typeface="ＭＳ Ｐゴシック" pitchFamily="34" charset="-128"/>
            </a:endParaRPr>
          </a:p>
        </p:txBody>
      </p:sp>
      <p:sp>
        <p:nvSpPr>
          <p:cNvPr id="149" name="Rectangle 157"/>
          <p:cNvSpPr>
            <a:spLocks noChangeArrowheads="1"/>
          </p:cNvSpPr>
          <p:nvPr/>
        </p:nvSpPr>
        <p:spPr bwMode="auto">
          <a:xfrm>
            <a:off x="6243638" y="5293890"/>
            <a:ext cx="8207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 ve výstavbě</a:t>
            </a:r>
            <a:endParaRPr lang="cs-CZ" sz="2400" b="0">
              <a:solidFill>
                <a:schemeClr val="tx1"/>
              </a:solidFill>
              <a:latin typeface="Times New Roman" pitchFamily="18" charset="0"/>
              <a:ea typeface="ＭＳ Ｐゴシック" pitchFamily="34" charset="-128"/>
            </a:endParaRPr>
          </a:p>
        </p:txBody>
      </p:sp>
      <p:sp>
        <p:nvSpPr>
          <p:cNvPr id="150" name="Freeform 158"/>
          <p:cNvSpPr>
            <a:spLocks/>
          </p:cNvSpPr>
          <p:nvPr/>
        </p:nvSpPr>
        <p:spPr bwMode="auto">
          <a:xfrm>
            <a:off x="4538663" y="4174703"/>
            <a:ext cx="2608262" cy="612775"/>
          </a:xfrm>
          <a:custGeom>
            <a:avLst/>
            <a:gdLst>
              <a:gd name="T0" fmla="*/ 1397 w 3286"/>
              <a:gd name="T1" fmla="*/ 2 h 772"/>
              <a:gd name="T2" fmla="*/ 1297 w 3286"/>
              <a:gd name="T3" fmla="*/ 16 h 772"/>
              <a:gd name="T4" fmla="*/ 1238 w 3286"/>
              <a:gd name="T5" fmla="*/ 30 h 772"/>
              <a:gd name="T6" fmla="*/ 1189 w 3286"/>
              <a:gd name="T7" fmla="*/ 47 h 772"/>
              <a:gd name="T8" fmla="*/ 1150 w 3286"/>
              <a:gd name="T9" fmla="*/ 67 h 772"/>
              <a:gd name="T10" fmla="*/ 1122 w 3286"/>
              <a:gd name="T11" fmla="*/ 90 h 772"/>
              <a:gd name="T12" fmla="*/ 1109 w 3286"/>
              <a:gd name="T13" fmla="*/ 114 h 772"/>
              <a:gd name="T14" fmla="*/ 1107 w 3286"/>
              <a:gd name="T15" fmla="*/ 450 h 772"/>
              <a:gd name="T16" fmla="*/ 1107 w 3286"/>
              <a:gd name="T17" fmla="*/ 643 h 772"/>
              <a:gd name="T18" fmla="*/ 1114 w 3286"/>
              <a:gd name="T19" fmla="*/ 668 h 772"/>
              <a:gd name="T20" fmla="*/ 1136 w 3286"/>
              <a:gd name="T21" fmla="*/ 694 h 772"/>
              <a:gd name="T22" fmla="*/ 1169 w 3286"/>
              <a:gd name="T23" fmla="*/ 715 h 772"/>
              <a:gd name="T24" fmla="*/ 1213 w 3286"/>
              <a:gd name="T25" fmla="*/ 735 h 772"/>
              <a:gd name="T26" fmla="*/ 1268 w 3286"/>
              <a:gd name="T27" fmla="*/ 751 h 772"/>
              <a:gd name="T28" fmla="*/ 1329 w 3286"/>
              <a:gd name="T29" fmla="*/ 762 h 772"/>
              <a:gd name="T30" fmla="*/ 1470 w 3286"/>
              <a:gd name="T31" fmla="*/ 772 h 772"/>
              <a:gd name="T32" fmla="*/ 2922 w 3286"/>
              <a:gd name="T33" fmla="*/ 772 h 772"/>
              <a:gd name="T34" fmla="*/ 3064 w 3286"/>
              <a:gd name="T35" fmla="*/ 762 h 772"/>
              <a:gd name="T36" fmla="*/ 3125 w 3286"/>
              <a:gd name="T37" fmla="*/ 751 h 772"/>
              <a:gd name="T38" fmla="*/ 3180 w 3286"/>
              <a:gd name="T39" fmla="*/ 735 h 772"/>
              <a:gd name="T40" fmla="*/ 3223 w 3286"/>
              <a:gd name="T41" fmla="*/ 715 h 772"/>
              <a:gd name="T42" fmla="*/ 3256 w 3286"/>
              <a:gd name="T43" fmla="*/ 694 h 772"/>
              <a:gd name="T44" fmla="*/ 3278 w 3286"/>
              <a:gd name="T45" fmla="*/ 668 h 772"/>
              <a:gd name="T46" fmla="*/ 3286 w 3286"/>
              <a:gd name="T47" fmla="*/ 643 h 772"/>
              <a:gd name="T48" fmla="*/ 3286 w 3286"/>
              <a:gd name="T49" fmla="*/ 128 h 772"/>
              <a:gd name="T50" fmla="*/ 3278 w 3286"/>
              <a:gd name="T51" fmla="*/ 102 h 772"/>
              <a:gd name="T52" fmla="*/ 3256 w 3286"/>
              <a:gd name="T53" fmla="*/ 79 h 772"/>
              <a:gd name="T54" fmla="*/ 3223 w 3286"/>
              <a:gd name="T55" fmla="*/ 57 h 772"/>
              <a:gd name="T56" fmla="*/ 3180 w 3286"/>
              <a:gd name="T57" fmla="*/ 37 h 772"/>
              <a:gd name="T58" fmla="*/ 3125 w 3286"/>
              <a:gd name="T59" fmla="*/ 22 h 772"/>
              <a:gd name="T60" fmla="*/ 3064 w 3286"/>
              <a:gd name="T61" fmla="*/ 10 h 772"/>
              <a:gd name="T62" fmla="*/ 2922 w 3286"/>
              <a:gd name="T63" fmla="*/ 0 h 772"/>
              <a:gd name="T64" fmla="*/ 1470 w 3286"/>
              <a:gd name="T65"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6" h="772">
                <a:moveTo>
                  <a:pt x="1470" y="0"/>
                </a:moveTo>
                <a:lnTo>
                  <a:pt x="1397" y="2"/>
                </a:lnTo>
                <a:lnTo>
                  <a:pt x="1329" y="10"/>
                </a:lnTo>
                <a:lnTo>
                  <a:pt x="1297" y="16"/>
                </a:lnTo>
                <a:lnTo>
                  <a:pt x="1268" y="22"/>
                </a:lnTo>
                <a:lnTo>
                  <a:pt x="1238" y="30"/>
                </a:lnTo>
                <a:lnTo>
                  <a:pt x="1213" y="37"/>
                </a:lnTo>
                <a:lnTo>
                  <a:pt x="1189" y="47"/>
                </a:lnTo>
                <a:lnTo>
                  <a:pt x="1169" y="57"/>
                </a:lnTo>
                <a:lnTo>
                  <a:pt x="1150" y="67"/>
                </a:lnTo>
                <a:lnTo>
                  <a:pt x="1136" y="79"/>
                </a:lnTo>
                <a:lnTo>
                  <a:pt x="1122" y="90"/>
                </a:lnTo>
                <a:lnTo>
                  <a:pt x="1114" y="102"/>
                </a:lnTo>
                <a:lnTo>
                  <a:pt x="1109" y="114"/>
                </a:lnTo>
                <a:lnTo>
                  <a:pt x="1107" y="128"/>
                </a:lnTo>
                <a:lnTo>
                  <a:pt x="1107" y="450"/>
                </a:lnTo>
                <a:lnTo>
                  <a:pt x="0" y="405"/>
                </a:lnTo>
                <a:lnTo>
                  <a:pt x="1107" y="643"/>
                </a:lnTo>
                <a:lnTo>
                  <a:pt x="1109" y="656"/>
                </a:lnTo>
                <a:lnTo>
                  <a:pt x="1114" y="668"/>
                </a:lnTo>
                <a:lnTo>
                  <a:pt x="1122" y="682"/>
                </a:lnTo>
                <a:lnTo>
                  <a:pt x="1136" y="694"/>
                </a:lnTo>
                <a:lnTo>
                  <a:pt x="1150" y="705"/>
                </a:lnTo>
                <a:lnTo>
                  <a:pt x="1169" y="715"/>
                </a:lnTo>
                <a:lnTo>
                  <a:pt x="1189" y="725"/>
                </a:lnTo>
                <a:lnTo>
                  <a:pt x="1213" y="735"/>
                </a:lnTo>
                <a:lnTo>
                  <a:pt x="1238" y="743"/>
                </a:lnTo>
                <a:lnTo>
                  <a:pt x="1268" y="751"/>
                </a:lnTo>
                <a:lnTo>
                  <a:pt x="1297" y="757"/>
                </a:lnTo>
                <a:lnTo>
                  <a:pt x="1329" y="762"/>
                </a:lnTo>
                <a:lnTo>
                  <a:pt x="1397" y="770"/>
                </a:lnTo>
                <a:lnTo>
                  <a:pt x="1470" y="772"/>
                </a:lnTo>
                <a:lnTo>
                  <a:pt x="2014" y="772"/>
                </a:lnTo>
                <a:lnTo>
                  <a:pt x="2922" y="772"/>
                </a:lnTo>
                <a:lnTo>
                  <a:pt x="2995" y="770"/>
                </a:lnTo>
                <a:lnTo>
                  <a:pt x="3064" y="762"/>
                </a:lnTo>
                <a:lnTo>
                  <a:pt x="3095" y="757"/>
                </a:lnTo>
                <a:lnTo>
                  <a:pt x="3125" y="751"/>
                </a:lnTo>
                <a:lnTo>
                  <a:pt x="3154" y="743"/>
                </a:lnTo>
                <a:lnTo>
                  <a:pt x="3180" y="735"/>
                </a:lnTo>
                <a:lnTo>
                  <a:pt x="3203" y="725"/>
                </a:lnTo>
                <a:lnTo>
                  <a:pt x="3223" y="715"/>
                </a:lnTo>
                <a:lnTo>
                  <a:pt x="3242" y="705"/>
                </a:lnTo>
                <a:lnTo>
                  <a:pt x="3256" y="694"/>
                </a:lnTo>
                <a:lnTo>
                  <a:pt x="3270" y="682"/>
                </a:lnTo>
                <a:lnTo>
                  <a:pt x="3278" y="668"/>
                </a:lnTo>
                <a:lnTo>
                  <a:pt x="3284" y="656"/>
                </a:lnTo>
                <a:lnTo>
                  <a:pt x="3286" y="643"/>
                </a:lnTo>
                <a:lnTo>
                  <a:pt x="3286" y="450"/>
                </a:lnTo>
                <a:lnTo>
                  <a:pt x="3286" y="128"/>
                </a:lnTo>
                <a:lnTo>
                  <a:pt x="3284" y="114"/>
                </a:lnTo>
                <a:lnTo>
                  <a:pt x="3278" y="102"/>
                </a:lnTo>
                <a:lnTo>
                  <a:pt x="3270" y="90"/>
                </a:lnTo>
                <a:lnTo>
                  <a:pt x="3256" y="79"/>
                </a:lnTo>
                <a:lnTo>
                  <a:pt x="3242" y="67"/>
                </a:lnTo>
                <a:lnTo>
                  <a:pt x="3223" y="57"/>
                </a:lnTo>
                <a:lnTo>
                  <a:pt x="3203" y="47"/>
                </a:lnTo>
                <a:lnTo>
                  <a:pt x="3180" y="37"/>
                </a:lnTo>
                <a:lnTo>
                  <a:pt x="3154" y="30"/>
                </a:lnTo>
                <a:lnTo>
                  <a:pt x="3125" y="22"/>
                </a:lnTo>
                <a:lnTo>
                  <a:pt x="3095" y="16"/>
                </a:lnTo>
                <a:lnTo>
                  <a:pt x="3064" y="10"/>
                </a:lnTo>
                <a:lnTo>
                  <a:pt x="2995" y="2"/>
                </a:lnTo>
                <a:lnTo>
                  <a:pt x="2922" y="0"/>
                </a:lnTo>
                <a:lnTo>
                  <a:pt x="2014" y="0"/>
                </a:lnTo>
                <a:lnTo>
                  <a:pt x="1470" y="0"/>
                </a:lnTo>
                <a:close/>
              </a:path>
            </a:pathLst>
          </a:custGeom>
          <a:solidFill>
            <a:srgbClr val="FFFFFF"/>
          </a:solidFill>
          <a:ln w="9525">
            <a:solidFill>
              <a:srgbClr val="000000"/>
            </a:solidFill>
            <a:prstDash val="solid"/>
            <a:round/>
            <a:headEnd/>
            <a:tailEnd/>
          </a:ln>
        </p:spPr>
        <p:txBody>
          <a:bodyPr/>
          <a:lstStyle/>
          <a:p>
            <a:endParaRPr lang="cs-CZ"/>
          </a:p>
        </p:txBody>
      </p:sp>
      <p:sp>
        <p:nvSpPr>
          <p:cNvPr id="151" name="Rectangle 159"/>
          <p:cNvSpPr>
            <a:spLocks noChangeArrowheads="1"/>
          </p:cNvSpPr>
          <p:nvPr/>
        </p:nvSpPr>
        <p:spPr bwMode="auto">
          <a:xfrm>
            <a:off x="5516563" y="4238203"/>
            <a:ext cx="6667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Maďarsko</a:t>
            </a:r>
            <a:endParaRPr lang="cs-CZ" sz="2400" b="0">
              <a:solidFill>
                <a:schemeClr val="tx1"/>
              </a:solidFill>
              <a:latin typeface="Times New Roman" pitchFamily="18" charset="0"/>
              <a:ea typeface="ＭＳ Ｐゴシック" pitchFamily="34" charset="-128"/>
            </a:endParaRPr>
          </a:p>
        </p:txBody>
      </p:sp>
      <p:sp>
        <p:nvSpPr>
          <p:cNvPr id="152" name="Rectangle 160"/>
          <p:cNvSpPr>
            <a:spLocks noChangeArrowheads="1"/>
          </p:cNvSpPr>
          <p:nvPr/>
        </p:nvSpPr>
        <p:spPr bwMode="auto">
          <a:xfrm>
            <a:off x="5516563" y="4409653"/>
            <a:ext cx="5048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Aktuální</a:t>
            </a:r>
            <a:endParaRPr lang="cs-CZ" sz="2400" b="0">
              <a:solidFill>
                <a:schemeClr val="tx1"/>
              </a:solidFill>
              <a:latin typeface="Times New Roman" pitchFamily="18" charset="0"/>
              <a:ea typeface="ＭＳ Ｐゴシック" pitchFamily="34" charset="-128"/>
            </a:endParaRPr>
          </a:p>
        </p:txBody>
      </p:sp>
      <p:sp>
        <p:nvSpPr>
          <p:cNvPr id="153" name="Rectangle 161"/>
          <p:cNvSpPr>
            <a:spLocks noChangeArrowheads="1"/>
          </p:cNvSpPr>
          <p:nvPr/>
        </p:nvSpPr>
        <p:spPr bwMode="auto">
          <a:xfrm>
            <a:off x="6051550" y="4409653"/>
            <a:ext cx="4746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154" name="Rectangle 162"/>
          <p:cNvSpPr>
            <a:spLocks noChangeArrowheads="1"/>
          </p:cNvSpPr>
          <p:nvPr/>
        </p:nvSpPr>
        <p:spPr bwMode="auto">
          <a:xfrm>
            <a:off x="6554788" y="4409653"/>
            <a:ext cx="115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155" name="Rectangle 163"/>
          <p:cNvSpPr>
            <a:spLocks noChangeArrowheads="1"/>
          </p:cNvSpPr>
          <p:nvPr/>
        </p:nvSpPr>
        <p:spPr bwMode="auto">
          <a:xfrm>
            <a:off x="5516563" y="4574753"/>
            <a:ext cx="12303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rozšíření elektrárny </a:t>
            </a:r>
            <a:endParaRPr lang="cs-CZ" sz="2400" b="0">
              <a:solidFill>
                <a:schemeClr val="tx1"/>
              </a:solidFill>
              <a:latin typeface="Times New Roman" pitchFamily="18" charset="0"/>
              <a:ea typeface="ＭＳ Ｐゴシック" pitchFamily="34" charset="-128"/>
            </a:endParaRPr>
          </a:p>
        </p:txBody>
      </p:sp>
      <p:sp>
        <p:nvSpPr>
          <p:cNvPr id="156" name="Rectangle 164"/>
          <p:cNvSpPr>
            <a:spLocks noChangeArrowheads="1"/>
          </p:cNvSpPr>
          <p:nvPr/>
        </p:nvSpPr>
        <p:spPr bwMode="auto">
          <a:xfrm>
            <a:off x="6724650" y="4574753"/>
            <a:ext cx="3111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aks</a:t>
            </a:r>
            <a:endParaRPr lang="cs-CZ" sz="2400" b="0">
              <a:solidFill>
                <a:schemeClr val="tx1"/>
              </a:solidFill>
              <a:latin typeface="Times New Roman" pitchFamily="18" charset="0"/>
              <a:ea typeface="ＭＳ Ｐゴシック" pitchFamily="34" charset="-128"/>
            </a:endParaRPr>
          </a:p>
        </p:txBody>
      </p:sp>
      <p:grpSp>
        <p:nvGrpSpPr>
          <p:cNvPr id="157" name="Group 165"/>
          <p:cNvGrpSpPr>
            <a:grpSpLocks/>
          </p:cNvGrpSpPr>
          <p:nvPr/>
        </p:nvGrpSpPr>
        <p:grpSpPr bwMode="auto">
          <a:xfrm>
            <a:off x="5108575" y="4777953"/>
            <a:ext cx="504825" cy="327025"/>
            <a:chOff x="3210" y="3074"/>
            <a:chExt cx="318" cy="206"/>
          </a:xfrm>
        </p:grpSpPr>
        <p:sp>
          <p:nvSpPr>
            <p:cNvPr id="158" name="Freeform 166"/>
            <p:cNvSpPr>
              <a:spLocks/>
            </p:cNvSpPr>
            <p:nvPr/>
          </p:nvSpPr>
          <p:spPr bwMode="auto">
            <a:xfrm>
              <a:off x="3210" y="3074"/>
              <a:ext cx="318" cy="206"/>
            </a:xfrm>
            <a:custGeom>
              <a:avLst/>
              <a:gdLst>
                <a:gd name="T0" fmla="*/ 459 w 636"/>
                <a:gd name="T1" fmla="*/ 413 h 413"/>
                <a:gd name="T2" fmla="*/ 0 w 636"/>
                <a:gd name="T3" fmla="*/ 0 h 413"/>
                <a:gd name="T4" fmla="*/ 636 w 636"/>
                <a:gd name="T5" fmla="*/ 166 h 413"/>
                <a:gd name="T6" fmla="*/ 459 w 636"/>
                <a:gd name="T7" fmla="*/ 413 h 413"/>
              </a:gdLst>
              <a:ahLst/>
              <a:cxnLst>
                <a:cxn ang="0">
                  <a:pos x="T0" y="T1"/>
                </a:cxn>
                <a:cxn ang="0">
                  <a:pos x="T2" y="T3"/>
                </a:cxn>
                <a:cxn ang="0">
                  <a:pos x="T4" y="T5"/>
                </a:cxn>
                <a:cxn ang="0">
                  <a:pos x="T6" y="T7"/>
                </a:cxn>
              </a:cxnLst>
              <a:rect l="0" t="0" r="r" b="b"/>
              <a:pathLst>
                <a:path w="636" h="413">
                  <a:moveTo>
                    <a:pt x="459" y="413"/>
                  </a:moveTo>
                  <a:lnTo>
                    <a:pt x="0" y="0"/>
                  </a:lnTo>
                  <a:lnTo>
                    <a:pt x="636" y="166"/>
                  </a:lnTo>
                  <a:lnTo>
                    <a:pt x="459" y="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59" name="Freeform 167"/>
            <p:cNvSpPr>
              <a:spLocks/>
            </p:cNvSpPr>
            <p:nvPr/>
          </p:nvSpPr>
          <p:spPr bwMode="auto">
            <a:xfrm>
              <a:off x="3210" y="3074"/>
              <a:ext cx="318" cy="206"/>
            </a:xfrm>
            <a:custGeom>
              <a:avLst/>
              <a:gdLst>
                <a:gd name="T0" fmla="*/ 459 w 636"/>
                <a:gd name="T1" fmla="*/ 413 h 413"/>
                <a:gd name="T2" fmla="*/ 0 w 636"/>
                <a:gd name="T3" fmla="*/ 0 h 413"/>
                <a:gd name="T4" fmla="*/ 636 w 636"/>
                <a:gd name="T5" fmla="*/ 166 h 413"/>
              </a:gdLst>
              <a:ahLst/>
              <a:cxnLst>
                <a:cxn ang="0">
                  <a:pos x="T0" y="T1"/>
                </a:cxn>
                <a:cxn ang="0">
                  <a:pos x="T2" y="T3"/>
                </a:cxn>
                <a:cxn ang="0">
                  <a:pos x="T4" y="T5"/>
                </a:cxn>
              </a:cxnLst>
              <a:rect l="0" t="0" r="r" b="b"/>
              <a:pathLst>
                <a:path w="636" h="413">
                  <a:moveTo>
                    <a:pt x="459" y="413"/>
                  </a:moveTo>
                  <a:lnTo>
                    <a:pt x="0" y="0"/>
                  </a:lnTo>
                  <a:lnTo>
                    <a:pt x="636" y="16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160" name="Freeform 168"/>
          <p:cNvSpPr>
            <a:spLocks/>
          </p:cNvSpPr>
          <p:nvPr/>
        </p:nvSpPr>
        <p:spPr bwMode="auto">
          <a:xfrm>
            <a:off x="954088" y="3901653"/>
            <a:ext cx="1782762" cy="969962"/>
          </a:xfrm>
          <a:custGeom>
            <a:avLst/>
            <a:gdLst>
              <a:gd name="T0" fmla="*/ 283 w 2248"/>
              <a:gd name="T1" fmla="*/ 0 h 1222"/>
              <a:gd name="T2" fmla="*/ 254 w 2248"/>
              <a:gd name="T3" fmla="*/ 2 h 1222"/>
              <a:gd name="T4" fmla="*/ 226 w 2248"/>
              <a:gd name="T5" fmla="*/ 4 h 1222"/>
              <a:gd name="T6" fmla="*/ 173 w 2248"/>
              <a:gd name="T7" fmla="*/ 16 h 1222"/>
              <a:gd name="T8" fmla="*/ 126 w 2248"/>
              <a:gd name="T9" fmla="*/ 36 h 1222"/>
              <a:gd name="T10" fmla="*/ 83 w 2248"/>
              <a:gd name="T11" fmla="*/ 59 h 1222"/>
              <a:gd name="T12" fmla="*/ 65 w 2248"/>
              <a:gd name="T13" fmla="*/ 75 h 1222"/>
              <a:gd name="T14" fmla="*/ 49 w 2248"/>
              <a:gd name="T15" fmla="*/ 91 h 1222"/>
              <a:gd name="T16" fmla="*/ 36 w 2248"/>
              <a:gd name="T17" fmla="*/ 106 h 1222"/>
              <a:gd name="T18" fmla="*/ 22 w 2248"/>
              <a:gd name="T19" fmla="*/ 124 h 1222"/>
              <a:gd name="T20" fmla="*/ 14 w 2248"/>
              <a:gd name="T21" fmla="*/ 144 h 1222"/>
              <a:gd name="T22" fmla="*/ 6 w 2248"/>
              <a:gd name="T23" fmla="*/ 163 h 1222"/>
              <a:gd name="T24" fmla="*/ 2 w 2248"/>
              <a:gd name="T25" fmla="*/ 183 h 1222"/>
              <a:gd name="T26" fmla="*/ 0 w 2248"/>
              <a:gd name="T27" fmla="*/ 205 h 1222"/>
              <a:gd name="T28" fmla="*/ 0 w 2248"/>
              <a:gd name="T29" fmla="*/ 713 h 1222"/>
              <a:gd name="T30" fmla="*/ 0 w 2248"/>
              <a:gd name="T31" fmla="*/ 1018 h 1222"/>
              <a:gd name="T32" fmla="*/ 2 w 2248"/>
              <a:gd name="T33" fmla="*/ 1040 h 1222"/>
              <a:gd name="T34" fmla="*/ 6 w 2248"/>
              <a:gd name="T35" fmla="*/ 1059 h 1222"/>
              <a:gd name="T36" fmla="*/ 14 w 2248"/>
              <a:gd name="T37" fmla="*/ 1079 h 1222"/>
              <a:gd name="T38" fmla="*/ 22 w 2248"/>
              <a:gd name="T39" fmla="*/ 1099 h 1222"/>
              <a:gd name="T40" fmla="*/ 36 w 2248"/>
              <a:gd name="T41" fmla="*/ 1116 h 1222"/>
              <a:gd name="T42" fmla="*/ 49 w 2248"/>
              <a:gd name="T43" fmla="*/ 1132 h 1222"/>
              <a:gd name="T44" fmla="*/ 65 w 2248"/>
              <a:gd name="T45" fmla="*/ 1148 h 1222"/>
              <a:gd name="T46" fmla="*/ 83 w 2248"/>
              <a:gd name="T47" fmla="*/ 1163 h 1222"/>
              <a:gd name="T48" fmla="*/ 126 w 2248"/>
              <a:gd name="T49" fmla="*/ 1187 h 1222"/>
              <a:gd name="T50" fmla="*/ 173 w 2248"/>
              <a:gd name="T51" fmla="*/ 1207 h 1222"/>
              <a:gd name="T52" fmla="*/ 226 w 2248"/>
              <a:gd name="T53" fmla="*/ 1218 h 1222"/>
              <a:gd name="T54" fmla="*/ 254 w 2248"/>
              <a:gd name="T55" fmla="*/ 1222 h 1222"/>
              <a:gd name="T56" fmla="*/ 283 w 2248"/>
              <a:gd name="T57" fmla="*/ 1222 h 1222"/>
              <a:gd name="T58" fmla="*/ 992 w 2248"/>
              <a:gd name="T59" fmla="*/ 1222 h 1222"/>
              <a:gd name="T60" fmla="*/ 1417 w 2248"/>
              <a:gd name="T61" fmla="*/ 1222 h 1222"/>
              <a:gd name="T62" fmla="*/ 1446 w 2248"/>
              <a:gd name="T63" fmla="*/ 1222 h 1222"/>
              <a:gd name="T64" fmla="*/ 1474 w 2248"/>
              <a:gd name="T65" fmla="*/ 1218 h 1222"/>
              <a:gd name="T66" fmla="*/ 1527 w 2248"/>
              <a:gd name="T67" fmla="*/ 1207 h 1222"/>
              <a:gd name="T68" fmla="*/ 1574 w 2248"/>
              <a:gd name="T69" fmla="*/ 1187 h 1222"/>
              <a:gd name="T70" fmla="*/ 1617 w 2248"/>
              <a:gd name="T71" fmla="*/ 1163 h 1222"/>
              <a:gd name="T72" fmla="*/ 1635 w 2248"/>
              <a:gd name="T73" fmla="*/ 1148 h 1222"/>
              <a:gd name="T74" fmla="*/ 1651 w 2248"/>
              <a:gd name="T75" fmla="*/ 1132 h 1222"/>
              <a:gd name="T76" fmla="*/ 1666 w 2248"/>
              <a:gd name="T77" fmla="*/ 1116 h 1222"/>
              <a:gd name="T78" fmla="*/ 1678 w 2248"/>
              <a:gd name="T79" fmla="*/ 1099 h 1222"/>
              <a:gd name="T80" fmla="*/ 1688 w 2248"/>
              <a:gd name="T81" fmla="*/ 1079 h 1222"/>
              <a:gd name="T82" fmla="*/ 1694 w 2248"/>
              <a:gd name="T83" fmla="*/ 1059 h 1222"/>
              <a:gd name="T84" fmla="*/ 1698 w 2248"/>
              <a:gd name="T85" fmla="*/ 1040 h 1222"/>
              <a:gd name="T86" fmla="*/ 1700 w 2248"/>
              <a:gd name="T87" fmla="*/ 1018 h 1222"/>
              <a:gd name="T88" fmla="*/ 2248 w 2248"/>
              <a:gd name="T89" fmla="*/ 1046 h 1222"/>
              <a:gd name="T90" fmla="*/ 1700 w 2248"/>
              <a:gd name="T91" fmla="*/ 713 h 1222"/>
              <a:gd name="T92" fmla="*/ 1700 w 2248"/>
              <a:gd name="T93" fmla="*/ 205 h 1222"/>
              <a:gd name="T94" fmla="*/ 1698 w 2248"/>
              <a:gd name="T95" fmla="*/ 183 h 1222"/>
              <a:gd name="T96" fmla="*/ 1694 w 2248"/>
              <a:gd name="T97" fmla="*/ 163 h 1222"/>
              <a:gd name="T98" fmla="*/ 1688 w 2248"/>
              <a:gd name="T99" fmla="*/ 144 h 1222"/>
              <a:gd name="T100" fmla="*/ 1678 w 2248"/>
              <a:gd name="T101" fmla="*/ 124 h 1222"/>
              <a:gd name="T102" fmla="*/ 1666 w 2248"/>
              <a:gd name="T103" fmla="*/ 106 h 1222"/>
              <a:gd name="T104" fmla="*/ 1651 w 2248"/>
              <a:gd name="T105" fmla="*/ 91 h 1222"/>
              <a:gd name="T106" fmla="*/ 1635 w 2248"/>
              <a:gd name="T107" fmla="*/ 75 h 1222"/>
              <a:gd name="T108" fmla="*/ 1617 w 2248"/>
              <a:gd name="T109" fmla="*/ 59 h 1222"/>
              <a:gd name="T110" fmla="*/ 1574 w 2248"/>
              <a:gd name="T111" fmla="*/ 36 h 1222"/>
              <a:gd name="T112" fmla="*/ 1527 w 2248"/>
              <a:gd name="T113" fmla="*/ 16 h 1222"/>
              <a:gd name="T114" fmla="*/ 1474 w 2248"/>
              <a:gd name="T115" fmla="*/ 4 h 1222"/>
              <a:gd name="T116" fmla="*/ 1446 w 2248"/>
              <a:gd name="T117" fmla="*/ 2 h 1222"/>
              <a:gd name="T118" fmla="*/ 1417 w 2248"/>
              <a:gd name="T119" fmla="*/ 0 h 1222"/>
              <a:gd name="T120" fmla="*/ 992 w 2248"/>
              <a:gd name="T121" fmla="*/ 0 h 1222"/>
              <a:gd name="T122" fmla="*/ 283 w 2248"/>
              <a:gd name="T123" fmla="*/ 0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8" h="1222">
                <a:moveTo>
                  <a:pt x="283" y="0"/>
                </a:moveTo>
                <a:lnTo>
                  <a:pt x="254" y="2"/>
                </a:lnTo>
                <a:lnTo>
                  <a:pt x="226" y="4"/>
                </a:lnTo>
                <a:lnTo>
                  <a:pt x="173" y="16"/>
                </a:lnTo>
                <a:lnTo>
                  <a:pt x="126" y="36"/>
                </a:lnTo>
                <a:lnTo>
                  <a:pt x="83" y="59"/>
                </a:lnTo>
                <a:lnTo>
                  <a:pt x="65" y="75"/>
                </a:lnTo>
                <a:lnTo>
                  <a:pt x="49" y="91"/>
                </a:lnTo>
                <a:lnTo>
                  <a:pt x="36" y="106"/>
                </a:lnTo>
                <a:lnTo>
                  <a:pt x="22" y="124"/>
                </a:lnTo>
                <a:lnTo>
                  <a:pt x="14" y="144"/>
                </a:lnTo>
                <a:lnTo>
                  <a:pt x="6" y="163"/>
                </a:lnTo>
                <a:lnTo>
                  <a:pt x="2" y="183"/>
                </a:lnTo>
                <a:lnTo>
                  <a:pt x="0" y="205"/>
                </a:lnTo>
                <a:lnTo>
                  <a:pt x="0" y="713"/>
                </a:lnTo>
                <a:lnTo>
                  <a:pt x="0" y="1018"/>
                </a:lnTo>
                <a:lnTo>
                  <a:pt x="2" y="1040"/>
                </a:lnTo>
                <a:lnTo>
                  <a:pt x="6" y="1059"/>
                </a:lnTo>
                <a:lnTo>
                  <a:pt x="14" y="1079"/>
                </a:lnTo>
                <a:lnTo>
                  <a:pt x="22" y="1099"/>
                </a:lnTo>
                <a:lnTo>
                  <a:pt x="36" y="1116"/>
                </a:lnTo>
                <a:lnTo>
                  <a:pt x="49" y="1132"/>
                </a:lnTo>
                <a:lnTo>
                  <a:pt x="65" y="1148"/>
                </a:lnTo>
                <a:lnTo>
                  <a:pt x="83" y="1163"/>
                </a:lnTo>
                <a:lnTo>
                  <a:pt x="126" y="1187"/>
                </a:lnTo>
                <a:lnTo>
                  <a:pt x="173" y="1207"/>
                </a:lnTo>
                <a:lnTo>
                  <a:pt x="226" y="1218"/>
                </a:lnTo>
                <a:lnTo>
                  <a:pt x="254" y="1222"/>
                </a:lnTo>
                <a:lnTo>
                  <a:pt x="283" y="1222"/>
                </a:lnTo>
                <a:lnTo>
                  <a:pt x="992" y="1222"/>
                </a:lnTo>
                <a:lnTo>
                  <a:pt x="1417" y="1222"/>
                </a:lnTo>
                <a:lnTo>
                  <a:pt x="1446" y="1222"/>
                </a:lnTo>
                <a:lnTo>
                  <a:pt x="1474" y="1218"/>
                </a:lnTo>
                <a:lnTo>
                  <a:pt x="1527" y="1207"/>
                </a:lnTo>
                <a:lnTo>
                  <a:pt x="1574" y="1187"/>
                </a:lnTo>
                <a:lnTo>
                  <a:pt x="1617" y="1163"/>
                </a:lnTo>
                <a:lnTo>
                  <a:pt x="1635" y="1148"/>
                </a:lnTo>
                <a:lnTo>
                  <a:pt x="1651" y="1132"/>
                </a:lnTo>
                <a:lnTo>
                  <a:pt x="1666" y="1116"/>
                </a:lnTo>
                <a:lnTo>
                  <a:pt x="1678" y="1099"/>
                </a:lnTo>
                <a:lnTo>
                  <a:pt x="1688" y="1079"/>
                </a:lnTo>
                <a:lnTo>
                  <a:pt x="1694" y="1059"/>
                </a:lnTo>
                <a:lnTo>
                  <a:pt x="1698" y="1040"/>
                </a:lnTo>
                <a:lnTo>
                  <a:pt x="1700" y="1018"/>
                </a:lnTo>
                <a:lnTo>
                  <a:pt x="2248" y="1046"/>
                </a:lnTo>
                <a:lnTo>
                  <a:pt x="1700" y="713"/>
                </a:lnTo>
                <a:lnTo>
                  <a:pt x="1700" y="205"/>
                </a:lnTo>
                <a:lnTo>
                  <a:pt x="1698" y="183"/>
                </a:lnTo>
                <a:lnTo>
                  <a:pt x="1694" y="163"/>
                </a:lnTo>
                <a:lnTo>
                  <a:pt x="1688" y="144"/>
                </a:lnTo>
                <a:lnTo>
                  <a:pt x="1678" y="124"/>
                </a:lnTo>
                <a:lnTo>
                  <a:pt x="1666" y="106"/>
                </a:lnTo>
                <a:lnTo>
                  <a:pt x="1651" y="91"/>
                </a:lnTo>
                <a:lnTo>
                  <a:pt x="1635" y="75"/>
                </a:lnTo>
                <a:lnTo>
                  <a:pt x="1617" y="59"/>
                </a:lnTo>
                <a:lnTo>
                  <a:pt x="1574" y="36"/>
                </a:lnTo>
                <a:lnTo>
                  <a:pt x="1527" y="16"/>
                </a:lnTo>
                <a:lnTo>
                  <a:pt x="1474" y="4"/>
                </a:lnTo>
                <a:lnTo>
                  <a:pt x="1446" y="2"/>
                </a:lnTo>
                <a:lnTo>
                  <a:pt x="1417" y="0"/>
                </a:lnTo>
                <a:lnTo>
                  <a:pt x="992" y="0"/>
                </a:lnTo>
                <a:lnTo>
                  <a:pt x="283" y="0"/>
                </a:lnTo>
                <a:close/>
              </a:path>
            </a:pathLst>
          </a:custGeom>
          <a:solidFill>
            <a:srgbClr val="FFFFFF"/>
          </a:solidFill>
          <a:ln w="9525">
            <a:solidFill>
              <a:srgbClr val="000000"/>
            </a:solidFill>
            <a:prstDash val="solid"/>
            <a:round/>
            <a:headEnd/>
            <a:tailEnd/>
          </a:ln>
        </p:spPr>
        <p:txBody>
          <a:bodyPr/>
          <a:lstStyle/>
          <a:p>
            <a:endParaRPr lang="cs-CZ"/>
          </a:p>
        </p:txBody>
      </p:sp>
      <p:sp>
        <p:nvSpPr>
          <p:cNvPr id="161" name="Rectangle 169"/>
          <p:cNvSpPr>
            <a:spLocks noChangeArrowheads="1"/>
          </p:cNvSpPr>
          <p:nvPr/>
        </p:nvSpPr>
        <p:spPr bwMode="auto">
          <a:xfrm>
            <a:off x="1039813" y="3977853"/>
            <a:ext cx="496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Francie</a:t>
            </a:r>
            <a:endParaRPr lang="cs-CZ" sz="2400" b="0">
              <a:solidFill>
                <a:schemeClr val="tx1"/>
              </a:solidFill>
              <a:latin typeface="Times New Roman" pitchFamily="18" charset="0"/>
              <a:ea typeface="ＭＳ Ｐゴシック" pitchFamily="34" charset="-128"/>
            </a:endParaRPr>
          </a:p>
        </p:txBody>
      </p:sp>
      <p:sp>
        <p:nvSpPr>
          <p:cNvPr id="162" name="Rectangle 170"/>
          <p:cNvSpPr>
            <a:spLocks noChangeArrowheads="1"/>
          </p:cNvSpPr>
          <p:nvPr/>
        </p:nvSpPr>
        <p:spPr bwMode="auto">
          <a:xfrm>
            <a:off x="1039813" y="4147715"/>
            <a:ext cx="10541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známeny nové </a:t>
            </a:r>
            <a:endParaRPr lang="cs-CZ" sz="2400" b="0">
              <a:solidFill>
                <a:schemeClr val="tx1"/>
              </a:solidFill>
              <a:latin typeface="Times New Roman" pitchFamily="18" charset="0"/>
              <a:ea typeface="ＭＳ Ｐゴシック" pitchFamily="34" charset="-128"/>
            </a:endParaRPr>
          </a:p>
        </p:txBody>
      </p:sp>
      <p:sp>
        <p:nvSpPr>
          <p:cNvPr id="163" name="Rectangle 171"/>
          <p:cNvSpPr>
            <a:spLocks noChangeArrowheads="1"/>
          </p:cNvSpPr>
          <p:nvPr/>
        </p:nvSpPr>
        <p:spPr bwMode="auto">
          <a:xfrm>
            <a:off x="1039813" y="4314403"/>
            <a:ext cx="9080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é bloky, </a:t>
            </a:r>
            <a:endParaRPr lang="cs-CZ" sz="2400" b="0">
              <a:solidFill>
                <a:schemeClr val="tx1"/>
              </a:solidFill>
              <a:latin typeface="Times New Roman" pitchFamily="18" charset="0"/>
              <a:ea typeface="ＭＳ Ｐゴシック" pitchFamily="34" charset="-128"/>
            </a:endParaRPr>
          </a:p>
        </p:txBody>
      </p:sp>
      <p:sp>
        <p:nvSpPr>
          <p:cNvPr id="164" name="Rectangle 172"/>
          <p:cNvSpPr>
            <a:spLocks noChangeArrowheads="1"/>
          </p:cNvSpPr>
          <p:nvPr/>
        </p:nvSpPr>
        <p:spPr bwMode="auto">
          <a:xfrm>
            <a:off x="1039813" y="4479503"/>
            <a:ext cx="8842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rogram EPR </a:t>
            </a:r>
            <a:endParaRPr lang="cs-CZ" sz="2400" b="0">
              <a:solidFill>
                <a:schemeClr val="tx1"/>
              </a:solidFill>
              <a:latin typeface="Times New Roman" pitchFamily="18" charset="0"/>
              <a:ea typeface="ＭＳ Ｐゴシック" pitchFamily="34" charset="-128"/>
            </a:endParaRPr>
          </a:p>
        </p:txBody>
      </p:sp>
      <p:sp>
        <p:nvSpPr>
          <p:cNvPr id="165" name="Rectangle 173"/>
          <p:cNvSpPr>
            <a:spLocks noChangeArrowheads="1"/>
          </p:cNvSpPr>
          <p:nvPr/>
        </p:nvSpPr>
        <p:spPr bwMode="auto">
          <a:xfrm>
            <a:off x="1909763" y="4479503"/>
            <a:ext cx="777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a:t>
            </a:r>
            <a:endParaRPr lang="cs-CZ" sz="2400" b="0">
              <a:solidFill>
                <a:schemeClr val="tx1"/>
              </a:solidFill>
              <a:latin typeface="Times New Roman" pitchFamily="18" charset="0"/>
              <a:ea typeface="ＭＳ Ｐゴシック" pitchFamily="34" charset="-128"/>
            </a:endParaRPr>
          </a:p>
        </p:txBody>
      </p:sp>
      <p:sp>
        <p:nvSpPr>
          <p:cNvPr id="166" name="Rectangle 174"/>
          <p:cNvSpPr>
            <a:spLocks noChangeArrowheads="1"/>
          </p:cNvSpPr>
          <p:nvPr/>
        </p:nvSpPr>
        <p:spPr bwMode="auto">
          <a:xfrm>
            <a:off x="2024063" y="4479503"/>
            <a:ext cx="1714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iž </a:t>
            </a:r>
            <a:endParaRPr lang="cs-CZ" sz="2400" b="0">
              <a:solidFill>
                <a:schemeClr val="tx1"/>
              </a:solidFill>
              <a:latin typeface="Times New Roman" pitchFamily="18" charset="0"/>
              <a:ea typeface="ＭＳ Ｐゴシック" pitchFamily="34" charset="-128"/>
            </a:endParaRPr>
          </a:p>
        </p:txBody>
      </p:sp>
      <p:sp>
        <p:nvSpPr>
          <p:cNvPr id="167" name="Rectangle 175"/>
          <p:cNvSpPr>
            <a:spLocks noChangeArrowheads="1"/>
          </p:cNvSpPr>
          <p:nvPr/>
        </p:nvSpPr>
        <p:spPr bwMode="auto">
          <a:xfrm>
            <a:off x="1039813" y="4644603"/>
            <a:ext cx="10175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zahájena stavba</a:t>
            </a:r>
            <a:endParaRPr lang="cs-CZ" sz="2400" b="0">
              <a:solidFill>
                <a:schemeClr val="tx1"/>
              </a:solidFill>
              <a:latin typeface="Times New Roman" pitchFamily="18" charset="0"/>
              <a:ea typeface="ＭＳ Ｐゴシック" pitchFamily="34" charset="-128"/>
            </a:endParaRPr>
          </a:p>
        </p:txBody>
      </p:sp>
      <p:grpSp>
        <p:nvGrpSpPr>
          <p:cNvPr id="168" name="Group 176"/>
          <p:cNvGrpSpPr>
            <a:grpSpLocks/>
          </p:cNvGrpSpPr>
          <p:nvPr/>
        </p:nvGrpSpPr>
        <p:grpSpPr bwMode="auto">
          <a:xfrm>
            <a:off x="7264400" y="2079203"/>
            <a:ext cx="1447800" cy="3036887"/>
            <a:chOff x="4568" y="1374"/>
            <a:chExt cx="912" cy="1913"/>
          </a:xfrm>
        </p:grpSpPr>
        <p:sp>
          <p:nvSpPr>
            <p:cNvPr id="169" name="Freeform 177"/>
            <p:cNvSpPr>
              <a:spLocks/>
            </p:cNvSpPr>
            <p:nvPr/>
          </p:nvSpPr>
          <p:spPr bwMode="auto">
            <a:xfrm>
              <a:off x="4568" y="1374"/>
              <a:ext cx="114" cy="1913"/>
            </a:xfrm>
            <a:custGeom>
              <a:avLst/>
              <a:gdLst>
                <a:gd name="T0" fmla="*/ 230 w 230"/>
                <a:gd name="T1" fmla="*/ 1912 h 3826"/>
                <a:gd name="T2" fmla="*/ 0 w 230"/>
                <a:gd name="T3" fmla="*/ 0 h 3826"/>
                <a:gd name="T4" fmla="*/ 0 w 230"/>
                <a:gd name="T5" fmla="*/ 3826 h 3826"/>
                <a:gd name="T6" fmla="*/ 230 w 230"/>
                <a:gd name="T7" fmla="*/ 1912 h 3826"/>
              </a:gdLst>
              <a:ahLst/>
              <a:cxnLst>
                <a:cxn ang="0">
                  <a:pos x="T0" y="T1"/>
                </a:cxn>
                <a:cxn ang="0">
                  <a:pos x="T2" y="T3"/>
                </a:cxn>
                <a:cxn ang="0">
                  <a:pos x="T4" y="T5"/>
                </a:cxn>
                <a:cxn ang="0">
                  <a:pos x="T6" y="T7"/>
                </a:cxn>
              </a:cxnLst>
              <a:rect l="0" t="0" r="r" b="b"/>
              <a:pathLst>
                <a:path w="230" h="3826">
                  <a:moveTo>
                    <a:pt x="230" y="1912"/>
                  </a:moveTo>
                  <a:lnTo>
                    <a:pt x="0" y="0"/>
                  </a:lnTo>
                  <a:lnTo>
                    <a:pt x="0" y="3826"/>
                  </a:lnTo>
                  <a:lnTo>
                    <a:pt x="230" y="191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70" name="Freeform 178"/>
            <p:cNvSpPr>
              <a:spLocks/>
            </p:cNvSpPr>
            <p:nvPr/>
          </p:nvSpPr>
          <p:spPr bwMode="auto">
            <a:xfrm>
              <a:off x="4719" y="1695"/>
              <a:ext cx="761" cy="1274"/>
            </a:xfrm>
            <a:custGeom>
              <a:avLst/>
              <a:gdLst>
                <a:gd name="T0" fmla="*/ 253 w 1522"/>
                <a:gd name="T1" fmla="*/ 0 h 2546"/>
                <a:gd name="T2" fmla="*/ 228 w 1522"/>
                <a:gd name="T3" fmla="*/ 2 h 2546"/>
                <a:gd name="T4" fmla="*/ 202 w 1522"/>
                <a:gd name="T5" fmla="*/ 6 h 2546"/>
                <a:gd name="T6" fmla="*/ 178 w 1522"/>
                <a:gd name="T7" fmla="*/ 12 h 2546"/>
                <a:gd name="T8" fmla="*/ 155 w 1522"/>
                <a:gd name="T9" fmla="*/ 20 h 2546"/>
                <a:gd name="T10" fmla="*/ 133 w 1522"/>
                <a:gd name="T11" fmla="*/ 31 h 2546"/>
                <a:gd name="T12" fmla="*/ 112 w 1522"/>
                <a:gd name="T13" fmla="*/ 43 h 2546"/>
                <a:gd name="T14" fmla="*/ 74 w 1522"/>
                <a:gd name="T15" fmla="*/ 75 h 2546"/>
                <a:gd name="T16" fmla="*/ 43 w 1522"/>
                <a:gd name="T17" fmla="*/ 112 h 2546"/>
                <a:gd name="T18" fmla="*/ 31 w 1522"/>
                <a:gd name="T19" fmla="*/ 134 h 2546"/>
                <a:gd name="T20" fmla="*/ 19 w 1522"/>
                <a:gd name="T21" fmla="*/ 155 h 2546"/>
                <a:gd name="T22" fmla="*/ 11 w 1522"/>
                <a:gd name="T23" fmla="*/ 179 h 2546"/>
                <a:gd name="T24" fmla="*/ 6 w 1522"/>
                <a:gd name="T25" fmla="*/ 202 h 2546"/>
                <a:gd name="T26" fmla="*/ 2 w 1522"/>
                <a:gd name="T27" fmla="*/ 228 h 2546"/>
                <a:gd name="T28" fmla="*/ 0 w 1522"/>
                <a:gd name="T29" fmla="*/ 253 h 2546"/>
                <a:gd name="T30" fmla="*/ 0 w 1522"/>
                <a:gd name="T31" fmla="*/ 2293 h 2546"/>
                <a:gd name="T32" fmla="*/ 2 w 1522"/>
                <a:gd name="T33" fmla="*/ 2318 h 2546"/>
                <a:gd name="T34" fmla="*/ 6 w 1522"/>
                <a:gd name="T35" fmla="*/ 2344 h 2546"/>
                <a:gd name="T36" fmla="*/ 11 w 1522"/>
                <a:gd name="T37" fmla="*/ 2367 h 2546"/>
                <a:gd name="T38" fmla="*/ 19 w 1522"/>
                <a:gd name="T39" fmla="*/ 2391 h 2546"/>
                <a:gd name="T40" fmla="*/ 31 w 1522"/>
                <a:gd name="T41" fmla="*/ 2413 h 2546"/>
                <a:gd name="T42" fmla="*/ 43 w 1522"/>
                <a:gd name="T43" fmla="*/ 2434 h 2546"/>
                <a:gd name="T44" fmla="*/ 74 w 1522"/>
                <a:gd name="T45" fmla="*/ 2472 h 2546"/>
                <a:gd name="T46" fmla="*/ 112 w 1522"/>
                <a:gd name="T47" fmla="*/ 2503 h 2546"/>
                <a:gd name="T48" fmla="*/ 133 w 1522"/>
                <a:gd name="T49" fmla="*/ 2515 h 2546"/>
                <a:gd name="T50" fmla="*/ 155 w 1522"/>
                <a:gd name="T51" fmla="*/ 2527 h 2546"/>
                <a:gd name="T52" fmla="*/ 178 w 1522"/>
                <a:gd name="T53" fmla="*/ 2534 h 2546"/>
                <a:gd name="T54" fmla="*/ 202 w 1522"/>
                <a:gd name="T55" fmla="*/ 2540 h 2546"/>
                <a:gd name="T56" fmla="*/ 228 w 1522"/>
                <a:gd name="T57" fmla="*/ 2544 h 2546"/>
                <a:gd name="T58" fmla="*/ 253 w 1522"/>
                <a:gd name="T59" fmla="*/ 2546 h 2546"/>
                <a:gd name="T60" fmla="*/ 1269 w 1522"/>
                <a:gd name="T61" fmla="*/ 2546 h 2546"/>
                <a:gd name="T62" fmla="*/ 1294 w 1522"/>
                <a:gd name="T63" fmla="*/ 2544 h 2546"/>
                <a:gd name="T64" fmla="*/ 1320 w 1522"/>
                <a:gd name="T65" fmla="*/ 2540 h 2546"/>
                <a:gd name="T66" fmla="*/ 1344 w 1522"/>
                <a:gd name="T67" fmla="*/ 2534 h 2546"/>
                <a:gd name="T68" fmla="*/ 1367 w 1522"/>
                <a:gd name="T69" fmla="*/ 2527 h 2546"/>
                <a:gd name="T70" fmla="*/ 1389 w 1522"/>
                <a:gd name="T71" fmla="*/ 2515 h 2546"/>
                <a:gd name="T72" fmla="*/ 1410 w 1522"/>
                <a:gd name="T73" fmla="*/ 2503 h 2546"/>
                <a:gd name="T74" fmla="*/ 1448 w 1522"/>
                <a:gd name="T75" fmla="*/ 2472 h 2546"/>
                <a:gd name="T76" fmla="*/ 1479 w 1522"/>
                <a:gd name="T77" fmla="*/ 2434 h 2546"/>
                <a:gd name="T78" fmla="*/ 1491 w 1522"/>
                <a:gd name="T79" fmla="*/ 2413 h 2546"/>
                <a:gd name="T80" fmla="*/ 1503 w 1522"/>
                <a:gd name="T81" fmla="*/ 2391 h 2546"/>
                <a:gd name="T82" fmla="*/ 1511 w 1522"/>
                <a:gd name="T83" fmla="*/ 2367 h 2546"/>
                <a:gd name="T84" fmla="*/ 1516 w 1522"/>
                <a:gd name="T85" fmla="*/ 2344 h 2546"/>
                <a:gd name="T86" fmla="*/ 1520 w 1522"/>
                <a:gd name="T87" fmla="*/ 2318 h 2546"/>
                <a:gd name="T88" fmla="*/ 1522 w 1522"/>
                <a:gd name="T89" fmla="*/ 2293 h 2546"/>
                <a:gd name="T90" fmla="*/ 1522 w 1522"/>
                <a:gd name="T91" fmla="*/ 253 h 2546"/>
                <a:gd name="T92" fmla="*/ 1520 w 1522"/>
                <a:gd name="T93" fmla="*/ 228 h 2546"/>
                <a:gd name="T94" fmla="*/ 1516 w 1522"/>
                <a:gd name="T95" fmla="*/ 202 h 2546"/>
                <a:gd name="T96" fmla="*/ 1511 w 1522"/>
                <a:gd name="T97" fmla="*/ 179 h 2546"/>
                <a:gd name="T98" fmla="*/ 1503 w 1522"/>
                <a:gd name="T99" fmla="*/ 155 h 2546"/>
                <a:gd name="T100" fmla="*/ 1491 w 1522"/>
                <a:gd name="T101" fmla="*/ 134 h 2546"/>
                <a:gd name="T102" fmla="*/ 1479 w 1522"/>
                <a:gd name="T103" fmla="*/ 112 h 2546"/>
                <a:gd name="T104" fmla="*/ 1448 w 1522"/>
                <a:gd name="T105" fmla="*/ 75 h 2546"/>
                <a:gd name="T106" fmla="*/ 1410 w 1522"/>
                <a:gd name="T107" fmla="*/ 43 h 2546"/>
                <a:gd name="T108" fmla="*/ 1389 w 1522"/>
                <a:gd name="T109" fmla="*/ 31 h 2546"/>
                <a:gd name="T110" fmla="*/ 1367 w 1522"/>
                <a:gd name="T111" fmla="*/ 20 h 2546"/>
                <a:gd name="T112" fmla="*/ 1344 w 1522"/>
                <a:gd name="T113" fmla="*/ 12 h 2546"/>
                <a:gd name="T114" fmla="*/ 1320 w 1522"/>
                <a:gd name="T115" fmla="*/ 6 h 2546"/>
                <a:gd name="T116" fmla="*/ 1294 w 1522"/>
                <a:gd name="T117" fmla="*/ 2 h 2546"/>
                <a:gd name="T118" fmla="*/ 1269 w 1522"/>
                <a:gd name="T119" fmla="*/ 0 h 2546"/>
                <a:gd name="T120" fmla="*/ 253 w 1522"/>
                <a:gd name="T121" fmla="*/ 0 h 2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2" h="2546">
                  <a:moveTo>
                    <a:pt x="253" y="0"/>
                  </a:moveTo>
                  <a:lnTo>
                    <a:pt x="228" y="2"/>
                  </a:lnTo>
                  <a:lnTo>
                    <a:pt x="202" y="6"/>
                  </a:lnTo>
                  <a:lnTo>
                    <a:pt x="178" y="12"/>
                  </a:lnTo>
                  <a:lnTo>
                    <a:pt x="155" y="20"/>
                  </a:lnTo>
                  <a:lnTo>
                    <a:pt x="133" y="31"/>
                  </a:lnTo>
                  <a:lnTo>
                    <a:pt x="112" y="43"/>
                  </a:lnTo>
                  <a:lnTo>
                    <a:pt x="74" y="75"/>
                  </a:lnTo>
                  <a:lnTo>
                    <a:pt x="43" y="112"/>
                  </a:lnTo>
                  <a:lnTo>
                    <a:pt x="31" y="134"/>
                  </a:lnTo>
                  <a:lnTo>
                    <a:pt x="19" y="155"/>
                  </a:lnTo>
                  <a:lnTo>
                    <a:pt x="11" y="179"/>
                  </a:lnTo>
                  <a:lnTo>
                    <a:pt x="6" y="202"/>
                  </a:lnTo>
                  <a:lnTo>
                    <a:pt x="2" y="228"/>
                  </a:lnTo>
                  <a:lnTo>
                    <a:pt x="0" y="253"/>
                  </a:lnTo>
                  <a:lnTo>
                    <a:pt x="0" y="2293"/>
                  </a:lnTo>
                  <a:lnTo>
                    <a:pt x="2" y="2318"/>
                  </a:lnTo>
                  <a:lnTo>
                    <a:pt x="6" y="2344"/>
                  </a:lnTo>
                  <a:lnTo>
                    <a:pt x="11" y="2367"/>
                  </a:lnTo>
                  <a:lnTo>
                    <a:pt x="19" y="2391"/>
                  </a:lnTo>
                  <a:lnTo>
                    <a:pt x="31" y="2413"/>
                  </a:lnTo>
                  <a:lnTo>
                    <a:pt x="43" y="2434"/>
                  </a:lnTo>
                  <a:lnTo>
                    <a:pt x="74" y="2472"/>
                  </a:lnTo>
                  <a:lnTo>
                    <a:pt x="112" y="2503"/>
                  </a:lnTo>
                  <a:lnTo>
                    <a:pt x="133" y="2515"/>
                  </a:lnTo>
                  <a:lnTo>
                    <a:pt x="155" y="2527"/>
                  </a:lnTo>
                  <a:lnTo>
                    <a:pt x="178" y="2534"/>
                  </a:lnTo>
                  <a:lnTo>
                    <a:pt x="202" y="2540"/>
                  </a:lnTo>
                  <a:lnTo>
                    <a:pt x="228" y="2544"/>
                  </a:lnTo>
                  <a:lnTo>
                    <a:pt x="253" y="2546"/>
                  </a:lnTo>
                  <a:lnTo>
                    <a:pt x="1269" y="2546"/>
                  </a:lnTo>
                  <a:lnTo>
                    <a:pt x="1294" y="2544"/>
                  </a:lnTo>
                  <a:lnTo>
                    <a:pt x="1320" y="2540"/>
                  </a:lnTo>
                  <a:lnTo>
                    <a:pt x="1344" y="2534"/>
                  </a:lnTo>
                  <a:lnTo>
                    <a:pt x="1367" y="2527"/>
                  </a:lnTo>
                  <a:lnTo>
                    <a:pt x="1389" y="2515"/>
                  </a:lnTo>
                  <a:lnTo>
                    <a:pt x="1410" y="2503"/>
                  </a:lnTo>
                  <a:lnTo>
                    <a:pt x="1448" y="2472"/>
                  </a:lnTo>
                  <a:lnTo>
                    <a:pt x="1479" y="2434"/>
                  </a:lnTo>
                  <a:lnTo>
                    <a:pt x="1491" y="2413"/>
                  </a:lnTo>
                  <a:lnTo>
                    <a:pt x="1503" y="2391"/>
                  </a:lnTo>
                  <a:lnTo>
                    <a:pt x="1511" y="2367"/>
                  </a:lnTo>
                  <a:lnTo>
                    <a:pt x="1516" y="2344"/>
                  </a:lnTo>
                  <a:lnTo>
                    <a:pt x="1520" y="2318"/>
                  </a:lnTo>
                  <a:lnTo>
                    <a:pt x="1522" y="2293"/>
                  </a:lnTo>
                  <a:lnTo>
                    <a:pt x="1522" y="253"/>
                  </a:lnTo>
                  <a:lnTo>
                    <a:pt x="1520" y="228"/>
                  </a:lnTo>
                  <a:lnTo>
                    <a:pt x="1516" y="202"/>
                  </a:lnTo>
                  <a:lnTo>
                    <a:pt x="1511" y="179"/>
                  </a:lnTo>
                  <a:lnTo>
                    <a:pt x="1503" y="155"/>
                  </a:lnTo>
                  <a:lnTo>
                    <a:pt x="1491" y="134"/>
                  </a:lnTo>
                  <a:lnTo>
                    <a:pt x="1479" y="112"/>
                  </a:lnTo>
                  <a:lnTo>
                    <a:pt x="1448" y="75"/>
                  </a:lnTo>
                  <a:lnTo>
                    <a:pt x="1410" y="43"/>
                  </a:lnTo>
                  <a:lnTo>
                    <a:pt x="1389" y="31"/>
                  </a:lnTo>
                  <a:lnTo>
                    <a:pt x="1367" y="20"/>
                  </a:lnTo>
                  <a:lnTo>
                    <a:pt x="1344" y="12"/>
                  </a:lnTo>
                  <a:lnTo>
                    <a:pt x="1320" y="6"/>
                  </a:lnTo>
                  <a:lnTo>
                    <a:pt x="1294" y="2"/>
                  </a:lnTo>
                  <a:lnTo>
                    <a:pt x="1269" y="0"/>
                  </a:lnTo>
                  <a:lnTo>
                    <a:pt x="253" y="0"/>
                  </a:lnTo>
                  <a:close/>
                </a:path>
              </a:pathLst>
            </a:custGeom>
            <a:solidFill>
              <a:srgbClr val="FFFFFF"/>
            </a:solidFill>
            <a:ln w="9525">
              <a:solidFill>
                <a:srgbClr val="000000"/>
              </a:solidFill>
              <a:prstDash val="solid"/>
              <a:round/>
              <a:headEnd/>
              <a:tailEnd/>
            </a:ln>
          </p:spPr>
          <p:txBody>
            <a:bodyPr/>
            <a:lstStyle/>
            <a:p>
              <a:endParaRPr lang="cs-CZ"/>
            </a:p>
          </p:txBody>
        </p:sp>
        <p:sp>
          <p:nvSpPr>
            <p:cNvPr id="171" name="Rectangle 179"/>
            <p:cNvSpPr>
              <a:spLocks noChangeArrowheads="1"/>
            </p:cNvSpPr>
            <p:nvPr/>
          </p:nvSpPr>
          <p:spPr bwMode="auto">
            <a:xfrm>
              <a:off x="4779" y="1766"/>
              <a:ext cx="4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 porovnání </a:t>
              </a:r>
              <a:endParaRPr lang="cs-CZ" sz="2400" b="0">
                <a:solidFill>
                  <a:schemeClr val="tx1"/>
                </a:solidFill>
                <a:latin typeface="Times New Roman" pitchFamily="18" charset="0"/>
                <a:ea typeface="ＭＳ Ｐゴシック" pitchFamily="34" charset="-128"/>
              </a:endParaRPr>
            </a:p>
          </p:txBody>
        </p:sp>
        <p:sp>
          <p:nvSpPr>
            <p:cNvPr id="172" name="Rectangle 180"/>
            <p:cNvSpPr>
              <a:spLocks noChangeArrowheads="1"/>
            </p:cNvSpPr>
            <p:nvPr/>
          </p:nvSpPr>
          <p:spPr bwMode="auto">
            <a:xfrm>
              <a:off x="4779" y="1870"/>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s</a:t>
              </a:r>
              <a:endParaRPr lang="cs-CZ" sz="2400" b="0">
                <a:solidFill>
                  <a:schemeClr val="tx1"/>
                </a:solidFill>
                <a:latin typeface="Times New Roman" pitchFamily="18" charset="0"/>
                <a:ea typeface="ＭＳ Ｐゴシック" pitchFamily="34" charset="-128"/>
              </a:endParaRPr>
            </a:p>
          </p:txBody>
        </p:sp>
        <p:sp>
          <p:nvSpPr>
            <p:cNvPr id="173" name="Rectangle 181"/>
            <p:cNvSpPr>
              <a:spLocks noChangeArrowheads="1"/>
            </p:cNvSpPr>
            <p:nvPr/>
          </p:nvSpPr>
          <p:spPr bwMode="auto">
            <a:xfrm>
              <a:off x="4846" y="1870"/>
              <a:ext cx="39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olitickou </a:t>
              </a:r>
              <a:endParaRPr lang="cs-CZ" sz="2400" b="0">
                <a:solidFill>
                  <a:schemeClr val="tx1"/>
                </a:solidFill>
                <a:latin typeface="Times New Roman" pitchFamily="18" charset="0"/>
                <a:ea typeface="ＭＳ Ｐゴシック" pitchFamily="34" charset="-128"/>
              </a:endParaRPr>
            </a:p>
          </p:txBody>
        </p:sp>
        <p:sp>
          <p:nvSpPr>
            <p:cNvPr id="174" name="Rectangle 182"/>
            <p:cNvSpPr>
              <a:spLocks noChangeArrowheads="1"/>
            </p:cNvSpPr>
            <p:nvPr/>
          </p:nvSpPr>
          <p:spPr bwMode="auto">
            <a:xfrm>
              <a:off x="4779" y="1974"/>
              <a:ext cx="5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nepřijatelností </a:t>
              </a:r>
              <a:endParaRPr lang="cs-CZ" sz="2400" b="0">
                <a:solidFill>
                  <a:schemeClr val="tx1"/>
                </a:solidFill>
                <a:latin typeface="Times New Roman" pitchFamily="18" charset="0"/>
                <a:ea typeface="ＭＳ Ｐゴシック" pitchFamily="34" charset="-128"/>
              </a:endParaRPr>
            </a:p>
          </p:txBody>
        </p:sp>
        <p:sp>
          <p:nvSpPr>
            <p:cNvPr id="175" name="Rectangle 183"/>
            <p:cNvSpPr>
              <a:spLocks noChangeArrowheads="1"/>
            </p:cNvSpPr>
            <p:nvPr/>
          </p:nvSpPr>
          <p:spPr bwMode="auto">
            <a:xfrm>
              <a:off x="4779" y="2078"/>
              <a:ext cx="22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ádra </a:t>
              </a:r>
              <a:endParaRPr lang="cs-CZ" sz="2400" b="0">
                <a:solidFill>
                  <a:schemeClr val="tx1"/>
                </a:solidFill>
                <a:latin typeface="Times New Roman" pitchFamily="18" charset="0"/>
                <a:ea typeface="ＭＳ Ｐゴシック" pitchFamily="34" charset="-128"/>
              </a:endParaRPr>
            </a:p>
          </p:txBody>
        </p:sp>
        <p:sp>
          <p:nvSpPr>
            <p:cNvPr id="176" name="Rectangle 184"/>
            <p:cNvSpPr>
              <a:spLocks noChangeArrowheads="1"/>
            </p:cNvSpPr>
            <p:nvPr/>
          </p:nvSpPr>
          <p:spPr bwMode="auto">
            <a:xfrm>
              <a:off x="4779" y="2182"/>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a:t>
              </a:r>
              <a:endParaRPr lang="cs-CZ" sz="2400" b="0">
                <a:solidFill>
                  <a:schemeClr val="tx1"/>
                </a:solidFill>
                <a:latin typeface="Times New Roman" pitchFamily="18" charset="0"/>
                <a:ea typeface="ＭＳ Ｐゴシック" pitchFamily="34" charset="-128"/>
              </a:endParaRPr>
            </a:p>
          </p:txBody>
        </p:sp>
        <p:sp>
          <p:nvSpPr>
            <p:cNvPr id="177" name="Rectangle 185"/>
            <p:cNvSpPr>
              <a:spLocks noChangeArrowheads="1"/>
            </p:cNvSpPr>
            <p:nvPr/>
          </p:nvSpPr>
          <p:spPr bwMode="auto">
            <a:xfrm>
              <a:off x="4845" y="2182"/>
              <a:ext cx="44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Rakousku, </a:t>
              </a:r>
              <a:endParaRPr lang="cs-CZ" sz="2400" b="0">
                <a:solidFill>
                  <a:schemeClr val="tx1"/>
                </a:solidFill>
                <a:latin typeface="Times New Roman" pitchFamily="18" charset="0"/>
                <a:ea typeface="ＭＳ Ｐゴシック" pitchFamily="34" charset="-128"/>
              </a:endParaRPr>
            </a:p>
          </p:txBody>
        </p:sp>
        <p:sp>
          <p:nvSpPr>
            <p:cNvPr id="178" name="Rectangle 186"/>
            <p:cNvSpPr>
              <a:spLocks noChangeArrowheads="1"/>
            </p:cNvSpPr>
            <p:nvPr/>
          </p:nvSpPr>
          <p:spPr bwMode="auto">
            <a:xfrm>
              <a:off x="4779" y="2286"/>
              <a:ext cx="51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ětšina zemí </a:t>
              </a:r>
              <a:endParaRPr lang="cs-CZ" sz="2400" b="0">
                <a:solidFill>
                  <a:schemeClr val="tx1"/>
                </a:solidFill>
                <a:latin typeface="Times New Roman" pitchFamily="18" charset="0"/>
                <a:ea typeface="ＭＳ Ｐゴシック" pitchFamily="34" charset="-128"/>
              </a:endParaRPr>
            </a:p>
          </p:txBody>
        </p:sp>
        <p:sp>
          <p:nvSpPr>
            <p:cNvPr id="179" name="Rectangle 187"/>
            <p:cNvSpPr>
              <a:spLocks noChangeArrowheads="1"/>
            </p:cNvSpPr>
            <p:nvPr/>
          </p:nvSpPr>
          <p:spPr bwMode="auto">
            <a:xfrm>
              <a:off x="4779" y="2391"/>
              <a:ext cx="57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vropy a USA </a:t>
              </a:r>
              <a:endParaRPr lang="cs-CZ" sz="2400" b="0">
                <a:solidFill>
                  <a:schemeClr val="tx1"/>
                </a:solidFill>
                <a:latin typeface="Times New Roman" pitchFamily="18" charset="0"/>
                <a:ea typeface="ＭＳ Ｐゴシック" pitchFamily="34" charset="-128"/>
              </a:endParaRPr>
            </a:p>
          </p:txBody>
        </p:sp>
        <p:sp>
          <p:nvSpPr>
            <p:cNvPr id="180" name="Rectangle 188"/>
            <p:cNvSpPr>
              <a:spLocks noChangeArrowheads="1"/>
            </p:cNvSpPr>
            <p:nvPr/>
          </p:nvSpPr>
          <p:spPr bwMode="auto">
            <a:xfrm>
              <a:off x="4779" y="2495"/>
              <a:ext cx="67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ukazuje pozitivní </a:t>
              </a:r>
              <a:endParaRPr lang="cs-CZ" sz="2400" b="0">
                <a:solidFill>
                  <a:schemeClr val="tx1"/>
                </a:solidFill>
                <a:latin typeface="Times New Roman" pitchFamily="18" charset="0"/>
                <a:ea typeface="ＭＳ Ｐゴシック" pitchFamily="34" charset="-128"/>
              </a:endParaRPr>
            </a:p>
          </p:txBody>
        </p:sp>
        <p:sp>
          <p:nvSpPr>
            <p:cNvPr id="181" name="Rectangle 189"/>
            <p:cNvSpPr>
              <a:spLocks noChangeArrowheads="1"/>
            </p:cNvSpPr>
            <p:nvPr/>
          </p:nvSpPr>
          <p:spPr bwMode="auto">
            <a:xfrm>
              <a:off x="4779" y="2599"/>
              <a:ext cx="36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řístup k </a:t>
              </a:r>
              <a:endParaRPr lang="cs-CZ" sz="2400" b="0">
                <a:solidFill>
                  <a:schemeClr val="tx1"/>
                </a:solidFill>
                <a:latin typeface="Times New Roman" pitchFamily="18" charset="0"/>
                <a:ea typeface="ＭＳ Ｐゴシック" pitchFamily="34" charset="-128"/>
              </a:endParaRPr>
            </a:p>
          </p:txBody>
        </p:sp>
        <p:sp>
          <p:nvSpPr>
            <p:cNvPr id="182" name="Rectangle 190"/>
            <p:cNvSpPr>
              <a:spLocks noChangeArrowheads="1"/>
            </p:cNvSpPr>
            <p:nvPr/>
          </p:nvSpPr>
          <p:spPr bwMode="auto">
            <a:xfrm>
              <a:off x="4779" y="2703"/>
              <a:ext cx="31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é </a:t>
              </a:r>
              <a:endParaRPr lang="cs-CZ" sz="2400" b="0">
                <a:solidFill>
                  <a:schemeClr val="tx1"/>
                </a:solidFill>
                <a:latin typeface="Times New Roman" pitchFamily="18" charset="0"/>
                <a:ea typeface="ＭＳ Ｐゴシック" pitchFamily="34" charset="-128"/>
              </a:endParaRPr>
            </a:p>
          </p:txBody>
        </p:sp>
        <p:sp>
          <p:nvSpPr>
            <p:cNvPr id="183" name="Rectangle 191"/>
            <p:cNvSpPr>
              <a:spLocks noChangeArrowheads="1"/>
            </p:cNvSpPr>
            <p:nvPr/>
          </p:nvSpPr>
          <p:spPr bwMode="auto">
            <a:xfrm>
              <a:off x="4779" y="2807"/>
              <a:ext cx="41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nergetice</a:t>
              </a:r>
              <a:endParaRPr lang="cs-CZ" sz="2400" b="0">
                <a:solidFill>
                  <a:schemeClr val="tx1"/>
                </a:solidFill>
                <a:latin typeface="Times New Roman" pitchFamily="18" charset="0"/>
                <a:ea typeface="ＭＳ Ｐゴシック" pitchFamily="34" charset="-128"/>
              </a:endParaRPr>
            </a:p>
          </p:txBody>
        </p:sp>
      </p:grpSp>
      <p:sp>
        <p:nvSpPr>
          <p:cNvPr id="184" name="Freeform 192"/>
          <p:cNvSpPr>
            <a:spLocks/>
          </p:cNvSpPr>
          <p:nvPr/>
        </p:nvSpPr>
        <p:spPr bwMode="auto">
          <a:xfrm>
            <a:off x="1530350" y="2044278"/>
            <a:ext cx="1787525" cy="985837"/>
          </a:xfrm>
          <a:custGeom>
            <a:avLst/>
            <a:gdLst>
              <a:gd name="T0" fmla="*/ 301 w 2252"/>
              <a:gd name="T1" fmla="*/ 2 h 1242"/>
              <a:gd name="T2" fmla="*/ 197 w 2252"/>
              <a:gd name="T3" fmla="*/ 16 h 1242"/>
              <a:gd name="T4" fmla="*/ 138 w 2252"/>
              <a:gd name="T5" fmla="*/ 30 h 1242"/>
              <a:gd name="T6" fmla="*/ 87 w 2252"/>
              <a:gd name="T7" fmla="*/ 47 h 1242"/>
              <a:gd name="T8" fmla="*/ 45 w 2252"/>
              <a:gd name="T9" fmla="*/ 67 h 1242"/>
              <a:gd name="T10" fmla="*/ 18 w 2252"/>
              <a:gd name="T11" fmla="*/ 91 h 1242"/>
              <a:gd name="T12" fmla="*/ 2 w 2252"/>
              <a:gd name="T13" fmla="*/ 114 h 1242"/>
              <a:gd name="T14" fmla="*/ 0 w 2252"/>
              <a:gd name="T15" fmla="*/ 450 h 1242"/>
              <a:gd name="T16" fmla="*/ 2 w 2252"/>
              <a:gd name="T17" fmla="*/ 657 h 1242"/>
              <a:gd name="T18" fmla="*/ 18 w 2252"/>
              <a:gd name="T19" fmla="*/ 682 h 1242"/>
              <a:gd name="T20" fmla="*/ 45 w 2252"/>
              <a:gd name="T21" fmla="*/ 706 h 1242"/>
              <a:gd name="T22" fmla="*/ 87 w 2252"/>
              <a:gd name="T23" fmla="*/ 725 h 1242"/>
              <a:gd name="T24" fmla="*/ 138 w 2252"/>
              <a:gd name="T25" fmla="*/ 743 h 1242"/>
              <a:gd name="T26" fmla="*/ 197 w 2252"/>
              <a:gd name="T27" fmla="*/ 757 h 1242"/>
              <a:gd name="T28" fmla="*/ 301 w 2252"/>
              <a:gd name="T29" fmla="*/ 770 h 1242"/>
              <a:gd name="T30" fmla="*/ 1313 w 2252"/>
              <a:gd name="T31" fmla="*/ 772 h 1242"/>
              <a:gd name="T32" fmla="*/ 1877 w 2252"/>
              <a:gd name="T33" fmla="*/ 772 h 1242"/>
              <a:gd name="T34" fmla="*/ 2022 w 2252"/>
              <a:gd name="T35" fmla="*/ 763 h 1242"/>
              <a:gd name="T36" fmla="*/ 2087 w 2252"/>
              <a:gd name="T37" fmla="*/ 751 h 1242"/>
              <a:gd name="T38" fmla="*/ 2142 w 2252"/>
              <a:gd name="T39" fmla="*/ 735 h 1242"/>
              <a:gd name="T40" fmla="*/ 2187 w 2252"/>
              <a:gd name="T41" fmla="*/ 715 h 1242"/>
              <a:gd name="T42" fmla="*/ 2222 w 2252"/>
              <a:gd name="T43" fmla="*/ 694 h 1242"/>
              <a:gd name="T44" fmla="*/ 2244 w 2252"/>
              <a:gd name="T45" fmla="*/ 668 h 1242"/>
              <a:gd name="T46" fmla="*/ 2252 w 2252"/>
              <a:gd name="T47" fmla="*/ 643 h 1242"/>
              <a:gd name="T48" fmla="*/ 2252 w 2252"/>
              <a:gd name="T49" fmla="*/ 128 h 1242"/>
              <a:gd name="T50" fmla="*/ 2244 w 2252"/>
              <a:gd name="T51" fmla="*/ 102 h 1242"/>
              <a:gd name="T52" fmla="*/ 2222 w 2252"/>
              <a:gd name="T53" fmla="*/ 79 h 1242"/>
              <a:gd name="T54" fmla="*/ 2187 w 2252"/>
              <a:gd name="T55" fmla="*/ 57 h 1242"/>
              <a:gd name="T56" fmla="*/ 2142 w 2252"/>
              <a:gd name="T57" fmla="*/ 38 h 1242"/>
              <a:gd name="T58" fmla="*/ 2087 w 2252"/>
              <a:gd name="T59" fmla="*/ 22 h 1242"/>
              <a:gd name="T60" fmla="*/ 2022 w 2252"/>
              <a:gd name="T61" fmla="*/ 10 h 1242"/>
              <a:gd name="T62" fmla="*/ 1877 w 2252"/>
              <a:gd name="T63" fmla="*/ 0 h 1242"/>
              <a:gd name="T64" fmla="*/ 375 w 2252"/>
              <a:gd name="T65"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2" h="1242">
                <a:moveTo>
                  <a:pt x="375" y="0"/>
                </a:moveTo>
                <a:lnTo>
                  <a:pt x="301" y="2"/>
                </a:lnTo>
                <a:lnTo>
                  <a:pt x="230" y="10"/>
                </a:lnTo>
                <a:lnTo>
                  <a:pt x="197" y="16"/>
                </a:lnTo>
                <a:lnTo>
                  <a:pt x="165" y="22"/>
                </a:lnTo>
                <a:lnTo>
                  <a:pt x="138" y="30"/>
                </a:lnTo>
                <a:lnTo>
                  <a:pt x="110" y="38"/>
                </a:lnTo>
                <a:lnTo>
                  <a:pt x="87" y="47"/>
                </a:lnTo>
                <a:lnTo>
                  <a:pt x="65" y="57"/>
                </a:lnTo>
                <a:lnTo>
                  <a:pt x="45" y="67"/>
                </a:lnTo>
                <a:lnTo>
                  <a:pt x="30" y="79"/>
                </a:lnTo>
                <a:lnTo>
                  <a:pt x="18" y="91"/>
                </a:lnTo>
                <a:lnTo>
                  <a:pt x="8" y="102"/>
                </a:lnTo>
                <a:lnTo>
                  <a:pt x="2" y="114"/>
                </a:lnTo>
                <a:lnTo>
                  <a:pt x="0" y="128"/>
                </a:lnTo>
                <a:lnTo>
                  <a:pt x="0" y="450"/>
                </a:lnTo>
                <a:lnTo>
                  <a:pt x="0" y="643"/>
                </a:lnTo>
                <a:lnTo>
                  <a:pt x="2" y="657"/>
                </a:lnTo>
                <a:lnTo>
                  <a:pt x="8" y="668"/>
                </a:lnTo>
                <a:lnTo>
                  <a:pt x="18" y="682"/>
                </a:lnTo>
                <a:lnTo>
                  <a:pt x="30" y="694"/>
                </a:lnTo>
                <a:lnTo>
                  <a:pt x="45" y="706"/>
                </a:lnTo>
                <a:lnTo>
                  <a:pt x="65" y="715"/>
                </a:lnTo>
                <a:lnTo>
                  <a:pt x="87" y="725"/>
                </a:lnTo>
                <a:lnTo>
                  <a:pt x="110" y="735"/>
                </a:lnTo>
                <a:lnTo>
                  <a:pt x="138" y="743"/>
                </a:lnTo>
                <a:lnTo>
                  <a:pt x="165" y="751"/>
                </a:lnTo>
                <a:lnTo>
                  <a:pt x="197" y="757"/>
                </a:lnTo>
                <a:lnTo>
                  <a:pt x="230" y="763"/>
                </a:lnTo>
                <a:lnTo>
                  <a:pt x="301" y="770"/>
                </a:lnTo>
                <a:lnTo>
                  <a:pt x="375" y="772"/>
                </a:lnTo>
                <a:lnTo>
                  <a:pt x="1313" y="772"/>
                </a:lnTo>
                <a:lnTo>
                  <a:pt x="1491" y="1242"/>
                </a:lnTo>
                <a:lnTo>
                  <a:pt x="1877" y="772"/>
                </a:lnTo>
                <a:lnTo>
                  <a:pt x="1951" y="770"/>
                </a:lnTo>
                <a:lnTo>
                  <a:pt x="2022" y="763"/>
                </a:lnTo>
                <a:lnTo>
                  <a:pt x="2055" y="757"/>
                </a:lnTo>
                <a:lnTo>
                  <a:pt x="2087" y="751"/>
                </a:lnTo>
                <a:lnTo>
                  <a:pt x="2114" y="743"/>
                </a:lnTo>
                <a:lnTo>
                  <a:pt x="2142" y="735"/>
                </a:lnTo>
                <a:lnTo>
                  <a:pt x="2165" y="725"/>
                </a:lnTo>
                <a:lnTo>
                  <a:pt x="2187" y="715"/>
                </a:lnTo>
                <a:lnTo>
                  <a:pt x="2207" y="706"/>
                </a:lnTo>
                <a:lnTo>
                  <a:pt x="2222" y="694"/>
                </a:lnTo>
                <a:lnTo>
                  <a:pt x="2234" y="682"/>
                </a:lnTo>
                <a:lnTo>
                  <a:pt x="2244" y="668"/>
                </a:lnTo>
                <a:lnTo>
                  <a:pt x="2250" y="657"/>
                </a:lnTo>
                <a:lnTo>
                  <a:pt x="2252" y="643"/>
                </a:lnTo>
                <a:lnTo>
                  <a:pt x="2252" y="450"/>
                </a:lnTo>
                <a:lnTo>
                  <a:pt x="2252" y="128"/>
                </a:lnTo>
                <a:lnTo>
                  <a:pt x="2250" y="114"/>
                </a:lnTo>
                <a:lnTo>
                  <a:pt x="2244" y="102"/>
                </a:lnTo>
                <a:lnTo>
                  <a:pt x="2234" y="91"/>
                </a:lnTo>
                <a:lnTo>
                  <a:pt x="2222" y="79"/>
                </a:lnTo>
                <a:lnTo>
                  <a:pt x="2207" y="67"/>
                </a:lnTo>
                <a:lnTo>
                  <a:pt x="2187" y="57"/>
                </a:lnTo>
                <a:lnTo>
                  <a:pt x="2165" y="47"/>
                </a:lnTo>
                <a:lnTo>
                  <a:pt x="2142" y="38"/>
                </a:lnTo>
                <a:lnTo>
                  <a:pt x="2114" y="30"/>
                </a:lnTo>
                <a:lnTo>
                  <a:pt x="2087" y="22"/>
                </a:lnTo>
                <a:lnTo>
                  <a:pt x="2055" y="16"/>
                </a:lnTo>
                <a:lnTo>
                  <a:pt x="2022" y="10"/>
                </a:lnTo>
                <a:lnTo>
                  <a:pt x="1951" y="2"/>
                </a:lnTo>
                <a:lnTo>
                  <a:pt x="1877" y="0"/>
                </a:lnTo>
                <a:lnTo>
                  <a:pt x="1313" y="0"/>
                </a:lnTo>
                <a:lnTo>
                  <a:pt x="375" y="0"/>
                </a:lnTo>
                <a:close/>
              </a:path>
            </a:pathLst>
          </a:custGeom>
          <a:solidFill>
            <a:srgbClr val="FFFFFF"/>
          </a:solidFill>
          <a:ln w="9525">
            <a:solidFill>
              <a:srgbClr val="000000"/>
            </a:solidFill>
            <a:prstDash val="solid"/>
            <a:round/>
            <a:headEnd/>
            <a:tailEnd/>
          </a:ln>
        </p:spPr>
        <p:txBody>
          <a:bodyPr/>
          <a:lstStyle/>
          <a:p>
            <a:endParaRPr lang="cs-CZ"/>
          </a:p>
        </p:txBody>
      </p:sp>
      <p:sp>
        <p:nvSpPr>
          <p:cNvPr id="185" name="Rectangle 193"/>
          <p:cNvSpPr>
            <a:spLocks noChangeArrowheads="1"/>
          </p:cNvSpPr>
          <p:nvPr/>
        </p:nvSpPr>
        <p:spPr bwMode="auto">
          <a:xfrm>
            <a:off x="1633538" y="2107778"/>
            <a:ext cx="5572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Británie </a:t>
            </a:r>
            <a:endParaRPr lang="cs-CZ" sz="2400" b="0">
              <a:solidFill>
                <a:schemeClr val="tx1"/>
              </a:solidFill>
              <a:latin typeface="Times New Roman" pitchFamily="18" charset="0"/>
              <a:ea typeface="ＭＳ Ｐゴシック" pitchFamily="34" charset="-128"/>
            </a:endParaRPr>
          </a:p>
        </p:txBody>
      </p:sp>
      <p:sp>
        <p:nvSpPr>
          <p:cNvPr id="186" name="Rectangle 194"/>
          <p:cNvSpPr>
            <a:spLocks noChangeArrowheads="1"/>
          </p:cNvSpPr>
          <p:nvPr/>
        </p:nvSpPr>
        <p:spPr bwMode="auto">
          <a:xfrm>
            <a:off x="1633538" y="2279228"/>
            <a:ext cx="16446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se o potřebě nových </a:t>
            </a:r>
            <a:endParaRPr lang="cs-CZ" sz="2400" b="0">
              <a:solidFill>
                <a:schemeClr val="tx1"/>
              </a:solidFill>
              <a:latin typeface="Times New Roman" pitchFamily="18" charset="0"/>
              <a:ea typeface="ＭＳ Ｐゴシック" pitchFamily="34" charset="-128"/>
            </a:endParaRPr>
          </a:p>
        </p:txBody>
      </p:sp>
      <p:sp>
        <p:nvSpPr>
          <p:cNvPr id="187" name="Rectangle 195"/>
          <p:cNvSpPr>
            <a:spLocks noChangeArrowheads="1"/>
          </p:cNvSpPr>
          <p:nvPr/>
        </p:nvSpPr>
        <p:spPr bwMode="auto">
          <a:xfrm>
            <a:off x="1633538" y="2444328"/>
            <a:ext cx="10255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ých zdrojů</a:t>
            </a:r>
            <a:endParaRPr lang="cs-CZ" sz="2400" b="0">
              <a:solidFill>
                <a:schemeClr val="tx1"/>
              </a:solidFill>
              <a:latin typeface="Times New Roman" pitchFamily="18" charset="0"/>
              <a:ea typeface="ＭＳ Ｐゴシック" pitchFamily="34" charset="-128"/>
            </a:endParaRPr>
          </a:p>
        </p:txBody>
      </p:sp>
      <p:grpSp>
        <p:nvGrpSpPr>
          <p:cNvPr id="188" name="Group 196"/>
          <p:cNvGrpSpPr>
            <a:grpSpLocks/>
          </p:cNvGrpSpPr>
          <p:nvPr/>
        </p:nvGrpSpPr>
        <p:grpSpPr bwMode="auto">
          <a:xfrm>
            <a:off x="-2895600" y="1874415"/>
            <a:ext cx="4241800" cy="2490788"/>
            <a:chOff x="-1832" y="1245"/>
            <a:chExt cx="2672" cy="1569"/>
          </a:xfrm>
        </p:grpSpPr>
        <p:sp>
          <p:nvSpPr>
            <p:cNvPr id="189" name="Freeform 197"/>
            <p:cNvSpPr>
              <a:spLocks/>
            </p:cNvSpPr>
            <p:nvPr/>
          </p:nvSpPr>
          <p:spPr bwMode="auto">
            <a:xfrm>
              <a:off x="-1832" y="1245"/>
              <a:ext cx="2672" cy="1569"/>
            </a:xfrm>
            <a:custGeom>
              <a:avLst/>
              <a:gdLst>
                <a:gd name="T0" fmla="*/ 4971 w 5344"/>
                <a:gd name="T1" fmla="*/ 124 h 3140"/>
                <a:gd name="T2" fmla="*/ 4830 w 5344"/>
                <a:gd name="T3" fmla="*/ 407 h 3140"/>
                <a:gd name="T4" fmla="*/ 4529 w 5344"/>
                <a:gd name="T5" fmla="*/ 668 h 3140"/>
                <a:gd name="T6" fmla="*/ 4266 w 5344"/>
                <a:gd name="T7" fmla="*/ 900 h 3140"/>
                <a:gd name="T8" fmla="*/ 3985 w 5344"/>
                <a:gd name="T9" fmla="*/ 935 h 3140"/>
                <a:gd name="T10" fmla="*/ 3886 w 5344"/>
                <a:gd name="T11" fmla="*/ 796 h 3140"/>
                <a:gd name="T12" fmla="*/ 3774 w 5344"/>
                <a:gd name="T13" fmla="*/ 540 h 3140"/>
                <a:gd name="T14" fmla="*/ 3625 w 5344"/>
                <a:gd name="T15" fmla="*/ 729 h 3140"/>
                <a:gd name="T16" fmla="*/ 3550 w 5344"/>
                <a:gd name="T17" fmla="*/ 1077 h 3140"/>
                <a:gd name="T18" fmla="*/ 3544 w 5344"/>
                <a:gd name="T19" fmla="*/ 652 h 3140"/>
                <a:gd name="T20" fmla="*/ 3519 w 5344"/>
                <a:gd name="T21" fmla="*/ 546 h 3140"/>
                <a:gd name="T22" fmla="*/ 3774 w 5344"/>
                <a:gd name="T23" fmla="*/ 519 h 3140"/>
                <a:gd name="T24" fmla="*/ 3633 w 5344"/>
                <a:gd name="T25" fmla="*/ 426 h 3140"/>
                <a:gd name="T26" fmla="*/ 3368 w 5344"/>
                <a:gd name="T27" fmla="*/ 395 h 3140"/>
                <a:gd name="T28" fmla="*/ 3142 w 5344"/>
                <a:gd name="T29" fmla="*/ 497 h 3140"/>
                <a:gd name="T30" fmla="*/ 3010 w 5344"/>
                <a:gd name="T31" fmla="*/ 334 h 3140"/>
                <a:gd name="T32" fmla="*/ 1430 w 5344"/>
                <a:gd name="T33" fmla="*/ 208 h 3140"/>
                <a:gd name="T34" fmla="*/ 407 w 5344"/>
                <a:gd name="T35" fmla="*/ 73 h 3140"/>
                <a:gd name="T36" fmla="*/ 385 w 5344"/>
                <a:gd name="T37" fmla="*/ 267 h 3140"/>
                <a:gd name="T38" fmla="*/ 330 w 5344"/>
                <a:gd name="T39" fmla="*/ 144 h 3140"/>
                <a:gd name="T40" fmla="*/ 247 w 5344"/>
                <a:gd name="T41" fmla="*/ 293 h 3140"/>
                <a:gd name="T42" fmla="*/ 139 w 5344"/>
                <a:gd name="T43" fmla="*/ 649 h 3140"/>
                <a:gd name="T44" fmla="*/ 25 w 5344"/>
                <a:gd name="T45" fmla="*/ 1222 h 3140"/>
                <a:gd name="T46" fmla="*/ 128 w 5344"/>
                <a:gd name="T47" fmla="*/ 1446 h 3140"/>
                <a:gd name="T48" fmla="*/ 167 w 5344"/>
                <a:gd name="T49" fmla="*/ 1682 h 3140"/>
                <a:gd name="T50" fmla="*/ 242 w 5344"/>
                <a:gd name="T51" fmla="*/ 1886 h 3140"/>
                <a:gd name="T52" fmla="*/ 409 w 5344"/>
                <a:gd name="T53" fmla="*/ 2022 h 3140"/>
                <a:gd name="T54" fmla="*/ 625 w 5344"/>
                <a:gd name="T55" fmla="*/ 2177 h 3140"/>
                <a:gd name="T56" fmla="*/ 1008 w 5344"/>
                <a:gd name="T57" fmla="*/ 2360 h 3140"/>
                <a:gd name="T58" fmla="*/ 1487 w 5344"/>
                <a:gd name="T59" fmla="*/ 2429 h 3140"/>
                <a:gd name="T60" fmla="*/ 1874 w 5344"/>
                <a:gd name="T61" fmla="*/ 2688 h 3140"/>
                <a:gd name="T62" fmla="*/ 2195 w 5344"/>
                <a:gd name="T63" fmla="*/ 2698 h 3140"/>
                <a:gd name="T64" fmla="*/ 2421 w 5344"/>
                <a:gd name="T65" fmla="*/ 2985 h 3140"/>
                <a:gd name="T66" fmla="*/ 2735 w 5344"/>
                <a:gd name="T67" fmla="*/ 3089 h 3140"/>
                <a:gd name="T68" fmla="*/ 2827 w 5344"/>
                <a:gd name="T69" fmla="*/ 2833 h 3140"/>
                <a:gd name="T70" fmla="*/ 3220 w 5344"/>
                <a:gd name="T71" fmla="*/ 2682 h 3140"/>
                <a:gd name="T72" fmla="*/ 3462 w 5344"/>
                <a:gd name="T73" fmla="*/ 2678 h 3140"/>
                <a:gd name="T74" fmla="*/ 3633 w 5344"/>
                <a:gd name="T75" fmla="*/ 2668 h 3140"/>
                <a:gd name="T76" fmla="*/ 3495 w 5344"/>
                <a:gd name="T77" fmla="*/ 2570 h 3140"/>
                <a:gd name="T78" fmla="*/ 3702 w 5344"/>
                <a:gd name="T79" fmla="*/ 2462 h 3140"/>
                <a:gd name="T80" fmla="*/ 3989 w 5344"/>
                <a:gd name="T81" fmla="*/ 2493 h 3140"/>
                <a:gd name="T82" fmla="*/ 4232 w 5344"/>
                <a:gd name="T83" fmla="*/ 2543 h 3140"/>
                <a:gd name="T84" fmla="*/ 4358 w 5344"/>
                <a:gd name="T85" fmla="*/ 2755 h 3140"/>
                <a:gd name="T86" fmla="*/ 4472 w 5344"/>
                <a:gd name="T87" fmla="*/ 2888 h 3140"/>
                <a:gd name="T88" fmla="*/ 4721 w 5344"/>
                <a:gd name="T89" fmla="*/ 2873 h 3140"/>
                <a:gd name="T90" fmla="*/ 4486 w 5344"/>
                <a:gd name="T91" fmla="*/ 2432 h 3140"/>
                <a:gd name="T92" fmla="*/ 4543 w 5344"/>
                <a:gd name="T93" fmla="*/ 2098 h 3140"/>
                <a:gd name="T94" fmla="*/ 4898 w 5344"/>
                <a:gd name="T95" fmla="*/ 1584 h 3140"/>
                <a:gd name="T96" fmla="*/ 4879 w 5344"/>
                <a:gd name="T97" fmla="*/ 1590 h 3140"/>
                <a:gd name="T98" fmla="*/ 4804 w 5344"/>
                <a:gd name="T99" fmla="*/ 1464 h 3140"/>
                <a:gd name="T100" fmla="*/ 4735 w 5344"/>
                <a:gd name="T101" fmla="*/ 1197 h 3140"/>
                <a:gd name="T102" fmla="*/ 4833 w 5344"/>
                <a:gd name="T103" fmla="*/ 1181 h 3140"/>
                <a:gd name="T104" fmla="*/ 5112 w 5344"/>
                <a:gd name="T105" fmla="*/ 863 h 3140"/>
                <a:gd name="T106" fmla="*/ 5101 w 5344"/>
                <a:gd name="T107" fmla="*/ 806 h 3140"/>
                <a:gd name="T108" fmla="*/ 5154 w 5344"/>
                <a:gd name="T109" fmla="*/ 678 h 3140"/>
                <a:gd name="T110" fmla="*/ 5118 w 5344"/>
                <a:gd name="T111" fmla="*/ 580 h 3140"/>
                <a:gd name="T112" fmla="*/ 5289 w 5344"/>
                <a:gd name="T113" fmla="*/ 356 h 3140"/>
                <a:gd name="T114" fmla="*/ 5173 w 5344"/>
                <a:gd name="T115" fmla="*/ 73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4" h="3140">
                  <a:moveTo>
                    <a:pt x="5152" y="20"/>
                  </a:moveTo>
                  <a:lnTo>
                    <a:pt x="5124" y="0"/>
                  </a:lnTo>
                  <a:lnTo>
                    <a:pt x="5095" y="0"/>
                  </a:lnTo>
                  <a:lnTo>
                    <a:pt x="5075" y="0"/>
                  </a:lnTo>
                  <a:lnTo>
                    <a:pt x="5063" y="26"/>
                  </a:lnTo>
                  <a:lnTo>
                    <a:pt x="5040" y="20"/>
                  </a:lnTo>
                  <a:lnTo>
                    <a:pt x="5020" y="26"/>
                  </a:lnTo>
                  <a:lnTo>
                    <a:pt x="5010" y="53"/>
                  </a:lnTo>
                  <a:lnTo>
                    <a:pt x="4971" y="124"/>
                  </a:lnTo>
                  <a:lnTo>
                    <a:pt x="4991" y="169"/>
                  </a:lnTo>
                  <a:lnTo>
                    <a:pt x="4973" y="220"/>
                  </a:lnTo>
                  <a:lnTo>
                    <a:pt x="4987" y="242"/>
                  </a:lnTo>
                  <a:lnTo>
                    <a:pt x="4983" y="283"/>
                  </a:lnTo>
                  <a:lnTo>
                    <a:pt x="4977" y="322"/>
                  </a:lnTo>
                  <a:lnTo>
                    <a:pt x="4953" y="328"/>
                  </a:lnTo>
                  <a:lnTo>
                    <a:pt x="4936" y="305"/>
                  </a:lnTo>
                  <a:lnTo>
                    <a:pt x="4898" y="389"/>
                  </a:lnTo>
                  <a:lnTo>
                    <a:pt x="4830" y="407"/>
                  </a:lnTo>
                  <a:lnTo>
                    <a:pt x="4737" y="432"/>
                  </a:lnTo>
                  <a:lnTo>
                    <a:pt x="4672" y="448"/>
                  </a:lnTo>
                  <a:lnTo>
                    <a:pt x="4619" y="493"/>
                  </a:lnTo>
                  <a:lnTo>
                    <a:pt x="4584" y="540"/>
                  </a:lnTo>
                  <a:lnTo>
                    <a:pt x="4554" y="540"/>
                  </a:lnTo>
                  <a:lnTo>
                    <a:pt x="4521" y="595"/>
                  </a:lnTo>
                  <a:lnTo>
                    <a:pt x="4535" y="611"/>
                  </a:lnTo>
                  <a:lnTo>
                    <a:pt x="4545" y="652"/>
                  </a:lnTo>
                  <a:lnTo>
                    <a:pt x="4529" y="668"/>
                  </a:lnTo>
                  <a:lnTo>
                    <a:pt x="4505" y="700"/>
                  </a:lnTo>
                  <a:lnTo>
                    <a:pt x="4480" y="705"/>
                  </a:lnTo>
                  <a:lnTo>
                    <a:pt x="4470" y="729"/>
                  </a:lnTo>
                  <a:lnTo>
                    <a:pt x="4427" y="735"/>
                  </a:lnTo>
                  <a:lnTo>
                    <a:pt x="4366" y="735"/>
                  </a:lnTo>
                  <a:lnTo>
                    <a:pt x="4315" y="764"/>
                  </a:lnTo>
                  <a:lnTo>
                    <a:pt x="4321" y="812"/>
                  </a:lnTo>
                  <a:lnTo>
                    <a:pt x="4307" y="849"/>
                  </a:lnTo>
                  <a:lnTo>
                    <a:pt x="4266" y="900"/>
                  </a:lnTo>
                  <a:lnTo>
                    <a:pt x="4215" y="949"/>
                  </a:lnTo>
                  <a:lnTo>
                    <a:pt x="4165" y="967"/>
                  </a:lnTo>
                  <a:lnTo>
                    <a:pt x="4148" y="1006"/>
                  </a:lnTo>
                  <a:lnTo>
                    <a:pt x="4044" y="1047"/>
                  </a:lnTo>
                  <a:lnTo>
                    <a:pt x="3989" y="1036"/>
                  </a:lnTo>
                  <a:lnTo>
                    <a:pt x="3975" y="1022"/>
                  </a:lnTo>
                  <a:lnTo>
                    <a:pt x="4000" y="996"/>
                  </a:lnTo>
                  <a:lnTo>
                    <a:pt x="4004" y="965"/>
                  </a:lnTo>
                  <a:lnTo>
                    <a:pt x="3985" y="935"/>
                  </a:lnTo>
                  <a:lnTo>
                    <a:pt x="4008" y="920"/>
                  </a:lnTo>
                  <a:lnTo>
                    <a:pt x="4038" y="927"/>
                  </a:lnTo>
                  <a:lnTo>
                    <a:pt x="4030" y="865"/>
                  </a:lnTo>
                  <a:lnTo>
                    <a:pt x="4024" y="814"/>
                  </a:lnTo>
                  <a:lnTo>
                    <a:pt x="4008" y="770"/>
                  </a:lnTo>
                  <a:lnTo>
                    <a:pt x="3981" y="749"/>
                  </a:lnTo>
                  <a:lnTo>
                    <a:pt x="3941" y="735"/>
                  </a:lnTo>
                  <a:lnTo>
                    <a:pt x="3912" y="757"/>
                  </a:lnTo>
                  <a:lnTo>
                    <a:pt x="3886" y="796"/>
                  </a:lnTo>
                  <a:lnTo>
                    <a:pt x="3853" y="786"/>
                  </a:lnTo>
                  <a:lnTo>
                    <a:pt x="3867" y="766"/>
                  </a:lnTo>
                  <a:lnTo>
                    <a:pt x="3879" y="757"/>
                  </a:lnTo>
                  <a:lnTo>
                    <a:pt x="3898" y="745"/>
                  </a:lnTo>
                  <a:lnTo>
                    <a:pt x="3928" y="713"/>
                  </a:lnTo>
                  <a:lnTo>
                    <a:pt x="3906" y="649"/>
                  </a:lnTo>
                  <a:lnTo>
                    <a:pt x="3898" y="595"/>
                  </a:lnTo>
                  <a:lnTo>
                    <a:pt x="3853" y="590"/>
                  </a:lnTo>
                  <a:lnTo>
                    <a:pt x="3774" y="540"/>
                  </a:lnTo>
                  <a:lnTo>
                    <a:pt x="3725" y="560"/>
                  </a:lnTo>
                  <a:lnTo>
                    <a:pt x="3719" y="584"/>
                  </a:lnTo>
                  <a:lnTo>
                    <a:pt x="3727" y="601"/>
                  </a:lnTo>
                  <a:lnTo>
                    <a:pt x="3706" y="611"/>
                  </a:lnTo>
                  <a:lnTo>
                    <a:pt x="3702" y="649"/>
                  </a:lnTo>
                  <a:lnTo>
                    <a:pt x="3684" y="649"/>
                  </a:lnTo>
                  <a:lnTo>
                    <a:pt x="3647" y="682"/>
                  </a:lnTo>
                  <a:lnTo>
                    <a:pt x="3633" y="704"/>
                  </a:lnTo>
                  <a:lnTo>
                    <a:pt x="3625" y="729"/>
                  </a:lnTo>
                  <a:lnTo>
                    <a:pt x="3625" y="790"/>
                  </a:lnTo>
                  <a:lnTo>
                    <a:pt x="3617" y="853"/>
                  </a:lnTo>
                  <a:lnTo>
                    <a:pt x="3633" y="892"/>
                  </a:lnTo>
                  <a:lnTo>
                    <a:pt x="3656" y="955"/>
                  </a:lnTo>
                  <a:lnTo>
                    <a:pt x="3656" y="1032"/>
                  </a:lnTo>
                  <a:lnTo>
                    <a:pt x="3633" y="1114"/>
                  </a:lnTo>
                  <a:lnTo>
                    <a:pt x="3598" y="1120"/>
                  </a:lnTo>
                  <a:lnTo>
                    <a:pt x="3572" y="1108"/>
                  </a:lnTo>
                  <a:lnTo>
                    <a:pt x="3550" y="1077"/>
                  </a:lnTo>
                  <a:lnTo>
                    <a:pt x="3525" y="1032"/>
                  </a:lnTo>
                  <a:lnTo>
                    <a:pt x="3533" y="971"/>
                  </a:lnTo>
                  <a:lnTo>
                    <a:pt x="3533" y="929"/>
                  </a:lnTo>
                  <a:lnTo>
                    <a:pt x="3513" y="894"/>
                  </a:lnTo>
                  <a:lnTo>
                    <a:pt x="3515" y="817"/>
                  </a:lnTo>
                  <a:lnTo>
                    <a:pt x="3525" y="760"/>
                  </a:lnTo>
                  <a:lnTo>
                    <a:pt x="3529" y="729"/>
                  </a:lnTo>
                  <a:lnTo>
                    <a:pt x="3568" y="678"/>
                  </a:lnTo>
                  <a:lnTo>
                    <a:pt x="3544" y="652"/>
                  </a:lnTo>
                  <a:lnTo>
                    <a:pt x="3525" y="664"/>
                  </a:lnTo>
                  <a:lnTo>
                    <a:pt x="3513" y="694"/>
                  </a:lnTo>
                  <a:lnTo>
                    <a:pt x="3470" y="739"/>
                  </a:lnTo>
                  <a:lnTo>
                    <a:pt x="3495" y="700"/>
                  </a:lnTo>
                  <a:lnTo>
                    <a:pt x="3495" y="676"/>
                  </a:lnTo>
                  <a:lnTo>
                    <a:pt x="3489" y="643"/>
                  </a:lnTo>
                  <a:lnTo>
                    <a:pt x="3495" y="613"/>
                  </a:lnTo>
                  <a:lnTo>
                    <a:pt x="3513" y="590"/>
                  </a:lnTo>
                  <a:lnTo>
                    <a:pt x="3519" y="546"/>
                  </a:lnTo>
                  <a:lnTo>
                    <a:pt x="3525" y="529"/>
                  </a:lnTo>
                  <a:lnTo>
                    <a:pt x="3537" y="562"/>
                  </a:lnTo>
                  <a:lnTo>
                    <a:pt x="3574" y="566"/>
                  </a:lnTo>
                  <a:lnTo>
                    <a:pt x="3598" y="540"/>
                  </a:lnTo>
                  <a:lnTo>
                    <a:pt x="3633" y="525"/>
                  </a:lnTo>
                  <a:lnTo>
                    <a:pt x="3676" y="523"/>
                  </a:lnTo>
                  <a:lnTo>
                    <a:pt x="3696" y="535"/>
                  </a:lnTo>
                  <a:lnTo>
                    <a:pt x="3725" y="533"/>
                  </a:lnTo>
                  <a:lnTo>
                    <a:pt x="3774" y="519"/>
                  </a:lnTo>
                  <a:lnTo>
                    <a:pt x="3802" y="519"/>
                  </a:lnTo>
                  <a:lnTo>
                    <a:pt x="3804" y="497"/>
                  </a:lnTo>
                  <a:lnTo>
                    <a:pt x="3810" y="497"/>
                  </a:lnTo>
                  <a:lnTo>
                    <a:pt x="3786" y="474"/>
                  </a:lnTo>
                  <a:lnTo>
                    <a:pt x="3761" y="460"/>
                  </a:lnTo>
                  <a:lnTo>
                    <a:pt x="3715" y="448"/>
                  </a:lnTo>
                  <a:lnTo>
                    <a:pt x="3672" y="448"/>
                  </a:lnTo>
                  <a:lnTo>
                    <a:pt x="3647" y="442"/>
                  </a:lnTo>
                  <a:lnTo>
                    <a:pt x="3633" y="426"/>
                  </a:lnTo>
                  <a:lnTo>
                    <a:pt x="3588" y="421"/>
                  </a:lnTo>
                  <a:lnTo>
                    <a:pt x="3544" y="430"/>
                  </a:lnTo>
                  <a:lnTo>
                    <a:pt x="3515" y="432"/>
                  </a:lnTo>
                  <a:lnTo>
                    <a:pt x="3484" y="460"/>
                  </a:lnTo>
                  <a:lnTo>
                    <a:pt x="3440" y="442"/>
                  </a:lnTo>
                  <a:lnTo>
                    <a:pt x="3403" y="430"/>
                  </a:lnTo>
                  <a:lnTo>
                    <a:pt x="3366" y="448"/>
                  </a:lnTo>
                  <a:lnTo>
                    <a:pt x="3338" y="436"/>
                  </a:lnTo>
                  <a:lnTo>
                    <a:pt x="3368" y="395"/>
                  </a:lnTo>
                  <a:lnTo>
                    <a:pt x="3358" y="379"/>
                  </a:lnTo>
                  <a:lnTo>
                    <a:pt x="3342" y="385"/>
                  </a:lnTo>
                  <a:lnTo>
                    <a:pt x="3299" y="432"/>
                  </a:lnTo>
                  <a:lnTo>
                    <a:pt x="3269" y="472"/>
                  </a:lnTo>
                  <a:lnTo>
                    <a:pt x="3238" y="511"/>
                  </a:lnTo>
                  <a:lnTo>
                    <a:pt x="3191" y="505"/>
                  </a:lnTo>
                  <a:lnTo>
                    <a:pt x="3175" y="458"/>
                  </a:lnTo>
                  <a:lnTo>
                    <a:pt x="3155" y="460"/>
                  </a:lnTo>
                  <a:lnTo>
                    <a:pt x="3142" y="497"/>
                  </a:lnTo>
                  <a:lnTo>
                    <a:pt x="3091" y="499"/>
                  </a:lnTo>
                  <a:lnTo>
                    <a:pt x="3146" y="430"/>
                  </a:lnTo>
                  <a:lnTo>
                    <a:pt x="3279" y="346"/>
                  </a:lnTo>
                  <a:lnTo>
                    <a:pt x="3289" y="328"/>
                  </a:lnTo>
                  <a:lnTo>
                    <a:pt x="3214" y="332"/>
                  </a:lnTo>
                  <a:lnTo>
                    <a:pt x="3136" y="305"/>
                  </a:lnTo>
                  <a:lnTo>
                    <a:pt x="3110" y="340"/>
                  </a:lnTo>
                  <a:lnTo>
                    <a:pt x="3051" y="318"/>
                  </a:lnTo>
                  <a:lnTo>
                    <a:pt x="3010" y="334"/>
                  </a:lnTo>
                  <a:lnTo>
                    <a:pt x="2984" y="293"/>
                  </a:lnTo>
                  <a:lnTo>
                    <a:pt x="2920" y="295"/>
                  </a:lnTo>
                  <a:lnTo>
                    <a:pt x="2900" y="311"/>
                  </a:lnTo>
                  <a:lnTo>
                    <a:pt x="2827" y="267"/>
                  </a:lnTo>
                  <a:lnTo>
                    <a:pt x="2816" y="226"/>
                  </a:lnTo>
                  <a:lnTo>
                    <a:pt x="2729" y="206"/>
                  </a:lnTo>
                  <a:lnTo>
                    <a:pt x="2768" y="267"/>
                  </a:lnTo>
                  <a:lnTo>
                    <a:pt x="1507" y="230"/>
                  </a:lnTo>
                  <a:lnTo>
                    <a:pt x="1430" y="208"/>
                  </a:lnTo>
                  <a:lnTo>
                    <a:pt x="1297" y="195"/>
                  </a:lnTo>
                  <a:lnTo>
                    <a:pt x="1126" y="169"/>
                  </a:lnTo>
                  <a:lnTo>
                    <a:pt x="914" y="149"/>
                  </a:lnTo>
                  <a:lnTo>
                    <a:pt x="831" y="136"/>
                  </a:lnTo>
                  <a:lnTo>
                    <a:pt x="717" y="118"/>
                  </a:lnTo>
                  <a:lnTo>
                    <a:pt x="635" y="98"/>
                  </a:lnTo>
                  <a:lnTo>
                    <a:pt x="412" y="37"/>
                  </a:lnTo>
                  <a:lnTo>
                    <a:pt x="399" y="41"/>
                  </a:lnTo>
                  <a:lnTo>
                    <a:pt x="407" y="73"/>
                  </a:lnTo>
                  <a:lnTo>
                    <a:pt x="418" y="104"/>
                  </a:lnTo>
                  <a:lnTo>
                    <a:pt x="409" y="118"/>
                  </a:lnTo>
                  <a:lnTo>
                    <a:pt x="393" y="134"/>
                  </a:lnTo>
                  <a:lnTo>
                    <a:pt x="403" y="155"/>
                  </a:lnTo>
                  <a:lnTo>
                    <a:pt x="432" y="206"/>
                  </a:lnTo>
                  <a:lnTo>
                    <a:pt x="409" y="242"/>
                  </a:lnTo>
                  <a:lnTo>
                    <a:pt x="393" y="287"/>
                  </a:lnTo>
                  <a:lnTo>
                    <a:pt x="356" y="287"/>
                  </a:lnTo>
                  <a:lnTo>
                    <a:pt x="385" y="267"/>
                  </a:lnTo>
                  <a:lnTo>
                    <a:pt x="395" y="242"/>
                  </a:lnTo>
                  <a:lnTo>
                    <a:pt x="389" y="220"/>
                  </a:lnTo>
                  <a:lnTo>
                    <a:pt x="369" y="212"/>
                  </a:lnTo>
                  <a:lnTo>
                    <a:pt x="379" y="197"/>
                  </a:lnTo>
                  <a:lnTo>
                    <a:pt x="407" y="203"/>
                  </a:lnTo>
                  <a:lnTo>
                    <a:pt x="407" y="191"/>
                  </a:lnTo>
                  <a:lnTo>
                    <a:pt x="389" y="151"/>
                  </a:lnTo>
                  <a:lnTo>
                    <a:pt x="369" y="149"/>
                  </a:lnTo>
                  <a:lnTo>
                    <a:pt x="330" y="144"/>
                  </a:lnTo>
                  <a:lnTo>
                    <a:pt x="297" y="114"/>
                  </a:lnTo>
                  <a:lnTo>
                    <a:pt x="275" y="100"/>
                  </a:lnTo>
                  <a:lnTo>
                    <a:pt x="247" y="89"/>
                  </a:lnTo>
                  <a:lnTo>
                    <a:pt x="232" y="118"/>
                  </a:lnTo>
                  <a:lnTo>
                    <a:pt x="245" y="157"/>
                  </a:lnTo>
                  <a:lnTo>
                    <a:pt x="247" y="195"/>
                  </a:lnTo>
                  <a:lnTo>
                    <a:pt x="245" y="238"/>
                  </a:lnTo>
                  <a:lnTo>
                    <a:pt x="245" y="277"/>
                  </a:lnTo>
                  <a:lnTo>
                    <a:pt x="247" y="293"/>
                  </a:lnTo>
                  <a:lnTo>
                    <a:pt x="265" y="322"/>
                  </a:lnTo>
                  <a:lnTo>
                    <a:pt x="247" y="344"/>
                  </a:lnTo>
                  <a:lnTo>
                    <a:pt x="251" y="360"/>
                  </a:lnTo>
                  <a:lnTo>
                    <a:pt x="255" y="391"/>
                  </a:lnTo>
                  <a:lnTo>
                    <a:pt x="232" y="401"/>
                  </a:lnTo>
                  <a:lnTo>
                    <a:pt x="212" y="472"/>
                  </a:lnTo>
                  <a:lnTo>
                    <a:pt x="196" y="535"/>
                  </a:lnTo>
                  <a:lnTo>
                    <a:pt x="171" y="597"/>
                  </a:lnTo>
                  <a:lnTo>
                    <a:pt x="139" y="649"/>
                  </a:lnTo>
                  <a:lnTo>
                    <a:pt x="110" y="713"/>
                  </a:lnTo>
                  <a:lnTo>
                    <a:pt x="78" y="751"/>
                  </a:lnTo>
                  <a:lnTo>
                    <a:pt x="78" y="847"/>
                  </a:lnTo>
                  <a:lnTo>
                    <a:pt x="78" y="935"/>
                  </a:lnTo>
                  <a:lnTo>
                    <a:pt x="69" y="967"/>
                  </a:lnTo>
                  <a:lnTo>
                    <a:pt x="35" y="1026"/>
                  </a:lnTo>
                  <a:lnTo>
                    <a:pt x="0" y="1083"/>
                  </a:lnTo>
                  <a:lnTo>
                    <a:pt x="35" y="1159"/>
                  </a:lnTo>
                  <a:lnTo>
                    <a:pt x="25" y="1222"/>
                  </a:lnTo>
                  <a:lnTo>
                    <a:pt x="16" y="1263"/>
                  </a:lnTo>
                  <a:lnTo>
                    <a:pt x="49" y="1340"/>
                  </a:lnTo>
                  <a:lnTo>
                    <a:pt x="73" y="1391"/>
                  </a:lnTo>
                  <a:lnTo>
                    <a:pt x="104" y="1413"/>
                  </a:lnTo>
                  <a:lnTo>
                    <a:pt x="137" y="1375"/>
                  </a:lnTo>
                  <a:lnTo>
                    <a:pt x="147" y="1401"/>
                  </a:lnTo>
                  <a:lnTo>
                    <a:pt x="157" y="1417"/>
                  </a:lnTo>
                  <a:lnTo>
                    <a:pt x="124" y="1423"/>
                  </a:lnTo>
                  <a:lnTo>
                    <a:pt x="128" y="1446"/>
                  </a:lnTo>
                  <a:lnTo>
                    <a:pt x="98" y="1430"/>
                  </a:lnTo>
                  <a:lnTo>
                    <a:pt x="102" y="1478"/>
                  </a:lnTo>
                  <a:lnTo>
                    <a:pt x="114" y="1519"/>
                  </a:lnTo>
                  <a:lnTo>
                    <a:pt x="120" y="1550"/>
                  </a:lnTo>
                  <a:lnTo>
                    <a:pt x="161" y="1544"/>
                  </a:lnTo>
                  <a:lnTo>
                    <a:pt x="153" y="1560"/>
                  </a:lnTo>
                  <a:lnTo>
                    <a:pt x="120" y="1584"/>
                  </a:lnTo>
                  <a:lnTo>
                    <a:pt x="120" y="1631"/>
                  </a:lnTo>
                  <a:lnTo>
                    <a:pt x="167" y="1682"/>
                  </a:lnTo>
                  <a:lnTo>
                    <a:pt x="187" y="1698"/>
                  </a:lnTo>
                  <a:lnTo>
                    <a:pt x="173" y="1719"/>
                  </a:lnTo>
                  <a:lnTo>
                    <a:pt x="190" y="1749"/>
                  </a:lnTo>
                  <a:lnTo>
                    <a:pt x="196" y="1784"/>
                  </a:lnTo>
                  <a:lnTo>
                    <a:pt x="208" y="1806"/>
                  </a:lnTo>
                  <a:lnTo>
                    <a:pt x="216" y="1831"/>
                  </a:lnTo>
                  <a:lnTo>
                    <a:pt x="220" y="1859"/>
                  </a:lnTo>
                  <a:lnTo>
                    <a:pt x="208" y="1874"/>
                  </a:lnTo>
                  <a:lnTo>
                    <a:pt x="242" y="1886"/>
                  </a:lnTo>
                  <a:lnTo>
                    <a:pt x="271" y="1888"/>
                  </a:lnTo>
                  <a:lnTo>
                    <a:pt x="297" y="1882"/>
                  </a:lnTo>
                  <a:lnTo>
                    <a:pt x="330" y="1886"/>
                  </a:lnTo>
                  <a:lnTo>
                    <a:pt x="336" y="1910"/>
                  </a:lnTo>
                  <a:lnTo>
                    <a:pt x="344" y="1930"/>
                  </a:lnTo>
                  <a:lnTo>
                    <a:pt x="377" y="1965"/>
                  </a:lnTo>
                  <a:lnTo>
                    <a:pt x="389" y="1977"/>
                  </a:lnTo>
                  <a:lnTo>
                    <a:pt x="407" y="2006"/>
                  </a:lnTo>
                  <a:lnTo>
                    <a:pt x="409" y="2022"/>
                  </a:lnTo>
                  <a:lnTo>
                    <a:pt x="438" y="2038"/>
                  </a:lnTo>
                  <a:lnTo>
                    <a:pt x="462" y="2059"/>
                  </a:lnTo>
                  <a:lnTo>
                    <a:pt x="491" y="2102"/>
                  </a:lnTo>
                  <a:lnTo>
                    <a:pt x="495" y="2153"/>
                  </a:lnTo>
                  <a:lnTo>
                    <a:pt x="495" y="2177"/>
                  </a:lnTo>
                  <a:lnTo>
                    <a:pt x="521" y="2181"/>
                  </a:lnTo>
                  <a:lnTo>
                    <a:pt x="550" y="2177"/>
                  </a:lnTo>
                  <a:lnTo>
                    <a:pt x="579" y="2175"/>
                  </a:lnTo>
                  <a:lnTo>
                    <a:pt x="625" y="2177"/>
                  </a:lnTo>
                  <a:lnTo>
                    <a:pt x="668" y="2177"/>
                  </a:lnTo>
                  <a:lnTo>
                    <a:pt x="723" y="2177"/>
                  </a:lnTo>
                  <a:lnTo>
                    <a:pt x="764" y="2181"/>
                  </a:lnTo>
                  <a:lnTo>
                    <a:pt x="770" y="2207"/>
                  </a:lnTo>
                  <a:lnTo>
                    <a:pt x="760" y="2228"/>
                  </a:lnTo>
                  <a:lnTo>
                    <a:pt x="807" y="2258"/>
                  </a:lnTo>
                  <a:lnTo>
                    <a:pt x="855" y="2279"/>
                  </a:lnTo>
                  <a:lnTo>
                    <a:pt x="943" y="2324"/>
                  </a:lnTo>
                  <a:lnTo>
                    <a:pt x="1008" y="2360"/>
                  </a:lnTo>
                  <a:lnTo>
                    <a:pt x="1081" y="2389"/>
                  </a:lnTo>
                  <a:lnTo>
                    <a:pt x="1155" y="2411"/>
                  </a:lnTo>
                  <a:lnTo>
                    <a:pt x="1206" y="2417"/>
                  </a:lnTo>
                  <a:lnTo>
                    <a:pt x="1248" y="2411"/>
                  </a:lnTo>
                  <a:lnTo>
                    <a:pt x="1312" y="2417"/>
                  </a:lnTo>
                  <a:lnTo>
                    <a:pt x="1356" y="2423"/>
                  </a:lnTo>
                  <a:lnTo>
                    <a:pt x="1405" y="2419"/>
                  </a:lnTo>
                  <a:lnTo>
                    <a:pt x="1448" y="2429"/>
                  </a:lnTo>
                  <a:lnTo>
                    <a:pt x="1487" y="2429"/>
                  </a:lnTo>
                  <a:lnTo>
                    <a:pt x="1489" y="2375"/>
                  </a:lnTo>
                  <a:lnTo>
                    <a:pt x="1560" y="2385"/>
                  </a:lnTo>
                  <a:lnTo>
                    <a:pt x="1641" y="2389"/>
                  </a:lnTo>
                  <a:lnTo>
                    <a:pt x="1703" y="2458"/>
                  </a:lnTo>
                  <a:lnTo>
                    <a:pt x="1782" y="2521"/>
                  </a:lnTo>
                  <a:lnTo>
                    <a:pt x="1825" y="2570"/>
                  </a:lnTo>
                  <a:lnTo>
                    <a:pt x="1827" y="2611"/>
                  </a:lnTo>
                  <a:lnTo>
                    <a:pt x="1841" y="2656"/>
                  </a:lnTo>
                  <a:lnTo>
                    <a:pt x="1874" y="2688"/>
                  </a:lnTo>
                  <a:lnTo>
                    <a:pt x="1904" y="2715"/>
                  </a:lnTo>
                  <a:lnTo>
                    <a:pt x="1998" y="2770"/>
                  </a:lnTo>
                  <a:lnTo>
                    <a:pt x="2030" y="2765"/>
                  </a:lnTo>
                  <a:lnTo>
                    <a:pt x="2047" y="2749"/>
                  </a:lnTo>
                  <a:lnTo>
                    <a:pt x="2059" y="2713"/>
                  </a:lnTo>
                  <a:lnTo>
                    <a:pt x="2067" y="2688"/>
                  </a:lnTo>
                  <a:lnTo>
                    <a:pt x="2104" y="2684"/>
                  </a:lnTo>
                  <a:lnTo>
                    <a:pt x="2145" y="2688"/>
                  </a:lnTo>
                  <a:lnTo>
                    <a:pt x="2195" y="2698"/>
                  </a:lnTo>
                  <a:lnTo>
                    <a:pt x="2224" y="2715"/>
                  </a:lnTo>
                  <a:lnTo>
                    <a:pt x="2263" y="2735"/>
                  </a:lnTo>
                  <a:lnTo>
                    <a:pt x="2277" y="2761"/>
                  </a:lnTo>
                  <a:lnTo>
                    <a:pt x="2297" y="2806"/>
                  </a:lnTo>
                  <a:lnTo>
                    <a:pt x="2316" y="2847"/>
                  </a:lnTo>
                  <a:lnTo>
                    <a:pt x="2336" y="2878"/>
                  </a:lnTo>
                  <a:lnTo>
                    <a:pt x="2375" y="2902"/>
                  </a:lnTo>
                  <a:lnTo>
                    <a:pt x="2409" y="2935"/>
                  </a:lnTo>
                  <a:lnTo>
                    <a:pt x="2421" y="2985"/>
                  </a:lnTo>
                  <a:lnTo>
                    <a:pt x="2430" y="3022"/>
                  </a:lnTo>
                  <a:lnTo>
                    <a:pt x="2458" y="3085"/>
                  </a:lnTo>
                  <a:lnTo>
                    <a:pt x="2493" y="3093"/>
                  </a:lnTo>
                  <a:lnTo>
                    <a:pt x="2535" y="3108"/>
                  </a:lnTo>
                  <a:lnTo>
                    <a:pt x="2576" y="3118"/>
                  </a:lnTo>
                  <a:lnTo>
                    <a:pt x="2627" y="3120"/>
                  </a:lnTo>
                  <a:lnTo>
                    <a:pt x="2656" y="3140"/>
                  </a:lnTo>
                  <a:lnTo>
                    <a:pt x="2729" y="3136"/>
                  </a:lnTo>
                  <a:lnTo>
                    <a:pt x="2735" y="3089"/>
                  </a:lnTo>
                  <a:lnTo>
                    <a:pt x="2694" y="3053"/>
                  </a:lnTo>
                  <a:lnTo>
                    <a:pt x="2686" y="3000"/>
                  </a:lnTo>
                  <a:lnTo>
                    <a:pt x="2715" y="2961"/>
                  </a:lnTo>
                  <a:lnTo>
                    <a:pt x="2711" y="2924"/>
                  </a:lnTo>
                  <a:lnTo>
                    <a:pt x="2723" y="2910"/>
                  </a:lnTo>
                  <a:lnTo>
                    <a:pt x="2729" y="2882"/>
                  </a:lnTo>
                  <a:lnTo>
                    <a:pt x="2757" y="2867"/>
                  </a:lnTo>
                  <a:lnTo>
                    <a:pt x="2802" y="2833"/>
                  </a:lnTo>
                  <a:lnTo>
                    <a:pt x="2827" y="2833"/>
                  </a:lnTo>
                  <a:lnTo>
                    <a:pt x="2882" y="2800"/>
                  </a:lnTo>
                  <a:lnTo>
                    <a:pt x="2920" y="2766"/>
                  </a:lnTo>
                  <a:lnTo>
                    <a:pt x="2979" y="2735"/>
                  </a:lnTo>
                  <a:lnTo>
                    <a:pt x="2963" y="2692"/>
                  </a:lnTo>
                  <a:lnTo>
                    <a:pt x="2975" y="2682"/>
                  </a:lnTo>
                  <a:lnTo>
                    <a:pt x="2992" y="2725"/>
                  </a:lnTo>
                  <a:lnTo>
                    <a:pt x="3069" y="2658"/>
                  </a:lnTo>
                  <a:lnTo>
                    <a:pt x="3136" y="2662"/>
                  </a:lnTo>
                  <a:lnTo>
                    <a:pt x="3220" y="2682"/>
                  </a:lnTo>
                  <a:lnTo>
                    <a:pt x="3289" y="2672"/>
                  </a:lnTo>
                  <a:lnTo>
                    <a:pt x="3322" y="2664"/>
                  </a:lnTo>
                  <a:lnTo>
                    <a:pt x="3305" y="2637"/>
                  </a:lnTo>
                  <a:lnTo>
                    <a:pt x="3334" y="2641"/>
                  </a:lnTo>
                  <a:lnTo>
                    <a:pt x="3356" y="2664"/>
                  </a:lnTo>
                  <a:lnTo>
                    <a:pt x="3356" y="2684"/>
                  </a:lnTo>
                  <a:lnTo>
                    <a:pt x="3417" y="2688"/>
                  </a:lnTo>
                  <a:lnTo>
                    <a:pt x="3450" y="2692"/>
                  </a:lnTo>
                  <a:lnTo>
                    <a:pt x="3462" y="2678"/>
                  </a:lnTo>
                  <a:lnTo>
                    <a:pt x="3489" y="2702"/>
                  </a:lnTo>
                  <a:lnTo>
                    <a:pt x="3513" y="2708"/>
                  </a:lnTo>
                  <a:lnTo>
                    <a:pt x="3539" y="2702"/>
                  </a:lnTo>
                  <a:lnTo>
                    <a:pt x="3519" y="2664"/>
                  </a:lnTo>
                  <a:lnTo>
                    <a:pt x="3548" y="2664"/>
                  </a:lnTo>
                  <a:lnTo>
                    <a:pt x="3568" y="2674"/>
                  </a:lnTo>
                  <a:lnTo>
                    <a:pt x="3596" y="2694"/>
                  </a:lnTo>
                  <a:lnTo>
                    <a:pt x="3613" y="2688"/>
                  </a:lnTo>
                  <a:lnTo>
                    <a:pt x="3633" y="2668"/>
                  </a:lnTo>
                  <a:lnTo>
                    <a:pt x="3621" y="2641"/>
                  </a:lnTo>
                  <a:lnTo>
                    <a:pt x="3592" y="2631"/>
                  </a:lnTo>
                  <a:lnTo>
                    <a:pt x="3574" y="2617"/>
                  </a:lnTo>
                  <a:lnTo>
                    <a:pt x="3588" y="2590"/>
                  </a:lnTo>
                  <a:lnTo>
                    <a:pt x="3588" y="2560"/>
                  </a:lnTo>
                  <a:lnTo>
                    <a:pt x="3558" y="2560"/>
                  </a:lnTo>
                  <a:lnTo>
                    <a:pt x="3533" y="2590"/>
                  </a:lnTo>
                  <a:lnTo>
                    <a:pt x="3529" y="2550"/>
                  </a:lnTo>
                  <a:lnTo>
                    <a:pt x="3495" y="2570"/>
                  </a:lnTo>
                  <a:lnTo>
                    <a:pt x="3462" y="2582"/>
                  </a:lnTo>
                  <a:lnTo>
                    <a:pt x="3454" y="2564"/>
                  </a:lnTo>
                  <a:lnTo>
                    <a:pt x="3476" y="2531"/>
                  </a:lnTo>
                  <a:lnTo>
                    <a:pt x="3568" y="2548"/>
                  </a:lnTo>
                  <a:lnTo>
                    <a:pt x="3588" y="2515"/>
                  </a:lnTo>
                  <a:lnTo>
                    <a:pt x="3631" y="2503"/>
                  </a:lnTo>
                  <a:lnTo>
                    <a:pt x="3684" y="2515"/>
                  </a:lnTo>
                  <a:lnTo>
                    <a:pt x="3702" y="2503"/>
                  </a:lnTo>
                  <a:lnTo>
                    <a:pt x="3702" y="2462"/>
                  </a:lnTo>
                  <a:lnTo>
                    <a:pt x="3725" y="2513"/>
                  </a:lnTo>
                  <a:lnTo>
                    <a:pt x="3735" y="2531"/>
                  </a:lnTo>
                  <a:lnTo>
                    <a:pt x="3774" y="2513"/>
                  </a:lnTo>
                  <a:lnTo>
                    <a:pt x="3804" y="2478"/>
                  </a:lnTo>
                  <a:lnTo>
                    <a:pt x="3818" y="2499"/>
                  </a:lnTo>
                  <a:lnTo>
                    <a:pt x="3843" y="2505"/>
                  </a:lnTo>
                  <a:lnTo>
                    <a:pt x="3886" y="2491"/>
                  </a:lnTo>
                  <a:lnTo>
                    <a:pt x="3967" y="2478"/>
                  </a:lnTo>
                  <a:lnTo>
                    <a:pt x="3989" y="2493"/>
                  </a:lnTo>
                  <a:lnTo>
                    <a:pt x="4008" y="2519"/>
                  </a:lnTo>
                  <a:lnTo>
                    <a:pt x="4044" y="2525"/>
                  </a:lnTo>
                  <a:lnTo>
                    <a:pt x="4077" y="2529"/>
                  </a:lnTo>
                  <a:lnTo>
                    <a:pt x="4114" y="2513"/>
                  </a:lnTo>
                  <a:lnTo>
                    <a:pt x="4142" y="2487"/>
                  </a:lnTo>
                  <a:lnTo>
                    <a:pt x="4165" y="2480"/>
                  </a:lnTo>
                  <a:lnTo>
                    <a:pt x="4181" y="2491"/>
                  </a:lnTo>
                  <a:lnTo>
                    <a:pt x="4201" y="2513"/>
                  </a:lnTo>
                  <a:lnTo>
                    <a:pt x="4232" y="2543"/>
                  </a:lnTo>
                  <a:lnTo>
                    <a:pt x="4262" y="2548"/>
                  </a:lnTo>
                  <a:lnTo>
                    <a:pt x="4289" y="2554"/>
                  </a:lnTo>
                  <a:lnTo>
                    <a:pt x="4315" y="2580"/>
                  </a:lnTo>
                  <a:lnTo>
                    <a:pt x="4336" y="2611"/>
                  </a:lnTo>
                  <a:lnTo>
                    <a:pt x="4354" y="2631"/>
                  </a:lnTo>
                  <a:lnTo>
                    <a:pt x="4344" y="2674"/>
                  </a:lnTo>
                  <a:lnTo>
                    <a:pt x="4348" y="2710"/>
                  </a:lnTo>
                  <a:lnTo>
                    <a:pt x="4348" y="2735"/>
                  </a:lnTo>
                  <a:lnTo>
                    <a:pt x="4358" y="2755"/>
                  </a:lnTo>
                  <a:lnTo>
                    <a:pt x="4372" y="2759"/>
                  </a:lnTo>
                  <a:lnTo>
                    <a:pt x="4378" y="2719"/>
                  </a:lnTo>
                  <a:lnTo>
                    <a:pt x="4397" y="2743"/>
                  </a:lnTo>
                  <a:lnTo>
                    <a:pt x="4383" y="2770"/>
                  </a:lnTo>
                  <a:lnTo>
                    <a:pt x="4378" y="2794"/>
                  </a:lnTo>
                  <a:lnTo>
                    <a:pt x="4395" y="2806"/>
                  </a:lnTo>
                  <a:lnTo>
                    <a:pt x="4431" y="2841"/>
                  </a:lnTo>
                  <a:lnTo>
                    <a:pt x="4456" y="2847"/>
                  </a:lnTo>
                  <a:lnTo>
                    <a:pt x="4472" y="2888"/>
                  </a:lnTo>
                  <a:lnTo>
                    <a:pt x="4490" y="2896"/>
                  </a:lnTo>
                  <a:lnTo>
                    <a:pt x="4515" y="2943"/>
                  </a:lnTo>
                  <a:lnTo>
                    <a:pt x="4549" y="2959"/>
                  </a:lnTo>
                  <a:lnTo>
                    <a:pt x="4582" y="2971"/>
                  </a:lnTo>
                  <a:lnTo>
                    <a:pt x="4604" y="3006"/>
                  </a:lnTo>
                  <a:lnTo>
                    <a:pt x="4649" y="3000"/>
                  </a:lnTo>
                  <a:lnTo>
                    <a:pt x="4716" y="2985"/>
                  </a:lnTo>
                  <a:lnTo>
                    <a:pt x="4731" y="2916"/>
                  </a:lnTo>
                  <a:lnTo>
                    <a:pt x="4721" y="2873"/>
                  </a:lnTo>
                  <a:lnTo>
                    <a:pt x="4721" y="2796"/>
                  </a:lnTo>
                  <a:lnTo>
                    <a:pt x="4706" y="2772"/>
                  </a:lnTo>
                  <a:lnTo>
                    <a:pt x="4672" y="2735"/>
                  </a:lnTo>
                  <a:lnTo>
                    <a:pt x="4643" y="2694"/>
                  </a:lnTo>
                  <a:lnTo>
                    <a:pt x="4619" y="2643"/>
                  </a:lnTo>
                  <a:lnTo>
                    <a:pt x="4594" y="2582"/>
                  </a:lnTo>
                  <a:lnTo>
                    <a:pt x="4554" y="2529"/>
                  </a:lnTo>
                  <a:lnTo>
                    <a:pt x="4521" y="2487"/>
                  </a:lnTo>
                  <a:lnTo>
                    <a:pt x="4486" y="2432"/>
                  </a:lnTo>
                  <a:lnTo>
                    <a:pt x="4456" y="2385"/>
                  </a:lnTo>
                  <a:lnTo>
                    <a:pt x="4446" y="2344"/>
                  </a:lnTo>
                  <a:lnTo>
                    <a:pt x="4442" y="2311"/>
                  </a:lnTo>
                  <a:lnTo>
                    <a:pt x="4450" y="2287"/>
                  </a:lnTo>
                  <a:lnTo>
                    <a:pt x="4456" y="2277"/>
                  </a:lnTo>
                  <a:lnTo>
                    <a:pt x="4456" y="2210"/>
                  </a:lnTo>
                  <a:lnTo>
                    <a:pt x="4492" y="2150"/>
                  </a:lnTo>
                  <a:lnTo>
                    <a:pt x="4486" y="2110"/>
                  </a:lnTo>
                  <a:lnTo>
                    <a:pt x="4543" y="2098"/>
                  </a:lnTo>
                  <a:lnTo>
                    <a:pt x="4611" y="2032"/>
                  </a:lnTo>
                  <a:lnTo>
                    <a:pt x="4647" y="1924"/>
                  </a:lnTo>
                  <a:lnTo>
                    <a:pt x="4735" y="1888"/>
                  </a:lnTo>
                  <a:lnTo>
                    <a:pt x="4790" y="1790"/>
                  </a:lnTo>
                  <a:lnTo>
                    <a:pt x="4877" y="1757"/>
                  </a:lnTo>
                  <a:lnTo>
                    <a:pt x="4918" y="1682"/>
                  </a:lnTo>
                  <a:lnTo>
                    <a:pt x="4918" y="1627"/>
                  </a:lnTo>
                  <a:lnTo>
                    <a:pt x="4922" y="1580"/>
                  </a:lnTo>
                  <a:lnTo>
                    <a:pt x="4898" y="1584"/>
                  </a:lnTo>
                  <a:lnTo>
                    <a:pt x="4898" y="1658"/>
                  </a:lnTo>
                  <a:lnTo>
                    <a:pt x="4847" y="1719"/>
                  </a:lnTo>
                  <a:lnTo>
                    <a:pt x="4774" y="1733"/>
                  </a:lnTo>
                  <a:lnTo>
                    <a:pt x="4847" y="1698"/>
                  </a:lnTo>
                  <a:lnTo>
                    <a:pt x="4804" y="1682"/>
                  </a:lnTo>
                  <a:lnTo>
                    <a:pt x="4847" y="1672"/>
                  </a:lnTo>
                  <a:lnTo>
                    <a:pt x="4869" y="1674"/>
                  </a:lnTo>
                  <a:lnTo>
                    <a:pt x="4883" y="1631"/>
                  </a:lnTo>
                  <a:lnTo>
                    <a:pt x="4879" y="1590"/>
                  </a:lnTo>
                  <a:lnTo>
                    <a:pt x="4839" y="1590"/>
                  </a:lnTo>
                  <a:lnTo>
                    <a:pt x="4784" y="1607"/>
                  </a:lnTo>
                  <a:lnTo>
                    <a:pt x="4784" y="1570"/>
                  </a:lnTo>
                  <a:lnTo>
                    <a:pt x="4818" y="1586"/>
                  </a:lnTo>
                  <a:lnTo>
                    <a:pt x="4865" y="1562"/>
                  </a:lnTo>
                  <a:lnTo>
                    <a:pt x="4873" y="1540"/>
                  </a:lnTo>
                  <a:lnTo>
                    <a:pt x="4839" y="1529"/>
                  </a:lnTo>
                  <a:lnTo>
                    <a:pt x="4843" y="1484"/>
                  </a:lnTo>
                  <a:lnTo>
                    <a:pt x="4804" y="1464"/>
                  </a:lnTo>
                  <a:lnTo>
                    <a:pt x="4790" y="1482"/>
                  </a:lnTo>
                  <a:lnTo>
                    <a:pt x="4776" y="1448"/>
                  </a:lnTo>
                  <a:lnTo>
                    <a:pt x="4784" y="1411"/>
                  </a:lnTo>
                  <a:lnTo>
                    <a:pt x="4790" y="1372"/>
                  </a:lnTo>
                  <a:lnTo>
                    <a:pt x="4721" y="1346"/>
                  </a:lnTo>
                  <a:lnTo>
                    <a:pt x="4741" y="1338"/>
                  </a:lnTo>
                  <a:lnTo>
                    <a:pt x="4721" y="1258"/>
                  </a:lnTo>
                  <a:lnTo>
                    <a:pt x="4721" y="1208"/>
                  </a:lnTo>
                  <a:lnTo>
                    <a:pt x="4735" y="1197"/>
                  </a:lnTo>
                  <a:lnTo>
                    <a:pt x="4735" y="1263"/>
                  </a:lnTo>
                  <a:lnTo>
                    <a:pt x="4761" y="1309"/>
                  </a:lnTo>
                  <a:lnTo>
                    <a:pt x="4800" y="1354"/>
                  </a:lnTo>
                  <a:lnTo>
                    <a:pt x="4800" y="1436"/>
                  </a:lnTo>
                  <a:lnTo>
                    <a:pt x="4843" y="1442"/>
                  </a:lnTo>
                  <a:lnTo>
                    <a:pt x="4877" y="1360"/>
                  </a:lnTo>
                  <a:lnTo>
                    <a:pt x="4877" y="1238"/>
                  </a:lnTo>
                  <a:lnTo>
                    <a:pt x="4830" y="1206"/>
                  </a:lnTo>
                  <a:lnTo>
                    <a:pt x="4833" y="1181"/>
                  </a:lnTo>
                  <a:lnTo>
                    <a:pt x="4888" y="1206"/>
                  </a:lnTo>
                  <a:lnTo>
                    <a:pt x="4914" y="1146"/>
                  </a:lnTo>
                  <a:lnTo>
                    <a:pt x="4918" y="1094"/>
                  </a:lnTo>
                  <a:lnTo>
                    <a:pt x="4918" y="1006"/>
                  </a:lnTo>
                  <a:lnTo>
                    <a:pt x="4892" y="979"/>
                  </a:lnTo>
                  <a:lnTo>
                    <a:pt x="4906" y="955"/>
                  </a:lnTo>
                  <a:lnTo>
                    <a:pt x="4924" y="979"/>
                  </a:lnTo>
                  <a:lnTo>
                    <a:pt x="5032" y="924"/>
                  </a:lnTo>
                  <a:lnTo>
                    <a:pt x="5112" y="863"/>
                  </a:lnTo>
                  <a:lnTo>
                    <a:pt x="5054" y="857"/>
                  </a:lnTo>
                  <a:lnTo>
                    <a:pt x="4971" y="904"/>
                  </a:lnTo>
                  <a:lnTo>
                    <a:pt x="4918" y="924"/>
                  </a:lnTo>
                  <a:lnTo>
                    <a:pt x="4953" y="878"/>
                  </a:lnTo>
                  <a:lnTo>
                    <a:pt x="4991" y="857"/>
                  </a:lnTo>
                  <a:lnTo>
                    <a:pt x="5012" y="865"/>
                  </a:lnTo>
                  <a:lnTo>
                    <a:pt x="5071" y="835"/>
                  </a:lnTo>
                  <a:lnTo>
                    <a:pt x="5085" y="806"/>
                  </a:lnTo>
                  <a:lnTo>
                    <a:pt x="5101" y="806"/>
                  </a:lnTo>
                  <a:lnTo>
                    <a:pt x="5124" y="790"/>
                  </a:lnTo>
                  <a:lnTo>
                    <a:pt x="5152" y="760"/>
                  </a:lnTo>
                  <a:lnTo>
                    <a:pt x="5197" y="776"/>
                  </a:lnTo>
                  <a:lnTo>
                    <a:pt x="5219" y="757"/>
                  </a:lnTo>
                  <a:lnTo>
                    <a:pt x="5240" y="729"/>
                  </a:lnTo>
                  <a:lnTo>
                    <a:pt x="5219" y="692"/>
                  </a:lnTo>
                  <a:lnTo>
                    <a:pt x="5189" y="668"/>
                  </a:lnTo>
                  <a:lnTo>
                    <a:pt x="5173" y="664"/>
                  </a:lnTo>
                  <a:lnTo>
                    <a:pt x="5154" y="678"/>
                  </a:lnTo>
                  <a:lnTo>
                    <a:pt x="5173" y="705"/>
                  </a:lnTo>
                  <a:lnTo>
                    <a:pt x="5183" y="725"/>
                  </a:lnTo>
                  <a:lnTo>
                    <a:pt x="5160" y="725"/>
                  </a:lnTo>
                  <a:lnTo>
                    <a:pt x="5130" y="688"/>
                  </a:lnTo>
                  <a:lnTo>
                    <a:pt x="5105" y="694"/>
                  </a:lnTo>
                  <a:lnTo>
                    <a:pt x="5112" y="668"/>
                  </a:lnTo>
                  <a:lnTo>
                    <a:pt x="5124" y="641"/>
                  </a:lnTo>
                  <a:lnTo>
                    <a:pt x="5099" y="637"/>
                  </a:lnTo>
                  <a:lnTo>
                    <a:pt x="5118" y="580"/>
                  </a:lnTo>
                  <a:lnTo>
                    <a:pt x="5112" y="546"/>
                  </a:lnTo>
                  <a:lnTo>
                    <a:pt x="5142" y="523"/>
                  </a:lnTo>
                  <a:lnTo>
                    <a:pt x="5124" y="487"/>
                  </a:lnTo>
                  <a:lnTo>
                    <a:pt x="5152" y="472"/>
                  </a:lnTo>
                  <a:lnTo>
                    <a:pt x="5181" y="448"/>
                  </a:lnTo>
                  <a:lnTo>
                    <a:pt x="5211" y="438"/>
                  </a:lnTo>
                  <a:lnTo>
                    <a:pt x="5219" y="381"/>
                  </a:lnTo>
                  <a:lnTo>
                    <a:pt x="5248" y="381"/>
                  </a:lnTo>
                  <a:lnTo>
                    <a:pt x="5289" y="356"/>
                  </a:lnTo>
                  <a:lnTo>
                    <a:pt x="5311" y="328"/>
                  </a:lnTo>
                  <a:lnTo>
                    <a:pt x="5344" y="301"/>
                  </a:lnTo>
                  <a:lnTo>
                    <a:pt x="5340" y="263"/>
                  </a:lnTo>
                  <a:lnTo>
                    <a:pt x="5295" y="244"/>
                  </a:lnTo>
                  <a:lnTo>
                    <a:pt x="5266" y="206"/>
                  </a:lnTo>
                  <a:lnTo>
                    <a:pt x="5217" y="206"/>
                  </a:lnTo>
                  <a:lnTo>
                    <a:pt x="5193" y="165"/>
                  </a:lnTo>
                  <a:lnTo>
                    <a:pt x="5187" y="118"/>
                  </a:lnTo>
                  <a:lnTo>
                    <a:pt x="5173" y="73"/>
                  </a:lnTo>
                  <a:lnTo>
                    <a:pt x="5152" y="2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190" name="Freeform 198"/>
            <p:cNvSpPr>
              <a:spLocks/>
            </p:cNvSpPr>
            <p:nvPr/>
          </p:nvSpPr>
          <p:spPr bwMode="auto">
            <a:xfrm>
              <a:off x="-1832" y="1245"/>
              <a:ext cx="2672" cy="1569"/>
            </a:xfrm>
            <a:custGeom>
              <a:avLst/>
              <a:gdLst>
                <a:gd name="T0" fmla="*/ 4971 w 5344"/>
                <a:gd name="T1" fmla="*/ 124 h 3140"/>
                <a:gd name="T2" fmla="*/ 4830 w 5344"/>
                <a:gd name="T3" fmla="*/ 407 h 3140"/>
                <a:gd name="T4" fmla="*/ 4529 w 5344"/>
                <a:gd name="T5" fmla="*/ 668 h 3140"/>
                <a:gd name="T6" fmla="*/ 4266 w 5344"/>
                <a:gd name="T7" fmla="*/ 900 h 3140"/>
                <a:gd name="T8" fmla="*/ 3985 w 5344"/>
                <a:gd name="T9" fmla="*/ 935 h 3140"/>
                <a:gd name="T10" fmla="*/ 3886 w 5344"/>
                <a:gd name="T11" fmla="*/ 796 h 3140"/>
                <a:gd name="T12" fmla="*/ 3774 w 5344"/>
                <a:gd name="T13" fmla="*/ 540 h 3140"/>
                <a:gd name="T14" fmla="*/ 3625 w 5344"/>
                <a:gd name="T15" fmla="*/ 729 h 3140"/>
                <a:gd name="T16" fmla="*/ 3550 w 5344"/>
                <a:gd name="T17" fmla="*/ 1077 h 3140"/>
                <a:gd name="T18" fmla="*/ 3544 w 5344"/>
                <a:gd name="T19" fmla="*/ 652 h 3140"/>
                <a:gd name="T20" fmla="*/ 3519 w 5344"/>
                <a:gd name="T21" fmla="*/ 546 h 3140"/>
                <a:gd name="T22" fmla="*/ 3774 w 5344"/>
                <a:gd name="T23" fmla="*/ 519 h 3140"/>
                <a:gd name="T24" fmla="*/ 3633 w 5344"/>
                <a:gd name="T25" fmla="*/ 426 h 3140"/>
                <a:gd name="T26" fmla="*/ 3368 w 5344"/>
                <a:gd name="T27" fmla="*/ 395 h 3140"/>
                <a:gd name="T28" fmla="*/ 3142 w 5344"/>
                <a:gd name="T29" fmla="*/ 497 h 3140"/>
                <a:gd name="T30" fmla="*/ 3010 w 5344"/>
                <a:gd name="T31" fmla="*/ 334 h 3140"/>
                <a:gd name="T32" fmla="*/ 1430 w 5344"/>
                <a:gd name="T33" fmla="*/ 208 h 3140"/>
                <a:gd name="T34" fmla="*/ 407 w 5344"/>
                <a:gd name="T35" fmla="*/ 73 h 3140"/>
                <a:gd name="T36" fmla="*/ 385 w 5344"/>
                <a:gd name="T37" fmla="*/ 267 h 3140"/>
                <a:gd name="T38" fmla="*/ 330 w 5344"/>
                <a:gd name="T39" fmla="*/ 144 h 3140"/>
                <a:gd name="T40" fmla="*/ 247 w 5344"/>
                <a:gd name="T41" fmla="*/ 293 h 3140"/>
                <a:gd name="T42" fmla="*/ 139 w 5344"/>
                <a:gd name="T43" fmla="*/ 649 h 3140"/>
                <a:gd name="T44" fmla="*/ 25 w 5344"/>
                <a:gd name="T45" fmla="*/ 1222 h 3140"/>
                <a:gd name="T46" fmla="*/ 128 w 5344"/>
                <a:gd name="T47" fmla="*/ 1446 h 3140"/>
                <a:gd name="T48" fmla="*/ 167 w 5344"/>
                <a:gd name="T49" fmla="*/ 1682 h 3140"/>
                <a:gd name="T50" fmla="*/ 242 w 5344"/>
                <a:gd name="T51" fmla="*/ 1886 h 3140"/>
                <a:gd name="T52" fmla="*/ 409 w 5344"/>
                <a:gd name="T53" fmla="*/ 2022 h 3140"/>
                <a:gd name="T54" fmla="*/ 625 w 5344"/>
                <a:gd name="T55" fmla="*/ 2177 h 3140"/>
                <a:gd name="T56" fmla="*/ 1008 w 5344"/>
                <a:gd name="T57" fmla="*/ 2360 h 3140"/>
                <a:gd name="T58" fmla="*/ 1487 w 5344"/>
                <a:gd name="T59" fmla="*/ 2429 h 3140"/>
                <a:gd name="T60" fmla="*/ 1874 w 5344"/>
                <a:gd name="T61" fmla="*/ 2688 h 3140"/>
                <a:gd name="T62" fmla="*/ 2195 w 5344"/>
                <a:gd name="T63" fmla="*/ 2698 h 3140"/>
                <a:gd name="T64" fmla="*/ 2421 w 5344"/>
                <a:gd name="T65" fmla="*/ 2985 h 3140"/>
                <a:gd name="T66" fmla="*/ 2735 w 5344"/>
                <a:gd name="T67" fmla="*/ 3089 h 3140"/>
                <a:gd name="T68" fmla="*/ 2827 w 5344"/>
                <a:gd name="T69" fmla="*/ 2833 h 3140"/>
                <a:gd name="T70" fmla="*/ 3220 w 5344"/>
                <a:gd name="T71" fmla="*/ 2682 h 3140"/>
                <a:gd name="T72" fmla="*/ 3462 w 5344"/>
                <a:gd name="T73" fmla="*/ 2678 h 3140"/>
                <a:gd name="T74" fmla="*/ 3633 w 5344"/>
                <a:gd name="T75" fmla="*/ 2668 h 3140"/>
                <a:gd name="T76" fmla="*/ 3495 w 5344"/>
                <a:gd name="T77" fmla="*/ 2570 h 3140"/>
                <a:gd name="T78" fmla="*/ 3702 w 5344"/>
                <a:gd name="T79" fmla="*/ 2462 h 3140"/>
                <a:gd name="T80" fmla="*/ 3989 w 5344"/>
                <a:gd name="T81" fmla="*/ 2493 h 3140"/>
                <a:gd name="T82" fmla="*/ 4232 w 5344"/>
                <a:gd name="T83" fmla="*/ 2543 h 3140"/>
                <a:gd name="T84" fmla="*/ 4358 w 5344"/>
                <a:gd name="T85" fmla="*/ 2755 h 3140"/>
                <a:gd name="T86" fmla="*/ 4472 w 5344"/>
                <a:gd name="T87" fmla="*/ 2888 h 3140"/>
                <a:gd name="T88" fmla="*/ 4721 w 5344"/>
                <a:gd name="T89" fmla="*/ 2873 h 3140"/>
                <a:gd name="T90" fmla="*/ 4486 w 5344"/>
                <a:gd name="T91" fmla="*/ 2432 h 3140"/>
                <a:gd name="T92" fmla="*/ 4543 w 5344"/>
                <a:gd name="T93" fmla="*/ 2098 h 3140"/>
                <a:gd name="T94" fmla="*/ 4898 w 5344"/>
                <a:gd name="T95" fmla="*/ 1584 h 3140"/>
                <a:gd name="T96" fmla="*/ 4879 w 5344"/>
                <a:gd name="T97" fmla="*/ 1590 h 3140"/>
                <a:gd name="T98" fmla="*/ 4804 w 5344"/>
                <a:gd name="T99" fmla="*/ 1464 h 3140"/>
                <a:gd name="T100" fmla="*/ 4735 w 5344"/>
                <a:gd name="T101" fmla="*/ 1197 h 3140"/>
                <a:gd name="T102" fmla="*/ 4833 w 5344"/>
                <a:gd name="T103" fmla="*/ 1181 h 3140"/>
                <a:gd name="T104" fmla="*/ 5112 w 5344"/>
                <a:gd name="T105" fmla="*/ 863 h 3140"/>
                <a:gd name="T106" fmla="*/ 5101 w 5344"/>
                <a:gd name="T107" fmla="*/ 806 h 3140"/>
                <a:gd name="T108" fmla="*/ 5154 w 5344"/>
                <a:gd name="T109" fmla="*/ 678 h 3140"/>
                <a:gd name="T110" fmla="*/ 5118 w 5344"/>
                <a:gd name="T111" fmla="*/ 580 h 3140"/>
                <a:gd name="T112" fmla="*/ 5289 w 5344"/>
                <a:gd name="T113" fmla="*/ 356 h 3140"/>
                <a:gd name="T114" fmla="*/ 5173 w 5344"/>
                <a:gd name="T115" fmla="*/ 73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4" h="3140">
                  <a:moveTo>
                    <a:pt x="5152" y="20"/>
                  </a:moveTo>
                  <a:lnTo>
                    <a:pt x="5124" y="0"/>
                  </a:lnTo>
                  <a:lnTo>
                    <a:pt x="5095" y="0"/>
                  </a:lnTo>
                  <a:lnTo>
                    <a:pt x="5075" y="0"/>
                  </a:lnTo>
                  <a:lnTo>
                    <a:pt x="5063" y="26"/>
                  </a:lnTo>
                  <a:lnTo>
                    <a:pt x="5040" y="20"/>
                  </a:lnTo>
                  <a:lnTo>
                    <a:pt x="5020" y="26"/>
                  </a:lnTo>
                  <a:lnTo>
                    <a:pt x="5010" y="53"/>
                  </a:lnTo>
                  <a:lnTo>
                    <a:pt x="4971" y="124"/>
                  </a:lnTo>
                  <a:lnTo>
                    <a:pt x="4991" y="169"/>
                  </a:lnTo>
                  <a:lnTo>
                    <a:pt x="4973" y="220"/>
                  </a:lnTo>
                  <a:lnTo>
                    <a:pt x="4987" y="242"/>
                  </a:lnTo>
                  <a:lnTo>
                    <a:pt x="4983" y="283"/>
                  </a:lnTo>
                  <a:lnTo>
                    <a:pt x="4977" y="322"/>
                  </a:lnTo>
                  <a:lnTo>
                    <a:pt x="4953" y="328"/>
                  </a:lnTo>
                  <a:lnTo>
                    <a:pt x="4936" y="305"/>
                  </a:lnTo>
                  <a:lnTo>
                    <a:pt x="4898" y="389"/>
                  </a:lnTo>
                  <a:lnTo>
                    <a:pt x="4830" y="407"/>
                  </a:lnTo>
                  <a:lnTo>
                    <a:pt x="4737" y="432"/>
                  </a:lnTo>
                  <a:lnTo>
                    <a:pt x="4672" y="448"/>
                  </a:lnTo>
                  <a:lnTo>
                    <a:pt x="4619" y="493"/>
                  </a:lnTo>
                  <a:lnTo>
                    <a:pt x="4584" y="540"/>
                  </a:lnTo>
                  <a:lnTo>
                    <a:pt x="4554" y="540"/>
                  </a:lnTo>
                  <a:lnTo>
                    <a:pt x="4521" y="595"/>
                  </a:lnTo>
                  <a:lnTo>
                    <a:pt x="4535" y="611"/>
                  </a:lnTo>
                  <a:lnTo>
                    <a:pt x="4545" y="652"/>
                  </a:lnTo>
                  <a:lnTo>
                    <a:pt x="4529" y="668"/>
                  </a:lnTo>
                  <a:lnTo>
                    <a:pt x="4505" y="700"/>
                  </a:lnTo>
                  <a:lnTo>
                    <a:pt x="4480" y="705"/>
                  </a:lnTo>
                  <a:lnTo>
                    <a:pt x="4470" y="729"/>
                  </a:lnTo>
                  <a:lnTo>
                    <a:pt x="4427" y="735"/>
                  </a:lnTo>
                  <a:lnTo>
                    <a:pt x="4366" y="735"/>
                  </a:lnTo>
                  <a:lnTo>
                    <a:pt x="4315" y="764"/>
                  </a:lnTo>
                  <a:lnTo>
                    <a:pt x="4321" y="812"/>
                  </a:lnTo>
                  <a:lnTo>
                    <a:pt x="4307" y="849"/>
                  </a:lnTo>
                  <a:lnTo>
                    <a:pt x="4266" y="900"/>
                  </a:lnTo>
                  <a:lnTo>
                    <a:pt x="4215" y="949"/>
                  </a:lnTo>
                  <a:lnTo>
                    <a:pt x="4165" y="967"/>
                  </a:lnTo>
                  <a:lnTo>
                    <a:pt x="4148" y="1006"/>
                  </a:lnTo>
                  <a:lnTo>
                    <a:pt x="4044" y="1047"/>
                  </a:lnTo>
                  <a:lnTo>
                    <a:pt x="3989" y="1036"/>
                  </a:lnTo>
                  <a:lnTo>
                    <a:pt x="3975" y="1022"/>
                  </a:lnTo>
                  <a:lnTo>
                    <a:pt x="4000" y="996"/>
                  </a:lnTo>
                  <a:lnTo>
                    <a:pt x="4004" y="965"/>
                  </a:lnTo>
                  <a:lnTo>
                    <a:pt x="3985" y="935"/>
                  </a:lnTo>
                  <a:lnTo>
                    <a:pt x="4008" y="920"/>
                  </a:lnTo>
                  <a:lnTo>
                    <a:pt x="4038" y="927"/>
                  </a:lnTo>
                  <a:lnTo>
                    <a:pt x="4030" y="865"/>
                  </a:lnTo>
                  <a:lnTo>
                    <a:pt x="4024" y="814"/>
                  </a:lnTo>
                  <a:lnTo>
                    <a:pt x="4008" y="770"/>
                  </a:lnTo>
                  <a:lnTo>
                    <a:pt x="3981" y="749"/>
                  </a:lnTo>
                  <a:lnTo>
                    <a:pt x="3941" y="735"/>
                  </a:lnTo>
                  <a:lnTo>
                    <a:pt x="3912" y="757"/>
                  </a:lnTo>
                  <a:lnTo>
                    <a:pt x="3886" y="796"/>
                  </a:lnTo>
                  <a:lnTo>
                    <a:pt x="3853" y="786"/>
                  </a:lnTo>
                  <a:lnTo>
                    <a:pt x="3867" y="766"/>
                  </a:lnTo>
                  <a:lnTo>
                    <a:pt x="3879" y="757"/>
                  </a:lnTo>
                  <a:lnTo>
                    <a:pt x="3898" y="745"/>
                  </a:lnTo>
                  <a:lnTo>
                    <a:pt x="3928" y="713"/>
                  </a:lnTo>
                  <a:lnTo>
                    <a:pt x="3906" y="649"/>
                  </a:lnTo>
                  <a:lnTo>
                    <a:pt x="3898" y="595"/>
                  </a:lnTo>
                  <a:lnTo>
                    <a:pt x="3853" y="590"/>
                  </a:lnTo>
                  <a:lnTo>
                    <a:pt x="3774" y="540"/>
                  </a:lnTo>
                  <a:lnTo>
                    <a:pt x="3725" y="560"/>
                  </a:lnTo>
                  <a:lnTo>
                    <a:pt x="3719" y="584"/>
                  </a:lnTo>
                  <a:lnTo>
                    <a:pt x="3727" y="601"/>
                  </a:lnTo>
                  <a:lnTo>
                    <a:pt x="3706" y="611"/>
                  </a:lnTo>
                  <a:lnTo>
                    <a:pt x="3702" y="649"/>
                  </a:lnTo>
                  <a:lnTo>
                    <a:pt x="3684" y="649"/>
                  </a:lnTo>
                  <a:lnTo>
                    <a:pt x="3647" y="682"/>
                  </a:lnTo>
                  <a:lnTo>
                    <a:pt x="3633" y="704"/>
                  </a:lnTo>
                  <a:lnTo>
                    <a:pt x="3625" y="729"/>
                  </a:lnTo>
                  <a:lnTo>
                    <a:pt x="3625" y="790"/>
                  </a:lnTo>
                  <a:lnTo>
                    <a:pt x="3617" y="853"/>
                  </a:lnTo>
                  <a:lnTo>
                    <a:pt x="3633" y="892"/>
                  </a:lnTo>
                  <a:lnTo>
                    <a:pt x="3656" y="955"/>
                  </a:lnTo>
                  <a:lnTo>
                    <a:pt x="3656" y="1032"/>
                  </a:lnTo>
                  <a:lnTo>
                    <a:pt x="3633" y="1114"/>
                  </a:lnTo>
                  <a:lnTo>
                    <a:pt x="3598" y="1120"/>
                  </a:lnTo>
                  <a:lnTo>
                    <a:pt x="3572" y="1108"/>
                  </a:lnTo>
                  <a:lnTo>
                    <a:pt x="3550" y="1077"/>
                  </a:lnTo>
                  <a:lnTo>
                    <a:pt x="3525" y="1032"/>
                  </a:lnTo>
                  <a:lnTo>
                    <a:pt x="3533" y="971"/>
                  </a:lnTo>
                  <a:lnTo>
                    <a:pt x="3533" y="929"/>
                  </a:lnTo>
                  <a:lnTo>
                    <a:pt x="3513" y="894"/>
                  </a:lnTo>
                  <a:lnTo>
                    <a:pt x="3515" y="817"/>
                  </a:lnTo>
                  <a:lnTo>
                    <a:pt x="3525" y="760"/>
                  </a:lnTo>
                  <a:lnTo>
                    <a:pt x="3529" y="729"/>
                  </a:lnTo>
                  <a:lnTo>
                    <a:pt x="3568" y="678"/>
                  </a:lnTo>
                  <a:lnTo>
                    <a:pt x="3544" y="652"/>
                  </a:lnTo>
                  <a:lnTo>
                    <a:pt x="3525" y="664"/>
                  </a:lnTo>
                  <a:lnTo>
                    <a:pt x="3513" y="694"/>
                  </a:lnTo>
                  <a:lnTo>
                    <a:pt x="3470" y="739"/>
                  </a:lnTo>
                  <a:lnTo>
                    <a:pt x="3495" y="700"/>
                  </a:lnTo>
                  <a:lnTo>
                    <a:pt x="3495" y="676"/>
                  </a:lnTo>
                  <a:lnTo>
                    <a:pt x="3489" y="643"/>
                  </a:lnTo>
                  <a:lnTo>
                    <a:pt x="3495" y="613"/>
                  </a:lnTo>
                  <a:lnTo>
                    <a:pt x="3513" y="590"/>
                  </a:lnTo>
                  <a:lnTo>
                    <a:pt x="3519" y="546"/>
                  </a:lnTo>
                  <a:lnTo>
                    <a:pt x="3525" y="529"/>
                  </a:lnTo>
                  <a:lnTo>
                    <a:pt x="3537" y="562"/>
                  </a:lnTo>
                  <a:lnTo>
                    <a:pt x="3574" y="566"/>
                  </a:lnTo>
                  <a:lnTo>
                    <a:pt x="3598" y="540"/>
                  </a:lnTo>
                  <a:lnTo>
                    <a:pt x="3633" y="525"/>
                  </a:lnTo>
                  <a:lnTo>
                    <a:pt x="3676" y="523"/>
                  </a:lnTo>
                  <a:lnTo>
                    <a:pt x="3696" y="535"/>
                  </a:lnTo>
                  <a:lnTo>
                    <a:pt x="3725" y="533"/>
                  </a:lnTo>
                  <a:lnTo>
                    <a:pt x="3774" y="519"/>
                  </a:lnTo>
                  <a:lnTo>
                    <a:pt x="3802" y="519"/>
                  </a:lnTo>
                  <a:lnTo>
                    <a:pt x="3804" y="497"/>
                  </a:lnTo>
                  <a:lnTo>
                    <a:pt x="3810" y="497"/>
                  </a:lnTo>
                  <a:lnTo>
                    <a:pt x="3786" y="474"/>
                  </a:lnTo>
                  <a:lnTo>
                    <a:pt x="3761" y="460"/>
                  </a:lnTo>
                  <a:lnTo>
                    <a:pt x="3715" y="448"/>
                  </a:lnTo>
                  <a:lnTo>
                    <a:pt x="3672" y="448"/>
                  </a:lnTo>
                  <a:lnTo>
                    <a:pt x="3647" y="442"/>
                  </a:lnTo>
                  <a:lnTo>
                    <a:pt x="3633" y="426"/>
                  </a:lnTo>
                  <a:lnTo>
                    <a:pt x="3588" y="421"/>
                  </a:lnTo>
                  <a:lnTo>
                    <a:pt x="3544" y="430"/>
                  </a:lnTo>
                  <a:lnTo>
                    <a:pt x="3515" y="432"/>
                  </a:lnTo>
                  <a:lnTo>
                    <a:pt x="3484" y="460"/>
                  </a:lnTo>
                  <a:lnTo>
                    <a:pt x="3440" y="442"/>
                  </a:lnTo>
                  <a:lnTo>
                    <a:pt x="3403" y="430"/>
                  </a:lnTo>
                  <a:lnTo>
                    <a:pt x="3366" y="448"/>
                  </a:lnTo>
                  <a:lnTo>
                    <a:pt x="3338" y="436"/>
                  </a:lnTo>
                  <a:lnTo>
                    <a:pt x="3368" y="395"/>
                  </a:lnTo>
                  <a:lnTo>
                    <a:pt x="3358" y="379"/>
                  </a:lnTo>
                  <a:lnTo>
                    <a:pt x="3342" y="385"/>
                  </a:lnTo>
                  <a:lnTo>
                    <a:pt x="3299" y="432"/>
                  </a:lnTo>
                  <a:lnTo>
                    <a:pt x="3269" y="472"/>
                  </a:lnTo>
                  <a:lnTo>
                    <a:pt x="3238" y="511"/>
                  </a:lnTo>
                  <a:lnTo>
                    <a:pt x="3191" y="505"/>
                  </a:lnTo>
                  <a:lnTo>
                    <a:pt x="3175" y="458"/>
                  </a:lnTo>
                  <a:lnTo>
                    <a:pt x="3155" y="460"/>
                  </a:lnTo>
                  <a:lnTo>
                    <a:pt x="3142" y="497"/>
                  </a:lnTo>
                  <a:lnTo>
                    <a:pt x="3091" y="499"/>
                  </a:lnTo>
                  <a:lnTo>
                    <a:pt x="3146" y="430"/>
                  </a:lnTo>
                  <a:lnTo>
                    <a:pt x="3279" y="346"/>
                  </a:lnTo>
                  <a:lnTo>
                    <a:pt x="3289" y="328"/>
                  </a:lnTo>
                  <a:lnTo>
                    <a:pt x="3214" y="332"/>
                  </a:lnTo>
                  <a:lnTo>
                    <a:pt x="3136" y="305"/>
                  </a:lnTo>
                  <a:lnTo>
                    <a:pt x="3110" y="340"/>
                  </a:lnTo>
                  <a:lnTo>
                    <a:pt x="3051" y="318"/>
                  </a:lnTo>
                  <a:lnTo>
                    <a:pt x="3010" y="334"/>
                  </a:lnTo>
                  <a:lnTo>
                    <a:pt x="2984" y="293"/>
                  </a:lnTo>
                  <a:lnTo>
                    <a:pt x="2920" y="295"/>
                  </a:lnTo>
                  <a:lnTo>
                    <a:pt x="2900" y="311"/>
                  </a:lnTo>
                  <a:lnTo>
                    <a:pt x="2827" y="267"/>
                  </a:lnTo>
                  <a:lnTo>
                    <a:pt x="2816" y="226"/>
                  </a:lnTo>
                  <a:lnTo>
                    <a:pt x="2729" y="206"/>
                  </a:lnTo>
                  <a:lnTo>
                    <a:pt x="2768" y="267"/>
                  </a:lnTo>
                  <a:lnTo>
                    <a:pt x="1507" y="230"/>
                  </a:lnTo>
                  <a:lnTo>
                    <a:pt x="1430" y="208"/>
                  </a:lnTo>
                  <a:lnTo>
                    <a:pt x="1297" y="195"/>
                  </a:lnTo>
                  <a:lnTo>
                    <a:pt x="1126" y="169"/>
                  </a:lnTo>
                  <a:lnTo>
                    <a:pt x="914" y="149"/>
                  </a:lnTo>
                  <a:lnTo>
                    <a:pt x="831" y="136"/>
                  </a:lnTo>
                  <a:lnTo>
                    <a:pt x="717" y="118"/>
                  </a:lnTo>
                  <a:lnTo>
                    <a:pt x="635" y="98"/>
                  </a:lnTo>
                  <a:lnTo>
                    <a:pt x="412" y="37"/>
                  </a:lnTo>
                  <a:lnTo>
                    <a:pt x="399" y="41"/>
                  </a:lnTo>
                  <a:lnTo>
                    <a:pt x="407" y="73"/>
                  </a:lnTo>
                  <a:lnTo>
                    <a:pt x="418" y="104"/>
                  </a:lnTo>
                  <a:lnTo>
                    <a:pt x="409" y="118"/>
                  </a:lnTo>
                  <a:lnTo>
                    <a:pt x="393" y="134"/>
                  </a:lnTo>
                  <a:lnTo>
                    <a:pt x="403" y="155"/>
                  </a:lnTo>
                  <a:lnTo>
                    <a:pt x="432" y="206"/>
                  </a:lnTo>
                  <a:lnTo>
                    <a:pt x="409" y="242"/>
                  </a:lnTo>
                  <a:lnTo>
                    <a:pt x="393" y="287"/>
                  </a:lnTo>
                  <a:lnTo>
                    <a:pt x="356" y="287"/>
                  </a:lnTo>
                  <a:lnTo>
                    <a:pt x="385" y="267"/>
                  </a:lnTo>
                  <a:lnTo>
                    <a:pt x="395" y="242"/>
                  </a:lnTo>
                  <a:lnTo>
                    <a:pt x="389" y="220"/>
                  </a:lnTo>
                  <a:lnTo>
                    <a:pt x="369" y="212"/>
                  </a:lnTo>
                  <a:lnTo>
                    <a:pt x="379" y="197"/>
                  </a:lnTo>
                  <a:lnTo>
                    <a:pt x="407" y="203"/>
                  </a:lnTo>
                  <a:lnTo>
                    <a:pt x="407" y="191"/>
                  </a:lnTo>
                  <a:lnTo>
                    <a:pt x="389" y="151"/>
                  </a:lnTo>
                  <a:lnTo>
                    <a:pt x="369" y="149"/>
                  </a:lnTo>
                  <a:lnTo>
                    <a:pt x="330" y="144"/>
                  </a:lnTo>
                  <a:lnTo>
                    <a:pt x="297" y="114"/>
                  </a:lnTo>
                  <a:lnTo>
                    <a:pt x="275" y="100"/>
                  </a:lnTo>
                  <a:lnTo>
                    <a:pt x="247" y="89"/>
                  </a:lnTo>
                  <a:lnTo>
                    <a:pt x="232" y="118"/>
                  </a:lnTo>
                  <a:lnTo>
                    <a:pt x="245" y="157"/>
                  </a:lnTo>
                  <a:lnTo>
                    <a:pt x="247" y="195"/>
                  </a:lnTo>
                  <a:lnTo>
                    <a:pt x="245" y="238"/>
                  </a:lnTo>
                  <a:lnTo>
                    <a:pt x="245" y="277"/>
                  </a:lnTo>
                  <a:lnTo>
                    <a:pt x="247" y="293"/>
                  </a:lnTo>
                  <a:lnTo>
                    <a:pt x="265" y="322"/>
                  </a:lnTo>
                  <a:lnTo>
                    <a:pt x="247" y="344"/>
                  </a:lnTo>
                  <a:lnTo>
                    <a:pt x="251" y="360"/>
                  </a:lnTo>
                  <a:lnTo>
                    <a:pt x="255" y="391"/>
                  </a:lnTo>
                  <a:lnTo>
                    <a:pt x="232" y="401"/>
                  </a:lnTo>
                  <a:lnTo>
                    <a:pt x="212" y="472"/>
                  </a:lnTo>
                  <a:lnTo>
                    <a:pt x="196" y="535"/>
                  </a:lnTo>
                  <a:lnTo>
                    <a:pt x="171" y="597"/>
                  </a:lnTo>
                  <a:lnTo>
                    <a:pt x="139" y="649"/>
                  </a:lnTo>
                  <a:lnTo>
                    <a:pt x="110" y="713"/>
                  </a:lnTo>
                  <a:lnTo>
                    <a:pt x="78" y="751"/>
                  </a:lnTo>
                  <a:lnTo>
                    <a:pt x="78" y="847"/>
                  </a:lnTo>
                  <a:lnTo>
                    <a:pt x="78" y="935"/>
                  </a:lnTo>
                  <a:lnTo>
                    <a:pt x="69" y="967"/>
                  </a:lnTo>
                  <a:lnTo>
                    <a:pt x="35" y="1026"/>
                  </a:lnTo>
                  <a:lnTo>
                    <a:pt x="0" y="1083"/>
                  </a:lnTo>
                  <a:lnTo>
                    <a:pt x="35" y="1159"/>
                  </a:lnTo>
                  <a:lnTo>
                    <a:pt x="25" y="1222"/>
                  </a:lnTo>
                  <a:lnTo>
                    <a:pt x="16" y="1263"/>
                  </a:lnTo>
                  <a:lnTo>
                    <a:pt x="49" y="1340"/>
                  </a:lnTo>
                  <a:lnTo>
                    <a:pt x="73" y="1391"/>
                  </a:lnTo>
                  <a:lnTo>
                    <a:pt x="104" y="1413"/>
                  </a:lnTo>
                  <a:lnTo>
                    <a:pt x="137" y="1375"/>
                  </a:lnTo>
                  <a:lnTo>
                    <a:pt x="147" y="1401"/>
                  </a:lnTo>
                  <a:lnTo>
                    <a:pt x="157" y="1417"/>
                  </a:lnTo>
                  <a:lnTo>
                    <a:pt x="124" y="1423"/>
                  </a:lnTo>
                  <a:lnTo>
                    <a:pt x="128" y="1446"/>
                  </a:lnTo>
                  <a:lnTo>
                    <a:pt x="98" y="1430"/>
                  </a:lnTo>
                  <a:lnTo>
                    <a:pt x="102" y="1478"/>
                  </a:lnTo>
                  <a:lnTo>
                    <a:pt x="114" y="1519"/>
                  </a:lnTo>
                  <a:lnTo>
                    <a:pt x="120" y="1550"/>
                  </a:lnTo>
                  <a:lnTo>
                    <a:pt x="161" y="1544"/>
                  </a:lnTo>
                  <a:lnTo>
                    <a:pt x="153" y="1560"/>
                  </a:lnTo>
                  <a:lnTo>
                    <a:pt x="120" y="1584"/>
                  </a:lnTo>
                  <a:lnTo>
                    <a:pt x="120" y="1631"/>
                  </a:lnTo>
                  <a:lnTo>
                    <a:pt x="167" y="1682"/>
                  </a:lnTo>
                  <a:lnTo>
                    <a:pt x="187" y="1698"/>
                  </a:lnTo>
                  <a:lnTo>
                    <a:pt x="173" y="1719"/>
                  </a:lnTo>
                  <a:lnTo>
                    <a:pt x="190" y="1749"/>
                  </a:lnTo>
                  <a:lnTo>
                    <a:pt x="196" y="1784"/>
                  </a:lnTo>
                  <a:lnTo>
                    <a:pt x="208" y="1806"/>
                  </a:lnTo>
                  <a:lnTo>
                    <a:pt x="216" y="1831"/>
                  </a:lnTo>
                  <a:lnTo>
                    <a:pt x="220" y="1859"/>
                  </a:lnTo>
                  <a:lnTo>
                    <a:pt x="208" y="1874"/>
                  </a:lnTo>
                  <a:lnTo>
                    <a:pt x="242" y="1886"/>
                  </a:lnTo>
                  <a:lnTo>
                    <a:pt x="271" y="1888"/>
                  </a:lnTo>
                  <a:lnTo>
                    <a:pt x="297" y="1882"/>
                  </a:lnTo>
                  <a:lnTo>
                    <a:pt x="330" y="1886"/>
                  </a:lnTo>
                  <a:lnTo>
                    <a:pt x="336" y="1910"/>
                  </a:lnTo>
                  <a:lnTo>
                    <a:pt x="344" y="1930"/>
                  </a:lnTo>
                  <a:lnTo>
                    <a:pt x="377" y="1965"/>
                  </a:lnTo>
                  <a:lnTo>
                    <a:pt x="389" y="1977"/>
                  </a:lnTo>
                  <a:lnTo>
                    <a:pt x="407" y="2006"/>
                  </a:lnTo>
                  <a:lnTo>
                    <a:pt x="409" y="2022"/>
                  </a:lnTo>
                  <a:lnTo>
                    <a:pt x="438" y="2038"/>
                  </a:lnTo>
                  <a:lnTo>
                    <a:pt x="462" y="2059"/>
                  </a:lnTo>
                  <a:lnTo>
                    <a:pt x="491" y="2102"/>
                  </a:lnTo>
                  <a:lnTo>
                    <a:pt x="495" y="2153"/>
                  </a:lnTo>
                  <a:lnTo>
                    <a:pt x="495" y="2177"/>
                  </a:lnTo>
                  <a:lnTo>
                    <a:pt x="521" y="2181"/>
                  </a:lnTo>
                  <a:lnTo>
                    <a:pt x="550" y="2177"/>
                  </a:lnTo>
                  <a:lnTo>
                    <a:pt x="579" y="2175"/>
                  </a:lnTo>
                  <a:lnTo>
                    <a:pt x="625" y="2177"/>
                  </a:lnTo>
                  <a:lnTo>
                    <a:pt x="668" y="2177"/>
                  </a:lnTo>
                  <a:lnTo>
                    <a:pt x="723" y="2177"/>
                  </a:lnTo>
                  <a:lnTo>
                    <a:pt x="764" y="2181"/>
                  </a:lnTo>
                  <a:lnTo>
                    <a:pt x="770" y="2207"/>
                  </a:lnTo>
                  <a:lnTo>
                    <a:pt x="760" y="2228"/>
                  </a:lnTo>
                  <a:lnTo>
                    <a:pt x="807" y="2258"/>
                  </a:lnTo>
                  <a:lnTo>
                    <a:pt x="855" y="2279"/>
                  </a:lnTo>
                  <a:lnTo>
                    <a:pt x="943" y="2324"/>
                  </a:lnTo>
                  <a:lnTo>
                    <a:pt x="1008" y="2360"/>
                  </a:lnTo>
                  <a:lnTo>
                    <a:pt x="1081" y="2389"/>
                  </a:lnTo>
                  <a:lnTo>
                    <a:pt x="1155" y="2411"/>
                  </a:lnTo>
                  <a:lnTo>
                    <a:pt x="1206" y="2417"/>
                  </a:lnTo>
                  <a:lnTo>
                    <a:pt x="1248" y="2411"/>
                  </a:lnTo>
                  <a:lnTo>
                    <a:pt x="1312" y="2417"/>
                  </a:lnTo>
                  <a:lnTo>
                    <a:pt x="1356" y="2423"/>
                  </a:lnTo>
                  <a:lnTo>
                    <a:pt x="1405" y="2419"/>
                  </a:lnTo>
                  <a:lnTo>
                    <a:pt x="1448" y="2429"/>
                  </a:lnTo>
                  <a:lnTo>
                    <a:pt x="1487" y="2429"/>
                  </a:lnTo>
                  <a:lnTo>
                    <a:pt x="1489" y="2375"/>
                  </a:lnTo>
                  <a:lnTo>
                    <a:pt x="1560" y="2385"/>
                  </a:lnTo>
                  <a:lnTo>
                    <a:pt x="1641" y="2389"/>
                  </a:lnTo>
                  <a:lnTo>
                    <a:pt x="1703" y="2458"/>
                  </a:lnTo>
                  <a:lnTo>
                    <a:pt x="1782" y="2521"/>
                  </a:lnTo>
                  <a:lnTo>
                    <a:pt x="1825" y="2570"/>
                  </a:lnTo>
                  <a:lnTo>
                    <a:pt x="1827" y="2611"/>
                  </a:lnTo>
                  <a:lnTo>
                    <a:pt x="1841" y="2656"/>
                  </a:lnTo>
                  <a:lnTo>
                    <a:pt x="1874" y="2688"/>
                  </a:lnTo>
                  <a:lnTo>
                    <a:pt x="1904" y="2715"/>
                  </a:lnTo>
                  <a:lnTo>
                    <a:pt x="1998" y="2770"/>
                  </a:lnTo>
                  <a:lnTo>
                    <a:pt x="2030" y="2765"/>
                  </a:lnTo>
                  <a:lnTo>
                    <a:pt x="2047" y="2749"/>
                  </a:lnTo>
                  <a:lnTo>
                    <a:pt x="2059" y="2713"/>
                  </a:lnTo>
                  <a:lnTo>
                    <a:pt x="2067" y="2688"/>
                  </a:lnTo>
                  <a:lnTo>
                    <a:pt x="2104" y="2684"/>
                  </a:lnTo>
                  <a:lnTo>
                    <a:pt x="2145" y="2688"/>
                  </a:lnTo>
                  <a:lnTo>
                    <a:pt x="2195" y="2698"/>
                  </a:lnTo>
                  <a:lnTo>
                    <a:pt x="2224" y="2715"/>
                  </a:lnTo>
                  <a:lnTo>
                    <a:pt x="2263" y="2735"/>
                  </a:lnTo>
                  <a:lnTo>
                    <a:pt x="2277" y="2761"/>
                  </a:lnTo>
                  <a:lnTo>
                    <a:pt x="2297" y="2806"/>
                  </a:lnTo>
                  <a:lnTo>
                    <a:pt x="2316" y="2847"/>
                  </a:lnTo>
                  <a:lnTo>
                    <a:pt x="2336" y="2878"/>
                  </a:lnTo>
                  <a:lnTo>
                    <a:pt x="2375" y="2902"/>
                  </a:lnTo>
                  <a:lnTo>
                    <a:pt x="2409" y="2935"/>
                  </a:lnTo>
                  <a:lnTo>
                    <a:pt x="2421" y="2985"/>
                  </a:lnTo>
                  <a:lnTo>
                    <a:pt x="2430" y="3022"/>
                  </a:lnTo>
                  <a:lnTo>
                    <a:pt x="2458" y="3085"/>
                  </a:lnTo>
                  <a:lnTo>
                    <a:pt x="2493" y="3093"/>
                  </a:lnTo>
                  <a:lnTo>
                    <a:pt x="2535" y="3108"/>
                  </a:lnTo>
                  <a:lnTo>
                    <a:pt x="2576" y="3118"/>
                  </a:lnTo>
                  <a:lnTo>
                    <a:pt x="2627" y="3120"/>
                  </a:lnTo>
                  <a:lnTo>
                    <a:pt x="2656" y="3140"/>
                  </a:lnTo>
                  <a:lnTo>
                    <a:pt x="2729" y="3136"/>
                  </a:lnTo>
                  <a:lnTo>
                    <a:pt x="2735" y="3089"/>
                  </a:lnTo>
                  <a:lnTo>
                    <a:pt x="2694" y="3053"/>
                  </a:lnTo>
                  <a:lnTo>
                    <a:pt x="2686" y="3000"/>
                  </a:lnTo>
                  <a:lnTo>
                    <a:pt x="2715" y="2961"/>
                  </a:lnTo>
                  <a:lnTo>
                    <a:pt x="2711" y="2924"/>
                  </a:lnTo>
                  <a:lnTo>
                    <a:pt x="2723" y="2910"/>
                  </a:lnTo>
                  <a:lnTo>
                    <a:pt x="2729" y="2882"/>
                  </a:lnTo>
                  <a:lnTo>
                    <a:pt x="2757" y="2867"/>
                  </a:lnTo>
                  <a:lnTo>
                    <a:pt x="2802" y="2833"/>
                  </a:lnTo>
                  <a:lnTo>
                    <a:pt x="2827" y="2833"/>
                  </a:lnTo>
                  <a:lnTo>
                    <a:pt x="2882" y="2800"/>
                  </a:lnTo>
                  <a:lnTo>
                    <a:pt x="2920" y="2766"/>
                  </a:lnTo>
                  <a:lnTo>
                    <a:pt x="2979" y="2735"/>
                  </a:lnTo>
                  <a:lnTo>
                    <a:pt x="2963" y="2692"/>
                  </a:lnTo>
                  <a:lnTo>
                    <a:pt x="2975" y="2682"/>
                  </a:lnTo>
                  <a:lnTo>
                    <a:pt x="2992" y="2725"/>
                  </a:lnTo>
                  <a:lnTo>
                    <a:pt x="3069" y="2658"/>
                  </a:lnTo>
                  <a:lnTo>
                    <a:pt x="3136" y="2662"/>
                  </a:lnTo>
                  <a:lnTo>
                    <a:pt x="3220" y="2682"/>
                  </a:lnTo>
                  <a:lnTo>
                    <a:pt x="3289" y="2672"/>
                  </a:lnTo>
                  <a:lnTo>
                    <a:pt x="3322" y="2664"/>
                  </a:lnTo>
                  <a:lnTo>
                    <a:pt x="3305" y="2637"/>
                  </a:lnTo>
                  <a:lnTo>
                    <a:pt x="3334" y="2641"/>
                  </a:lnTo>
                  <a:lnTo>
                    <a:pt x="3356" y="2664"/>
                  </a:lnTo>
                  <a:lnTo>
                    <a:pt x="3356" y="2684"/>
                  </a:lnTo>
                  <a:lnTo>
                    <a:pt x="3417" y="2688"/>
                  </a:lnTo>
                  <a:lnTo>
                    <a:pt x="3450" y="2692"/>
                  </a:lnTo>
                  <a:lnTo>
                    <a:pt x="3462" y="2678"/>
                  </a:lnTo>
                  <a:lnTo>
                    <a:pt x="3489" y="2702"/>
                  </a:lnTo>
                  <a:lnTo>
                    <a:pt x="3513" y="2708"/>
                  </a:lnTo>
                  <a:lnTo>
                    <a:pt x="3539" y="2702"/>
                  </a:lnTo>
                  <a:lnTo>
                    <a:pt x="3519" y="2664"/>
                  </a:lnTo>
                  <a:lnTo>
                    <a:pt x="3548" y="2664"/>
                  </a:lnTo>
                  <a:lnTo>
                    <a:pt x="3568" y="2674"/>
                  </a:lnTo>
                  <a:lnTo>
                    <a:pt x="3596" y="2694"/>
                  </a:lnTo>
                  <a:lnTo>
                    <a:pt x="3613" y="2688"/>
                  </a:lnTo>
                  <a:lnTo>
                    <a:pt x="3633" y="2668"/>
                  </a:lnTo>
                  <a:lnTo>
                    <a:pt x="3621" y="2641"/>
                  </a:lnTo>
                  <a:lnTo>
                    <a:pt x="3592" y="2631"/>
                  </a:lnTo>
                  <a:lnTo>
                    <a:pt x="3574" y="2617"/>
                  </a:lnTo>
                  <a:lnTo>
                    <a:pt x="3588" y="2590"/>
                  </a:lnTo>
                  <a:lnTo>
                    <a:pt x="3588" y="2560"/>
                  </a:lnTo>
                  <a:lnTo>
                    <a:pt x="3558" y="2560"/>
                  </a:lnTo>
                  <a:lnTo>
                    <a:pt x="3533" y="2590"/>
                  </a:lnTo>
                  <a:lnTo>
                    <a:pt x="3529" y="2550"/>
                  </a:lnTo>
                  <a:lnTo>
                    <a:pt x="3495" y="2570"/>
                  </a:lnTo>
                  <a:lnTo>
                    <a:pt x="3462" y="2582"/>
                  </a:lnTo>
                  <a:lnTo>
                    <a:pt x="3454" y="2564"/>
                  </a:lnTo>
                  <a:lnTo>
                    <a:pt x="3476" y="2531"/>
                  </a:lnTo>
                  <a:lnTo>
                    <a:pt x="3568" y="2548"/>
                  </a:lnTo>
                  <a:lnTo>
                    <a:pt x="3588" y="2515"/>
                  </a:lnTo>
                  <a:lnTo>
                    <a:pt x="3631" y="2503"/>
                  </a:lnTo>
                  <a:lnTo>
                    <a:pt x="3684" y="2515"/>
                  </a:lnTo>
                  <a:lnTo>
                    <a:pt x="3702" y="2503"/>
                  </a:lnTo>
                  <a:lnTo>
                    <a:pt x="3702" y="2462"/>
                  </a:lnTo>
                  <a:lnTo>
                    <a:pt x="3725" y="2513"/>
                  </a:lnTo>
                  <a:lnTo>
                    <a:pt x="3735" y="2531"/>
                  </a:lnTo>
                  <a:lnTo>
                    <a:pt x="3774" y="2513"/>
                  </a:lnTo>
                  <a:lnTo>
                    <a:pt x="3804" y="2478"/>
                  </a:lnTo>
                  <a:lnTo>
                    <a:pt x="3818" y="2499"/>
                  </a:lnTo>
                  <a:lnTo>
                    <a:pt x="3843" y="2505"/>
                  </a:lnTo>
                  <a:lnTo>
                    <a:pt x="3886" y="2491"/>
                  </a:lnTo>
                  <a:lnTo>
                    <a:pt x="3967" y="2478"/>
                  </a:lnTo>
                  <a:lnTo>
                    <a:pt x="3989" y="2493"/>
                  </a:lnTo>
                  <a:lnTo>
                    <a:pt x="4008" y="2519"/>
                  </a:lnTo>
                  <a:lnTo>
                    <a:pt x="4044" y="2525"/>
                  </a:lnTo>
                  <a:lnTo>
                    <a:pt x="4077" y="2529"/>
                  </a:lnTo>
                  <a:lnTo>
                    <a:pt x="4114" y="2513"/>
                  </a:lnTo>
                  <a:lnTo>
                    <a:pt x="4142" y="2487"/>
                  </a:lnTo>
                  <a:lnTo>
                    <a:pt x="4165" y="2480"/>
                  </a:lnTo>
                  <a:lnTo>
                    <a:pt x="4181" y="2491"/>
                  </a:lnTo>
                  <a:lnTo>
                    <a:pt x="4201" y="2513"/>
                  </a:lnTo>
                  <a:lnTo>
                    <a:pt x="4232" y="2543"/>
                  </a:lnTo>
                  <a:lnTo>
                    <a:pt x="4262" y="2548"/>
                  </a:lnTo>
                  <a:lnTo>
                    <a:pt x="4289" y="2554"/>
                  </a:lnTo>
                  <a:lnTo>
                    <a:pt x="4315" y="2580"/>
                  </a:lnTo>
                  <a:lnTo>
                    <a:pt x="4336" y="2611"/>
                  </a:lnTo>
                  <a:lnTo>
                    <a:pt x="4354" y="2631"/>
                  </a:lnTo>
                  <a:lnTo>
                    <a:pt x="4344" y="2674"/>
                  </a:lnTo>
                  <a:lnTo>
                    <a:pt x="4348" y="2710"/>
                  </a:lnTo>
                  <a:lnTo>
                    <a:pt x="4348" y="2735"/>
                  </a:lnTo>
                  <a:lnTo>
                    <a:pt x="4358" y="2755"/>
                  </a:lnTo>
                  <a:lnTo>
                    <a:pt x="4372" y="2759"/>
                  </a:lnTo>
                  <a:lnTo>
                    <a:pt x="4378" y="2719"/>
                  </a:lnTo>
                  <a:lnTo>
                    <a:pt x="4397" y="2743"/>
                  </a:lnTo>
                  <a:lnTo>
                    <a:pt x="4383" y="2770"/>
                  </a:lnTo>
                  <a:lnTo>
                    <a:pt x="4378" y="2794"/>
                  </a:lnTo>
                  <a:lnTo>
                    <a:pt x="4395" y="2806"/>
                  </a:lnTo>
                  <a:lnTo>
                    <a:pt x="4431" y="2841"/>
                  </a:lnTo>
                  <a:lnTo>
                    <a:pt x="4456" y="2847"/>
                  </a:lnTo>
                  <a:lnTo>
                    <a:pt x="4472" y="2888"/>
                  </a:lnTo>
                  <a:lnTo>
                    <a:pt x="4490" y="2896"/>
                  </a:lnTo>
                  <a:lnTo>
                    <a:pt x="4515" y="2943"/>
                  </a:lnTo>
                  <a:lnTo>
                    <a:pt x="4549" y="2959"/>
                  </a:lnTo>
                  <a:lnTo>
                    <a:pt x="4582" y="2971"/>
                  </a:lnTo>
                  <a:lnTo>
                    <a:pt x="4604" y="3006"/>
                  </a:lnTo>
                  <a:lnTo>
                    <a:pt x="4649" y="3000"/>
                  </a:lnTo>
                  <a:lnTo>
                    <a:pt x="4716" y="2985"/>
                  </a:lnTo>
                  <a:lnTo>
                    <a:pt x="4731" y="2916"/>
                  </a:lnTo>
                  <a:lnTo>
                    <a:pt x="4721" y="2873"/>
                  </a:lnTo>
                  <a:lnTo>
                    <a:pt x="4721" y="2796"/>
                  </a:lnTo>
                  <a:lnTo>
                    <a:pt x="4706" y="2772"/>
                  </a:lnTo>
                  <a:lnTo>
                    <a:pt x="4672" y="2735"/>
                  </a:lnTo>
                  <a:lnTo>
                    <a:pt x="4643" y="2694"/>
                  </a:lnTo>
                  <a:lnTo>
                    <a:pt x="4619" y="2643"/>
                  </a:lnTo>
                  <a:lnTo>
                    <a:pt x="4594" y="2582"/>
                  </a:lnTo>
                  <a:lnTo>
                    <a:pt x="4554" y="2529"/>
                  </a:lnTo>
                  <a:lnTo>
                    <a:pt x="4521" y="2487"/>
                  </a:lnTo>
                  <a:lnTo>
                    <a:pt x="4486" y="2432"/>
                  </a:lnTo>
                  <a:lnTo>
                    <a:pt x="4456" y="2385"/>
                  </a:lnTo>
                  <a:lnTo>
                    <a:pt x="4446" y="2344"/>
                  </a:lnTo>
                  <a:lnTo>
                    <a:pt x="4442" y="2311"/>
                  </a:lnTo>
                  <a:lnTo>
                    <a:pt x="4450" y="2287"/>
                  </a:lnTo>
                  <a:lnTo>
                    <a:pt x="4456" y="2277"/>
                  </a:lnTo>
                  <a:lnTo>
                    <a:pt x="4456" y="2210"/>
                  </a:lnTo>
                  <a:lnTo>
                    <a:pt x="4492" y="2150"/>
                  </a:lnTo>
                  <a:lnTo>
                    <a:pt x="4486" y="2110"/>
                  </a:lnTo>
                  <a:lnTo>
                    <a:pt x="4543" y="2098"/>
                  </a:lnTo>
                  <a:lnTo>
                    <a:pt x="4611" y="2032"/>
                  </a:lnTo>
                  <a:lnTo>
                    <a:pt x="4647" y="1924"/>
                  </a:lnTo>
                  <a:lnTo>
                    <a:pt x="4735" y="1888"/>
                  </a:lnTo>
                  <a:lnTo>
                    <a:pt x="4790" y="1790"/>
                  </a:lnTo>
                  <a:lnTo>
                    <a:pt x="4877" y="1757"/>
                  </a:lnTo>
                  <a:lnTo>
                    <a:pt x="4918" y="1682"/>
                  </a:lnTo>
                  <a:lnTo>
                    <a:pt x="4918" y="1627"/>
                  </a:lnTo>
                  <a:lnTo>
                    <a:pt x="4922" y="1580"/>
                  </a:lnTo>
                  <a:lnTo>
                    <a:pt x="4898" y="1584"/>
                  </a:lnTo>
                  <a:lnTo>
                    <a:pt x="4898" y="1658"/>
                  </a:lnTo>
                  <a:lnTo>
                    <a:pt x="4847" y="1719"/>
                  </a:lnTo>
                  <a:lnTo>
                    <a:pt x="4774" y="1733"/>
                  </a:lnTo>
                  <a:lnTo>
                    <a:pt x="4847" y="1698"/>
                  </a:lnTo>
                  <a:lnTo>
                    <a:pt x="4804" y="1682"/>
                  </a:lnTo>
                  <a:lnTo>
                    <a:pt x="4847" y="1672"/>
                  </a:lnTo>
                  <a:lnTo>
                    <a:pt x="4869" y="1674"/>
                  </a:lnTo>
                  <a:lnTo>
                    <a:pt x="4883" y="1631"/>
                  </a:lnTo>
                  <a:lnTo>
                    <a:pt x="4879" y="1590"/>
                  </a:lnTo>
                  <a:lnTo>
                    <a:pt x="4839" y="1590"/>
                  </a:lnTo>
                  <a:lnTo>
                    <a:pt x="4784" y="1607"/>
                  </a:lnTo>
                  <a:lnTo>
                    <a:pt x="4784" y="1570"/>
                  </a:lnTo>
                  <a:lnTo>
                    <a:pt x="4818" y="1586"/>
                  </a:lnTo>
                  <a:lnTo>
                    <a:pt x="4865" y="1562"/>
                  </a:lnTo>
                  <a:lnTo>
                    <a:pt x="4873" y="1540"/>
                  </a:lnTo>
                  <a:lnTo>
                    <a:pt x="4839" y="1529"/>
                  </a:lnTo>
                  <a:lnTo>
                    <a:pt x="4843" y="1484"/>
                  </a:lnTo>
                  <a:lnTo>
                    <a:pt x="4804" y="1464"/>
                  </a:lnTo>
                  <a:lnTo>
                    <a:pt x="4790" y="1482"/>
                  </a:lnTo>
                  <a:lnTo>
                    <a:pt x="4776" y="1448"/>
                  </a:lnTo>
                  <a:lnTo>
                    <a:pt x="4784" y="1411"/>
                  </a:lnTo>
                  <a:lnTo>
                    <a:pt x="4790" y="1372"/>
                  </a:lnTo>
                  <a:lnTo>
                    <a:pt x="4721" y="1346"/>
                  </a:lnTo>
                  <a:lnTo>
                    <a:pt x="4741" y="1338"/>
                  </a:lnTo>
                  <a:lnTo>
                    <a:pt x="4721" y="1258"/>
                  </a:lnTo>
                  <a:lnTo>
                    <a:pt x="4721" y="1208"/>
                  </a:lnTo>
                  <a:lnTo>
                    <a:pt x="4735" y="1197"/>
                  </a:lnTo>
                  <a:lnTo>
                    <a:pt x="4735" y="1263"/>
                  </a:lnTo>
                  <a:lnTo>
                    <a:pt x="4761" y="1309"/>
                  </a:lnTo>
                  <a:lnTo>
                    <a:pt x="4800" y="1354"/>
                  </a:lnTo>
                  <a:lnTo>
                    <a:pt x="4800" y="1436"/>
                  </a:lnTo>
                  <a:lnTo>
                    <a:pt x="4843" y="1442"/>
                  </a:lnTo>
                  <a:lnTo>
                    <a:pt x="4877" y="1360"/>
                  </a:lnTo>
                  <a:lnTo>
                    <a:pt x="4877" y="1238"/>
                  </a:lnTo>
                  <a:lnTo>
                    <a:pt x="4830" y="1206"/>
                  </a:lnTo>
                  <a:lnTo>
                    <a:pt x="4833" y="1181"/>
                  </a:lnTo>
                  <a:lnTo>
                    <a:pt x="4888" y="1206"/>
                  </a:lnTo>
                  <a:lnTo>
                    <a:pt x="4914" y="1146"/>
                  </a:lnTo>
                  <a:lnTo>
                    <a:pt x="4918" y="1094"/>
                  </a:lnTo>
                  <a:lnTo>
                    <a:pt x="4918" y="1006"/>
                  </a:lnTo>
                  <a:lnTo>
                    <a:pt x="4892" y="979"/>
                  </a:lnTo>
                  <a:lnTo>
                    <a:pt x="4906" y="955"/>
                  </a:lnTo>
                  <a:lnTo>
                    <a:pt x="4924" y="979"/>
                  </a:lnTo>
                  <a:lnTo>
                    <a:pt x="5032" y="924"/>
                  </a:lnTo>
                  <a:lnTo>
                    <a:pt x="5112" y="863"/>
                  </a:lnTo>
                  <a:lnTo>
                    <a:pt x="5054" y="857"/>
                  </a:lnTo>
                  <a:lnTo>
                    <a:pt x="4971" y="904"/>
                  </a:lnTo>
                  <a:lnTo>
                    <a:pt x="4918" y="924"/>
                  </a:lnTo>
                  <a:lnTo>
                    <a:pt x="4953" y="878"/>
                  </a:lnTo>
                  <a:lnTo>
                    <a:pt x="4991" y="857"/>
                  </a:lnTo>
                  <a:lnTo>
                    <a:pt x="5012" y="865"/>
                  </a:lnTo>
                  <a:lnTo>
                    <a:pt x="5071" y="835"/>
                  </a:lnTo>
                  <a:lnTo>
                    <a:pt x="5085" y="806"/>
                  </a:lnTo>
                  <a:lnTo>
                    <a:pt x="5101" y="806"/>
                  </a:lnTo>
                  <a:lnTo>
                    <a:pt x="5124" y="790"/>
                  </a:lnTo>
                  <a:lnTo>
                    <a:pt x="5152" y="760"/>
                  </a:lnTo>
                  <a:lnTo>
                    <a:pt x="5197" y="776"/>
                  </a:lnTo>
                  <a:lnTo>
                    <a:pt x="5219" y="757"/>
                  </a:lnTo>
                  <a:lnTo>
                    <a:pt x="5240" y="729"/>
                  </a:lnTo>
                  <a:lnTo>
                    <a:pt x="5219" y="692"/>
                  </a:lnTo>
                  <a:lnTo>
                    <a:pt x="5189" y="668"/>
                  </a:lnTo>
                  <a:lnTo>
                    <a:pt x="5173" y="664"/>
                  </a:lnTo>
                  <a:lnTo>
                    <a:pt x="5154" y="678"/>
                  </a:lnTo>
                  <a:lnTo>
                    <a:pt x="5173" y="705"/>
                  </a:lnTo>
                  <a:lnTo>
                    <a:pt x="5183" y="725"/>
                  </a:lnTo>
                  <a:lnTo>
                    <a:pt x="5160" y="725"/>
                  </a:lnTo>
                  <a:lnTo>
                    <a:pt x="5130" y="688"/>
                  </a:lnTo>
                  <a:lnTo>
                    <a:pt x="5105" y="694"/>
                  </a:lnTo>
                  <a:lnTo>
                    <a:pt x="5112" y="668"/>
                  </a:lnTo>
                  <a:lnTo>
                    <a:pt x="5124" y="641"/>
                  </a:lnTo>
                  <a:lnTo>
                    <a:pt x="5099" y="637"/>
                  </a:lnTo>
                  <a:lnTo>
                    <a:pt x="5118" y="580"/>
                  </a:lnTo>
                  <a:lnTo>
                    <a:pt x="5112" y="546"/>
                  </a:lnTo>
                  <a:lnTo>
                    <a:pt x="5142" y="523"/>
                  </a:lnTo>
                  <a:lnTo>
                    <a:pt x="5124" y="487"/>
                  </a:lnTo>
                  <a:lnTo>
                    <a:pt x="5152" y="472"/>
                  </a:lnTo>
                  <a:lnTo>
                    <a:pt x="5181" y="448"/>
                  </a:lnTo>
                  <a:lnTo>
                    <a:pt x="5211" y="438"/>
                  </a:lnTo>
                  <a:lnTo>
                    <a:pt x="5219" y="381"/>
                  </a:lnTo>
                  <a:lnTo>
                    <a:pt x="5248" y="381"/>
                  </a:lnTo>
                  <a:lnTo>
                    <a:pt x="5289" y="356"/>
                  </a:lnTo>
                  <a:lnTo>
                    <a:pt x="5311" y="328"/>
                  </a:lnTo>
                  <a:lnTo>
                    <a:pt x="5344" y="301"/>
                  </a:lnTo>
                  <a:lnTo>
                    <a:pt x="5340" y="263"/>
                  </a:lnTo>
                  <a:lnTo>
                    <a:pt x="5295" y="244"/>
                  </a:lnTo>
                  <a:lnTo>
                    <a:pt x="5266" y="206"/>
                  </a:lnTo>
                  <a:lnTo>
                    <a:pt x="5217" y="206"/>
                  </a:lnTo>
                  <a:lnTo>
                    <a:pt x="5193" y="165"/>
                  </a:lnTo>
                  <a:lnTo>
                    <a:pt x="5187" y="118"/>
                  </a:lnTo>
                  <a:lnTo>
                    <a:pt x="5173" y="73"/>
                  </a:lnTo>
                  <a:lnTo>
                    <a:pt x="5152" y="2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191" name="Freeform 199"/>
          <p:cNvSpPr>
            <a:spLocks/>
          </p:cNvSpPr>
          <p:nvPr/>
        </p:nvSpPr>
        <p:spPr bwMode="auto">
          <a:xfrm>
            <a:off x="158750" y="1307678"/>
            <a:ext cx="1331913" cy="1420812"/>
          </a:xfrm>
          <a:custGeom>
            <a:avLst/>
            <a:gdLst>
              <a:gd name="T0" fmla="*/ 279 w 1678"/>
              <a:gd name="T1" fmla="*/ 0 h 1790"/>
              <a:gd name="T2" fmla="*/ 224 w 1678"/>
              <a:gd name="T3" fmla="*/ 2 h 1790"/>
              <a:gd name="T4" fmla="*/ 171 w 1678"/>
              <a:gd name="T5" fmla="*/ 10 h 1790"/>
              <a:gd name="T6" fmla="*/ 124 w 1678"/>
              <a:gd name="T7" fmla="*/ 22 h 1790"/>
              <a:gd name="T8" fmla="*/ 83 w 1678"/>
              <a:gd name="T9" fmla="*/ 37 h 1790"/>
              <a:gd name="T10" fmla="*/ 65 w 1678"/>
              <a:gd name="T11" fmla="*/ 47 h 1790"/>
              <a:gd name="T12" fmla="*/ 47 w 1678"/>
              <a:gd name="T13" fmla="*/ 57 h 1790"/>
              <a:gd name="T14" fmla="*/ 33 w 1678"/>
              <a:gd name="T15" fmla="*/ 67 h 1790"/>
              <a:gd name="T16" fmla="*/ 22 w 1678"/>
              <a:gd name="T17" fmla="*/ 79 h 1790"/>
              <a:gd name="T18" fmla="*/ 12 w 1678"/>
              <a:gd name="T19" fmla="*/ 90 h 1790"/>
              <a:gd name="T20" fmla="*/ 6 w 1678"/>
              <a:gd name="T21" fmla="*/ 102 h 1790"/>
              <a:gd name="T22" fmla="*/ 2 w 1678"/>
              <a:gd name="T23" fmla="*/ 114 h 1790"/>
              <a:gd name="T24" fmla="*/ 0 w 1678"/>
              <a:gd name="T25" fmla="*/ 128 h 1790"/>
              <a:gd name="T26" fmla="*/ 0 w 1678"/>
              <a:gd name="T27" fmla="*/ 450 h 1790"/>
              <a:gd name="T28" fmla="*/ 0 w 1678"/>
              <a:gd name="T29" fmla="*/ 642 h 1790"/>
              <a:gd name="T30" fmla="*/ 2 w 1678"/>
              <a:gd name="T31" fmla="*/ 656 h 1790"/>
              <a:gd name="T32" fmla="*/ 6 w 1678"/>
              <a:gd name="T33" fmla="*/ 668 h 1790"/>
              <a:gd name="T34" fmla="*/ 12 w 1678"/>
              <a:gd name="T35" fmla="*/ 682 h 1790"/>
              <a:gd name="T36" fmla="*/ 22 w 1678"/>
              <a:gd name="T37" fmla="*/ 694 h 1790"/>
              <a:gd name="T38" fmla="*/ 33 w 1678"/>
              <a:gd name="T39" fmla="*/ 705 h 1790"/>
              <a:gd name="T40" fmla="*/ 47 w 1678"/>
              <a:gd name="T41" fmla="*/ 715 h 1790"/>
              <a:gd name="T42" fmla="*/ 65 w 1678"/>
              <a:gd name="T43" fmla="*/ 725 h 1790"/>
              <a:gd name="T44" fmla="*/ 83 w 1678"/>
              <a:gd name="T45" fmla="*/ 735 h 1790"/>
              <a:gd name="T46" fmla="*/ 124 w 1678"/>
              <a:gd name="T47" fmla="*/ 750 h 1790"/>
              <a:gd name="T48" fmla="*/ 171 w 1678"/>
              <a:gd name="T49" fmla="*/ 762 h 1790"/>
              <a:gd name="T50" fmla="*/ 224 w 1678"/>
              <a:gd name="T51" fmla="*/ 770 h 1790"/>
              <a:gd name="T52" fmla="*/ 279 w 1678"/>
              <a:gd name="T53" fmla="*/ 772 h 1790"/>
              <a:gd name="T54" fmla="*/ 413 w 1678"/>
              <a:gd name="T55" fmla="*/ 1790 h 1790"/>
              <a:gd name="T56" fmla="*/ 700 w 1678"/>
              <a:gd name="T57" fmla="*/ 772 h 1790"/>
              <a:gd name="T58" fmla="*/ 1399 w 1678"/>
              <a:gd name="T59" fmla="*/ 772 h 1790"/>
              <a:gd name="T60" fmla="*/ 1456 w 1678"/>
              <a:gd name="T61" fmla="*/ 770 h 1790"/>
              <a:gd name="T62" fmla="*/ 1507 w 1678"/>
              <a:gd name="T63" fmla="*/ 762 h 1790"/>
              <a:gd name="T64" fmla="*/ 1554 w 1678"/>
              <a:gd name="T65" fmla="*/ 750 h 1790"/>
              <a:gd name="T66" fmla="*/ 1596 w 1678"/>
              <a:gd name="T67" fmla="*/ 735 h 1790"/>
              <a:gd name="T68" fmla="*/ 1613 w 1678"/>
              <a:gd name="T69" fmla="*/ 725 h 1790"/>
              <a:gd name="T70" fmla="*/ 1631 w 1678"/>
              <a:gd name="T71" fmla="*/ 715 h 1790"/>
              <a:gd name="T72" fmla="*/ 1645 w 1678"/>
              <a:gd name="T73" fmla="*/ 705 h 1790"/>
              <a:gd name="T74" fmla="*/ 1656 w 1678"/>
              <a:gd name="T75" fmla="*/ 694 h 1790"/>
              <a:gd name="T76" fmla="*/ 1666 w 1678"/>
              <a:gd name="T77" fmla="*/ 682 h 1790"/>
              <a:gd name="T78" fmla="*/ 1672 w 1678"/>
              <a:gd name="T79" fmla="*/ 668 h 1790"/>
              <a:gd name="T80" fmla="*/ 1676 w 1678"/>
              <a:gd name="T81" fmla="*/ 656 h 1790"/>
              <a:gd name="T82" fmla="*/ 1678 w 1678"/>
              <a:gd name="T83" fmla="*/ 642 h 1790"/>
              <a:gd name="T84" fmla="*/ 1678 w 1678"/>
              <a:gd name="T85" fmla="*/ 450 h 1790"/>
              <a:gd name="T86" fmla="*/ 1678 w 1678"/>
              <a:gd name="T87" fmla="*/ 128 h 1790"/>
              <a:gd name="T88" fmla="*/ 1676 w 1678"/>
              <a:gd name="T89" fmla="*/ 114 h 1790"/>
              <a:gd name="T90" fmla="*/ 1672 w 1678"/>
              <a:gd name="T91" fmla="*/ 102 h 1790"/>
              <a:gd name="T92" fmla="*/ 1666 w 1678"/>
              <a:gd name="T93" fmla="*/ 90 h 1790"/>
              <a:gd name="T94" fmla="*/ 1656 w 1678"/>
              <a:gd name="T95" fmla="*/ 79 h 1790"/>
              <a:gd name="T96" fmla="*/ 1645 w 1678"/>
              <a:gd name="T97" fmla="*/ 67 h 1790"/>
              <a:gd name="T98" fmla="*/ 1631 w 1678"/>
              <a:gd name="T99" fmla="*/ 57 h 1790"/>
              <a:gd name="T100" fmla="*/ 1613 w 1678"/>
              <a:gd name="T101" fmla="*/ 47 h 1790"/>
              <a:gd name="T102" fmla="*/ 1596 w 1678"/>
              <a:gd name="T103" fmla="*/ 37 h 1790"/>
              <a:gd name="T104" fmla="*/ 1554 w 1678"/>
              <a:gd name="T105" fmla="*/ 22 h 1790"/>
              <a:gd name="T106" fmla="*/ 1507 w 1678"/>
              <a:gd name="T107" fmla="*/ 10 h 1790"/>
              <a:gd name="T108" fmla="*/ 1456 w 1678"/>
              <a:gd name="T109" fmla="*/ 2 h 1790"/>
              <a:gd name="T110" fmla="*/ 1399 w 1678"/>
              <a:gd name="T111" fmla="*/ 0 h 1790"/>
              <a:gd name="T112" fmla="*/ 700 w 1678"/>
              <a:gd name="T113" fmla="*/ 0 h 1790"/>
              <a:gd name="T114" fmla="*/ 279 w 1678"/>
              <a:gd name="T115"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78" h="1790">
                <a:moveTo>
                  <a:pt x="279" y="0"/>
                </a:moveTo>
                <a:lnTo>
                  <a:pt x="224" y="2"/>
                </a:lnTo>
                <a:lnTo>
                  <a:pt x="171" y="10"/>
                </a:lnTo>
                <a:lnTo>
                  <a:pt x="124" y="22"/>
                </a:lnTo>
                <a:lnTo>
                  <a:pt x="83" y="37"/>
                </a:lnTo>
                <a:lnTo>
                  <a:pt x="65" y="47"/>
                </a:lnTo>
                <a:lnTo>
                  <a:pt x="47" y="57"/>
                </a:lnTo>
                <a:lnTo>
                  <a:pt x="33" y="67"/>
                </a:lnTo>
                <a:lnTo>
                  <a:pt x="22" y="79"/>
                </a:lnTo>
                <a:lnTo>
                  <a:pt x="12" y="90"/>
                </a:lnTo>
                <a:lnTo>
                  <a:pt x="6" y="102"/>
                </a:lnTo>
                <a:lnTo>
                  <a:pt x="2" y="114"/>
                </a:lnTo>
                <a:lnTo>
                  <a:pt x="0" y="128"/>
                </a:lnTo>
                <a:lnTo>
                  <a:pt x="0" y="450"/>
                </a:lnTo>
                <a:lnTo>
                  <a:pt x="0" y="642"/>
                </a:lnTo>
                <a:lnTo>
                  <a:pt x="2" y="656"/>
                </a:lnTo>
                <a:lnTo>
                  <a:pt x="6" y="668"/>
                </a:lnTo>
                <a:lnTo>
                  <a:pt x="12" y="682"/>
                </a:lnTo>
                <a:lnTo>
                  <a:pt x="22" y="694"/>
                </a:lnTo>
                <a:lnTo>
                  <a:pt x="33" y="705"/>
                </a:lnTo>
                <a:lnTo>
                  <a:pt x="47" y="715"/>
                </a:lnTo>
                <a:lnTo>
                  <a:pt x="65" y="725"/>
                </a:lnTo>
                <a:lnTo>
                  <a:pt x="83" y="735"/>
                </a:lnTo>
                <a:lnTo>
                  <a:pt x="124" y="750"/>
                </a:lnTo>
                <a:lnTo>
                  <a:pt x="171" y="762"/>
                </a:lnTo>
                <a:lnTo>
                  <a:pt x="224" y="770"/>
                </a:lnTo>
                <a:lnTo>
                  <a:pt x="279" y="772"/>
                </a:lnTo>
                <a:lnTo>
                  <a:pt x="413" y="1790"/>
                </a:lnTo>
                <a:lnTo>
                  <a:pt x="700" y="772"/>
                </a:lnTo>
                <a:lnTo>
                  <a:pt x="1399" y="772"/>
                </a:lnTo>
                <a:lnTo>
                  <a:pt x="1456" y="770"/>
                </a:lnTo>
                <a:lnTo>
                  <a:pt x="1507" y="762"/>
                </a:lnTo>
                <a:lnTo>
                  <a:pt x="1554" y="750"/>
                </a:lnTo>
                <a:lnTo>
                  <a:pt x="1596" y="735"/>
                </a:lnTo>
                <a:lnTo>
                  <a:pt x="1613" y="725"/>
                </a:lnTo>
                <a:lnTo>
                  <a:pt x="1631" y="715"/>
                </a:lnTo>
                <a:lnTo>
                  <a:pt x="1645" y="705"/>
                </a:lnTo>
                <a:lnTo>
                  <a:pt x="1656" y="694"/>
                </a:lnTo>
                <a:lnTo>
                  <a:pt x="1666" y="682"/>
                </a:lnTo>
                <a:lnTo>
                  <a:pt x="1672" y="668"/>
                </a:lnTo>
                <a:lnTo>
                  <a:pt x="1676" y="656"/>
                </a:lnTo>
                <a:lnTo>
                  <a:pt x="1678" y="642"/>
                </a:lnTo>
                <a:lnTo>
                  <a:pt x="1678" y="450"/>
                </a:lnTo>
                <a:lnTo>
                  <a:pt x="1678" y="128"/>
                </a:lnTo>
                <a:lnTo>
                  <a:pt x="1676" y="114"/>
                </a:lnTo>
                <a:lnTo>
                  <a:pt x="1672" y="102"/>
                </a:lnTo>
                <a:lnTo>
                  <a:pt x="1666" y="90"/>
                </a:lnTo>
                <a:lnTo>
                  <a:pt x="1656" y="79"/>
                </a:lnTo>
                <a:lnTo>
                  <a:pt x="1645" y="67"/>
                </a:lnTo>
                <a:lnTo>
                  <a:pt x="1631" y="57"/>
                </a:lnTo>
                <a:lnTo>
                  <a:pt x="1613" y="47"/>
                </a:lnTo>
                <a:lnTo>
                  <a:pt x="1596" y="37"/>
                </a:lnTo>
                <a:lnTo>
                  <a:pt x="1554" y="22"/>
                </a:lnTo>
                <a:lnTo>
                  <a:pt x="1507" y="10"/>
                </a:lnTo>
                <a:lnTo>
                  <a:pt x="1456" y="2"/>
                </a:lnTo>
                <a:lnTo>
                  <a:pt x="1399" y="0"/>
                </a:lnTo>
                <a:lnTo>
                  <a:pt x="700" y="0"/>
                </a:lnTo>
                <a:lnTo>
                  <a:pt x="279" y="0"/>
                </a:lnTo>
                <a:close/>
              </a:path>
            </a:pathLst>
          </a:custGeom>
          <a:solidFill>
            <a:srgbClr val="FFFFFF"/>
          </a:solidFill>
          <a:ln w="9525">
            <a:solidFill>
              <a:srgbClr val="000000"/>
            </a:solidFill>
            <a:prstDash val="solid"/>
            <a:round/>
            <a:headEnd/>
            <a:tailEnd/>
          </a:ln>
        </p:spPr>
        <p:txBody>
          <a:bodyPr/>
          <a:lstStyle/>
          <a:p>
            <a:endParaRPr lang="cs-CZ"/>
          </a:p>
        </p:txBody>
      </p:sp>
      <p:sp>
        <p:nvSpPr>
          <p:cNvPr id="192" name="Rectangle 200"/>
          <p:cNvSpPr>
            <a:spLocks noChangeArrowheads="1"/>
          </p:cNvSpPr>
          <p:nvPr/>
        </p:nvSpPr>
        <p:spPr bwMode="auto">
          <a:xfrm>
            <a:off x="244475" y="1372765"/>
            <a:ext cx="2968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USA</a:t>
            </a:r>
            <a:endParaRPr lang="cs-CZ" sz="2400" b="0">
              <a:solidFill>
                <a:schemeClr val="tx1"/>
              </a:solidFill>
              <a:latin typeface="Times New Roman" pitchFamily="18" charset="0"/>
              <a:ea typeface="ＭＳ Ｐゴシック" pitchFamily="34" charset="-128"/>
            </a:endParaRPr>
          </a:p>
        </p:txBody>
      </p:sp>
      <p:sp>
        <p:nvSpPr>
          <p:cNvPr id="193" name="Rectangle 201"/>
          <p:cNvSpPr>
            <a:spLocks noChangeArrowheads="1"/>
          </p:cNvSpPr>
          <p:nvPr/>
        </p:nvSpPr>
        <p:spPr bwMode="auto">
          <a:xfrm>
            <a:off x="244475" y="1542628"/>
            <a:ext cx="12096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iž existují pobídky </a:t>
            </a:r>
            <a:endParaRPr lang="cs-CZ" sz="2400" b="0">
              <a:solidFill>
                <a:schemeClr val="tx1"/>
              </a:solidFill>
              <a:latin typeface="Times New Roman" pitchFamily="18" charset="0"/>
              <a:ea typeface="ＭＳ Ｐゴシック" pitchFamily="34" charset="-128"/>
            </a:endParaRPr>
          </a:p>
        </p:txBody>
      </p:sp>
      <p:sp>
        <p:nvSpPr>
          <p:cNvPr id="194" name="Rectangle 202"/>
          <p:cNvSpPr>
            <a:spLocks noChangeArrowheads="1"/>
          </p:cNvSpPr>
          <p:nvPr/>
        </p:nvSpPr>
        <p:spPr bwMode="auto">
          <a:xfrm>
            <a:off x="244475" y="1707728"/>
            <a:ext cx="11398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ro výstavbu jádra</a:t>
            </a:r>
            <a:endParaRPr lang="cs-CZ" sz="2400" b="0">
              <a:solidFill>
                <a:schemeClr val="tx1"/>
              </a:solidFill>
              <a:latin typeface="Times New Roman" pitchFamily="18" charset="0"/>
              <a:ea typeface="ＭＳ Ｐゴシック" pitchFamily="34" charset="-128"/>
            </a:endParaRPr>
          </a:p>
        </p:txBody>
      </p:sp>
      <p:sp>
        <p:nvSpPr>
          <p:cNvPr id="195" name="Freeform 203"/>
          <p:cNvSpPr>
            <a:spLocks/>
          </p:cNvSpPr>
          <p:nvPr/>
        </p:nvSpPr>
        <p:spPr bwMode="auto">
          <a:xfrm>
            <a:off x="4003675" y="4727153"/>
            <a:ext cx="1827213" cy="1504950"/>
          </a:xfrm>
          <a:custGeom>
            <a:avLst/>
            <a:gdLst>
              <a:gd name="T0" fmla="*/ 849 w 2301"/>
              <a:gd name="T1" fmla="*/ 1123 h 1896"/>
              <a:gd name="T2" fmla="*/ 790 w 2301"/>
              <a:gd name="T3" fmla="*/ 1125 h 1896"/>
              <a:gd name="T4" fmla="*/ 735 w 2301"/>
              <a:gd name="T5" fmla="*/ 1133 h 1896"/>
              <a:gd name="T6" fmla="*/ 686 w 2301"/>
              <a:gd name="T7" fmla="*/ 1145 h 1896"/>
              <a:gd name="T8" fmla="*/ 643 w 2301"/>
              <a:gd name="T9" fmla="*/ 1161 h 1896"/>
              <a:gd name="T10" fmla="*/ 625 w 2301"/>
              <a:gd name="T11" fmla="*/ 1171 h 1896"/>
              <a:gd name="T12" fmla="*/ 608 w 2301"/>
              <a:gd name="T13" fmla="*/ 1180 h 1896"/>
              <a:gd name="T14" fmla="*/ 594 w 2301"/>
              <a:gd name="T15" fmla="*/ 1190 h 1896"/>
              <a:gd name="T16" fmla="*/ 582 w 2301"/>
              <a:gd name="T17" fmla="*/ 1202 h 1896"/>
              <a:gd name="T18" fmla="*/ 572 w 2301"/>
              <a:gd name="T19" fmla="*/ 1214 h 1896"/>
              <a:gd name="T20" fmla="*/ 564 w 2301"/>
              <a:gd name="T21" fmla="*/ 1226 h 1896"/>
              <a:gd name="T22" fmla="*/ 560 w 2301"/>
              <a:gd name="T23" fmla="*/ 1237 h 1896"/>
              <a:gd name="T24" fmla="*/ 558 w 2301"/>
              <a:gd name="T25" fmla="*/ 1251 h 1896"/>
              <a:gd name="T26" fmla="*/ 558 w 2301"/>
              <a:gd name="T27" fmla="*/ 1446 h 1896"/>
              <a:gd name="T28" fmla="*/ 558 w 2301"/>
              <a:gd name="T29" fmla="*/ 1766 h 1896"/>
              <a:gd name="T30" fmla="*/ 560 w 2301"/>
              <a:gd name="T31" fmla="*/ 1780 h 1896"/>
              <a:gd name="T32" fmla="*/ 564 w 2301"/>
              <a:gd name="T33" fmla="*/ 1791 h 1896"/>
              <a:gd name="T34" fmla="*/ 572 w 2301"/>
              <a:gd name="T35" fmla="*/ 1805 h 1896"/>
              <a:gd name="T36" fmla="*/ 582 w 2301"/>
              <a:gd name="T37" fmla="*/ 1817 h 1896"/>
              <a:gd name="T38" fmla="*/ 594 w 2301"/>
              <a:gd name="T39" fmla="*/ 1829 h 1896"/>
              <a:gd name="T40" fmla="*/ 608 w 2301"/>
              <a:gd name="T41" fmla="*/ 1839 h 1896"/>
              <a:gd name="T42" fmla="*/ 625 w 2301"/>
              <a:gd name="T43" fmla="*/ 1848 h 1896"/>
              <a:gd name="T44" fmla="*/ 643 w 2301"/>
              <a:gd name="T45" fmla="*/ 1858 h 1896"/>
              <a:gd name="T46" fmla="*/ 686 w 2301"/>
              <a:gd name="T47" fmla="*/ 1874 h 1896"/>
              <a:gd name="T48" fmla="*/ 735 w 2301"/>
              <a:gd name="T49" fmla="*/ 1886 h 1896"/>
              <a:gd name="T50" fmla="*/ 790 w 2301"/>
              <a:gd name="T51" fmla="*/ 1894 h 1896"/>
              <a:gd name="T52" fmla="*/ 849 w 2301"/>
              <a:gd name="T53" fmla="*/ 1896 h 1896"/>
              <a:gd name="T54" fmla="*/ 1285 w 2301"/>
              <a:gd name="T55" fmla="*/ 1896 h 1896"/>
              <a:gd name="T56" fmla="*/ 2011 w 2301"/>
              <a:gd name="T57" fmla="*/ 1896 h 1896"/>
              <a:gd name="T58" fmla="*/ 2069 w 2301"/>
              <a:gd name="T59" fmla="*/ 1894 h 1896"/>
              <a:gd name="T60" fmla="*/ 2124 w 2301"/>
              <a:gd name="T61" fmla="*/ 1886 h 1896"/>
              <a:gd name="T62" fmla="*/ 2174 w 2301"/>
              <a:gd name="T63" fmla="*/ 1874 h 1896"/>
              <a:gd name="T64" fmla="*/ 2217 w 2301"/>
              <a:gd name="T65" fmla="*/ 1858 h 1896"/>
              <a:gd name="T66" fmla="*/ 2235 w 2301"/>
              <a:gd name="T67" fmla="*/ 1848 h 1896"/>
              <a:gd name="T68" fmla="*/ 2252 w 2301"/>
              <a:gd name="T69" fmla="*/ 1839 h 1896"/>
              <a:gd name="T70" fmla="*/ 2266 w 2301"/>
              <a:gd name="T71" fmla="*/ 1829 h 1896"/>
              <a:gd name="T72" fmla="*/ 2278 w 2301"/>
              <a:gd name="T73" fmla="*/ 1817 h 1896"/>
              <a:gd name="T74" fmla="*/ 2288 w 2301"/>
              <a:gd name="T75" fmla="*/ 1805 h 1896"/>
              <a:gd name="T76" fmla="*/ 2295 w 2301"/>
              <a:gd name="T77" fmla="*/ 1791 h 1896"/>
              <a:gd name="T78" fmla="*/ 2299 w 2301"/>
              <a:gd name="T79" fmla="*/ 1780 h 1896"/>
              <a:gd name="T80" fmla="*/ 2301 w 2301"/>
              <a:gd name="T81" fmla="*/ 1766 h 1896"/>
              <a:gd name="T82" fmla="*/ 2301 w 2301"/>
              <a:gd name="T83" fmla="*/ 1446 h 1896"/>
              <a:gd name="T84" fmla="*/ 2301 w 2301"/>
              <a:gd name="T85" fmla="*/ 1251 h 1896"/>
              <a:gd name="T86" fmla="*/ 2299 w 2301"/>
              <a:gd name="T87" fmla="*/ 1237 h 1896"/>
              <a:gd name="T88" fmla="*/ 2295 w 2301"/>
              <a:gd name="T89" fmla="*/ 1226 h 1896"/>
              <a:gd name="T90" fmla="*/ 2288 w 2301"/>
              <a:gd name="T91" fmla="*/ 1214 h 1896"/>
              <a:gd name="T92" fmla="*/ 2278 w 2301"/>
              <a:gd name="T93" fmla="*/ 1202 h 1896"/>
              <a:gd name="T94" fmla="*/ 2266 w 2301"/>
              <a:gd name="T95" fmla="*/ 1190 h 1896"/>
              <a:gd name="T96" fmla="*/ 2252 w 2301"/>
              <a:gd name="T97" fmla="*/ 1180 h 1896"/>
              <a:gd name="T98" fmla="*/ 2235 w 2301"/>
              <a:gd name="T99" fmla="*/ 1171 h 1896"/>
              <a:gd name="T100" fmla="*/ 2217 w 2301"/>
              <a:gd name="T101" fmla="*/ 1161 h 1896"/>
              <a:gd name="T102" fmla="*/ 2174 w 2301"/>
              <a:gd name="T103" fmla="*/ 1145 h 1896"/>
              <a:gd name="T104" fmla="*/ 2124 w 2301"/>
              <a:gd name="T105" fmla="*/ 1133 h 1896"/>
              <a:gd name="T106" fmla="*/ 2069 w 2301"/>
              <a:gd name="T107" fmla="*/ 1125 h 1896"/>
              <a:gd name="T108" fmla="*/ 2011 w 2301"/>
              <a:gd name="T109" fmla="*/ 1123 h 1896"/>
              <a:gd name="T110" fmla="*/ 1285 w 2301"/>
              <a:gd name="T111" fmla="*/ 1123 h 1896"/>
              <a:gd name="T112" fmla="*/ 0 w 2301"/>
              <a:gd name="T113" fmla="*/ 0 h 1896"/>
              <a:gd name="T114" fmla="*/ 849 w 2301"/>
              <a:gd name="T115" fmla="*/ 1123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1" h="1896">
                <a:moveTo>
                  <a:pt x="849" y="1123"/>
                </a:moveTo>
                <a:lnTo>
                  <a:pt x="790" y="1125"/>
                </a:lnTo>
                <a:lnTo>
                  <a:pt x="735" y="1133"/>
                </a:lnTo>
                <a:lnTo>
                  <a:pt x="686" y="1145"/>
                </a:lnTo>
                <a:lnTo>
                  <a:pt x="643" y="1161"/>
                </a:lnTo>
                <a:lnTo>
                  <a:pt x="625" y="1171"/>
                </a:lnTo>
                <a:lnTo>
                  <a:pt x="608" y="1180"/>
                </a:lnTo>
                <a:lnTo>
                  <a:pt x="594" y="1190"/>
                </a:lnTo>
                <a:lnTo>
                  <a:pt x="582" y="1202"/>
                </a:lnTo>
                <a:lnTo>
                  <a:pt x="572" y="1214"/>
                </a:lnTo>
                <a:lnTo>
                  <a:pt x="564" y="1226"/>
                </a:lnTo>
                <a:lnTo>
                  <a:pt x="560" y="1237"/>
                </a:lnTo>
                <a:lnTo>
                  <a:pt x="558" y="1251"/>
                </a:lnTo>
                <a:lnTo>
                  <a:pt x="558" y="1446"/>
                </a:lnTo>
                <a:lnTo>
                  <a:pt x="558" y="1766"/>
                </a:lnTo>
                <a:lnTo>
                  <a:pt x="560" y="1780"/>
                </a:lnTo>
                <a:lnTo>
                  <a:pt x="564" y="1791"/>
                </a:lnTo>
                <a:lnTo>
                  <a:pt x="572" y="1805"/>
                </a:lnTo>
                <a:lnTo>
                  <a:pt x="582" y="1817"/>
                </a:lnTo>
                <a:lnTo>
                  <a:pt x="594" y="1829"/>
                </a:lnTo>
                <a:lnTo>
                  <a:pt x="608" y="1839"/>
                </a:lnTo>
                <a:lnTo>
                  <a:pt x="625" y="1848"/>
                </a:lnTo>
                <a:lnTo>
                  <a:pt x="643" y="1858"/>
                </a:lnTo>
                <a:lnTo>
                  <a:pt x="686" y="1874"/>
                </a:lnTo>
                <a:lnTo>
                  <a:pt x="735" y="1886"/>
                </a:lnTo>
                <a:lnTo>
                  <a:pt x="790" y="1894"/>
                </a:lnTo>
                <a:lnTo>
                  <a:pt x="849" y="1896"/>
                </a:lnTo>
                <a:lnTo>
                  <a:pt x="1285" y="1896"/>
                </a:lnTo>
                <a:lnTo>
                  <a:pt x="2011" y="1896"/>
                </a:lnTo>
                <a:lnTo>
                  <a:pt x="2069" y="1894"/>
                </a:lnTo>
                <a:lnTo>
                  <a:pt x="2124" y="1886"/>
                </a:lnTo>
                <a:lnTo>
                  <a:pt x="2174" y="1874"/>
                </a:lnTo>
                <a:lnTo>
                  <a:pt x="2217" y="1858"/>
                </a:lnTo>
                <a:lnTo>
                  <a:pt x="2235" y="1848"/>
                </a:lnTo>
                <a:lnTo>
                  <a:pt x="2252" y="1839"/>
                </a:lnTo>
                <a:lnTo>
                  <a:pt x="2266" y="1829"/>
                </a:lnTo>
                <a:lnTo>
                  <a:pt x="2278" y="1817"/>
                </a:lnTo>
                <a:lnTo>
                  <a:pt x="2288" y="1805"/>
                </a:lnTo>
                <a:lnTo>
                  <a:pt x="2295" y="1791"/>
                </a:lnTo>
                <a:lnTo>
                  <a:pt x="2299" y="1780"/>
                </a:lnTo>
                <a:lnTo>
                  <a:pt x="2301" y="1766"/>
                </a:lnTo>
                <a:lnTo>
                  <a:pt x="2301" y="1446"/>
                </a:lnTo>
                <a:lnTo>
                  <a:pt x="2301" y="1251"/>
                </a:lnTo>
                <a:lnTo>
                  <a:pt x="2299" y="1237"/>
                </a:lnTo>
                <a:lnTo>
                  <a:pt x="2295" y="1226"/>
                </a:lnTo>
                <a:lnTo>
                  <a:pt x="2288" y="1214"/>
                </a:lnTo>
                <a:lnTo>
                  <a:pt x="2278" y="1202"/>
                </a:lnTo>
                <a:lnTo>
                  <a:pt x="2266" y="1190"/>
                </a:lnTo>
                <a:lnTo>
                  <a:pt x="2252" y="1180"/>
                </a:lnTo>
                <a:lnTo>
                  <a:pt x="2235" y="1171"/>
                </a:lnTo>
                <a:lnTo>
                  <a:pt x="2217" y="1161"/>
                </a:lnTo>
                <a:lnTo>
                  <a:pt x="2174" y="1145"/>
                </a:lnTo>
                <a:lnTo>
                  <a:pt x="2124" y="1133"/>
                </a:lnTo>
                <a:lnTo>
                  <a:pt x="2069" y="1125"/>
                </a:lnTo>
                <a:lnTo>
                  <a:pt x="2011" y="1123"/>
                </a:lnTo>
                <a:lnTo>
                  <a:pt x="1285" y="1123"/>
                </a:lnTo>
                <a:lnTo>
                  <a:pt x="0" y="0"/>
                </a:lnTo>
                <a:lnTo>
                  <a:pt x="849" y="1123"/>
                </a:lnTo>
                <a:close/>
              </a:path>
            </a:pathLst>
          </a:custGeom>
          <a:solidFill>
            <a:srgbClr val="FFFFFF"/>
          </a:solidFill>
          <a:ln w="9525">
            <a:solidFill>
              <a:srgbClr val="000000"/>
            </a:solidFill>
            <a:prstDash val="solid"/>
            <a:round/>
            <a:headEnd/>
            <a:tailEnd/>
          </a:ln>
        </p:spPr>
        <p:txBody>
          <a:bodyPr/>
          <a:lstStyle/>
          <a:p>
            <a:endParaRPr lang="cs-CZ"/>
          </a:p>
        </p:txBody>
      </p:sp>
      <p:sp>
        <p:nvSpPr>
          <p:cNvPr id="196" name="Rectangle 204"/>
          <p:cNvSpPr>
            <a:spLocks noChangeArrowheads="1"/>
          </p:cNvSpPr>
          <p:nvPr/>
        </p:nvSpPr>
        <p:spPr bwMode="auto">
          <a:xfrm>
            <a:off x="4533900" y="5684415"/>
            <a:ext cx="6604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Slovinsko</a:t>
            </a:r>
            <a:endParaRPr lang="cs-CZ" sz="2400" b="0">
              <a:solidFill>
                <a:schemeClr val="tx1"/>
              </a:solidFill>
              <a:latin typeface="Times New Roman" pitchFamily="18" charset="0"/>
              <a:ea typeface="ＭＳ Ｐゴシック" pitchFamily="34" charset="-128"/>
            </a:endParaRPr>
          </a:p>
        </p:txBody>
      </p:sp>
      <p:sp>
        <p:nvSpPr>
          <p:cNvPr id="197" name="Rectangle 205"/>
          <p:cNvSpPr>
            <a:spLocks noChangeArrowheads="1"/>
          </p:cNvSpPr>
          <p:nvPr/>
        </p:nvSpPr>
        <p:spPr bwMode="auto">
          <a:xfrm>
            <a:off x="4533900" y="5854278"/>
            <a:ext cx="4984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198" name="Rectangle 206"/>
          <p:cNvSpPr>
            <a:spLocks noChangeArrowheads="1"/>
          </p:cNvSpPr>
          <p:nvPr/>
        </p:nvSpPr>
        <p:spPr bwMode="auto">
          <a:xfrm>
            <a:off x="5060950" y="5854278"/>
            <a:ext cx="6953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rozšíření </a:t>
            </a:r>
            <a:endParaRPr lang="cs-CZ" sz="2400" b="0">
              <a:solidFill>
                <a:schemeClr val="tx1"/>
              </a:solidFill>
              <a:latin typeface="Times New Roman" pitchFamily="18" charset="0"/>
              <a:ea typeface="ＭＳ Ｐゴシック" pitchFamily="34" charset="-128"/>
            </a:endParaRPr>
          </a:p>
        </p:txBody>
      </p:sp>
      <p:sp>
        <p:nvSpPr>
          <p:cNvPr id="199" name="Rectangle 207"/>
          <p:cNvSpPr>
            <a:spLocks noChangeArrowheads="1"/>
          </p:cNvSpPr>
          <p:nvPr/>
        </p:nvSpPr>
        <p:spPr bwMode="auto">
          <a:xfrm>
            <a:off x="4533900" y="6019378"/>
            <a:ext cx="6842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NPP Krško</a:t>
            </a:r>
            <a:endParaRPr lang="cs-CZ" sz="2400" b="0">
              <a:solidFill>
                <a:schemeClr val="tx1"/>
              </a:solidFill>
              <a:latin typeface="Times New Roman" pitchFamily="18" charset="0"/>
              <a:ea typeface="ＭＳ Ｐゴシック" pitchFamily="34" charset="-128"/>
            </a:endParaRPr>
          </a:p>
        </p:txBody>
      </p:sp>
      <p:sp>
        <p:nvSpPr>
          <p:cNvPr id="200" name="Freeform 208"/>
          <p:cNvSpPr>
            <a:spLocks/>
          </p:cNvSpPr>
          <p:nvPr/>
        </p:nvSpPr>
        <p:spPr bwMode="auto">
          <a:xfrm>
            <a:off x="1023938" y="3219028"/>
            <a:ext cx="2487612" cy="873125"/>
          </a:xfrm>
          <a:custGeom>
            <a:avLst/>
            <a:gdLst>
              <a:gd name="T0" fmla="*/ 275 w 3134"/>
              <a:gd name="T1" fmla="*/ 0 h 1100"/>
              <a:gd name="T2" fmla="*/ 220 w 3134"/>
              <a:gd name="T3" fmla="*/ 2 h 1100"/>
              <a:gd name="T4" fmla="*/ 169 w 3134"/>
              <a:gd name="T5" fmla="*/ 10 h 1100"/>
              <a:gd name="T6" fmla="*/ 121 w 3134"/>
              <a:gd name="T7" fmla="*/ 21 h 1100"/>
              <a:gd name="T8" fmla="*/ 80 w 3134"/>
              <a:gd name="T9" fmla="*/ 37 h 1100"/>
              <a:gd name="T10" fmla="*/ 62 w 3134"/>
              <a:gd name="T11" fmla="*/ 47 h 1100"/>
              <a:gd name="T12" fmla="*/ 47 w 3134"/>
              <a:gd name="T13" fmla="*/ 57 h 1100"/>
              <a:gd name="T14" fmla="*/ 33 w 3134"/>
              <a:gd name="T15" fmla="*/ 67 h 1100"/>
              <a:gd name="T16" fmla="*/ 21 w 3134"/>
              <a:gd name="T17" fmla="*/ 78 h 1100"/>
              <a:gd name="T18" fmla="*/ 11 w 3134"/>
              <a:gd name="T19" fmla="*/ 90 h 1100"/>
              <a:gd name="T20" fmla="*/ 5 w 3134"/>
              <a:gd name="T21" fmla="*/ 102 h 1100"/>
              <a:gd name="T22" fmla="*/ 2 w 3134"/>
              <a:gd name="T23" fmla="*/ 114 h 1100"/>
              <a:gd name="T24" fmla="*/ 0 w 3134"/>
              <a:gd name="T25" fmla="*/ 127 h 1100"/>
              <a:gd name="T26" fmla="*/ 0 w 3134"/>
              <a:gd name="T27" fmla="*/ 450 h 1100"/>
              <a:gd name="T28" fmla="*/ 0 w 3134"/>
              <a:gd name="T29" fmla="*/ 642 h 1100"/>
              <a:gd name="T30" fmla="*/ 2 w 3134"/>
              <a:gd name="T31" fmla="*/ 656 h 1100"/>
              <a:gd name="T32" fmla="*/ 5 w 3134"/>
              <a:gd name="T33" fmla="*/ 668 h 1100"/>
              <a:gd name="T34" fmla="*/ 11 w 3134"/>
              <a:gd name="T35" fmla="*/ 681 h 1100"/>
              <a:gd name="T36" fmla="*/ 21 w 3134"/>
              <a:gd name="T37" fmla="*/ 693 h 1100"/>
              <a:gd name="T38" fmla="*/ 33 w 3134"/>
              <a:gd name="T39" fmla="*/ 705 h 1100"/>
              <a:gd name="T40" fmla="*/ 47 w 3134"/>
              <a:gd name="T41" fmla="*/ 715 h 1100"/>
              <a:gd name="T42" fmla="*/ 62 w 3134"/>
              <a:gd name="T43" fmla="*/ 725 h 1100"/>
              <a:gd name="T44" fmla="*/ 80 w 3134"/>
              <a:gd name="T45" fmla="*/ 735 h 1100"/>
              <a:gd name="T46" fmla="*/ 121 w 3134"/>
              <a:gd name="T47" fmla="*/ 750 h 1100"/>
              <a:gd name="T48" fmla="*/ 169 w 3134"/>
              <a:gd name="T49" fmla="*/ 762 h 1100"/>
              <a:gd name="T50" fmla="*/ 220 w 3134"/>
              <a:gd name="T51" fmla="*/ 770 h 1100"/>
              <a:gd name="T52" fmla="*/ 275 w 3134"/>
              <a:gd name="T53" fmla="*/ 772 h 1100"/>
              <a:gd name="T54" fmla="*/ 962 w 3134"/>
              <a:gd name="T55" fmla="*/ 772 h 1100"/>
              <a:gd name="T56" fmla="*/ 1375 w 3134"/>
              <a:gd name="T57" fmla="*/ 772 h 1100"/>
              <a:gd name="T58" fmla="*/ 1430 w 3134"/>
              <a:gd name="T59" fmla="*/ 770 h 1100"/>
              <a:gd name="T60" fmla="*/ 1481 w 3134"/>
              <a:gd name="T61" fmla="*/ 762 h 1100"/>
              <a:gd name="T62" fmla="*/ 1528 w 3134"/>
              <a:gd name="T63" fmla="*/ 750 h 1100"/>
              <a:gd name="T64" fmla="*/ 1570 w 3134"/>
              <a:gd name="T65" fmla="*/ 735 h 1100"/>
              <a:gd name="T66" fmla="*/ 1587 w 3134"/>
              <a:gd name="T67" fmla="*/ 725 h 1100"/>
              <a:gd name="T68" fmla="*/ 1603 w 3134"/>
              <a:gd name="T69" fmla="*/ 715 h 1100"/>
              <a:gd name="T70" fmla="*/ 1617 w 3134"/>
              <a:gd name="T71" fmla="*/ 705 h 1100"/>
              <a:gd name="T72" fmla="*/ 1628 w 3134"/>
              <a:gd name="T73" fmla="*/ 693 h 1100"/>
              <a:gd name="T74" fmla="*/ 1638 w 3134"/>
              <a:gd name="T75" fmla="*/ 681 h 1100"/>
              <a:gd name="T76" fmla="*/ 1644 w 3134"/>
              <a:gd name="T77" fmla="*/ 668 h 1100"/>
              <a:gd name="T78" fmla="*/ 1648 w 3134"/>
              <a:gd name="T79" fmla="*/ 656 h 1100"/>
              <a:gd name="T80" fmla="*/ 1650 w 3134"/>
              <a:gd name="T81" fmla="*/ 642 h 1100"/>
              <a:gd name="T82" fmla="*/ 3134 w 3134"/>
              <a:gd name="T83" fmla="*/ 1100 h 1100"/>
              <a:gd name="T84" fmla="*/ 1650 w 3134"/>
              <a:gd name="T85" fmla="*/ 450 h 1100"/>
              <a:gd name="T86" fmla="*/ 1650 w 3134"/>
              <a:gd name="T87" fmla="*/ 127 h 1100"/>
              <a:gd name="T88" fmla="*/ 1648 w 3134"/>
              <a:gd name="T89" fmla="*/ 114 h 1100"/>
              <a:gd name="T90" fmla="*/ 1644 w 3134"/>
              <a:gd name="T91" fmla="*/ 102 h 1100"/>
              <a:gd name="T92" fmla="*/ 1638 w 3134"/>
              <a:gd name="T93" fmla="*/ 90 h 1100"/>
              <a:gd name="T94" fmla="*/ 1628 w 3134"/>
              <a:gd name="T95" fmla="*/ 78 h 1100"/>
              <a:gd name="T96" fmla="*/ 1617 w 3134"/>
              <a:gd name="T97" fmla="*/ 67 h 1100"/>
              <a:gd name="T98" fmla="*/ 1603 w 3134"/>
              <a:gd name="T99" fmla="*/ 57 h 1100"/>
              <a:gd name="T100" fmla="*/ 1587 w 3134"/>
              <a:gd name="T101" fmla="*/ 47 h 1100"/>
              <a:gd name="T102" fmla="*/ 1570 w 3134"/>
              <a:gd name="T103" fmla="*/ 37 h 1100"/>
              <a:gd name="T104" fmla="*/ 1528 w 3134"/>
              <a:gd name="T105" fmla="*/ 21 h 1100"/>
              <a:gd name="T106" fmla="*/ 1481 w 3134"/>
              <a:gd name="T107" fmla="*/ 10 h 1100"/>
              <a:gd name="T108" fmla="*/ 1430 w 3134"/>
              <a:gd name="T109" fmla="*/ 2 h 1100"/>
              <a:gd name="T110" fmla="*/ 1375 w 3134"/>
              <a:gd name="T111" fmla="*/ 0 h 1100"/>
              <a:gd name="T112" fmla="*/ 962 w 3134"/>
              <a:gd name="T113" fmla="*/ 0 h 1100"/>
              <a:gd name="T114" fmla="*/ 275 w 3134"/>
              <a:gd name="T115"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4" h="1100">
                <a:moveTo>
                  <a:pt x="275" y="0"/>
                </a:moveTo>
                <a:lnTo>
                  <a:pt x="220" y="2"/>
                </a:lnTo>
                <a:lnTo>
                  <a:pt x="169" y="10"/>
                </a:lnTo>
                <a:lnTo>
                  <a:pt x="121" y="21"/>
                </a:lnTo>
                <a:lnTo>
                  <a:pt x="80" y="37"/>
                </a:lnTo>
                <a:lnTo>
                  <a:pt x="62" y="47"/>
                </a:lnTo>
                <a:lnTo>
                  <a:pt x="47" y="57"/>
                </a:lnTo>
                <a:lnTo>
                  <a:pt x="33" y="67"/>
                </a:lnTo>
                <a:lnTo>
                  <a:pt x="21" y="78"/>
                </a:lnTo>
                <a:lnTo>
                  <a:pt x="11" y="90"/>
                </a:lnTo>
                <a:lnTo>
                  <a:pt x="5" y="102"/>
                </a:lnTo>
                <a:lnTo>
                  <a:pt x="2" y="114"/>
                </a:lnTo>
                <a:lnTo>
                  <a:pt x="0" y="127"/>
                </a:lnTo>
                <a:lnTo>
                  <a:pt x="0" y="450"/>
                </a:lnTo>
                <a:lnTo>
                  <a:pt x="0" y="642"/>
                </a:lnTo>
                <a:lnTo>
                  <a:pt x="2" y="656"/>
                </a:lnTo>
                <a:lnTo>
                  <a:pt x="5" y="668"/>
                </a:lnTo>
                <a:lnTo>
                  <a:pt x="11" y="681"/>
                </a:lnTo>
                <a:lnTo>
                  <a:pt x="21" y="693"/>
                </a:lnTo>
                <a:lnTo>
                  <a:pt x="33" y="705"/>
                </a:lnTo>
                <a:lnTo>
                  <a:pt x="47" y="715"/>
                </a:lnTo>
                <a:lnTo>
                  <a:pt x="62" y="725"/>
                </a:lnTo>
                <a:lnTo>
                  <a:pt x="80" y="735"/>
                </a:lnTo>
                <a:lnTo>
                  <a:pt x="121" y="750"/>
                </a:lnTo>
                <a:lnTo>
                  <a:pt x="169" y="762"/>
                </a:lnTo>
                <a:lnTo>
                  <a:pt x="220" y="770"/>
                </a:lnTo>
                <a:lnTo>
                  <a:pt x="275" y="772"/>
                </a:lnTo>
                <a:lnTo>
                  <a:pt x="962" y="772"/>
                </a:lnTo>
                <a:lnTo>
                  <a:pt x="1375" y="772"/>
                </a:lnTo>
                <a:lnTo>
                  <a:pt x="1430" y="770"/>
                </a:lnTo>
                <a:lnTo>
                  <a:pt x="1481" y="762"/>
                </a:lnTo>
                <a:lnTo>
                  <a:pt x="1528" y="750"/>
                </a:lnTo>
                <a:lnTo>
                  <a:pt x="1570" y="735"/>
                </a:lnTo>
                <a:lnTo>
                  <a:pt x="1587" y="725"/>
                </a:lnTo>
                <a:lnTo>
                  <a:pt x="1603" y="715"/>
                </a:lnTo>
                <a:lnTo>
                  <a:pt x="1617" y="705"/>
                </a:lnTo>
                <a:lnTo>
                  <a:pt x="1628" y="693"/>
                </a:lnTo>
                <a:lnTo>
                  <a:pt x="1638" y="681"/>
                </a:lnTo>
                <a:lnTo>
                  <a:pt x="1644" y="668"/>
                </a:lnTo>
                <a:lnTo>
                  <a:pt x="1648" y="656"/>
                </a:lnTo>
                <a:lnTo>
                  <a:pt x="1650" y="642"/>
                </a:lnTo>
                <a:lnTo>
                  <a:pt x="3134" y="1100"/>
                </a:lnTo>
                <a:lnTo>
                  <a:pt x="1650" y="450"/>
                </a:lnTo>
                <a:lnTo>
                  <a:pt x="1650" y="127"/>
                </a:lnTo>
                <a:lnTo>
                  <a:pt x="1648" y="114"/>
                </a:lnTo>
                <a:lnTo>
                  <a:pt x="1644" y="102"/>
                </a:lnTo>
                <a:lnTo>
                  <a:pt x="1638" y="90"/>
                </a:lnTo>
                <a:lnTo>
                  <a:pt x="1628" y="78"/>
                </a:lnTo>
                <a:lnTo>
                  <a:pt x="1617" y="67"/>
                </a:lnTo>
                <a:lnTo>
                  <a:pt x="1603" y="57"/>
                </a:lnTo>
                <a:lnTo>
                  <a:pt x="1587" y="47"/>
                </a:lnTo>
                <a:lnTo>
                  <a:pt x="1570" y="37"/>
                </a:lnTo>
                <a:lnTo>
                  <a:pt x="1528" y="21"/>
                </a:lnTo>
                <a:lnTo>
                  <a:pt x="1481" y="10"/>
                </a:lnTo>
                <a:lnTo>
                  <a:pt x="1430" y="2"/>
                </a:lnTo>
                <a:lnTo>
                  <a:pt x="1375" y="0"/>
                </a:lnTo>
                <a:lnTo>
                  <a:pt x="962" y="0"/>
                </a:lnTo>
                <a:lnTo>
                  <a:pt x="275" y="0"/>
                </a:lnTo>
                <a:close/>
              </a:path>
            </a:pathLst>
          </a:custGeom>
          <a:solidFill>
            <a:srgbClr val="FFFFFF"/>
          </a:solidFill>
          <a:ln w="9525">
            <a:solidFill>
              <a:srgbClr val="000000"/>
            </a:solidFill>
            <a:prstDash val="solid"/>
            <a:round/>
            <a:headEnd/>
            <a:tailEnd/>
          </a:ln>
        </p:spPr>
        <p:txBody>
          <a:bodyPr/>
          <a:lstStyle/>
          <a:p>
            <a:endParaRPr lang="cs-CZ"/>
          </a:p>
        </p:txBody>
      </p:sp>
      <p:sp>
        <p:nvSpPr>
          <p:cNvPr id="201" name="Rectangle 209"/>
          <p:cNvSpPr>
            <a:spLocks noChangeArrowheads="1"/>
          </p:cNvSpPr>
          <p:nvPr/>
        </p:nvSpPr>
        <p:spPr bwMode="auto">
          <a:xfrm>
            <a:off x="1108075" y="3284115"/>
            <a:ext cx="6223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Německo</a:t>
            </a:r>
            <a:endParaRPr lang="cs-CZ" sz="2400" b="0">
              <a:solidFill>
                <a:schemeClr val="tx1"/>
              </a:solidFill>
              <a:latin typeface="Times New Roman" pitchFamily="18" charset="0"/>
              <a:ea typeface="ＭＳ Ｐゴシック" pitchFamily="34" charset="-128"/>
            </a:endParaRPr>
          </a:p>
        </p:txBody>
      </p:sp>
      <p:sp>
        <p:nvSpPr>
          <p:cNvPr id="202" name="Rectangle 210"/>
          <p:cNvSpPr>
            <a:spLocks noChangeArrowheads="1"/>
          </p:cNvSpPr>
          <p:nvPr/>
        </p:nvSpPr>
        <p:spPr bwMode="auto">
          <a:xfrm>
            <a:off x="1108075" y="3453978"/>
            <a:ext cx="6143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se o</a:t>
            </a:r>
            <a:endParaRPr lang="cs-CZ" sz="2400" b="0">
              <a:solidFill>
                <a:schemeClr val="tx1"/>
              </a:solidFill>
              <a:latin typeface="Times New Roman" pitchFamily="18" charset="0"/>
              <a:ea typeface="ＭＳ Ｐゴシック" pitchFamily="34" charset="-128"/>
            </a:endParaRPr>
          </a:p>
        </p:txBody>
      </p:sp>
      <p:sp>
        <p:nvSpPr>
          <p:cNvPr id="203" name="Rectangle 211"/>
          <p:cNvSpPr>
            <a:spLocks noChangeArrowheads="1"/>
          </p:cNvSpPr>
          <p:nvPr/>
        </p:nvSpPr>
        <p:spPr bwMode="auto">
          <a:xfrm>
            <a:off x="1751013" y="3453978"/>
            <a:ext cx="5286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kladu </a:t>
            </a:r>
            <a:endParaRPr lang="cs-CZ" sz="2400" b="0">
              <a:solidFill>
                <a:schemeClr val="tx1"/>
              </a:solidFill>
              <a:latin typeface="Times New Roman" pitchFamily="18" charset="0"/>
              <a:ea typeface="ＭＳ Ｐゴシック" pitchFamily="34" charset="-128"/>
            </a:endParaRPr>
          </a:p>
        </p:txBody>
      </p:sp>
      <p:sp>
        <p:nvSpPr>
          <p:cNvPr id="204" name="Rectangle 212"/>
          <p:cNvSpPr>
            <a:spLocks noChangeArrowheads="1"/>
          </p:cNvSpPr>
          <p:nvPr/>
        </p:nvSpPr>
        <p:spPr bwMode="auto">
          <a:xfrm>
            <a:off x="1108075" y="3619078"/>
            <a:ext cx="7905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stavování </a:t>
            </a:r>
            <a:endParaRPr lang="cs-CZ" sz="2400" b="0">
              <a:solidFill>
                <a:schemeClr val="tx1"/>
              </a:solidFill>
              <a:latin typeface="Times New Roman" pitchFamily="18" charset="0"/>
              <a:ea typeface="ＭＳ Ｐゴシック" pitchFamily="34" charset="-128"/>
            </a:endParaRPr>
          </a:p>
        </p:txBody>
      </p:sp>
      <p:sp>
        <p:nvSpPr>
          <p:cNvPr id="205" name="Freeform 213"/>
          <p:cNvSpPr>
            <a:spLocks/>
          </p:cNvSpPr>
          <p:nvPr/>
        </p:nvSpPr>
        <p:spPr bwMode="auto">
          <a:xfrm>
            <a:off x="4179888" y="1988715"/>
            <a:ext cx="1646237" cy="792163"/>
          </a:xfrm>
          <a:custGeom>
            <a:avLst/>
            <a:gdLst>
              <a:gd name="T0" fmla="*/ 720 w 2073"/>
              <a:gd name="T1" fmla="*/ 0 h 998"/>
              <a:gd name="T2" fmla="*/ 665 w 2073"/>
              <a:gd name="T3" fmla="*/ 3 h 998"/>
              <a:gd name="T4" fmla="*/ 614 w 2073"/>
              <a:gd name="T5" fmla="*/ 13 h 998"/>
              <a:gd name="T6" fmla="*/ 568 w 2073"/>
              <a:gd name="T7" fmla="*/ 29 h 998"/>
              <a:gd name="T8" fmla="*/ 529 w 2073"/>
              <a:gd name="T9" fmla="*/ 49 h 998"/>
              <a:gd name="T10" fmla="*/ 511 w 2073"/>
              <a:gd name="T11" fmla="*/ 60 h 998"/>
              <a:gd name="T12" fmla="*/ 496 w 2073"/>
              <a:gd name="T13" fmla="*/ 72 h 998"/>
              <a:gd name="T14" fmla="*/ 482 w 2073"/>
              <a:gd name="T15" fmla="*/ 86 h 998"/>
              <a:gd name="T16" fmla="*/ 470 w 2073"/>
              <a:gd name="T17" fmla="*/ 102 h 998"/>
              <a:gd name="T18" fmla="*/ 460 w 2073"/>
              <a:gd name="T19" fmla="*/ 117 h 998"/>
              <a:gd name="T20" fmla="*/ 454 w 2073"/>
              <a:gd name="T21" fmla="*/ 133 h 998"/>
              <a:gd name="T22" fmla="*/ 450 w 2073"/>
              <a:gd name="T23" fmla="*/ 149 h 998"/>
              <a:gd name="T24" fmla="*/ 448 w 2073"/>
              <a:gd name="T25" fmla="*/ 167 h 998"/>
              <a:gd name="T26" fmla="*/ 448 w 2073"/>
              <a:gd name="T27" fmla="*/ 581 h 998"/>
              <a:gd name="T28" fmla="*/ 0 w 2073"/>
              <a:gd name="T29" fmla="*/ 548 h 998"/>
              <a:gd name="T30" fmla="*/ 448 w 2073"/>
              <a:gd name="T31" fmla="*/ 831 h 998"/>
              <a:gd name="T32" fmla="*/ 450 w 2073"/>
              <a:gd name="T33" fmla="*/ 848 h 998"/>
              <a:gd name="T34" fmla="*/ 454 w 2073"/>
              <a:gd name="T35" fmla="*/ 864 h 998"/>
              <a:gd name="T36" fmla="*/ 460 w 2073"/>
              <a:gd name="T37" fmla="*/ 880 h 998"/>
              <a:gd name="T38" fmla="*/ 470 w 2073"/>
              <a:gd name="T39" fmla="*/ 895 h 998"/>
              <a:gd name="T40" fmla="*/ 482 w 2073"/>
              <a:gd name="T41" fmla="*/ 911 h 998"/>
              <a:gd name="T42" fmla="*/ 496 w 2073"/>
              <a:gd name="T43" fmla="*/ 925 h 998"/>
              <a:gd name="T44" fmla="*/ 511 w 2073"/>
              <a:gd name="T45" fmla="*/ 937 h 998"/>
              <a:gd name="T46" fmla="*/ 529 w 2073"/>
              <a:gd name="T47" fmla="*/ 948 h 998"/>
              <a:gd name="T48" fmla="*/ 568 w 2073"/>
              <a:gd name="T49" fmla="*/ 970 h 998"/>
              <a:gd name="T50" fmla="*/ 614 w 2073"/>
              <a:gd name="T51" fmla="*/ 984 h 998"/>
              <a:gd name="T52" fmla="*/ 665 w 2073"/>
              <a:gd name="T53" fmla="*/ 994 h 998"/>
              <a:gd name="T54" fmla="*/ 720 w 2073"/>
              <a:gd name="T55" fmla="*/ 998 h 998"/>
              <a:gd name="T56" fmla="*/ 1126 w 2073"/>
              <a:gd name="T57" fmla="*/ 998 h 998"/>
              <a:gd name="T58" fmla="*/ 1802 w 2073"/>
              <a:gd name="T59" fmla="*/ 998 h 998"/>
              <a:gd name="T60" fmla="*/ 1857 w 2073"/>
              <a:gd name="T61" fmla="*/ 994 h 998"/>
              <a:gd name="T62" fmla="*/ 1908 w 2073"/>
              <a:gd name="T63" fmla="*/ 984 h 998"/>
              <a:gd name="T64" fmla="*/ 1954 w 2073"/>
              <a:gd name="T65" fmla="*/ 970 h 998"/>
              <a:gd name="T66" fmla="*/ 1995 w 2073"/>
              <a:gd name="T67" fmla="*/ 948 h 998"/>
              <a:gd name="T68" fmla="*/ 2011 w 2073"/>
              <a:gd name="T69" fmla="*/ 937 h 998"/>
              <a:gd name="T70" fmla="*/ 2026 w 2073"/>
              <a:gd name="T71" fmla="*/ 925 h 998"/>
              <a:gd name="T72" fmla="*/ 2040 w 2073"/>
              <a:gd name="T73" fmla="*/ 911 h 998"/>
              <a:gd name="T74" fmla="*/ 2052 w 2073"/>
              <a:gd name="T75" fmla="*/ 895 h 998"/>
              <a:gd name="T76" fmla="*/ 2062 w 2073"/>
              <a:gd name="T77" fmla="*/ 880 h 998"/>
              <a:gd name="T78" fmla="*/ 2068 w 2073"/>
              <a:gd name="T79" fmla="*/ 864 h 998"/>
              <a:gd name="T80" fmla="*/ 2071 w 2073"/>
              <a:gd name="T81" fmla="*/ 848 h 998"/>
              <a:gd name="T82" fmla="*/ 2073 w 2073"/>
              <a:gd name="T83" fmla="*/ 831 h 998"/>
              <a:gd name="T84" fmla="*/ 2073 w 2073"/>
              <a:gd name="T85" fmla="*/ 581 h 998"/>
              <a:gd name="T86" fmla="*/ 2073 w 2073"/>
              <a:gd name="T87" fmla="*/ 167 h 998"/>
              <a:gd name="T88" fmla="*/ 2071 w 2073"/>
              <a:gd name="T89" fmla="*/ 149 h 998"/>
              <a:gd name="T90" fmla="*/ 2068 w 2073"/>
              <a:gd name="T91" fmla="*/ 133 h 998"/>
              <a:gd name="T92" fmla="*/ 2062 w 2073"/>
              <a:gd name="T93" fmla="*/ 117 h 998"/>
              <a:gd name="T94" fmla="*/ 2052 w 2073"/>
              <a:gd name="T95" fmla="*/ 102 h 998"/>
              <a:gd name="T96" fmla="*/ 2040 w 2073"/>
              <a:gd name="T97" fmla="*/ 86 h 998"/>
              <a:gd name="T98" fmla="*/ 2026 w 2073"/>
              <a:gd name="T99" fmla="*/ 72 h 998"/>
              <a:gd name="T100" fmla="*/ 2011 w 2073"/>
              <a:gd name="T101" fmla="*/ 60 h 998"/>
              <a:gd name="T102" fmla="*/ 1995 w 2073"/>
              <a:gd name="T103" fmla="*/ 49 h 998"/>
              <a:gd name="T104" fmla="*/ 1954 w 2073"/>
              <a:gd name="T105" fmla="*/ 29 h 998"/>
              <a:gd name="T106" fmla="*/ 1908 w 2073"/>
              <a:gd name="T107" fmla="*/ 13 h 998"/>
              <a:gd name="T108" fmla="*/ 1857 w 2073"/>
              <a:gd name="T109" fmla="*/ 3 h 998"/>
              <a:gd name="T110" fmla="*/ 1802 w 2073"/>
              <a:gd name="T111" fmla="*/ 0 h 998"/>
              <a:gd name="T112" fmla="*/ 1126 w 2073"/>
              <a:gd name="T113" fmla="*/ 0 h 998"/>
              <a:gd name="T114" fmla="*/ 720 w 2073"/>
              <a:gd name="T115" fmla="*/ 0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73" h="998">
                <a:moveTo>
                  <a:pt x="720" y="0"/>
                </a:moveTo>
                <a:lnTo>
                  <a:pt x="665" y="3"/>
                </a:lnTo>
                <a:lnTo>
                  <a:pt x="614" y="13"/>
                </a:lnTo>
                <a:lnTo>
                  <a:pt x="568" y="29"/>
                </a:lnTo>
                <a:lnTo>
                  <a:pt x="529" y="49"/>
                </a:lnTo>
                <a:lnTo>
                  <a:pt x="511" y="60"/>
                </a:lnTo>
                <a:lnTo>
                  <a:pt x="496" y="72"/>
                </a:lnTo>
                <a:lnTo>
                  <a:pt x="482" y="86"/>
                </a:lnTo>
                <a:lnTo>
                  <a:pt x="470" y="102"/>
                </a:lnTo>
                <a:lnTo>
                  <a:pt x="460" y="117"/>
                </a:lnTo>
                <a:lnTo>
                  <a:pt x="454" y="133"/>
                </a:lnTo>
                <a:lnTo>
                  <a:pt x="450" y="149"/>
                </a:lnTo>
                <a:lnTo>
                  <a:pt x="448" y="167"/>
                </a:lnTo>
                <a:lnTo>
                  <a:pt x="448" y="581"/>
                </a:lnTo>
                <a:lnTo>
                  <a:pt x="0" y="548"/>
                </a:lnTo>
                <a:lnTo>
                  <a:pt x="448" y="831"/>
                </a:lnTo>
                <a:lnTo>
                  <a:pt x="450" y="848"/>
                </a:lnTo>
                <a:lnTo>
                  <a:pt x="454" y="864"/>
                </a:lnTo>
                <a:lnTo>
                  <a:pt x="460" y="880"/>
                </a:lnTo>
                <a:lnTo>
                  <a:pt x="470" y="895"/>
                </a:lnTo>
                <a:lnTo>
                  <a:pt x="482" y="911"/>
                </a:lnTo>
                <a:lnTo>
                  <a:pt x="496" y="925"/>
                </a:lnTo>
                <a:lnTo>
                  <a:pt x="511" y="937"/>
                </a:lnTo>
                <a:lnTo>
                  <a:pt x="529" y="948"/>
                </a:lnTo>
                <a:lnTo>
                  <a:pt x="568" y="970"/>
                </a:lnTo>
                <a:lnTo>
                  <a:pt x="614" y="984"/>
                </a:lnTo>
                <a:lnTo>
                  <a:pt x="665" y="994"/>
                </a:lnTo>
                <a:lnTo>
                  <a:pt x="720" y="998"/>
                </a:lnTo>
                <a:lnTo>
                  <a:pt x="1126" y="998"/>
                </a:lnTo>
                <a:lnTo>
                  <a:pt x="1802" y="998"/>
                </a:lnTo>
                <a:lnTo>
                  <a:pt x="1857" y="994"/>
                </a:lnTo>
                <a:lnTo>
                  <a:pt x="1908" y="984"/>
                </a:lnTo>
                <a:lnTo>
                  <a:pt x="1954" y="970"/>
                </a:lnTo>
                <a:lnTo>
                  <a:pt x="1995" y="948"/>
                </a:lnTo>
                <a:lnTo>
                  <a:pt x="2011" y="937"/>
                </a:lnTo>
                <a:lnTo>
                  <a:pt x="2026" y="925"/>
                </a:lnTo>
                <a:lnTo>
                  <a:pt x="2040" y="911"/>
                </a:lnTo>
                <a:lnTo>
                  <a:pt x="2052" y="895"/>
                </a:lnTo>
                <a:lnTo>
                  <a:pt x="2062" y="880"/>
                </a:lnTo>
                <a:lnTo>
                  <a:pt x="2068" y="864"/>
                </a:lnTo>
                <a:lnTo>
                  <a:pt x="2071" y="848"/>
                </a:lnTo>
                <a:lnTo>
                  <a:pt x="2073" y="831"/>
                </a:lnTo>
                <a:lnTo>
                  <a:pt x="2073" y="581"/>
                </a:lnTo>
                <a:lnTo>
                  <a:pt x="2073" y="167"/>
                </a:lnTo>
                <a:lnTo>
                  <a:pt x="2071" y="149"/>
                </a:lnTo>
                <a:lnTo>
                  <a:pt x="2068" y="133"/>
                </a:lnTo>
                <a:lnTo>
                  <a:pt x="2062" y="117"/>
                </a:lnTo>
                <a:lnTo>
                  <a:pt x="2052" y="102"/>
                </a:lnTo>
                <a:lnTo>
                  <a:pt x="2040" y="86"/>
                </a:lnTo>
                <a:lnTo>
                  <a:pt x="2026" y="72"/>
                </a:lnTo>
                <a:lnTo>
                  <a:pt x="2011" y="60"/>
                </a:lnTo>
                <a:lnTo>
                  <a:pt x="1995" y="49"/>
                </a:lnTo>
                <a:lnTo>
                  <a:pt x="1954" y="29"/>
                </a:lnTo>
                <a:lnTo>
                  <a:pt x="1908" y="13"/>
                </a:lnTo>
                <a:lnTo>
                  <a:pt x="1857" y="3"/>
                </a:lnTo>
                <a:lnTo>
                  <a:pt x="1802" y="0"/>
                </a:lnTo>
                <a:lnTo>
                  <a:pt x="1126" y="0"/>
                </a:lnTo>
                <a:lnTo>
                  <a:pt x="720" y="0"/>
                </a:lnTo>
                <a:close/>
              </a:path>
            </a:pathLst>
          </a:custGeom>
          <a:solidFill>
            <a:srgbClr val="FFFFFF"/>
          </a:solidFill>
          <a:ln w="9525">
            <a:solidFill>
              <a:srgbClr val="000000"/>
            </a:solidFill>
            <a:prstDash val="solid"/>
            <a:round/>
            <a:headEnd/>
            <a:tailEnd/>
          </a:ln>
        </p:spPr>
        <p:txBody>
          <a:bodyPr/>
          <a:lstStyle/>
          <a:p>
            <a:endParaRPr lang="cs-CZ"/>
          </a:p>
        </p:txBody>
      </p:sp>
      <p:sp>
        <p:nvSpPr>
          <p:cNvPr id="206" name="Rectangle 214"/>
          <p:cNvSpPr>
            <a:spLocks noChangeArrowheads="1"/>
          </p:cNvSpPr>
          <p:nvPr/>
        </p:nvSpPr>
        <p:spPr bwMode="auto">
          <a:xfrm>
            <a:off x="4619625" y="2060153"/>
            <a:ext cx="5762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Švédsko</a:t>
            </a:r>
            <a:endParaRPr lang="cs-CZ" sz="2400" b="0">
              <a:solidFill>
                <a:schemeClr val="tx1"/>
              </a:solidFill>
              <a:latin typeface="Times New Roman" pitchFamily="18" charset="0"/>
              <a:ea typeface="ＭＳ Ｐゴシック" pitchFamily="34" charset="-128"/>
            </a:endParaRPr>
          </a:p>
        </p:txBody>
      </p:sp>
      <p:sp>
        <p:nvSpPr>
          <p:cNvPr id="207" name="Rectangle 215"/>
          <p:cNvSpPr>
            <a:spLocks noChangeArrowheads="1"/>
          </p:cNvSpPr>
          <p:nvPr/>
        </p:nvSpPr>
        <p:spPr bwMode="auto">
          <a:xfrm>
            <a:off x="4619625" y="2230015"/>
            <a:ext cx="4984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208" name="Rectangle 216"/>
          <p:cNvSpPr>
            <a:spLocks noChangeArrowheads="1"/>
          </p:cNvSpPr>
          <p:nvPr/>
        </p:nvSpPr>
        <p:spPr bwMode="auto">
          <a:xfrm>
            <a:off x="5146675" y="2230015"/>
            <a:ext cx="1158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209" name="Rectangle 217"/>
          <p:cNvSpPr>
            <a:spLocks noChangeArrowheads="1"/>
          </p:cNvSpPr>
          <p:nvPr/>
        </p:nvSpPr>
        <p:spPr bwMode="auto">
          <a:xfrm>
            <a:off x="4619625" y="2395115"/>
            <a:ext cx="5286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kladu </a:t>
            </a:r>
            <a:endParaRPr lang="cs-CZ" sz="2400" b="0">
              <a:solidFill>
                <a:schemeClr val="tx1"/>
              </a:solidFill>
              <a:latin typeface="Times New Roman" pitchFamily="18" charset="0"/>
              <a:ea typeface="ＭＳ Ｐゴシック" pitchFamily="34" charset="-128"/>
            </a:endParaRPr>
          </a:p>
        </p:txBody>
      </p:sp>
      <p:sp>
        <p:nvSpPr>
          <p:cNvPr id="210" name="Rectangle 218"/>
          <p:cNvSpPr>
            <a:spLocks noChangeArrowheads="1"/>
          </p:cNvSpPr>
          <p:nvPr/>
        </p:nvSpPr>
        <p:spPr bwMode="auto">
          <a:xfrm>
            <a:off x="4619625" y="2560215"/>
            <a:ext cx="7524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stavování</a:t>
            </a:r>
            <a:endParaRPr lang="cs-CZ" sz="2400" b="0">
              <a:solidFill>
                <a:schemeClr val="tx1"/>
              </a:solidFill>
              <a:latin typeface="Times New Roman" pitchFamily="18" charset="0"/>
              <a:ea typeface="ＭＳ Ｐゴシック" pitchFamily="34" charset="-128"/>
            </a:endParaRPr>
          </a:p>
        </p:txBody>
      </p:sp>
      <p:sp>
        <p:nvSpPr>
          <p:cNvPr id="212" name="Rectangle 220"/>
          <p:cNvSpPr>
            <a:spLocks noChangeArrowheads="1"/>
          </p:cNvSpPr>
          <p:nvPr/>
        </p:nvSpPr>
        <p:spPr bwMode="auto">
          <a:xfrm>
            <a:off x="2251075" y="5487565"/>
            <a:ext cx="3159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Itálie</a:t>
            </a:r>
            <a:endParaRPr lang="cs-CZ" sz="2400" b="0">
              <a:solidFill>
                <a:schemeClr val="tx1"/>
              </a:solidFill>
              <a:latin typeface="Times New Roman" pitchFamily="18" charset="0"/>
              <a:ea typeface="ＭＳ Ｐゴシック" pitchFamily="34" charset="-128"/>
            </a:endParaRPr>
          </a:p>
        </p:txBody>
      </p:sp>
      <p:sp>
        <p:nvSpPr>
          <p:cNvPr id="221" name="Freeform 229"/>
          <p:cNvSpPr>
            <a:spLocks/>
          </p:cNvSpPr>
          <p:nvPr/>
        </p:nvSpPr>
        <p:spPr bwMode="auto">
          <a:xfrm>
            <a:off x="4605338" y="2652290"/>
            <a:ext cx="1828800" cy="1171575"/>
          </a:xfrm>
          <a:custGeom>
            <a:avLst/>
            <a:gdLst>
              <a:gd name="T0" fmla="*/ 872 w 2303"/>
              <a:gd name="T1" fmla="*/ 0 h 1475"/>
              <a:gd name="T2" fmla="*/ 815 w 2303"/>
              <a:gd name="T3" fmla="*/ 2 h 1475"/>
              <a:gd name="T4" fmla="*/ 762 w 2303"/>
              <a:gd name="T5" fmla="*/ 9 h 1475"/>
              <a:gd name="T6" fmla="*/ 713 w 2303"/>
              <a:gd name="T7" fmla="*/ 21 h 1475"/>
              <a:gd name="T8" fmla="*/ 672 w 2303"/>
              <a:gd name="T9" fmla="*/ 37 h 1475"/>
              <a:gd name="T10" fmla="*/ 652 w 2303"/>
              <a:gd name="T11" fmla="*/ 47 h 1475"/>
              <a:gd name="T12" fmla="*/ 637 w 2303"/>
              <a:gd name="T13" fmla="*/ 57 h 1475"/>
              <a:gd name="T14" fmla="*/ 623 w 2303"/>
              <a:gd name="T15" fmla="*/ 66 h 1475"/>
              <a:gd name="T16" fmla="*/ 609 w 2303"/>
              <a:gd name="T17" fmla="*/ 78 h 1475"/>
              <a:gd name="T18" fmla="*/ 601 w 2303"/>
              <a:gd name="T19" fmla="*/ 90 h 1475"/>
              <a:gd name="T20" fmla="*/ 593 w 2303"/>
              <a:gd name="T21" fmla="*/ 102 h 1475"/>
              <a:gd name="T22" fmla="*/ 589 w 2303"/>
              <a:gd name="T23" fmla="*/ 113 h 1475"/>
              <a:gd name="T24" fmla="*/ 587 w 2303"/>
              <a:gd name="T25" fmla="*/ 127 h 1475"/>
              <a:gd name="T26" fmla="*/ 587 w 2303"/>
              <a:gd name="T27" fmla="*/ 449 h 1475"/>
              <a:gd name="T28" fmla="*/ 587 w 2303"/>
              <a:gd name="T29" fmla="*/ 642 h 1475"/>
              <a:gd name="T30" fmla="*/ 589 w 2303"/>
              <a:gd name="T31" fmla="*/ 656 h 1475"/>
              <a:gd name="T32" fmla="*/ 593 w 2303"/>
              <a:gd name="T33" fmla="*/ 668 h 1475"/>
              <a:gd name="T34" fmla="*/ 601 w 2303"/>
              <a:gd name="T35" fmla="*/ 681 h 1475"/>
              <a:gd name="T36" fmla="*/ 609 w 2303"/>
              <a:gd name="T37" fmla="*/ 693 h 1475"/>
              <a:gd name="T38" fmla="*/ 623 w 2303"/>
              <a:gd name="T39" fmla="*/ 705 h 1475"/>
              <a:gd name="T40" fmla="*/ 637 w 2303"/>
              <a:gd name="T41" fmla="*/ 715 h 1475"/>
              <a:gd name="T42" fmla="*/ 652 w 2303"/>
              <a:gd name="T43" fmla="*/ 725 h 1475"/>
              <a:gd name="T44" fmla="*/ 672 w 2303"/>
              <a:gd name="T45" fmla="*/ 734 h 1475"/>
              <a:gd name="T46" fmla="*/ 713 w 2303"/>
              <a:gd name="T47" fmla="*/ 750 h 1475"/>
              <a:gd name="T48" fmla="*/ 762 w 2303"/>
              <a:gd name="T49" fmla="*/ 762 h 1475"/>
              <a:gd name="T50" fmla="*/ 815 w 2303"/>
              <a:gd name="T51" fmla="*/ 770 h 1475"/>
              <a:gd name="T52" fmla="*/ 872 w 2303"/>
              <a:gd name="T53" fmla="*/ 772 h 1475"/>
              <a:gd name="T54" fmla="*/ 0 w 2303"/>
              <a:gd name="T55" fmla="*/ 1475 h 1475"/>
              <a:gd name="T56" fmla="*/ 1303 w 2303"/>
              <a:gd name="T57" fmla="*/ 772 h 1475"/>
              <a:gd name="T58" fmla="*/ 2016 w 2303"/>
              <a:gd name="T59" fmla="*/ 772 h 1475"/>
              <a:gd name="T60" fmla="*/ 2075 w 2303"/>
              <a:gd name="T61" fmla="*/ 770 h 1475"/>
              <a:gd name="T62" fmla="*/ 2128 w 2303"/>
              <a:gd name="T63" fmla="*/ 762 h 1475"/>
              <a:gd name="T64" fmla="*/ 2177 w 2303"/>
              <a:gd name="T65" fmla="*/ 750 h 1475"/>
              <a:gd name="T66" fmla="*/ 2218 w 2303"/>
              <a:gd name="T67" fmla="*/ 734 h 1475"/>
              <a:gd name="T68" fmla="*/ 2238 w 2303"/>
              <a:gd name="T69" fmla="*/ 725 h 1475"/>
              <a:gd name="T70" fmla="*/ 2254 w 2303"/>
              <a:gd name="T71" fmla="*/ 715 h 1475"/>
              <a:gd name="T72" fmla="*/ 2267 w 2303"/>
              <a:gd name="T73" fmla="*/ 705 h 1475"/>
              <a:gd name="T74" fmla="*/ 2281 w 2303"/>
              <a:gd name="T75" fmla="*/ 693 h 1475"/>
              <a:gd name="T76" fmla="*/ 2289 w 2303"/>
              <a:gd name="T77" fmla="*/ 681 h 1475"/>
              <a:gd name="T78" fmla="*/ 2297 w 2303"/>
              <a:gd name="T79" fmla="*/ 668 h 1475"/>
              <a:gd name="T80" fmla="*/ 2301 w 2303"/>
              <a:gd name="T81" fmla="*/ 656 h 1475"/>
              <a:gd name="T82" fmla="*/ 2303 w 2303"/>
              <a:gd name="T83" fmla="*/ 642 h 1475"/>
              <a:gd name="T84" fmla="*/ 2303 w 2303"/>
              <a:gd name="T85" fmla="*/ 449 h 1475"/>
              <a:gd name="T86" fmla="*/ 2303 w 2303"/>
              <a:gd name="T87" fmla="*/ 127 h 1475"/>
              <a:gd name="T88" fmla="*/ 2301 w 2303"/>
              <a:gd name="T89" fmla="*/ 113 h 1475"/>
              <a:gd name="T90" fmla="*/ 2297 w 2303"/>
              <a:gd name="T91" fmla="*/ 102 h 1475"/>
              <a:gd name="T92" fmla="*/ 2289 w 2303"/>
              <a:gd name="T93" fmla="*/ 90 h 1475"/>
              <a:gd name="T94" fmla="*/ 2281 w 2303"/>
              <a:gd name="T95" fmla="*/ 78 h 1475"/>
              <a:gd name="T96" fmla="*/ 2267 w 2303"/>
              <a:gd name="T97" fmla="*/ 66 h 1475"/>
              <a:gd name="T98" fmla="*/ 2254 w 2303"/>
              <a:gd name="T99" fmla="*/ 57 h 1475"/>
              <a:gd name="T100" fmla="*/ 2238 w 2303"/>
              <a:gd name="T101" fmla="*/ 47 h 1475"/>
              <a:gd name="T102" fmla="*/ 2218 w 2303"/>
              <a:gd name="T103" fmla="*/ 37 h 1475"/>
              <a:gd name="T104" fmla="*/ 2177 w 2303"/>
              <a:gd name="T105" fmla="*/ 21 h 1475"/>
              <a:gd name="T106" fmla="*/ 2128 w 2303"/>
              <a:gd name="T107" fmla="*/ 9 h 1475"/>
              <a:gd name="T108" fmla="*/ 2075 w 2303"/>
              <a:gd name="T109" fmla="*/ 2 h 1475"/>
              <a:gd name="T110" fmla="*/ 2016 w 2303"/>
              <a:gd name="T111" fmla="*/ 0 h 1475"/>
              <a:gd name="T112" fmla="*/ 1303 w 2303"/>
              <a:gd name="T113" fmla="*/ 0 h 1475"/>
              <a:gd name="T114" fmla="*/ 872 w 2303"/>
              <a:gd name="T115" fmla="*/ 0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3" h="1475">
                <a:moveTo>
                  <a:pt x="872" y="0"/>
                </a:moveTo>
                <a:lnTo>
                  <a:pt x="815" y="2"/>
                </a:lnTo>
                <a:lnTo>
                  <a:pt x="762" y="9"/>
                </a:lnTo>
                <a:lnTo>
                  <a:pt x="713" y="21"/>
                </a:lnTo>
                <a:lnTo>
                  <a:pt x="672" y="37"/>
                </a:lnTo>
                <a:lnTo>
                  <a:pt x="652" y="47"/>
                </a:lnTo>
                <a:lnTo>
                  <a:pt x="637" y="57"/>
                </a:lnTo>
                <a:lnTo>
                  <a:pt x="623" y="66"/>
                </a:lnTo>
                <a:lnTo>
                  <a:pt x="609" y="78"/>
                </a:lnTo>
                <a:lnTo>
                  <a:pt x="601" y="90"/>
                </a:lnTo>
                <a:lnTo>
                  <a:pt x="593" y="102"/>
                </a:lnTo>
                <a:lnTo>
                  <a:pt x="589" y="113"/>
                </a:lnTo>
                <a:lnTo>
                  <a:pt x="587" y="127"/>
                </a:lnTo>
                <a:lnTo>
                  <a:pt x="587" y="449"/>
                </a:lnTo>
                <a:lnTo>
                  <a:pt x="587" y="642"/>
                </a:lnTo>
                <a:lnTo>
                  <a:pt x="589" y="656"/>
                </a:lnTo>
                <a:lnTo>
                  <a:pt x="593" y="668"/>
                </a:lnTo>
                <a:lnTo>
                  <a:pt x="601" y="681"/>
                </a:lnTo>
                <a:lnTo>
                  <a:pt x="609" y="693"/>
                </a:lnTo>
                <a:lnTo>
                  <a:pt x="623" y="705"/>
                </a:lnTo>
                <a:lnTo>
                  <a:pt x="637" y="715"/>
                </a:lnTo>
                <a:lnTo>
                  <a:pt x="652" y="725"/>
                </a:lnTo>
                <a:lnTo>
                  <a:pt x="672" y="734"/>
                </a:lnTo>
                <a:lnTo>
                  <a:pt x="713" y="750"/>
                </a:lnTo>
                <a:lnTo>
                  <a:pt x="762" y="762"/>
                </a:lnTo>
                <a:lnTo>
                  <a:pt x="815" y="770"/>
                </a:lnTo>
                <a:lnTo>
                  <a:pt x="872" y="772"/>
                </a:lnTo>
                <a:lnTo>
                  <a:pt x="0" y="1475"/>
                </a:lnTo>
                <a:lnTo>
                  <a:pt x="1303" y="772"/>
                </a:lnTo>
                <a:lnTo>
                  <a:pt x="2016" y="772"/>
                </a:lnTo>
                <a:lnTo>
                  <a:pt x="2075" y="770"/>
                </a:lnTo>
                <a:lnTo>
                  <a:pt x="2128" y="762"/>
                </a:lnTo>
                <a:lnTo>
                  <a:pt x="2177" y="750"/>
                </a:lnTo>
                <a:lnTo>
                  <a:pt x="2218" y="734"/>
                </a:lnTo>
                <a:lnTo>
                  <a:pt x="2238" y="725"/>
                </a:lnTo>
                <a:lnTo>
                  <a:pt x="2254" y="715"/>
                </a:lnTo>
                <a:lnTo>
                  <a:pt x="2267" y="705"/>
                </a:lnTo>
                <a:lnTo>
                  <a:pt x="2281" y="693"/>
                </a:lnTo>
                <a:lnTo>
                  <a:pt x="2289" y="681"/>
                </a:lnTo>
                <a:lnTo>
                  <a:pt x="2297" y="668"/>
                </a:lnTo>
                <a:lnTo>
                  <a:pt x="2301" y="656"/>
                </a:lnTo>
                <a:lnTo>
                  <a:pt x="2303" y="642"/>
                </a:lnTo>
                <a:lnTo>
                  <a:pt x="2303" y="449"/>
                </a:lnTo>
                <a:lnTo>
                  <a:pt x="2303" y="127"/>
                </a:lnTo>
                <a:lnTo>
                  <a:pt x="2301" y="113"/>
                </a:lnTo>
                <a:lnTo>
                  <a:pt x="2297" y="102"/>
                </a:lnTo>
                <a:lnTo>
                  <a:pt x="2289" y="90"/>
                </a:lnTo>
                <a:lnTo>
                  <a:pt x="2281" y="78"/>
                </a:lnTo>
                <a:lnTo>
                  <a:pt x="2267" y="66"/>
                </a:lnTo>
                <a:lnTo>
                  <a:pt x="2254" y="57"/>
                </a:lnTo>
                <a:lnTo>
                  <a:pt x="2238" y="47"/>
                </a:lnTo>
                <a:lnTo>
                  <a:pt x="2218" y="37"/>
                </a:lnTo>
                <a:lnTo>
                  <a:pt x="2177" y="21"/>
                </a:lnTo>
                <a:lnTo>
                  <a:pt x="2128" y="9"/>
                </a:lnTo>
                <a:lnTo>
                  <a:pt x="2075" y="2"/>
                </a:lnTo>
                <a:lnTo>
                  <a:pt x="2016" y="0"/>
                </a:lnTo>
                <a:lnTo>
                  <a:pt x="1303" y="0"/>
                </a:lnTo>
                <a:lnTo>
                  <a:pt x="872" y="0"/>
                </a:lnTo>
                <a:close/>
              </a:path>
            </a:pathLst>
          </a:custGeom>
          <a:solidFill>
            <a:srgbClr val="FFFFFF"/>
          </a:solidFill>
          <a:ln w="9525">
            <a:solidFill>
              <a:srgbClr val="000000"/>
            </a:solidFill>
            <a:prstDash val="solid"/>
            <a:round/>
            <a:headEnd/>
            <a:tailEnd/>
          </a:ln>
        </p:spPr>
        <p:txBody>
          <a:bodyPr/>
          <a:lstStyle/>
          <a:p>
            <a:endParaRPr lang="cs-CZ"/>
          </a:p>
        </p:txBody>
      </p:sp>
      <p:sp>
        <p:nvSpPr>
          <p:cNvPr id="222" name="Rectangle 230"/>
          <p:cNvSpPr>
            <a:spLocks noChangeArrowheads="1"/>
          </p:cNvSpPr>
          <p:nvPr/>
        </p:nvSpPr>
        <p:spPr bwMode="auto">
          <a:xfrm>
            <a:off x="5159375" y="2717378"/>
            <a:ext cx="458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Polsko</a:t>
            </a:r>
            <a:endParaRPr lang="cs-CZ" sz="2400" b="0">
              <a:solidFill>
                <a:schemeClr val="tx1"/>
              </a:solidFill>
              <a:latin typeface="Times New Roman" pitchFamily="18" charset="0"/>
              <a:ea typeface="ＭＳ Ｐゴシック" pitchFamily="34" charset="-128"/>
            </a:endParaRPr>
          </a:p>
        </p:txBody>
      </p:sp>
      <p:sp>
        <p:nvSpPr>
          <p:cNvPr id="223" name="Rectangle 231"/>
          <p:cNvSpPr>
            <a:spLocks noChangeArrowheads="1"/>
          </p:cNvSpPr>
          <p:nvPr/>
        </p:nvSpPr>
        <p:spPr bwMode="auto">
          <a:xfrm>
            <a:off x="5159375" y="2887240"/>
            <a:ext cx="5730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tevřena</a:t>
            </a:r>
            <a:endParaRPr lang="cs-CZ" sz="2400" b="0">
              <a:solidFill>
                <a:schemeClr val="tx1"/>
              </a:solidFill>
              <a:latin typeface="Times New Roman" pitchFamily="18" charset="0"/>
              <a:ea typeface="ＭＳ Ｐゴシック" pitchFamily="34" charset="-128"/>
            </a:endParaRPr>
          </a:p>
        </p:txBody>
      </p:sp>
      <p:sp>
        <p:nvSpPr>
          <p:cNvPr id="224" name="Rectangle 232"/>
          <p:cNvSpPr>
            <a:spLocks noChangeArrowheads="1"/>
          </p:cNvSpPr>
          <p:nvPr/>
        </p:nvSpPr>
        <p:spPr bwMode="auto">
          <a:xfrm>
            <a:off x="5757863" y="2887240"/>
            <a:ext cx="4746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225" name="Rectangle 233"/>
          <p:cNvSpPr>
            <a:spLocks noChangeArrowheads="1"/>
          </p:cNvSpPr>
          <p:nvPr/>
        </p:nvSpPr>
        <p:spPr bwMode="auto">
          <a:xfrm>
            <a:off x="6262688" y="2887240"/>
            <a:ext cx="115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226" name="Rectangle 234"/>
          <p:cNvSpPr>
            <a:spLocks noChangeArrowheads="1"/>
          </p:cNvSpPr>
          <p:nvPr/>
        </p:nvSpPr>
        <p:spPr bwMode="auto">
          <a:xfrm>
            <a:off x="5159375" y="3052340"/>
            <a:ext cx="11160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ýstavbě 1. bloku </a:t>
            </a:r>
            <a:endParaRPr lang="cs-CZ" sz="2400" b="0">
              <a:solidFill>
                <a:schemeClr val="tx1"/>
              </a:solidFill>
              <a:latin typeface="Times New Roman" pitchFamily="18" charset="0"/>
              <a:ea typeface="ＭＳ Ｐゴシック" pitchFamily="34" charset="-128"/>
            </a:endParaRPr>
          </a:p>
        </p:txBody>
      </p:sp>
      <p:sp>
        <p:nvSpPr>
          <p:cNvPr id="227" name="Freeform 235"/>
          <p:cNvSpPr>
            <a:spLocks/>
          </p:cNvSpPr>
          <p:nvPr/>
        </p:nvSpPr>
        <p:spPr bwMode="auto">
          <a:xfrm>
            <a:off x="4521200" y="3309515"/>
            <a:ext cx="2706688" cy="1023938"/>
          </a:xfrm>
          <a:custGeom>
            <a:avLst/>
            <a:gdLst>
              <a:gd name="T0" fmla="*/ 1890 w 3409"/>
              <a:gd name="T1" fmla="*/ 0 h 1289"/>
              <a:gd name="T2" fmla="*/ 1829 w 3409"/>
              <a:gd name="T3" fmla="*/ 4 h 1289"/>
              <a:gd name="T4" fmla="*/ 1772 w 3409"/>
              <a:gd name="T5" fmla="*/ 13 h 1289"/>
              <a:gd name="T6" fmla="*/ 1721 w 3409"/>
              <a:gd name="T7" fmla="*/ 29 h 1289"/>
              <a:gd name="T8" fmla="*/ 1676 w 3409"/>
              <a:gd name="T9" fmla="*/ 49 h 1289"/>
              <a:gd name="T10" fmla="*/ 1656 w 3409"/>
              <a:gd name="T11" fmla="*/ 61 h 1289"/>
              <a:gd name="T12" fmla="*/ 1638 w 3409"/>
              <a:gd name="T13" fmla="*/ 72 h 1289"/>
              <a:gd name="T14" fmla="*/ 1625 w 3409"/>
              <a:gd name="T15" fmla="*/ 86 h 1289"/>
              <a:gd name="T16" fmla="*/ 1611 w 3409"/>
              <a:gd name="T17" fmla="*/ 102 h 1289"/>
              <a:gd name="T18" fmla="*/ 1601 w 3409"/>
              <a:gd name="T19" fmla="*/ 118 h 1289"/>
              <a:gd name="T20" fmla="*/ 1593 w 3409"/>
              <a:gd name="T21" fmla="*/ 133 h 1289"/>
              <a:gd name="T22" fmla="*/ 1589 w 3409"/>
              <a:gd name="T23" fmla="*/ 149 h 1289"/>
              <a:gd name="T24" fmla="*/ 1587 w 3409"/>
              <a:gd name="T25" fmla="*/ 167 h 1289"/>
              <a:gd name="T26" fmla="*/ 1587 w 3409"/>
              <a:gd name="T27" fmla="*/ 581 h 1289"/>
              <a:gd name="T28" fmla="*/ 0 w 3409"/>
              <a:gd name="T29" fmla="*/ 1289 h 1289"/>
              <a:gd name="T30" fmla="*/ 1587 w 3409"/>
              <a:gd name="T31" fmla="*/ 831 h 1289"/>
              <a:gd name="T32" fmla="*/ 1589 w 3409"/>
              <a:gd name="T33" fmla="*/ 848 h 1289"/>
              <a:gd name="T34" fmla="*/ 1593 w 3409"/>
              <a:gd name="T35" fmla="*/ 864 h 1289"/>
              <a:gd name="T36" fmla="*/ 1601 w 3409"/>
              <a:gd name="T37" fmla="*/ 880 h 1289"/>
              <a:gd name="T38" fmla="*/ 1611 w 3409"/>
              <a:gd name="T39" fmla="*/ 896 h 1289"/>
              <a:gd name="T40" fmla="*/ 1625 w 3409"/>
              <a:gd name="T41" fmla="*/ 911 h 1289"/>
              <a:gd name="T42" fmla="*/ 1638 w 3409"/>
              <a:gd name="T43" fmla="*/ 925 h 1289"/>
              <a:gd name="T44" fmla="*/ 1656 w 3409"/>
              <a:gd name="T45" fmla="*/ 937 h 1289"/>
              <a:gd name="T46" fmla="*/ 1676 w 3409"/>
              <a:gd name="T47" fmla="*/ 949 h 1289"/>
              <a:gd name="T48" fmla="*/ 1721 w 3409"/>
              <a:gd name="T49" fmla="*/ 970 h 1289"/>
              <a:gd name="T50" fmla="*/ 1772 w 3409"/>
              <a:gd name="T51" fmla="*/ 984 h 1289"/>
              <a:gd name="T52" fmla="*/ 1829 w 3409"/>
              <a:gd name="T53" fmla="*/ 994 h 1289"/>
              <a:gd name="T54" fmla="*/ 1890 w 3409"/>
              <a:gd name="T55" fmla="*/ 998 h 1289"/>
              <a:gd name="T56" fmla="*/ 2346 w 3409"/>
              <a:gd name="T57" fmla="*/ 998 h 1289"/>
              <a:gd name="T58" fmla="*/ 3104 w 3409"/>
              <a:gd name="T59" fmla="*/ 998 h 1289"/>
              <a:gd name="T60" fmla="*/ 3165 w 3409"/>
              <a:gd name="T61" fmla="*/ 994 h 1289"/>
              <a:gd name="T62" fmla="*/ 3224 w 3409"/>
              <a:gd name="T63" fmla="*/ 984 h 1289"/>
              <a:gd name="T64" fmla="*/ 3275 w 3409"/>
              <a:gd name="T65" fmla="*/ 970 h 1289"/>
              <a:gd name="T66" fmla="*/ 3299 w 3409"/>
              <a:gd name="T67" fmla="*/ 960 h 1289"/>
              <a:gd name="T68" fmla="*/ 3320 w 3409"/>
              <a:gd name="T69" fmla="*/ 949 h 1289"/>
              <a:gd name="T70" fmla="*/ 3340 w 3409"/>
              <a:gd name="T71" fmla="*/ 937 h 1289"/>
              <a:gd name="T72" fmla="*/ 3358 w 3409"/>
              <a:gd name="T73" fmla="*/ 925 h 1289"/>
              <a:gd name="T74" fmla="*/ 3371 w 3409"/>
              <a:gd name="T75" fmla="*/ 911 h 1289"/>
              <a:gd name="T76" fmla="*/ 3385 w 3409"/>
              <a:gd name="T77" fmla="*/ 896 h 1289"/>
              <a:gd name="T78" fmla="*/ 3395 w 3409"/>
              <a:gd name="T79" fmla="*/ 880 h 1289"/>
              <a:gd name="T80" fmla="*/ 3403 w 3409"/>
              <a:gd name="T81" fmla="*/ 864 h 1289"/>
              <a:gd name="T82" fmla="*/ 3407 w 3409"/>
              <a:gd name="T83" fmla="*/ 848 h 1289"/>
              <a:gd name="T84" fmla="*/ 3409 w 3409"/>
              <a:gd name="T85" fmla="*/ 831 h 1289"/>
              <a:gd name="T86" fmla="*/ 3409 w 3409"/>
              <a:gd name="T87" fmla="*/ 581 h 1289"/>
              <a:gd name="T88" fmla="*/ 3409 w 3409"/>
              <a:gd name="T89" fmla="*/ 167 h 1289"/>
              <a:gd name="T90" fmla="*/ 3407 w 3409"/>
              <a:gd name="T91" fmla="*/ 149 h 1289"/>
              <a:gd name="T92" fmla="*/ 3403 w 3409"/>
              <a:gd name="T93" fmla="*/ 133 h 1289"/>
              <a:gd name="T94" fmla="*/ 3395 w 3409"/>
              <a:gd name="T95" fmla="*/ 118 h 1289"/>
              <a:gd name="T96" fmla="*/ 3385 w 3409"/>
              <a:gd name="T97" fmla="*/ 102 h 1289"/>
              <a:gd name="T98" fmla="*/ 3371 w 3409"/>
              <a:gd name="T99" fmla="*/ 86 h 1289"/>
              <a:gd name="T100" fmla="*/ 3358 w 3409"/>
              <a:gd name="T101" fmla="*/ 72 h 1289"/>
              <a:gd name="T102" fmla="*/ 3340 w 3409"/>
              <a:gd name="T103" fmla="*/ 61 h 1289"/>
              <a:gd name="T104" fmla="*/ 3320 w 3409"/>
              <a:gd name="T105" fmla="*/ 49 h 1289"/>
              <a:gd name="T106" fmla="*/ 3299 w 3409"/>
              <a:gd name="T107" fmla="*/ 37 h 1289"/>
              <a:gd name="T108" fmla="*/ 3275 w 3409"/>
              <a:gd name="T109" fmla="*/ 29 h 1289"/>
              <a:gd name="T110" fmla="*/ 3224 w 3409"/>
              <a:gd name="T111" fmla="*/ 13 h 1289"/>
              <a:gd name="T112" fmla="*/ 3165 w 3409"/>
              <a:gd name="T113" fmla="*/ 4 h 1289"/>
              <a:gd name="T114" fmla="*/ 3104 w 3409"/>
              <a:gd name="T115" fmla="*/ 0 h 1289"/>
              <a:gd name="T116" fmla="*/ 2346 w 3409"/>
              <a:gd name="T117" fmla="*/ 0 h 1289"/>
              <a:gd name="T118" fmla="*/ 1890 w 3409"/>
              <a:gd name="T119"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09" h="1289">
                <a:moveTo>
                  <a:pt x="1890" y="0"/>
                </a:moveTo>
                <a:lnTo>
                  <a:pt x="1829" y="4"/>
                </a:lnTo>
                <a:lnTo>
                  <a:pt x="1772" y="13"/>
                </a:lnTo>
                <a:lnTo>
                  <a:pt x="1721" y="29"/>
                </a:lnTo>
                <a:lnTo>
                  <a:pt x="1676" y="49"/>
                </a:lnTo>
                <a:lnTo>
                  <a:pt x="1656" y="61"/>
                </a:lnTo>
                <a:lnTo>
                  <a:pt x="1638" y="72"/>
                </a:lnTo>
                <a:lnTo>
                  <a:pt x="1625" y="86"/>
                </a:lnTo>
                <a:lnTo>
                  <a:pt x="1611" y="102"/>
                </a:lnTo>
                <a:lnTo>
                  <a:pt x="1601" y="118"/>
                </a:lnTo>
                <a:lnTo>
                  <a:pt x="1593" y="133"/>
                </a:lnTo>
                <a:lnTo>
                  <a:pt x="1589" y="149"/>
                </a:lnTo>
                <a:lnTo>
                  <a:pt x="1587" y="167"/>
                </a:lnTo>
                <a:lnTo>
                  <a:pt x="1587" y="581"/>
                </a:lnTo>
                <a:lnTo>
                  <a:pt x="0" y="1289"/>
                </a:lnTo>
                <a:lnTo>
                  <a:pt x="1587" y="831"/>
                </a:lnTo>
                <a:lnTo>
                  <a:pt x="1589" y="848"/>
                </a:lnTo>
                <a:lnTo>
                  <a:pt x="1593" y="864"/>
                </a:lnTo>
                <a:lnTo>
                  <a:pt x="1601" y="880"/>
                </a:lnTo>
                <a:lnTo>
                  <a:pt x="1611" y="896"/>
                </a:lnTo>
                <a:lnTo>
                  <a:pt x="1625" y="911"/>
                </a:lnTo>
                <a:lnTo>
                  <a:pt x="1638" y="925"/>
                </a:lnTo>
                <a:lnTo>
                  <a:pt x="1656" y="937"/>
                </a:lnTo>
                <a:lnTo>
                  <a:pt x="1676" y="949"/>
                </a:lnTo>
                <a:lnTo>
                  <a:pt x="1721" y="970"/>
                </a:lnTo>
                <a:lnTo>
                  <a:pt x="1772" y="984"/>
                </a:lnTo>
                <a:lnTo>
                  <a:pt x="1829" y="994"/>
                </a:lnTo>
                <a:lnTo>
                  <a:pt x="1890" y="998"/>
                </a:lnTo>
                <a:lnTo>
                  <a:pt x="2346" y="998"/>
                </a:lnTo>
                <a:lnTo>
                  <a:pt x="3104" y="998"/>
                </a:lnTo>
                <a:lnTo>
                  <a:pt x="3165" y="994"/>
                </a:lnTo>
                <a:lnTo>
                  <a:pt x="3224" y="984"/>
                </a:lnTo>
                <a:lnTo>
                  <a:pt x="3275" y="970"/>
                </a:lnTo>
                <a:lnTo>
                  <a:pt x="3299" y="960"/>
                </a:lnTo>
                <a:lnTo>
                  <a:pt x="3320" y="949"/>
                </a:lnTo>
                <a:lnTo>
                  <a:pt x="3340" y="937"/>
                </a:lnTo>
                <a:lnTo>
                  <a:pt x="3358" y="925"/>
                </a:lnTo>
                <a:lnTo>
                  <a:pt x="3371" y="911"/>
                </a:lnTo>
                <a:lnTo>
                  <a:pt x="3385" y="896"/>
                </a:lnTo>
                <a:lnTo>
                  <a:pt x="3395" y="880"/>
                </a:lnTo>
                <a:lnTo>
                  <a:pt x="3403" y="864"/>
                </a:lnTo>
                <a:lnTo>
                  <a:pt x="3407" y="848"/>
                </a:lnTo>
                <a:lnTo>
                  <a:pt x="3409" y="831"/>
                </a:lnTo>
                <a:lnTo>
                  <a:pt x="3409" y="581"/>
                </a:lnTo>
                <a:lnTo>
                  <a:pt x="3409" y="167"/>
                </a:lnTo>
                <a:lnTo>
                  <a:pt x="3407" y="149"/>
                </a:lnTo>
                <a:lnTo>
                  <a:pt x="3403" y="133"/>
                </a:lnTo>
                <a:lnTo>
                  <a:pt x="3395" y="118"/>
                </a:lnTo>
                <a:lnTo>
                  <a:pt x="3385" y="102"/>
                </a:lnTo>
                <a:lnTo>
                  <a:pt x="3371" y="86"/>
                </a:lnTo>
                <a:lnTo>
                  <a:pt x="3358" y="72"/>
                </a:lnTo>
                <a:lnTo>
                  <a:pt x="3340" y="61"/>
                </a:lnTo>
                <a:lnTo>
                  <a:pt x="3320" y="49"/>
                </a:lnTo>
                <a:lnTo>
                  <a:pt x="3299" y="37"/>
                </a:lnTo>
                <a:lnTo>
                  <a:pt x="3275" y="29"/>
                </a:lnTo>
                <a:lnTo>
                  <a:pt x="3224" y="13"/>
                </a:lnTo>
                <a:lnTo>
                  <a:pt x="3165" y="4"/>
                </a:lnTo>
                <a:lnTo>
                  <a:pt x="3104" y="0"/>
                </a:lnTo>
                <a:lnTo>
                  <a:pt x="2346" y="0"/>
                </a:lnTo>
                <a:lnTo>
                  <a:pt x="1890" y="0"/>
                </a:lnTo>
                <a:close/>
              </a:path>
            </a:pathLst>
          </a:custGeom>
          <a:solidFill>
            <a:srgbClr val="FFFFFF"/>
          </a:solidFill>
          <a:ln w="9525">
            <a:solidFill>
              <a:srgbClr val="000000"/>
            </a:solidFill>
            <a:prstDash val="solid"/>
            <a:round/>
            <a:headEnd/>
            <a:tailEnd/>
          </a:ln>
        </p:spPr>
        <p:txBody>
          <a:bodyPr/>
          <a:lstStyle/>
          <a:p>
            <a:endParaRPr lang="cs-CZ"/>
          </a:p>
        </p:txBody>
      </p:sp>
      <p:sp>
        <p:nvSpPr>
          <p:cNvPr id="228" name="Rectangle 236"/>
          <p:cNvSpPr>
            <a:spLocks noChangeArrowheads="1"/>
          </p:cNvSpPr>
          <p:nvPr/>
        </p:nvSpPr>
        <p:spPr bwMode="auto">
          <a:xfrm>
            <a:off x="5872163" y="3380953"/>
            <a:ext cx="7000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Slovensko</a:t>
            </a:r>
            <a:endParaRPr lang="cs-CZ" sz="2400" b="0">
              <a:solidFill>
                <a:schemeClr val="tx1"/>
              </a:solidFill>
              <a:latin typeface="Times New Roman" pitchFamily="18" charset="0"/>
              <a:ea typeface="ＭＳ Ｐゴシック" pitchFamily="34" charset="-128"/>
            </a:endParaRPr>
          </a:p>
        </p:txBody>
      </p:sp>
      <p:sp>
        <p:nvSpPr>
          <p:cNvPr id="229" name="Rectangle 237"/>
          <p:cNvSpPr>
            <a:spLocks noChangeArrowheads="1"/>
          </p:cNvSpPr>
          <p:nvPr/>
        </p:nvSpPr>
        <p:spPr bwMode="auto">
          <a:xfrm>
            <a:off x="5872163" y="3550815"/>
            <a:ext cx="13096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známena výstavba </a:t>
            </a:r>
            <a:endParaRPr lang="cs-CZ" sz="2400" b="0">
              <a:solidFill>
                <a:schemeClr val="tx1"/>
              </a:solidFill>
              <a:latin typeface="Times New Roman" pitchFamily="18" charset="0"/>
              <a:ea typeface="ＭＳ Ｐゴシック" pitchFamily="34" charset="-128"/>
            </a:endParaRPr>
          </a:p>
        </p:txBody>
      </p:sp>
      <p:sp>
        <p:nvSpPr>
          <p:cNvPr id="230" name="Rectangle 238"/>
          <p:cNvSpPr>
            <a:spLocks noChangeArrowheads="1"/>
          </p:cNvSpPr>
          <p:nvPr/>
        </p:nvSpPr>
        <p:spPr bwMode="auto">
          <a:xfrm>
            <a:off x="5872163" y="3715915"/>
            <a:ext cx="13049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alší kapacity VVER </a:t>
            </a:r>
            <a:endParaRPr lang="cs-CZ" sz="2400" b="0">
              <a:solidFill>
                <a:schemeClr val="tx1"/>
              </a:solidFill>
              <a:latin typeface="Times New Roman" pitchFamily="18" charset="0"/>
              <a:ea typeface="ＭＳ Ｐゴシック" pitchFamily="34" charset="-128"/>
            </a:endParaRPr>
          </a:p>
        </p:txBody>
      </p:sp>
      <p:sp>
        <p:nvSpPr>
          <p:cNvPr id="231" name="Rectangle 239"/>
          <p:cNvSpPr>
            <a:spLocks noChangeArrowheads="1"/>
          </p:cNvSpPr>
          <p:nvPr/>
        </p:nvSpPr>
        <p:spPr bwMode="auto">
          <a:xfrm>
            <a:off x="5872163" y="3881015"/>
            <a:ext cx="750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 EMO 3&amp;4 </a:t>
            </a:r>
            <a:endParaRPr lang="cs-CZ" sz="2400" b="0">
              <a:solidFill>
                <a:schemeClr val="tx1"/>
              </a:solidFill>
              <a:latin typeface="Times New Roman" pitchFamily="18" charset="0"/>
              <a:ea typeface="ＭＳ Ｐゴシック" pitchFamily="34" charset="-128"/>
            </a:endParaRPr>
          </a:p>
        </p:txBody>
      </p:sp>
      <p:grpSp>
        <p:nvGrpSpPr>
          <p:cNvPr id="232" name="Group 240"/>
          <p:cNvGrpSpPr>
            <a:grpSpLocks/>
          </p:cNvGrpSpPr>
          <p:nvPr/>
        </p:nvGrpSpPr>
        <p:grpSpPr bwMode="auto">
          <a:xfrm>
            <a:off x="4637088" y="1288628"/>
            <a:ext cx="2568575" cy="3425825"/>
            <a:chOff x="2913" y="876"/>
            <a:chExt cx="1618" cy="2158"/>
          </a:xfrm>
        </p:grpSpPr>
        <p:sp>
          <p:nvSpPr>
            <p:cNvPr id="233" name="Freeform 241"/>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 name="T106" fmla="*/ 1721 w 3236"/>
                <a:gd name="T107" fmla="*/ 3755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lnTo>
                    <a:pt x="1721" y="3755"/>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34" name="Freeform 242"/>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235" name="Group 243"/>
          <p:cNvGrpSpPr>
            <a:grpSpLocks/>
          </p:cNvGrpSpPr>
          <p:nvPr/>
        </p:nvGrpSpPr>
        <p:grpSpPr bwMode="auto">
          <a:xfrm>
            <a:off x="3098800" y="3738140"/>
            <a:ext cx="304800" cy="347663"/>
            <a:chOff x="1944" y="2419"/>
            <a:chExt cx="192" cy="219"/>
          </a:xfrm>
        </p:grpSpPr>
        <p:sp>
          <p:nvSpPr>
            <p:cNvPr id="236" name="Freeform 244"/>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lnTo>
                    <a:pt x="236" y="43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37" name="Freeform 245"/>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238" name="Group 246"/>
          <p:cNvGrpSpPr>
            <a:grpSpLocks/>
          </p:cNvGrpSpPr>
          <p:nvPr/>
        </p:nvGrpSpPr>
        <p:grpSpPr bwMode="auto">
          <a:xfrm>
            <a:off x="3743325" y="1761703"/>
            <a:ext cx="738188" cy="1812925"/>
            <a:chOff x="2350" y="1174"/>
            <a:chExt cx="465" cy="1142"/>
          </a:xfrm>
        </p:grpSpPr>
        <p:sp>
          <p:nvSpPr>
            <p:cNvPr id="239" name="Freeform 247"/>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 name="T122" fmla="*/ 4 w 930"/>
                <a:gd name="T123" fmla="*/ 1632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lnTo>
                    <a:pt x="4" y="1632"/>
                  </a:lnTo>
                  <a:close/>
                </a:path>
              </a:pathLst>
            </a:custGeom>
            <a:solidFill>
              <a:srgbClr val="00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40" name="Freeform 248"/>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241" name="Group 249"/>
          <p:cNvGrpSpPr>
            <a:grpSpLocks/>
          </p:cNvGrpSpPr>
          <p:nvPr/>
        </p:nvGrpSpPr>
        <p:grpSpPr bwMode="auto">
          <a:xfrm>
            <a:off x="3370263" y="1466428"/>
            <a:ext cx="1338262" cy="1716087"/>
            <a:chOff x="2115" y="988"/>
            <a:chExt cx="843" cy="1081"/>
          </a:xfrm>
        </p:grpSpPr>
        <p:sp>
          <p:nvSpPr>
            <p:cNvPr id="242" name="Freeform 250"/>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 name="T102" fmla="*/ 1122 w 1686"/>
                <a:gd name="T103" fmla="*/ 372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lnTo>
                    <a:pt x="1122" y="372"/>
                  </a:lnTo>
                  <a:close/>
                </a:path>
              </a:pathLst>
            </a:custGeom>
            <a:solidFill>
              <a:srgbClr val="FA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43" name="Freeform 251"/>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244" name="Freeform 252"/>
          <p:cNvSpPr>
            <a:spLocks/>
          </p:cNvSpPr>
          <p:nvPr/>
        </p:nvSpPr>
        <p:spPr bwMode="auto">
          <a:xfrm>
            <a:off x="2338388" y="2928515"/>
            <a:ext cx="652462" cy="1074738"/>
          </a:xfrm>
          <a:custGeom>
            <a:avLst/>
            <a:gdLst>
              <a:gd name="T0" fmla="*/ 546 w 821"/>
              <a:gd name="T1" fmla="*/ 409 h 1356"/>
              <a:gd name="T2" fmla="*/ 580 w 821"/>
              <a:gd name="T3" fmla="*/ 366 h 1356"/>
              <a:gd name="T4" fmla="*/ 652 w 821"/>
              <a:gd name="T5" fmla="*/ 273 h 1356"/>
              <a:gd name="T6" fmla="*/ 631 w 821"/>
              <a:gd name="T7" fmla="*/ 201 h 1356"/>
              <a:gd name="T8" fmla="*/ 487 w 821"/>
              <a:gd name="T9" fmla="*/ 183 h 1356"/>
              <a:gd name="T10" fmla="*/ 513 w 821"/>
              <a:gd name="T11" fmla="*/ 114 h 1356"/>
              <a:gd name="T12" fmla="*/ 576 w 821"/>
              <a:gd name="T13" fmla="*/ 81 h 1356"/>
              <a:gd name="T14" fmla="*/ 560 w 821"/>
              <a:gd name="T15" fmla="*/ 26 h 1356"/>
              <a:gd name="T16" fmla="*/ 440 w 821"/>
              <a:gd name="T17" fmla="*/ 28 h 1356"/>
              <a:gd name="T18" fmla="*/ 403 w 821"/>
              <a:gd name="T19" fmla="*/ 97 h 1356"/>
              <a:gd name="T20" fmla="*/ 356 w 821"/>
              <a:gd name="T21" fmla="*/ 142 h 1356"/>
              <a:gd name="T22" fmla="*/ 334 w 821"/>
              <a:gd name="T23" fmla="*/ 218 h 1356"/>
              <a:gd name="T24" fmla="*/ 289 w 821"/>
              <a:gd name="T25" fmla="*/ 299 h 1356"/>
              <a:gd name="T26" fmla="*/ 320 w 821"/>
              <a:gd name="T27" fmla="*/ 326 h 1356"/>
              <a:gd name="T28" fmla="*/ 287 w 821"/>
              <a:gd name="T29" fmla="*/ 423 h 1356"/>
              <a:gd name="T30" fmla="*/ 312 w 821"/>
              <a:gd name="T31" fmla="*/ 409 h 1356"/>
              <a:gd name="T32" fmla="*/ 350 w 821"/>
              <a:gd name="T33" fmla="*/ 435 h 1356"/>
              <a:gd name="T34" fmla="*/ 293 w 821"/>
              <a:gd name="T35" fmla="*/ 552 h 1356"/>
              <a:gd name="T36" fmla="*/ 299 w 821"/>
              <a:gd name="T37" fmla="*/ 603 h 1356"/>
              <a:gd name="T38" fmla="*/ 391 w 821"/>
              <a:gd name="T39" fmla="*/ 627 h 1356"/>
              <a:gd name="T40" fmla="*/ 391 w 821"/>
              <a:gd name="T41" fmla="*/ 678 h 1356"/>
              <a:gd name="T42" fmla="*/ 424 w 821"/>
              <a:gd name="T43" fmla="*/ 788 h 1356"/>
              <a:gd name="T44" fmla="*/ 377 w 821"/>
              <a:gd name="T45" fmla="*/ 882 h 1356"/>
              <a:gd name="T46" fmla="*/ 234 w 821"/>
              <a:gd name="T47" fmla="*/ 924 h 1356"/>
              <a:gd name="T48" fmla="*/ 267 w 821"/>
              <a:gd name="T49" fmla="*/ 989 h 1356"/>
              <a:gd name="T50" fmla="*/ 124 w 821"/>
              <a:gd name="T51" fmla="*/ 1059 h 1356"/>
              <a:gd name="T52" fmla="*/ 183 w 821"/>
              <a:gd name="T53" fmla="*/ 1087 h 1356"/>
              <a:gd name="T54" fmla="*/ 246 w 821"/>
              <a:gd name="T55" fmla="*/ 1122 h 1356"/>
              <a:gd name="T56" fmla="*/ 308 w 821"/>
              <a:gd name="T57" fmla="*/ 1171 h 1356"/>
              <a:gd name="T58" fmla="*/ 297 w 821"/>
              <a:gd name="T59" fmla="*/ 1213 h 1356"/>
              <a:gd name="T60" fmla="*/ 90 w 821"/>
              <a:gd name="T61" fmla="*/ 1279 h 1356"/>
              <a:gd name="T62" fmla="*/ 67 w 821"/>
              <a:gd name="T63" fmla="*/ 1348 h 1356"/>
              <a:gd name="T64" fmla="*/ 141 w 821"/>
              <a:gd name="T65" fmla="*/ 1313 h 1356"/>
              <a:gd name="T66" fmla="*/ 242 w 821"/>
              <a:gd name="T67" fmla="*/ 1309 h 1356"/>
              <a:gd name="T68" fmla="*/ 342 w 821"/>
              <a:gd name="T69" fmla="*/ 1342 h 1356"/>
              <a:gd name="T70" fmla="*/ 418 w 821"/>
              <a:gd name="T71" fmla="*/ 1323 h 1356"/>
              <a:gd name="T72" fmla="*/ 464 w 821"/>
              <a:gd name="T73" fmla="*/ 1332 h 1356"/>
              <a:gd name="T74" fmla="*/ 597 w 821"/>
              <a:gd name="T75" fmla="*/ 1348 h 1356"/>
              <a:gd name="T76" fmla="*/ 733 w 821"/>
              <a:gd name="T77" fmla="*/ 1326 h 1356"/>
              <a:gd name="T78" fmla="*/ 670 w 821"/>
              <a:gd name="T79" fmla="*/ 1271 h 1356"/>
              <a:gd name="T80" fmla="*/ 719 w 821"/>
              <a:gd name="T81" fmla="*/ 1213 h 1356"/>
              <a:gd name="T82" fmla="*/ 774 w 821"/>
              <a:gd name="T83" fmla="*/ 1175 h 1356"/>
              <a:gd name="T84" fmla="*/ 821 w 821"/>
              <a:gd name="T85" fmla="*/ 1087 h 1356"/>
              <a:gd name="T86" fmla="*/ 709 w 821"/>
              <a:gd name="T87" fmla="*/ 1028 h 1356"/>
              <a:gd name="T88" fmla="*/ 697 w 821"/>
              <a:gd name="T89" fmla="*/ 989 h 1356"/>
              <a:gd name="T90" fmla="*/ 672 w 821"/>
              <a:gd name="T91" fmla="*/ 879 h 1356"/>
              <a:gd name="T92" fmla="*/ 696 w 821"/>
              <a:gd name="T93" fmla="*/ 845 h 1356"/>
              <a:gd name="T94" fmla="*/ 662 w 821"/>
              <a:gd name="T95" fmla="*/ 739 h 1356"/>
              <a:gd name="T96" fmla="*/ 607 w 821"/>
              <a:gd name="T97" fmla="*/ 623 h 1356"/>
              <a:gd name="T98" fmla="*/ 595 w 821"/>
              <a:gd name="T99" fmla="*/ 517 h 1356"/>
              <a:gd name="T100" fmla="*/ 505 w 821"/>
              <a:gd name="T101" fmla="*/ 45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1" h="1356">
                <a:moveTo>
                  <a:pt x="485" y="446"/>
                </a:moveTo>
                <a:lnTo>
                  <a:pt x="499" y="429"/>
                </a:lnTo>
                <a:lnTo>
                  <a:pt x="552" y="429"/>
                </a:lnTo>
                <a:lnTo>
                  <a:pt x="546" y="409"/>
                </a:lnTo>
                <a:lnTo>
                  <a:pt x="525" y="391"/>
                </a:lnTo>
                <a:lnTo>
                  <a:pt x="552" y="389"/>
                </a:lnTo>
                <a:lnTo>
                  <a:pt x="566" y="389"/>
                </a:lnTo>
                <a:lnTo>
                  <a:pt x="580" y="366"/>
                </a:lnTo>
                <a:lnTo>
                  <a:pt x="593" y="348"/>
                </a:lnTo>
                <a:lnTo>
                  <a:pt x="615" y="326"/>
                </a:lnTo>
                <a:lnTo>
                  <a:pt x="631" y="297"/>
                </a:lnTo>
                <a:lnTo>
                  <a:pt x="652" y="273"/>
                </a:lnTo>
                <a:lnTo>
                  <a:pt x="664" y="262"/>
                </a:lnTo>
                <a:lnTo>
                  <a:pt x="676" y="222"/>
                </a:lnTo>
                <a:lnTo>
                  <a:pt x="656" y="201"/>
                </a:lnTo>
                <a:lnTo>
                  <a:pt x="631" y="201"/>
                </a:lnTo>
                <a:lnTo>
                  <a:pt x="584" y="189"/>
                </a:lnTo>
                <a:lnTo>
                  <a:pt x="568" y="183"/>
                </a:lnTo>
                <a:lnTo>
                  <a:pt x="540" y="177"/>
                </a:lnTo>
                <a:lnTo>
                  <a:pt x="487" y="183"/>
                </a:lnTo>
                <a:lnTo>
                  <a:pt x="479" y="161"/>
                </a:lnTo>
                <a:lnTo>
                  <a:pt x="511" y="150"/>
                </a:lnTo>
                <a:lnTo>
                  <a:pt x="499" y="128"/>
                </a:lnTo>
                <a:lnTo>
                  <a:pt x="513" y="114"/>
                </a:lnTo>
                <a:lnTo>
                  <a:pt x="534" y="108"/>
                </a:lnTo>
                <a:lnTo>
                  <a:pt x="552" y="108"/>
                </a:lnTo>
                <a:lnTo>
                  <a:pt x="566" y="93"/>
                </a:lnTo>
                <a:lnTo>
                  <a:pt x="576" y="81"/>
                </a:lnTo>
                <a:lnTo>
                  <a:pt x="601" y="69"/>
                </a:lnTo>
                <a:lnTo>
                  <a:pt x="603" y="53"/>
                </a:lnTo>
                <a:lnTo>
                  <a:pt x="595" y="20"/>
                </a:lnTo>
                <a:lnTo>
                  <a:pt x="560" y="26"/>
                </a:lnTo>
                <a:lnTo>
                  <a:pt x="515" y="24"/>
                </a:lnTo>
                <a:lnTo>
                  <a:pt x="487" y="14"/>
                </a:lnTo>
                <a:lnTo>
                  <a:pt x="454" y="0"/>
                </a:lnTo>
                <a:lnTo>
                  <a:pt x="440" y="28"/>
                </a:lnTo>
                <a:lnTo>
                  <a:pt x="430" y="47"/>
                </a:lnTo>
                <a:lnTo>
                  <a:pt x="405" y="47"/>
                </a:lnTo>
                <a:lnTo>
                  <a:pt x="403" y="65"/>
                </a:lnTo>
                <a:lnTo>
                  <a:pt x="403" y="97"/>
                </a:lnTo>
                <a:lnTo>
                  <a:pt x="385" y="101"/>
                </a:lnTo>
                <a:lnTo>
                  <a:pt x="361" y="101"/>
                </a:lnTo>
                <a:lnTo>
                  <a:pt x="350" y="122"/>
                </a:lnTo>
                <a:lnTo>
                  <a:pt x="356" y="142"/>
                </a:lnTo>
                <a:lnTo>
                  <a:pt x="338" y="156"/>
                </a:lnTo>
                <a:lnTo>
                  <a:pt x="354" y="177"/>
                </a:lnTo>
                <a:lnTo>
                  <a:pt x="352" y="199"/>
                </a:lnTo>
                <a:lnTo>
                  <a:pt x="334" y="218"/>
                </a:lnTo>
                <a:lnTo>
                  <a:pt x="308" y="236"/>
                </a:lnTo>
                <a:lnTo>
                  <a:pt x="303" y="256"/>
                </a:lnTo>
                <a:lnTo>
                  <a:pt x="287" y="262"/>
                </a:lnTo>
                <a:lnTo>
                  <a:pt x="289" y="299"/>
                </a:lnTo>
                <a:lnTo>
                  <a:pt x="297" y="317"/>
                </a:lnTo>
                <a:lnTo>
                  <a:pt x="314" y="305"/>
                </a:lnTo>
                <a:lnTo>
                  <a:pt x="336" y="299"/>
                </a:lnTo>
                <a:lnTo>
                  <a:pt x="320" y="326"/>
                </a:lnTo>
                <a:lnTo>
                  <a:pt x="306" y="360"/>
                </a:lnTo>
                <a:lnTo>
                  <a:pt x="289" y="381"/>
                </a:lnTo>
                <a:lnTo>
                  <a:pt x="283" y="405"/>
                </a:lnTo>
                <a:lnTo>
                  <a:pt x="287" y="423"/>
                </a:lnTo>
                <a:lnTo>
                  <a:pt x="295" y="405"/>
                </a:lnTo>
                <a:lnTo>
                  <a:pt x="303" y="385"/>
                </a:lnTo>
                <a:lnTo>
                  <a:pt x="322" y="378"/>
                </a:lnTo>
                <a:lnTo>
                  <a:pt x="312" y="409"/>
                </a:lnTo>
                <a:lnTo>
                  <a:pt x="324" y="423"/>
                </a:lnTo>
                <a:lnTo>
                  <a:pt x="334" y="409"/>
                </a:lnTo>
                <a:lnTo>
                  <a:pt x="356" y="409"/>
                </a:lnTo>
                <a:lnTo>
                  <a:pt x="350" y="435"/>
                </a:lnTo>
                <a:lnTo>
                  <a:pt x="330" y="456"/>
                </a:lnTo>
                <a:lnTo>
                  <a:pt x="334" y="470"/>
                </a:lnTo>
                <a:lnTo>
                  <a:pt x="330" y="491"/>
                </a:lnTo>
                <a:lnTo>
                  <a:pt x="293" y="552"/>
                </a:lnTo>
                <a:lnTo>
                  <a:pt x="261" y="572"/>
                </a:lnTo>
                <a:lnTo>
                  <a:pt x="269" y="623"/>
                </a:lnTo>
                <a:lnTo>
                  <a:pt x="285" y="611"/>
                </a:lnTo>
                <a:lnTo>
                  <a:pt x="299" y="603"/>
                </a:lnTo>
                <a:lnTo>
                  <a:pt x="322" y="625"/>
                </a:lnTo>
                <a:lnTo>
                  <a:pt x="348" y="613"/>
                </a:lnTo>
                <a:lnTo>
                  <a:pt x="363" y="619"/>
                </a:lnTo>
                <a:lnTo>
                  <a:pt x="391" y="627"/>
                </a:lnTo>
                <a:lnTo>
                  <a:pt x="426" y="613"/>
                </a:lnTo>
                <a:lnTo>
                  <a:pt x="458" y="625"/>
                </a:lnTo>
                <a:lnTo>
                  <a:pt x="409" y="647"/>
                </a:lnTo>
                <a:lnTo>
                  <a:pt x="391" y="678"/>
                </a:lnTo>
                <a:lnTo>
                  <a:pt x="413" y="753"/>
                </a:lnTo>
                <a:lnTo>
                  <a:pt x="454" y="735"/>
                </a:lnTo>
                <a:lnTo>
                  <a:pt x="440" y="770"/>
                </a:lnTo>
                <a:lnTo>
                  <a:pt x="424" y="788"/>
                </a:lnTo>
                <a:lnTo>
                  <a:pt x="411" y="798"/>
                </a:lnTo>
                <a:lnTo>
                  <a:pt x="426" y="822"/>
                </a:lnTo>
                <a:lnTo>
                  <a:pt x="405" y="863"/>
                </a:lnTo>
                <a:lnTo>
                  <a:pt x="377" y="882"/>
                </a:lnTo>
                <a:lnTo>
                  <a:pt x="354" y="873"/>
                </a:lnTo>
                <a:lnTo>
                  <a:pt x="316" y="857"/>
                </a:lnTo>
                <a:lnTo>
                  <a:pt x="220" y="912"/>
                </a:lnTo>
                <a:lnTo>
                  <a:pt x="234" y="924"/>
                </a:lnTo>
                <a:lnTo>
                  <a:pt x="279" y="924"/>
                </a:lnTo>
                <a:lnTo>
                  <a:pt x="267" y="947"/>
                </a:lnTo>
                <a:lnTo>
                  <a:pt x="265" y="971"/>
                </a:lnTo>
                <a:lnTo>
                  <a:pt x="267" y="989"/>
                </a:lnTo>
                <a:lnTo>
                  <a:pt x="238" y="1018"/>
                </a:lnTo>
                <a:lnTo>
                  <a:pt x="183" y="1036"/>
                </a:lnTo>
                <a:lnTo>
                  <a:pt x="132" y="1047"/>
                </a:lnTo>
                <a:lnTo>
                  <a:pt x="124" y="1059"/>
                </a:lnTo>
                <a:lnTo>
                  <a:pt x="136" y="1089"/>
                </a:lnTo>
                <a:lnTo>
                  <a:pt x="143" y="1103"/>
                </a:lnTo>
                <a:lnTo>
                  <a:pt x="159" y="1101"/>
                </a:lnTo>
                <a:lnTo>
                  <a:pt x="183" y="1087"/>
                </a:lnTo>
                <a:lnTo>
                  <a:pt x="200" y="1097"/>
                </a:lnTo>
                <a:lnTo>
                  <a:pt x="200" y="1116"/>
                </a:lnTo>
                <a:lnTo>
                  <a:pt x="232" y="1130"/>
                </a:lnTo>
                <a:lnTo>
                  <a:pt x="246" y="1122"/>
                </a:lnTo>
                <a:lnTo>
                  <a:pt x="259" y="1148"/>
                </a:lnTo>
                <a:lnTo>
                  <a:pt x="271" y="1175"/>
                </a:lnTo>
                <a:lnTo>
                  <a:pt x="287" y="1179"/>
                </a:lnTo>
                <a:lnTo>
                  <a:pt x="308" y="1171"/>
                </a:lnTo>
                <a:lnTo>
                  <a:pt x="375" y="1138"/>
                </a:lnTo>
                <a:lnTo>
                  <a:pt x="358" y="1175"/>
                </a:lnTo>
                <a:lnTo>
                  <a:pt x="320" y="1197"/>
                </a:lnTo>
                <a:lnTo>
                  <a:pt x="297" y="1213"/>
                </a:lnTo>
                <a:lnTo>
                  <a:pt x="240" y="1199"/>
                </a:lnTo>
                <a:lnTo>
                  <a:pt x="204" y="1193"/>
                </a:lnTo>
                <a:lnTo>
                  <a:pt x="165" y="1222"/>
                </a:lnTo>
                <a:lnTo>
                  <a:pt x="90" y="1279"/>
                </a:lnTo>
                <a:lnTo>
                  <a:pt x="22" y="1311"/>
                </a:lnTo>
                <a:lnTo>
                  <a:pt x="0" y="1338"/>
                </a:lnTo>
                <a:lnTo>
                  <a:pt x="39" y="1338"/>
                </a:lnTo>
                <a:lnTo>
                  <a:pt x="67" y="1348"/>
                </a:lnTo>
                <a:lnTo>
                  <a:pt x="82" y="1321"/>
                </a:lnTo>
                <a:lnTo>
                  <a:pt x="108" y="1325"/>
                </a:lnTo>
                <a:lnTo>
                  <a:pt x="114" y="1309"/>
                </a:lnTo>
                <a:lnTo>
                  <a:pt x="141" y="1313"/>
                </a:lnTo>
                <a:lnTo>
                  <a:pt x="173" y="1336"/>
                </a:lnTo>
                <a:lnTo>
                  <a:pt x="206" y="1352"/>
                </a:lnTo>
                <a:lnTo>
                  <a:pt x="232" y="1338"/>
                </a:lnTo>
                <a:lnTo>
                  <a:pt x="242" y="1309"/>
                </a:lnTo>
                <a:lnTo>
                  <a:pt x="257" y="1293"/>
                </a:lnTo>
                <a:lnTo>
                  <a:pt x="306" y="1291"/>
                </a:lnTo>
                <a:lnTo>
                  <a:pt x="328" y="1307"/>
                </a:lnTo>
                <a:lnTo>
                  <a:pt x="342" y="1342"/>
                </a:lnTo>
                <a:lnTo>
                  <a:pt x="363" y="1328"/>
                </a:lnTo>
                <a:lnTo>
                  <a:pt x="383" y="1346"/>
                </a:lnTo>
                <a:lnTo>
                  <a:pt x="399" y="1328"/>
                </a:lnTo>
                <a:lnTo>
                  <a:pt x="418" y="1323"/>
                </a:lnTo>
                <a:lnTo>
                  <a:pt x="444" y="1323"/>
                </a:lnTo>
                <a:lnTo>
                  <a:pt x="458" y="1352"/>
                </a:lnTo>
                <a:lnTo>
                  <a:pt x="485" y="1352"/>
                </a:lnTo>
                <a:lnTo>
                  <a:pt x="464" y="1332"/>
                </a:lnTo>
                <a:lnTo>
                  <a:pt x="454" y="1315"/>
                </a:lnTo>
                <a:lnTo>
                  <a:pt x="505" y="1325"/>
                </a:lnTo>
                <a:lnTo>
                  <a:pt x="523" y="1342"/>
                </a:lnTo>
                <a:lnTo>
                  <a:pt x="597" y="1348"/>
                </a:lnTo>
                <a:lnTo>
                  <a:pt x="623" y="1356"/>
                </a:lnTo>
                <a:lnTo>
                  <a:pt x="670" y="1346"/>
                </a:lnTo>
                <a:lnTo>
                  <a:pt x="711" y="1336"/>
                </a:lnTo>
                <a:lnTo>
                  <a:pt x="733" y="1326"/>
                </a:lnTo>
                <a:lnTo>
                  <a:pt x="751" y="1309"/>
                </a:lnTo>
                <a:lnTo>
                  <a:pt x="754" y="1293"/>
                </a:lnTo>
                <a:lnTo>
                  <a:pt x="719" y="1277"/>
                </a:lnTo>
                <a:lnTo>
                  <a:pt x="670" y="1271"/>
                </a:lnTo>
                <a:lnTo>
                  <a:pt x="684" y="1254"/>
                </a:lnTo>
                <a:lnTo>
                  <a:pt x="696" y="1246"/>
                </a:lnTo>
                <a:lnTo>
                  <a:pt x="713" y="1232"/>
                </a:lnTo>
                <a:lnTo>
                  <a:pt x="719" y="1213"/>
                </a:lnTo>
                <a:lnTo>
                  <a:pt x="745" y="1218"/>
                </a:lnTo>
                <a:lnTo>
                  <a:pt x="758" y="1209"/>
                </a:lnTo>
                <a:lnTo>
                  <a:pt x="760" y="1183"/>
                </a:lnTo>
                <a:lnTo>
                  <a:pt x="774" y="1175"/>
                </a:lnTo>
                <a:lnTo>
                  <a:pt x="792" y="1169"/>
                </a:lnTo>
                <a:lnTo>
                  <a:pt x="800" y="1152"/>
                </a:lnTo>
                <a:lnTo>
                  <a:pt x="815" y="1122"/>
                </a:lnTo>
                <a:lnTo>
                  <a:pt x="821" y="1087"/>
                </a:lnTo>
                <a:lnTo>
                  <a:pt x="815" y="1044"/>
                </a:lnTo>
                <a:lnTo>
                  <a:pt x="786" y="1020"/>
                </a:lnTo>
                <a:lnTo>
                  <a:pt x="747" y="1016"/>
                </a:lnTo>
                <a:lnTo>
                  <a:pt x="709" y="1028"/>
                </a:lnTo>
                <a:lnTo>
                  <a:pt x="696" y="1044"/>
                </a:lnTo>
                <a:lnTo>
                  <a:pt x="672" y="1028"/>
                </a:lnTo>
                <a:lnTo>
                  <a:pt x="668" y="1014"/>
                </a:lnTo>
                <a:lnTo>
                  <a:pt x="697" y="989"/>
                </a:lnTo>
                <a:lnTo>
                  <a:pt x="713" y="965"/>
                </a:lnTo>
                <a:lnTo>
                  <a:pt x="696" y="937"/>
                </a:lnTo>
                <a:lnTo>
                  <a:pt x="676" y="900"/>
                </a:lnTo>
                <a:lnTo>
                  <a:pt x="672" y="879"/>
                </a:lnTo>
                <a:lnTo>
                  <a:pt x="690" y="884"/>
                </a:lnTo>
                <a:lnTo>
                  <a:pt x="703" y="906"/>
                </a:lnTo>
                <a:lnTo>
                  <a:pt x="709" y="886"/>
                </a:lnTo>
                <a:lnTo>
                  <a:pt x="696" y="845"/>
                </a:lnTo>
                <a:lnTo>
                  <a:pt x="684" y="824"/>
                </a:lnTo>
                <a:lnTo>
                  <a:pt x="690" y="788"/>
                </a:lnTo>
                <a:lnTo>
                  <a:pt x="678" y="770"/>
                </a:lnTo>
                <a:lnTo>
                  <a:pt x="662" y="739"/>
                </a:lnTo>
                <a:lnTo>
                  <a:pt x="629" y="715"/>
                </a:lnTo>
                <a:lnTo>
                  <a:pt x="617" y="688"/>
                </a:lnTo>
                <a:lnTo>
                  <a:pt x="609" y="653"/>
                </a:lnTo>
                <a:lnTo>
                  <a:pt x="607" y="623"/>
                </a:lnTo>
                <a:lnTo>
                  <a:pt x="615" y="582"/>
                </a:lnTo>
                <a:lnTo>
                  <a:pt x="617" y="558"/>
                </a:lnTo>
                <a:lnTo>
                  <a:pt x="603" y="545"/>
                </a:lnTo>
                <a:lnTo>
                  <a:pt x="595" y="517"/>
                </a:lnTo>
                <a:lnTo>
                  <a:pt x="570" y="478"/>
                </a:lnTo>
                <a:lnTo>
                  <a:pt x="552" y="462"/>
                </a:lnTo>
                <a:lnTo>
                  <a:pt x="527" y="450"/>
                </a:lnTo>
                <a:lnTo>
                  <a:pt x="505" y="454"/>
                </a:lnTo>
                <a:lnTo>
                  <a:pt x="485" y="446"/>
                </a:lnTo>
                <a:close/>
              </a:path>
            </a:pathLst>
          </a:custGeom>
          <a:solidFill>
            <a:srgbClr val="D0D0D0"/>
          </a:solidFill>
          <a:ln w="9525">
            <a:solidFill>
              <a:srgbClr val="000000"/>
            </a:solidFill>
            <a:prstDash val="solid"/>
            <a:round/>
            <a:headEnd/>
            <a:tailEnd/>
          </a:ln>
        </p:spPr>
        <p:txBody>
          <a:bodyPr/>
          <a:lstStyle/>
          <a:p>
            <a:endParaRPr lang="cs-CZ"/>
          </a:p>
        </p:txBody>
      </p:sp>
      <p:sp>
        <p:nvSpPr>
          <p:cNvPr id="245" name="Freeform 253"/>
          <p:cNvSpPr>
            <a:spLocks/>
          </p:cNvSpPr>
          <p:nvPr/>
        </p:nvSpPr>
        <p:spPr bwMode="auto">
          <a:xfrm>
            <a:off x="2052638" y="3279353"/>
            <a:ext cx="401637" cy="433387"/>
          </a:xfrm>
          <a:custGeom>
            <a:avLst/>
            <a:gdLst>
              <a:gd name="T0" fmla="*/ 370 w 505"/>
              <a:gd name="T1" fmla="*/ 138 h 547"/>
              <a:gd name="T2" fmla="*/ 386 w 505"/>
              <a:gd name="T3" fmla="*/ 191 h 547"/>
              <a:gd name="T4" fmla="*/ 446 w 505"/>
              <a:gd name="T5" fmla="*/ 167 h 547"/>
              <a:gd name="T6" fmla="*/ 505 w 505"/>
              <a:gd name="T7" fmla="*/ 185 h 547"/>
              <a:gd name="T8" fmla="*/ 472 w 505"/>
              <a:gd name="T9" fmla="*/ 266 h 547"/>
              <a:gd name="T10" fmla="*/ 474 w 505"/>
              <a:gd name="T11" fmla="*/ 346 h 547"/>
              <a:gd name="T12" fmla="*/ 460 w 505"/>
              <a:gd name="T13" fmla="*/ 399 h 547"/>
              <a:gd name="T14" fmla="*/ 415 w 505"/>
              <a:gd name="T15" fmla="*/ 470 h 547"/>
              <a:gd name="T16" fmla="*/ 391 w 505"/>
              <a:gd name="T17" fmla="*/ 537 h 547"/>
              <a:gd name="T18" fmla="*/ 295 w 505"/>
              <a:gd name="T19" fmla="*/ 507 h 547"/>
              <a:gd name="T20" fmla="*/ 258 w 505"/>
              <a:gd name="T21" fmla="*/ 533 h 547"/>
              <a:gd name="T22" fmla="*/ 207 w 505"/>
              <a:gd name="T23" fmla="*/ 535 h 547"/>
              <a:gd name="T24" fmla="*/ 185 w 505"/>
              <a:gd name="T25" fmla="*/ 505 h 547"/>
              <a:gd name="T26" fmla="*/ 146 w 505"/>
              <a:gd name="T27" fmla="*/ 547 h 547"/>
              <a:gd name="T28" fmla="*/ 55 w 505"/>
              <a:gd name="T29" fmla="*/ 527 h 547"/>
              <a:gd name="T30" fmla="*/ 18 w 505"/>
              <a:gd name="T31" fmla="*/ 503 h 547"/>
              <a:gd name="T32" fmla="*/ 26 w 505"/>
              <a:gd name="T33" fmla="*/ 482 h 547"/>
              <a:gd name="T34" fmla="*/ 0 w 505"/>
              <a:gd name="T35" fmla="*/ 452 h 547"/>
              <a:gd name="T36" fmla="*/ 44 w 505"/>
              <a:gd name="T37" fmla="*/ 431 h 547"/>
              <a:gd name="T38" fmla="*/ 16 w 505"/>
              <a:gd name="T39" fmla="*/ 405 h 547"/>
              <a:gd name="T40" fmla="*/ 63 w 505"/>
              <a:gd name="T41" fmla="*/ 397 h 547"/>
              <a:gd name="T42" fmla="*/ 85 w 505"/>
              <a:gd name="T43" fmla="*/ 380 h 547"/>
              <a:gd name="T44" fmla="*/ 128 w 505"/>
              <a:gd name="T45" fmla="*/ 370 h 547"/>
              <a:gd name="T46" fmla="*/ 189 w 505"/>
              <a:gd name="T47" fmla="*/ 380 h 547"/>
              <a:gd name="T48" fmla="*/ 187 w 505"/>
              <a:gd name="T49" fmla="*/ 364 h 547"/>
              <a:gd name="T50" fmla="*/ 163 w 505"/>
              <a:gd name="T51" fmla="*/ 354 h 547"/>
              <a:gd name="T52" fmla="*/ 112 w 505"/>
              <a:gd name="T53" fmla="*/ 344 h 547"/>
              <a:gd name="T54" fmla="*/ 154 w 505"/>
              <a:gd name="T55" fmla="*/ 313 h 547"/>
              <a:gd name="T56" fmla="*/ 193 w 505"/>
              <a:gd name="T57" fmla="*/ 287 h 547"/>
              <a:gd name="T58" fmla="*/ 173 w 505"/>
              <a:gd name="T59" fmla="*/ 268 h 547"/>
              <a:gd name="T60" fmla="*/ 148 w 505"/>
              <a:gd name="T61" fmla="*/ 252 h 547"/>
              <a:gd name="T62" fmla="*/ 126 w 505"/>
              <a:gd name="T63" fmla="*/ 234 h 547"/>
              <a:gd name="T64" fmla="*/ 138 w 505"/>
              <a:gd name="T65" fmla="*/ 189 h 547"/>
              <a:gd name="T66" fmla="*/ 156 w 505"/>
              <a:gd name="T67" fmla="*/ 177 h 547"/>
              <a:gd name="T68" fmla="*/ 173 w 505"/>
              <a:gd name="T69" fmla="*/ 160 h 547"/>
              <a:gd name="T70" fmla="*/ 142 w 505"/>
              <a:gd name="T71" fmla="*/ 124 h 547"/>
              <a:gd name="T72" fmla="*/ 171 w 505"/>
              <a:gd name="T73" fmla="*/ 97 h 547"/>
              <a:gd name="T74" fmla="*/ 213 w 505"/>
              <a:gd name="T75" fmla="*/ 87 h 547"/>
              <a:gd name="T76" fmla="*/ 246 w 505"/>
              <a:gd name="T77" fmla="*/ 118 h 547"/>
              <a:gd name="T78" fmla="*/ 297 w 505"/>
              <a:gd name="T79" fmla="*/ 128 h 547"/>
              <a:gd name="T80" fmla="*/ 323 w 505"/>
              <a:gd name="T81" fmla="*/ 108 h 547"/>
              <a:gd name="T82" fmla="*/ 329 w 505"/>
              <a:gd name="T83" fmla="*/ 83 h 547"/>
              <a:gd name="T84" fmla="*/ 299 w 505"/>
              <a:gd name="T85" fmla="*/ 73 h 547"/>
              <a:gd name="T86" fmla="*/ 321 w 505"/>
              <a:gd name="T87" fmla="*/ 51 h 547"/>
              <a:gd name="T88" fmla="*/ 342 w 505"/>
              <a:gd name="T89" fmla="*/ 40 h 547"/>
              <a:gd name="T90" fmla="*/ 356 w 505"/>
              <a:gd name="T91" fmla="*/ 20 h 547"/>
              <a:gd name="T92" fmla="*/ 378 w 505"/>
              <a:gd name="T93" fmla="*/ 6 h 547"/>
              <a:gd name="T94" fmla="*/ 433 w 505"/>
              <a:gd name="T95" fmla="*/ 0 h 547"/>
              <a:gd name="T96" fmla="*/ 433 w 505"/>
              <a:gd name="T97" fmla="*/ 40 h 547"/>
              <a:gd name="T98" fmla="*/ 413 w 505"/>
              <a:gd name="T99" fmla="*/ 59 h 547"/>
              <a:gd name="T100" fmla="*/ 393 w 505"/>
              <a:gd name="T101" fmla="*/ 81 h 547"/>
              <a:gd name="T102" fmla="*/ 368 w 505"/>
              <a:gd name="T103" fmla="*/ 9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547">
                <a:moveTo>
                  <a:pt x="344" y="101"/>
                </a:moveTo>
                <a:lnTo>
                  <a:pt x="370" y="138"/>
                </a:lnTo>
                <a:lnTo>
                  <a:pt x="374" y="169"/>
                </a:lnTo>
                <a:lnTo>
                  <a:pt x="386" y="191"/>
                </a:lnTo>
                <a:lnTo>
                  <a:pt x="409" y="181"/>
                </a:lnTo>
                <a:lnTo>
                  <a:pt x="446" y="167"/>
                </a:lnTo>
                <a:lnTo>
                  <a:pt x="482" y="161"/>
                </a:lnTo>
                <a:lnTo>
                  <a:pt x="505" y="185"/>
                </a:lnTo>
                <a:lnTo>
                  <a:pt x="484" y="236"/>
                </a:lnTo>
                <a:lnTo>
                  <a:pt x="472" y="266"/>
                </a:lnTo>
                <a:lnTo>
                  <a:pt x="486" y="313"/>
                </a:lnTo>
                <a:lnTo>
                  <a:pt x="474" y="346"/>
                </a:lnTo>
                <a:lnTo>
                  <a:pt x="460" y="362"/>
                </a:lnTo>
                <a:lnTo>
                  <a:pt x="460" y="399"/>
                </a:lnTo>
                <a:lnTo>
                  <a:pt x="454" y="427"/>
                </a:lnTo>
                <a:lnTo>
                  <a:pt x="415" y="470"/>
                </a:lnTo>
                <a:lnTo>
                  <a:pt x="397" y="503"/>
                </a:lnTo>
                <a:lnTo>
                  <a:pt x="391" y="537"/>
                </a:lnTo>
                <a:lnTo>
                  <a:pt x="334" y="509"/>
                </a:lnTo>
                <a:lnTo>
                  <a:pt x="295" y="507"/>
                </a:lnTo>
                <a:lnTo>
                  <a:pt x="270" y="513"/>
                </a:lnTo>
                <a:lnTo>
                  <a:pt x="258" y="533"/>
                </a:lnTo>
                <a:lnTo>
                  <a:pt x="228" y="519"/>
                </a:lnTo>
                <a:lnTo>
                  <a:pt x="207" y="535"/>
                </a:lnTo>
                <a:lnTo>
                  <a:pt x="197" y="527"/>
                </a:lnTo>
                <a:lnTo>
                  <a:pt x="185" y="505"/>
                </a:lnTo>
                <a:lnTo>
                  <a:pt x="171" y="541"/>
                </a:lnTo>
                <a:lnTo>
                  <a:pt x="146" y="547"/>
                </a:lnTo>
                <a:lnTo>
                  <a:pt x="73" y="543"/>
                </a:lnTo>
                <a:lnTo>
                  <a:pt x="55" y="527"/>
                </a:lnTo>
                <a:lnTo>
                  <a:pt x="36" y="519"/>
                </a:lnTo>
                <a:lnTo>
                  <a:pt x="18" y="503"/>
                </a:lnTo>
                <a:lnTo>
                  <a:pt x="4" y="495"/>
                </a:lnTo>
                <a:lnTo>
                  <a:pt x="26" y="482"/>
                </a:lnTo>
                <a:lnTo>
                  <a:pt x="8" y="470"/>
                </a:lnTo>
                <a:lnTo>
                  <a:pt x="0" y="452"/>
                </a:lnTo>
                <a:lnTo>
                  <a:pt x="16" y="437"/>
                </a:lnTo>
                <a:lnTo>
                  <a:pt x="44" y="431"/>
                </a:lnTo>
                <a:lnTo>
                  <a:pt x="48" y="419"/>
                </a:lnTo>
                <a:lnTo>
                  <a:pt x="16" y="405"/>
                </a:lnTo>
                <a:lnTo>
                  <a:pt x="34" y="389"/>
                </a:lnTo>
                <a:lnTo>
                  <a:pt x="63" y="397"/>
                </a:lnTo>
                <a:lnTo>
                  <a:pt x="73" y="401"/>
                </a:lnTo>
                <a:lnTo>
                  <a:pt x="85" y="380"/>
                </a:lnTo>
                <a:lnTo>
                  <a:pt x="103" y="370"/>
                </a:lnTo>
                <a:lnTo>
                  <a:pt x="128" y="370"/>
                </a:lnTo>
                <a:lnTo>
                  <a:pt x="167" y="380"/>
                </a:lnTo>
                <a:lnTo>
                  <a:pt x="189" y="380"/>
                </a:lnTo>
                <a:lnTo>
                  <a:pt x="199" y="376"/>
                </a:lnTo>
                <a:lnTo>
                  <a:pt x="187" y="364"/>
                </a:lnTo>
                <a:lnTo>
                  <a:pt x="185" y="346"/>
                </a:lnTo>
                <a:lnTo>
                  <a:pt x="163" y="354"/>
                </a:lnTo>
                <a:lnTo>
                  <a:pt x="132" y="364"/>
                </a:lnTo>
                <a:lnTo>
                  <a:pt x="112" y="344"/>
                </a:lnTo>
                <a:lnTo>
                  <a:pt x="140" y="334"/>
                </a:lnTo>
                <a:lnTo>
                  <a:pt x="154" y="313"/>
                </a:lnTo>
                <a:lnTo>
                  <a:pt x="169" y="297"/>
                </a:lnTo>
                <a:lnTo>
                  <a:pt x="193" y="287"/>
                </a:lnTo>
                <a:lnTo>
                  <a:pt x="207" y="273"/>
                </a:lnTo>
                <a:lnTo>
                  <a:pt x="173" y="268"/>
                </a:lnTo>
                <a:lnTo>
                  <a:pt x="169" y="256"/>
                </a:lnTo>
                <a:lnTo>
                  <a:pt x="148" y="252"/>
                </a:lnTo>
                <a:lnTo>
                  <a:pt x="144" y="232"/>
                </a:lnTo>
                <a:lnTo>
                  <a:pt x="126" y="234"/>
                </a:lnTo>
                <a:lnTo>
                  <a:pt x="126" y="213"/>
                </a:lnTo>
                <a:lnTo>
                  <a:pt x="138" y="189"/>
                </a:lnTo>
                <a:lnTo>
                  <a:pt x="154" y="187"/>
                </a:lnTo>
                <a:lnTo>
                  <a:pt x="156" y="177"/>
                </a:lnTo>
                <a:lnTo>
                  <a:pt x="183" y="173"/>
                </a:lnTo>
                <a:lnTo>
                  <a:pt x="173" y="160"/>
                </a:lnTo>
                <a:lnTo>
                  <a:pt x="154" y="150"/>
                </a:lnTo>
                <a:lnTo>
                  <a:pt x="142" y="124"/>
                </a:lnTo>
                <a:lnTo>
                  <a:pt x="169" y="122"/>
                </a:lnTo>
                <a:lnTo>
                  <a:pt x="171" y="97"/>
                </a:lnTo>
                <a:lnTo>
                  <a:pt x="193" y="95"/>
                </a:lnTo>
                <a:lnTo>
                  <a:pt x="213" y="87"/>
                </a:lnTo>
                <a:lnTo>
                  <a:pt x="234" y="103"/>
                </a:lnTo>
                <a:lnTo>
                  <a:pt x="246" y="118"/>
                </a:lnTo>
                <a:lnTo>
                  <a:pt x="266" y="126"/>
                </a:lnTo>
                <a:lnTo>
                  <a:pt x="297" y="128"/>
                </a:lnTo>
                <a:lnTo>
                  <a:pt x="309" y="122"/>
                </a:lnTo>
                <a:lnTo>
                  <a:pt x="323" y="108"/>
                </a:lnTo>
                <a:lnTo>
                  <a:pt x="334" y="95"/>
                </a:lnTo>
                <a:lnTo>
                  <a:pt x="329" y="83"/>
                </a:lnTo>
                <a:lnTo>
                  <a:pt x="313" y="73"/>
                </a:lnTo>
                <a:lnTo>
                  <a:pt x="299" y="73"/>
                </a:lnTo>
                <a:lnTo>
                  <a:pt x="299" y="57"/>
                </a:lnTo>
                <a:lnTo>
                  <a:pt x="321" y="51"/>
                </a:lnTo>
                <a:lnTo>
                  <a:pt x="332" y="40"/>
                </a:lnTo>
                <a:lnTo>
                  <a:pt x="342" y="40"/>
                </a:lnTo>
                <a:lnTo>
                  <a:pt x="344" y="28"/>
                </a:lnTo>
                <a:lnTo>
                  <a:pt x="356" y="20"/>
                </a:lnTo>
                <a:lnTo>
                  <a:pt x="358" y="6"/>
                </a:lnTo>
                <a:lnTo>
                  <a:pt x="378" y="6"/>
                </a:lnTo>
                <a:lnTo>
                  <a:pt x="413" y="0"/>
                </a:lnTo>
                <a:lnTo>
                  <a:pt x="433" y="0"/>
                </a:lnTo>
                <a:lnTo>
                  <a:pt x="441" y="22"/>
                </a:lnTo>
                <a:lnTo>
                  <a:pt x="433" y="40"/>
                </a:lnTo>
                <a:lnTo>
                  <a:pt x="423" y="55"/>
                </a:lnTo>
                <a:lnTo>
                  <a:pt x="413" y="59"/>
                </a:lnTo>
                <a:lnTo>
                  <a:pt x="409" y="79"/>
                </a:lnTo>
                <a:lnTo>
                  <a:pt x="393" y="81"/>
                </a:lnTo>
                <a:lnTo>
                  <a:pt x="380" y="81"/>
                </a:lnTo>
                <a:lnTo>
                  <a:pt x="368" y="97"/>
                </a:lnTo>
                <a:lnTo>
                  <a:pt x="344" y="101"/>
                </a:lnTo>
                <a:close/>
              </a:path>
            </a:pathLst>
          </a:custGeom>
          <a:solidFill>
            <a:srgbClr val="FA0000"/>
          </a:solidFill>
          <a:ln w="9525">
            <a:solidFill>
              <a:srgbClr val="000000"/>
            </a:solidFill>
            <a:prstDash val="solid"/>
            <a:round/>
            <a:headEnd/>
            <a:tailEnd/>
          </a:ln>
        </p:spPr>
        <p:txBody>
          <a:bodyPr/>
          <a:lstStyle/>
          <a:p>
            <a:endParaRPr lang="cs-CZ"/>
          </a:p>
        </p:txBody>
      </p:sp>
      <p:sp>
        <p:nvSpPr>
          <p:cNvPr id="246" name="Freeform 254"/>
          <p:cNvSpPr>
            <a:spLocks/>
          </p:cNvSpPr>
          <p:nvPr/>
        </p:nvSpPr>
        <p:spPr bwMode="auto">
          <a:xfrm>
            <a:off x="1758950" y="4722390"/>
            <a:ext cx="1154113" cy="1052513"/>
          </a:xfrm>
          <a:custGeom>
            <a:avLst/>
            <a:gdLst>
              <a:gd name="T0" fmla="*/ 31 w 1452"/>
              <a:gd name="T1" fmla="*/ 226 h 1326"/>
              <a:gd name="T2" fmla="*/ 35 w 1452"/>
              <a:gd name="T3" fmla="*/ 175 h 1326"/>
              <a:gd name="T4" fmla="*/ 43 w 1452"/>
              <a:gd name="T5" fmla="*/ 137 h 1326"/>
              <a:gd name="T6" fmla="*/ 29 w 1452"/>
              <a:gd name="T7" fmla="*/ 90 h 1326"/>
              <a:gd name="T8" fmla="*/ 59 w 1452"/>
              <a:gd name="T9" fmla="*/ 41 h 1326"/>
              <a:gd name="T10" fmla="*/ 143 w 1452"/>
              <a:gd name="T11" fmla="*/ 53 h 1326"/>
              <a:gd name="T12" fmla="*/ 210 w 1452"/>
              <a:gd name="T13" fmla="*/ 0 h 1326"/>
              <a:gd name="T14" fmla="*/ 281 w 1452"/>
              <a:gd name="T15" fmla="*/ 45 h 1326"/>
              <a:gd name="T16" fmla="*/ 367 w 1452"/>
              <a:gd name="T17" fmla="*/ 82 h 1326"/>
              <a:gd name="T18" fmla="*/ 456 w 1452"/>
              <a:gd name="T19" fmla="*/ 100 h 1326"/>
              <a:gd name="T20" fmla="*/ 544 w 1452"/>
              <a:gd name="T21" fmla="*/ 145 h 1326"/>
              <a:gd name="T22" fmla="*/ 637 w 1452"/>
              <a:gd name="T23" fmla="*/ 165 h 1326"/>
              <a:gd name="T24" fmla="*/ 688 w 1452"/>
              <a:gd name="T25" fmla="*/ 178 h 1326"/>
              <a:gd name="T26" fmla="*/ 749 w 1452"/>
              <a:gd name="T27" fmla="*/ 200 h 1326"/>
              <a:gd name="T28" fmla="*/ 815 w 1452"/>
              <a:gd name="T29" fmla="*/ 228 h 1326"/>
              <a:gd name="T30" fmla="*/ 884 w 1452"/>
              <a:gd name="T31" fmla="*/ 245 h 1326"/>
              <a:gd name="T32" fmla="*/ 939 w 1452"/>
              <a:gd name="T33" fmla="*/ 316 h 1326"/>
              <a:gd name="T34" fmla="*/ 988 w 1452"/>
              <a:gd name="T35" fmla="*/ 367 h 1326"/>
              <a:gd name="T36" fmla="*/ 1204 w 1452"/>
              <a:gd name="T37" fmla="*/ 422 h 1326"/>
              <a:gd name="T38" fmla="*/ 1293 w 1452"/>
              <a:gd name="T39" fmla="*/ 485 h 1326"/>
              <a:gd name="T40" fmla="*/ 1450 w 1452"/>
              <a:gd name="T41" fmla="*/ 532 h 1326"/>
              <a:gd name="T42" fmla="*/ 1438 w 1452"/>
              <a:gd name="T43" fmla="*/ 568 h 1326"/>
              <a:gd name="T44" fmla="*/ 1277 w 1452"/>
              <a:gd name="T45" fmla="*/ 656 h 1326"/>
              <a:gd name="T46" fmla="*/ 1144 w 1452"/>
              <a:gd name="T47" fmla="*/ 681 h 1326"/>
              <a:gd name="T48" fmla="*/ 1008 w 1452"/>
              <a:gd name="T49" fmla="*/ 845 h 1326"/>
              <a:gd name="T50" fmla="*/ 941 w 1452"/>
              <a:gd name="T51" fmla="*/ 941 h 1326"/>
              <a:gd name="T52" fmla="*/ 986 w 1452"/>
              <a:gd name="T53" fmla="*/ 1015 h 1326"/>
              <a:gd name="T54" fmla="*/ 929 w 1452"/>
              <a:gd name="T55" fmla="*/ 1070 h 1326"/>
              <a:gd name="T56" fmla="*/ 861 w 1452"/>
              <a:gd name="T57" fmla="*/ 1137 h 1326"/>
              <a:gd name="T58" fmla="*/ 851 w 1452"/>
              <a:gd name="T59" fmla="*/ 1200 h 1326"/>
              <a:gd name="T60" fmla="*/ 772 w 1452"/>
              <a:gd name="T61" fmla="*/ 1202 h 1326"/>
              <a:gd name="T62" fmla="*/ 696 w 1452"/>
              <a:gd name="T63" fmla="*/ 1251 h 1326"/>
              <a:gd name="T64" fmla="*/ 637 w 1452"/>
              <a:gd name="T65" fmla="*/ 1304 h 1326"/>
              <a:gd name="T66" fmla="*/ 552 w 1452"/>
              <a:gd name="T67" fmla="*/ 1292 h 1326"/>
              <a:gd name="T68" fmla="*/ 470 w 1452"/>
              <a:gd name="T69" fmla="*/ 1269 h 1326"/>
              <a:gd name="T70" fmla="*/ 356 w 1452"/>
              <a:gd name="T71" fmla="*/ 1255 h 1326"/>
              <a:gd name="T72" fmla="*/ 220 w 1452"/>
              <a:gd name="T73" fmla="*/ 1316 h 1326"/>
              <a:gd name="T74" fmla="*/ 157 w 1452"/>
              <a:gd name="T75" fmla="*/ 1310 h 1326"/>
              <a:gd name="T76" fmla="*/ 118 w 1452"/>
              <a:gd name="T77" fmla="*/ 1214 h 1326"/>
              <a:gd name="T78" fmla="*/ 104 w 1452"/>
              <a:gd name="T79" fmla="*/ 1149 h 1326"/>
              <a:gd name="T80" fmla="*/ 16 w 1452"/>
              <a:gd name="T81" fmla="*/ 1078 h 1326"/>
              <a:gd name="T82" fmla="*/ 73 w 1452"/>
              <a:gd name="T83" fmla="*/ 970 h 1326"/>
              <a:gd name="T84" fmla="*/ 71 w 1452"/>
              <a:gd name="T85" fmla="*/ 876 h 1326"/>
              <a:gd name="T86" fmla="*/ 100 w 1452"/>
              <a:gd name="T87" fmla="*/ 705 h 1326"/>
              <a:gd name="T88" fmla="*/ 187 w 1452"/>
              <a:gd name="T89" fmla="*/ 644 h 1326"/>
              <a:gd name="T90" fmla="*/ 212 w 1452"/>
              <a:gd name="T91" fmla="*/ 516 h 1326"/>
              <a:gd name="T92" fmla="*/ 312 w 1452"/>
              <a:gd name="T93" fmla="*/ 424 h 1326"/>
              <a:gd name="T94" fmla="*/ 273 w 1452"/>
              <a:gd name="T95" fmla="*/ 328 h 1326"/>
              <a:gd name="T96" fmla="*/ 202 w 1452"/>
              <a:gd name="T97" fmla="*/ 318 h 1326"/>
              <a:gd name="T98" fmla="*/ 130 w 1452"/>
              <a:gd name="T99" fmla="*/ 298 h 1326"/>
              <a:gd name="T100" fmla="*/ 108 w 1452"/>
              <a:gd name="T101" fmla="*/ 25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52" h="1326">
                <a:moveTo>
                  <a:pt x="22" y="267"/>
                </a:moveTo>
                <a:lnTo>
                  <a:pt x="20" y="243"/>
                </a:lnTo>
                <a:lnTo>
                  <a:pt x="31" y="226"/>
                </a:lnTo>
                <a:lnTo>
                  <a:pt x="49" y="212"/>
                </a:lnTo>
                <a:lnTo>
                  <a:pt x="53" y="192"/>
                </a:lnTo>
                <a:lnTo>
                  <a:pt x="35" y="175"/>
                </a:lnTo>
                <a:lnTo>
                  <a:pt x="39" y="157"/>
                </a:lnTo>
                <a:lnTo>
                  <a:pt x="57" y="155"/>
                </a:lnTo>
                <a:lnTo>
                  <a:pt x="43" y="137"/>
                </a:lnTo>
                <a:lnTo>
                  <a:pt x="29" y="123"/>
                </a:lnTo>
                <a:lnTo>
                  <a:pt x="41" y="114"/>
                </a:lnTo>
                <a:lnTo>
                  <a:pt x="29" y="90"/>
                </a:lnTo>
                <a:lnTo>
                  <a:pt x="26" y="66"/>
                </a:lnTo>
                <a:lnTo>
                  <a:pt x="39" y="49"/>
                </a:lnTo>
                <a:lnTo>
                  <a:pt x="59" y="41"/>
                </a:lnTo>
                <a:lnTo>
                  <a:pt x="94" y="39"/>
                </a:lnTo>
                <a:lnTo>
                  <a:pt x="122" y="47"/>
                </a:lnTo>
                <a:lnTo>
                  <a:pt x="143" y="53"/>
                </a:lnTo>
                <a:lnTo>
                  <a:pt x="159" y="29"/>
                </a:lnTo>
                <a:lnTo>
                  <a:pt x="185" y="6"/>
                </a:lnTo>
                <a:lnTo>
                  <a:pt x="210" y="0"/>
                </a:lnTo>
                <a:lnTo>
                  <a:pt x="238" y="15"/>
                </a:lnTo>
                <a:lnTo>
                  <a:pt x="259" y="29"/>
                </a:lnTo>
                <a:lnTo>
                  <a:pt x="281" y="45"/>
                </a:lnTo>
                <a:lnTo>
                  <a:pt x="314" y="63"/>
                </a:lnTo>
                <a:lnTo>
                  <a:pt x="342" y="74"/>
                </a:lnTo>
                <a:lnTo>
                  <a:pt x="367" y="82"/>
                </a:lnTo>
                <a:lnTo>
                  <a:pt x="397" y="84"/>
                </a:lnTo>
                <a:lnTo>
                  <a:pt x="428" y="84"/>
                </a:lnTo>
                <a:lnTo>
                  <a:pt x="456" y="100"/>
                </a:lnTo>
                <a:lnTo>
                  <a:pt x="477" y="110"/>
                </a:lnTo>
                <a:lnTo>
                  <a:pt x="499" y="123"/>
                </a:lnTo>
                <a:lnTo>
                  <a:pt x="544" y="145"/>
                </a:lnTo>
                <a:lnTo>
                  <a:pt x="580" y="157"/>
                </a:lnTo>
                <a:lnTo>
                  <a:pt x="607" y="165"/>
                </a:lnTo>
                <a:lnTo>
                  <a:pt x="637" y="165"/>
                </a:lnTo>
                <a:lnTo>
                  <a:pt x="660" y="169"/>
                </a:lnTo>
                <a:lnTo>
                  <a:pt x="674" y="169"/>
                </a:lnTo>
                <a:lnTo>
                  <a:pt x="688" y="178"/>
                </a:lnTo>
                <a:lnTo>
                  <a:pt x="699" y="190"/>
                </a:lnTo>
                <a:lnTo>
                  <a:pt x="725" y="198"/>
                </a:lnTo>
                <a:lnTo>
                  <a:pt x="749" y="200"/>
                </a:lnTo>
                <a:lnTo>
                  <a:pt x="768" y="204"/>
                </a:lnTo>
                <a:lnTo>
                  <a:pt x="792" y="210"/>
                </a:lnTo>
                <a:lnTo>
                  <a:pt x="815" y="228"/>
                </a:lnTo>
                <a:lnTo>
                  <a:pt x="837" y="237"/>
                </a:lnTo>
                <a:lnTo>
                  <a:pt x="859" y="239"/>
                </a:lnTo>
                <a:lnTo>
                  <a:pt x="884" y="245"/>
                </a:lnTo>
                <a:lnTo>
                  <a:pt x="892" y="267"/>
                </a:lnTo>
                <a:lnTo>
                  <a:pt x="908" y="292"/>
                </a:lnTo>
                <a:lnTo>
                  <a:pt x="939" y="316"/>
                </a:lnTo>
                <a:lnTo>
                  <a:pt x="959" y="328"/>
                </a:lnTo>
                <a:lnTo>
                  <a:pt x="980" y="340"/>
                </a:lnTo>
                <a:lnTo>
                  <a:pt x="988" y="367"/>
                </a:lnTo>
                <a:lnTo>
                  <a:pt x="1134" y="410"/>
                </a:lnTo>
                <a:lnTo>
                  <a:pt x="1175" y="397"/>
                </a:lnTo>
                <a:lnTo>
                  <a:pt x="1204" y="422"/>
                </a:lnTo>
                <a:lnTo>
                  <a:pt x="1222" y="448"/>
                </a:lnTo>
                <a:lnTo>
                  <a:pt x="1250" y="446"/>
                </a:lnTo>
                <a:lnTo>
                  <a:pt x="1293" y="485"/>
                </a:lnTo>
                <a:lnTo>
                  <a:pt x="1436" y="485"/>
                </a:lnTo>
                <a:lnTo>
                  <a:pt x="1452" y="505"/>
                </a:lnTo>
                <a:lnTo>
                  <a:pt x="1450" y="532"/>
                </a:lnTo>
                <a:lnTo>
                  <a:pt x="1425" y="530"/>
                </a:lnTo>
                <a:lnTo>
                  <a:pt x="1423" y="560"/>
                </a:lnTo>
                <a:lnTo>
                  <a:pt x="1438" y="568"/>
                </a:lnTo>
                <a:lnTo>
                  <a:pt x="1377" y="613"/>
                </a:lnTo>
                <a:lnTo>
                  <a:pt x="1316" y="636"/>
                </a:lnTo>
                <a:lnTo>
                  <a:pt x="1277" y="656"/>
                </a:lnTo>
                <a:lnTo>
                  <a:pt x="1220" y="670"/>
                </a:lnTo>
                <a:lnTo>
                  <a:pt x="1189" y="676"/>
                </a:lnTo>
                <a:lnTo>
                  <a:pt x="1144" y="681"/>
                </a:lnTo>
                <a:lnTo>
                  <a:pt x="1106" y="721"/>
                </a:lnTo>
                <a:lnTo>
                  <a:pt x="1085" y="750"/>
                </a:lnTo>
                <a:lnTo>
                  <a:pt x="1008" y="845"/>
                </a:lnTo>
                <a:lnTo>
                  <a:pt x="971" y="874"/>
                </a:lnTo>
                <a:lnTo>
                  <a:pt x="947" y="913"/>
                </a:lnTo>
                <a:lnTo>
                  <a:pt x="941" y="941"/>
                </a:lnTo>
                <a:lnTo>
                  <a:pt x="949" y="955"/>
                </a:lnTo>
                <a:lnTo>
                  <a:pt x="955" y="994"/>
                </a:lnTo>
                <a:lnTo>
                  <a:pt x="986" y="1015"/>
                </a:lnTo>
                <a:lnTo>
                  <a:pt x="996" y="1033"/>
                </a:lnTo>
                <a:lnTo>
                  <a:pt x="975" y="1051"/>
                </a:lnTo>
                <a:lnTo>
                  <a:pt x="929" y="1070"/>
                </a:lnTo>
                <a:lnTo>
                  <a:pt x="900" y="1094"/>
                </a:lnTo>
                <a:lnTo>
                  <a:pt x="880" y="1114"/>
                </a:lnTo>
                <a:lnTo>
                  <a:pt x="861" y="1137"/>
                </a:lnTo>
                <a:lnTo>
                  <a:pt x="859" y="1159"/>
                </a:lnTo>
                <a:lnTo>
                  <a:pt x="841" y="1175"/>
                </a:lnTo>
                <a:lnTo>
                  <a:pt x="851" y="1200"/>
                </a:lnTo>
                <a:lnTo>
                  <a:pt x="833" y="1208"/>
                </a:lnTo>
                <a:lnTo>
                  <a:pt x="790" y="1202"/>
                </a:lnTo>
                <a:lnTo>
                  <a:pt x="772" y="1202"/>
                </a:lnTo>
                <a:lnTo>
                  <a:pt x="739" y="1210"/>
                </a:lnTo>
                <a:lnTo>
                  <a:pt x="717" y="1224"/>
                </a:lnTo>
                <a:lnTo>
                  <a:pt x="696" y="1251"/>
                </a:lnTo>
                <a:lnTo>
                  <a:pt x="688" y="1283"/>
                </a:lnTo>
                <a:lnTo>
                  <a:pt x="660" y="1302"/>
                </a:lnTo>
                <a:lnTo>
                  <a:pt x="637" y="1304"/>
                </a:lnTo>
                <a:lnTo>
                  <a:pt x="597" y="1292"/>
                </a:lnTo>
                <a:lnTo>
                  <a:pt x="578" y="1292"/>
                </a:lnTo>
                <a:lnTo>
                  <a:pt x="552" y="1292"/>
                </a:lnTo>
                <a:lnTo>
                  <a:pt x="523" y="1285"/>
                </a:lnTo>
                <a:lnTo>
                  <a:pt x="503" y="1271"/>
                </a:lnTo>
                <a:lnTo>
                  <a:pt x="470" y="1269"/>
                </a:lnTo>
                <a:lnTo>
                  <a:pt x="452" y="1267"/>
                </a:lnTo>
                <a:lnTo>
                  <a:pt x="415" y="1257"/>
                </a:lnTo>
                <a:lnTo>
                  <a:pt x="356" y="1255"/>
                </a:lnTo>
                <a:lnTo>
                  <a:pt x="312" y="1283"/>
                </a:lnTo>
                <a:lnTo>
                  <a:pt x="261" y="1277"/>
                </a:lnTo>
                <a:lnTo>
                  <a:pt x="220" y="1316"/>
                </a:lnTo>
                <a:lnTo>
                  <a:pt x="185" y="1326"/>
                </a:lnTo>
                <a:lnTo>
                  <a:pt x="171" y="1322"/>
                </a:lnTo>
                <a:lnTo>
                  <a:pt x="157" y="1310"/>
                </a:lnTo>
                <a:lnTo>
                  <a:pt x="136" y="1291"/>
                </a:lnTo>
                <a:lnTo>
                  <a:pt x="118" y="1255"/>
                </a:lnTo>
                <a:lnTo>
                  <a:pt x="118" y="1214"/>
                </a:lnTo>
                <a:lnTo>
                  <a:pt x="110" y="1188"/>
                </a:lnTo>
                <a:lnTo>
                  <a:pt x="110" y="1169"/>
                </a:lnTo>
                <a:lnTo>
                  <a:pt x="104" y="1149"/>
                </a:lnTo>
                <a:lnTo>
                  <a:pt x="83" y="1112"/>
                </a:lnTo>
                <a:lnTo>
                  <a:pt x="49" y="1090"/>
                </a:lnTo>
                <a:lnTo>
                  <a:pt x="16" y="1078"/>
                </a:lnTo>
                <a:lnTo>
                  <a:pt x="0" y="1072"/>
                </a:lnTo>
                <a:lnTo>
                  <a:pt x="0" y="994"/>
                </a:lnTo>
                <a:lnTo>
                  <a:pt x="73" y="970"/>
                </a:lnTo>
                <a:lnTo>
                  <a:pt x="81" y="941"/>
                </a:lnTo>
                <a:lnTo>
                  <a:pt x="63" y="896"/>
                </a:lnTo>
                <a:lnTo>
                  <a:pt x="71" y="876"/>
                </a:lnTo>
                <a:lnTo>
                  <a:pt x="71" y="846"/>
                </a:lnTo>
                <a:lnTo>
                  <a:pt x="116" y="786"/>
                </a:lnTo>
                <a:lnTo>
                  <a:pt x="100" y="705"/>
                </a:lnTo>
                <a:lnTo>
                  <a:pt x="122" y="687"/>
                </a:lnTo>
                <a:lnTo>
                  <a:pt x="157" y="683"/>
                </a:lnTo>
                <a:lnTo>
                  <a:pt x="187" y="644"/>
                </a:lnTo>
                <a:lnTo>
                  <a:pt x="183" y="609"/>
                </a:lnTo>
                <a:lnTo>
                  <a:pt x="208" y="546"/>
                </a:lnTo>
                <a:lnTo>
                  <a:pt x="212" y="516"/>
                </a:lnTo>
                <a:lnTo>
                  <a:pt x="220" y="483"/>
                </a:lnTo>
                <a:lnTo>
                  <a:pt x="285" y="457"/>
                </a:lnTo>
                <a:lnTo>
                  <a:pt x="312" y="424"/>
                </a:lnTo>
                <a:lnTo>
                  <a:pt x="307" y="377"/>
                </a:lnTo>
                <a:lnTo>
                  <a:pt x="299" y="344"/>
                </a:lnTo>
                <a:lnTo>
                  <a:pt x="273" y="328"/>
                </a:lnTo>
                <a:lnTo>
                  <a:pt x="240" y="318"/>
                </a:lnTo>
                <a:lnTo>
                  <a:pt x="218" y="326"/>
                </a:lnTo>
                <a:lnTo>
                  <a:pt x="202" y="318"/>
                </a:lnTo>
                <a:lnTo>
                  <a:pt x="175" y="308"/>
                </a:lnTo>
                <a:lnTo>
                  <a:pt x="157" y="306"/>
                </a:lnTo>
                <a:lnTo>
                  <a:pt x="130" y="298"/>
                </a:lnTo>
                <a:lnTo>
                  <a:pt x="116" y="292"/>
                </a:lnTo>
                <a:lnTo>
                  <a:pt x="104" y="281"/>
                </a:lnTo>
                <a:lnTo>
                  <a:pt x="108" y="253"/>
                </a:lnTo>
                <a:lnTo>
                  <a:pt x="47" y="253"/>
                </a:lnTo>
                <a:lnTo>
                  <a:pt x="22" y="267"/>
                </a:lnTo>
                <a:close/>
              </a:path>
            </a:pathLst>
          </a:custGeom>
          <a:solidFill>
            <a:srgbClr val="D0D0D0"/>
          </a:solidFill>
          <a:ln w="9525">
            <a:solidFill>
              <a:srgbClr val="000000"/>
            </a:solidFill>
            <a:prstDash val="solid"/>
            <a:round/>
            <a:headEnd/>
            <a:tailEnd/>
          </a:ln>
        </p:spPr>
        <p:txBody>
          <a:bodyPr/>
          <a:lstStyle/>
          <a:p>
            <a:endParaRPr lang="cs-CZ"/>
          </a:p>
        </p:txBody>
      </p:sp>
      <p:sp>
        <p:nvSpPr>
          <p:cNvPr id="247" name="Freeform 255"/>
          <p:cNvSpPr>
            <a:spLocks/>
          </p:cNvSpPr>
          <p:nvPr/>
        </p:nvSpPr>
        <p:spPr bwMode="auto">
          <a:xfrm>
            <a:off x="3273425" y="3565103"/>
            <a:ext cx="727075" cy="974725"/>
          </a:xfrm>
          <a:custGeom>
            <a:avLst/>
            <a:gdLst>
              <a:gd name="T0" fmla="*/ 910 w 916"/>
              <a:gd name="T1" fmla="*/ 585 h 1228"/>
              <a:gd name="T2" fmla="*/ 868 w 916"/>
              <a:gd name="T3" fmla="*/ 528 h 1228"/>
              <a:gd name="T4" fmla="*/ 851 w 916"/>
              <a:gd name="T5" fmla="*/ 393 h 1228"/>
              <a:gd name="T6" fmla="*/ 849 w 916"/>
              <a:gd name="T7" fmla="*/ 320 h 1228"/>
              <a:gd name="T8" fmla="*/ 860 w 916"/>
              <a:gd name="T9" fmla="*/ 228 h 1228"/>
              <a:gd name="T10" fmla="*/ 809 w 916"/>
              <a:gd name="T11" fmla="*/ 208 h 1228"/>
              <a:gd name="T12" fmla="*/ 786 w 916"/>
              <a:gd name="T13" fmla="*/ 153 h 1228"/>
              <a:gd name="T14" fmla="*/ 782 w 916"/>
              <a:gd name="T15" fmla="*/ 120 h 1228"/>
              <a:gd name="T16" fmla="*/ 754 w 916"/>
              <a:gd name="T17" fmla="*/ 69 h 1228"/>
              <a:gd name="T18" fmla="*/ 739 w 916"/>
              <a:gd name="T19" fmla="*/ 122 h 1228"/>
              <a:gd name="T20" fmla="*/ 678 w 916"/>
              <a:gd name="T21" fmla="*/ 106 h 1228"/>
              <a:gd name="T22" fmla="*/ 642 w 916"/>
              <a:gd name="T23" fmla="*/ 149 h 1228"/>
              <a:gd name="T24" fmla="*/ 587 w 916"/>
              <a:gd name="T25" fmla="*/ 161 h 1228"/>
              <a:gd name="T26" fmla="*/ 528 w 916"/>
              <a:gd name="T27" fmla="*/ 169 h 1228"/>
              <a:gd name="T28" fmla="*/ 540 w 916"/>
              <a:gd name="T29" fmla="*/ 120 h 1228"/>
              <a:gd name="T30" fmla="*/ 491 w 916"/>
              <a:gd name="T31" fmla="*/ 108 h 1228"/>
              <a:gd name="T32" fmla="*/ 440 w 916"/>
              <a:gd name="T33" fmla="*/ 65 h 1228"/>
              <a:gd name="T34" fmla="*/ 371 w 916"/>
              <a:gd name="T35" fmla="*/ 12 h 1228"/>
              <a:gd name="T36" fmla="*/ 348 w 916"/>
              <a:gd name="T37" fmla="*/ 47 h 1228"/>
              <a:gd name="T38" fmla="*/ 334 w 916"/>
              <a:gd name="T39" fmla="*/ 88 h 1228"/>
              <a:gd name="T40" fmla="*/ 344 w 916"/>
              <a:gd name="T41" fmla="*/ 161 h 1228"/>
              <a:gd name="T42" fmla="*/ 304 w 916"/>
              <a:gd name="T43" fmla="*/ 204 h 1228"/>
              <a:gd name="T44" fmla="*/ 297 w 916"/>
              <a:gd name="T45" fmla="*/ 243 h 1228"/>
              <a:gd name="T46" fmla="*/ 218 w 916"/>
              <a:gd name="T47" fmla="*/ 187 h 1228"/>
              <a:gd name="T48" fmla="*/ 171 w 916"/>
              <a:gd name="T49" fmla="*/ 230 h 1228"/>
              <a:gd name="T50" fmla="*/ 175 w 916"/>
              <a:gd name="T51" fmla="*/ 263 h 1228"/>
              <a:gd name="T52" fmla="*/ 132 w 916"/>
              <a:gd name="T53" fmla="*/ 342 h 1228"/>
              <a:gd name="T54" fmla="*/ 137 w 916"/>
              <a:gd name="T55" fmla="*/ 395 h 1228"/>
              <a:gd name="T56" fmla="*/ 75 w 916"/>
              <a:gd name="T57" fmla="*/ 477 h 1228"/>
              <a:gd name="T58" fmla="*/ 27 w 916"/>
              <a:gd name="T59" fmla="*/ 497 h 1228"/>
              <a:gd name="T60" fmla="*/ 14 w 916"/>
              <a:gd name="T61" fmla="*/ 599 h 1228"/>
              <a:gd name="T62" fmla="*/ 21 w 916"/>
              <a:gd name="T63" fmla="*/ 682 h 1228"/>
              <a:gd name="T64" fmla="*/ 14 w 916"/>
              <a:gd name="T65" fmla="*/ 748 h 1228"/>
              <a:gd name="T66" fmla="*/ 18 w 916"/>
              <a:gd name="T67" fmla="*/ 851 h 1228"/>
              <a:gd name="T68" fmla="*/ 181 w 916"/>
              <a:gd name="T69" fmla="*/ 963 h 1228"/>
              <a:gd name="T70" fmla="*/ 112 w 916"/>
              <a:gd name="T71" fmla="*/ 1069 h 1228"/>
              <a:gd name="T72" fmla="*/ 126 w 916"/>
              <a:gd name="T73" fmla="*/ 1185 h 1228"/>
              <a:gd name="T74" fmla="*/ 361 w 916"/>
              <a:gd name="T75" fmla="*/ 1196 h 1228"/>
              <a:gd name="T76" fmla="*/ 440 w 916"/>
              <a:gd name="T77" fmla="*/ 1204 h 1228"/>
              <a:gd name="T78" fmla="*/ 515 w 916"/>
              <a:gd name="T79" fmla="*/ 1224 h 1228"/>
              <a:gd name="T80" fmla="*/ 615 w 916"/>
              <a:gd name="T81" fmla="*/ 1192 h 1228"/>
              <a:gd name="T82" fmla="*/ 686 w 916"/>
              <a:gd name="T83" fmla="*/ 1210 h 1228"/>
              <a:gd name="T84" fmla="*/ 686 w 916"/>
              <a:gd name="T85" fmla="*/ 1130 h 1228"/>
              <a:gd name="T86" fmla="*/ 739 w 916"/>
              <a:gd name="T87" fmla="*/ 1084 h 1228"/>
              <a:gd name="T88" fmla="*/ 786 w 916"/>
              <a:gd name="T89" fmla="*/ 1027 h 1228"/>
              <a:gd name="T90" fmla="*/ 733 w 916"/>
              <a:gd name="T91" fmla="*/ 963 h 1228"/>
              <a:gd name="T92" fmla="*/ 650 w 916"/>
              <a:gd name="T93" fmla="*/ 880 h 1228"/>
              <a:gd name="T94" fmla="*/ 609 w 916"/>
              <a:gd name="T95" fmla="*/ 788 h 1228"/>
              <a:gd name="T96" fmla="*/ 637 w 916"/>
              <a:gd name="T97" fmla="*/ 782 h 1228"/>
              <a:gd name="T98" fmla="*/ 735 w 916"/>
              <a:gd name="T99" fmla="*/ 743 h 1228"/>
              <a:gd name="T100" fmla="*/ 835 w 916"/>
              <a:gd name="T101" fmla="*/ 686 h 1228"/>
              <a:gd name="T102" fmla="*/ 870 w 916"/>
              <a:gd name="T103" fmla="*/ 666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6" h="1228">
                <a:moveTo>
                  <a:pt x="904" y="686"/>
                </a:moveTo>
                <a:lnTo>
                  <a:pt x="916" y="625"/>
                </a:lnTo>
                <a:lnTo>
                  <a:pt x="910" y="585"/>
                </a:lnTo>
                <a:lnTo>
                  <a:pt x="890" y="564"/>
                </a:lnTo>
                <a:lnTo>
                  <a:pt x="890" y="550"/>
                </a:lnTo>
                <a:lnTo>
                  <a:pt x="868" y="528"/>
                </a:lnTo>
                <a:lnTo>
                  <a:pt x="876" y="497"/>
                </a:lnTo>
                <a:lnTo>
                  <a:pt x="870" y="456"/>
                </a:lnTo>
                <a:lnTo>
                  <a:pt x="851" y="393"/>
                </a:lnTo>
                <a:lnTo>
                  <a:pt x="829" y="365"/>
                </a:lnTo>
                <a:lnTo>
                  <a:pt x="835" y="342"/>
                </a:lnTo>
                <a:lnTo>
                  <a:pt x="849" y="320"/>
                </a:lnTo>
                <a:lnTo>
                  <a:pt x="843" y="285"/>
                </a:lnTo>
                <a:lnTo>
                  <a:pt x="847" y="242"/>
                </a:lnTo>
                <a:lnTo>
                  <a:pt x="860" y="228"/>
                </a:lnTo>
                <a:lnTo>
                  <a:pt x="843" y="222"/>
                </a:lnTo>
                <a:lnTo>
                  <a:pt x="823" y="200"/>
                </a:lnTo>
                <a:lnTo>
                  <a:pt x="809" y="208"/>
                </a:lnTo>
                <a:lnTo>
                  <a:pt x="800" y="196"/>
                </a:lnTo>
                <a:lnTo>
                  <a:pt x="800" y="181"/>
                </a:lnTo>
                <a:lnTo>
                  <a:pt x="786" y="153"/>
                </a:lnTo>
                <a:lnTo>
                  <a:pt x="754" y="153"/>
                </a:lnTo>
                <a:lnTo>
                  <a:pt x="758" y="139"/>
                </a:lnTo>
                <a:lnTo>
                  <a:pt x="782" y="120"/>
                </a:lnTo>
                <a:lnTo>
                  <a:pt x="790" y="96"/>
                </a:lnTo>
                <a:lnTo>
                  <a:pt x="776" y="71"/>
                </a:lnTo>
                <a:lnTo>
                  <a:pt x="754" y="69"/>
                </a:lnTo>
                <a:lnTo>
                  <a:pt x="747" y="86"/>
                </a:lnTo>
                <a:lnTo>
                  <a:pt x="739" y="110"/>
                </a:lnTo>
                <a:lnTo>
                  <a:pt x="739" y="122"/>
                </a:lnTo>
                <a:lnTo>
                  <a:pt x="707" y="110"/>
                </a:lnTo>
                <a:lnTo>
                  <a:pt x="690" y="120"/>
                </a:lnTo>
                <a:lnTo>
                  <a:pt x="678" y="106"/>
                </a:lnTo>
                <a:lnTo>
                  <a:pt x="666" y="126"/>
                </a:lnTo>
                <a:lnTo>
                  <a:pt x="652" y="128"/>
                </a:lnTo>
                <a:lnTo>
                  <a:pt x="642" y="149"/>
                </a:lnTo>
                <a:lnTo>
                  <a:pt x="619" y="139"/>
                </a:lnTo>
                <a:lnTo>
                  <a:pt x="597" y="149"/>
                </a:lnTo>
                <a:lnTo>
                  <a:pt x="587" y="161"/>
                </a:lnTo>
                <a:lnTo>
                  <a:pt x="570" y="183"/>
                </a:lnTo>
                <a:lnTo>
                  <a:pt x="550" y="169"/>
                </a:lnTo>
                <a:lnTo>
                  <a:pt x="528" y="169"/>
                </a:lnTo>
                <a:lnTo>
                  <a:pt x="509" y="169"/>
                </a:lnTo>
                <a:lnTo>
                  <a:pt x="517" y="143"/>
                </a:lnTo>
                <a:lnTo>
                  <a:pt x="540" y="120"/>
                </a:lnTo>
                <a:lnTo>
                  <a:pt x="532" y="106"/>
                </a:lnTo>
                <a:lnTo>
                  <a:pt x="503" y="122"/>
                </a:lnTo>
                <a:lnTo>
                  <a:pt x="491" y="108"/>
                </a:lnTo>
                <a:lnTo>
                  <a:pt x="477" y="96"/>
                </a:lnTo>
                <a:lnTo>
                  <a:pt x="452" y="92"/>
                </a:lnTo>
                <a:lnTo>
                  <a:pt x="440" y="65"/>
                </a:lnTo>
                <a:lnTo>
                  <a:pt x="438" y="31"/>
                </a:lnTo>
                <a:lnTo>
                  <a:pt x="405" y="23"/>
                </a:lnTo>
                <a:lnTo>
                  <a:pt x="371" y="12"/>
                </a:lnTo>
                <a:lnTo>
                  <a:pt x="346" y="0"/>
                </a:lnTo>
                <a:lnTo>
                  <a:pt x="330" y="18"/>
                </a:lnTo>
                <a:lnTo>
                  <a:pt x="348" y="47"/>
                </a:lnTo>
                <a:lnTo>
                  <a:pt x="357" y="69"/>
                </a:lnTo>
                <a:lnTo>
                  <a:pt x="350" y="82"/>
                </a:lnTo>
                <a:lnTo>
                  <a:pt x="334" y="88"/>
                </a:lnTo>
                <a:lnTo>
                  <a:pt x="334" y="106"/>
                </a:lnTo>
                <a:lnTo>
                  <a:pt x="344" y="126"/>
                </a:lnTo>
                <a:lnTo>
                  <a:pt x="344" y="161"/>
                </a:lnTo>
                <a:lnTo>
                  <a:pt x="344" y="175"/>
                </a:lnTo>
                <a:lnTo>
                  <a:pt x="318" y="181"/>
                </a:lnTo>
                <a:lnTo>
                  <a:pt x="304" y="204"/>
                </a:lnTo>
                <a:lnTo>
                  <a:pt x="304" y="236"/>
                </a:lnTo>
                <a:lnTo>
                  <a:pt x="308" y="259"/>
                </a:lnTo>
                <a:lnTo>
                  <a:pt x="297" y="243"/>
                </a:lnTo>
                <a:lnTo>
                  <a:pt x="269" y="230"/>
                </a:lnTo>
                <a:lnTo>
                  <a:pt x="247" y="194"/>
                </a:lnTo>
                <a:lnTo>
                  <a:pt x="218" y="187"/>
                </a:lnTo>
                <a:lnTo>
                  <a:pt x="189" y="194"/>
                </a:lnTo>
                <a:lnTo>
                  <a:pt x="167" y="212"/>
                </a:lnTo>
                <a:lnTo>
                  <a:pt x="171" y="230"/>
                </a:lnTo>
                <a:lnTo>
                  <a:pt x="190" y="249"/>
                </a:lnTo>
                <a:lnTo>
                  <a:pt x="200" y="269"/>
                </a:lnTo>
                <a:lnTo>
                  <a:pt x="175" y="263"/>
                </a:lnTo>
                <a:lnTo>
                  <a:pt x="161" y="259"/>
                </a:lnTo>
                <a:lnTo>
                  <a:pt x="147" y="304"/>
                </a:lnTo>
                <a:lnTo>
                  <a:pt x="132" y="342"/>
                </a:lnTo>
                <a:lnTo>
                  <a:pt x="106" y="352"/>
                </a:lnTo>
                <a:lnTo>
                  <a:pt x="124" y="379"/>
                </a:lnTo>
                <a:lnTo>
                  <a:pt x="137" y="395"/>
                </a:lnTo>
                <a:lnTo>
                  <a:pt x="124" y="426"/>
                </a:lnTo>
                <a:lnTo>
                  <a:pt x="92" y="446"/>
                </a:lnTo>
                <a:lnTo>
                  <a:pt x="75" y="477"/>
                </a:lnTo>
                <a:lnTo>
                  <a:pt x="45" y="467"/>
                </a:lnTo>
                <a:lnTo>
                  <a:pt x="27" y="471"/>
                </a:lnTo>
                <a:lnTo>
                  <a:pt x="27" y="497"/>
                </a:lnTo>
                <a:lnTo>
                  <a:pt x="21" y="542"/>
                </a:lnTo>
                <a:lnTo>
                  <a:pt x="21" y="579"/>
                </a:lnTo>
                <a:lnTo>
                  <a:pt x="14" y="599"/>
                </a:lnTo>
                <a:lnTo>
                  <a:pt x="14" y="633"/>
                </a:lnTo>
                <a:lnTo>
                  <a:pt x="14" y="660"/>
                </a:lnTo>
                <a:lnTo>
                  <a:pt x="21" y="682"/>
                </a:lnTo>
                <a:lnTo>
                  <a:pt x="14" y="717"/>
                </a:lnTo>
                <a:lnTo>
                  <a:pt x="0" y="741"/>
                </a:lnTo>
                <a:lnTo>
                  <a:pt x="14" y="748"/>
                </a:lnTo>
                <a:lnTo>
                  <a:pt x="0" y="776"/>
                </a:lnTo>
                <a:lnTo>
                  <a:pt x="20" y="796"/>
                </a:lnTo>
                <a:lnTo>
                  <a:pt x="18" y="851"/>
                </a:lnTo>
                <a:lnTo>
                  <a:pt x="47" y="900"/>
                </a:lnTo>
                <a:lnTo>
                  <a:pt x="159" y="931"/>
                </a:lnTo>
                <a:lnTo>
                  <a:pt x="181" y="963"/>
                </a:lnTo>
                <a:lnTo>
                  <a:pt x="161" y="1016"/>
                </a:lnTo>
                <a:lnTo>
                  <a:pt x="132" y="1033"/>
                </a:lnTo>
                <a:lnTo>
                  <a:pt x="112" y="1069"/>
                </a:lnTo>
                <a:lnTo>
                  <a:pt x="112" y="1110"/>
                </a:lnTo>
                <a:lnTo>
                  <a:pt x="110" y="1167"/>
                </a:lnTo>
                <a:lnTo>
                  <a:pt x="126" y="1185"/>
                </a:lnTo>
                <a:lnTo>
                  <a:pt x="259" y="1171"/>
                </a:lnTo>
                <a:lnTo>
                  <a:pt x="332" y="1206"/>
                </a:lnTo>
                <a:lnTo>
                  <a:pt x="361" y="1196"/>
                </a:lnTo>
                <a:lnTo>
                  <a:pt x="391" y="1228"/>
                </a:lnTo>
                <a:lnTo>
                  <a:pt x="416" y="1228"/>
                </a:lnTo>
                <a:lnTo>
                  <a:pt x="440" y="1204"/>
                </a:lnTo>
                <a:lnTo>
                  <a:pt x="458" y="1204"/>
                </a:lnTo>
                <a:lnTo>
                  <a:pt x="491" y="1226"/>
                </a:lnTo>
                <a:lnTo>
                  <a:pt x="515" y="1224"/>
                </a:lnTo>
                <a:lnTo>
                  <a:pt x="536" y="1210"/>
                </a:lnTo>
                <a:lnTo>
                  <a:pt x="560" y="1196"/>
                </a:lnTo>
                <a:lnTo>
                  <a:pt x="615" y="1192"/>
                </a:lnTo>
                <a:lnTo>
                  <a:pt x="652" y="1192"/>
                </a:lnTo>
                <a:lnTo>
                  <a:pt x="676" y="1196"/>
                </a:lnTo>
                <a:lnTo>
                  <a:pt x="686" y="1210"/>
                </a:lnTo>
                <a:lnTo>
                  <a:pt x="699" y="1194"/>
                </a:lnTo>
                <a:lnTo>
                  <a:pt x="692" y="1169"/>
                </a:lnTo>
                <a:lnTo>
                  <a:pt x="686" y="1130"/>
                </a:lnTo>
                <a:lnTo>
                  <a:pt x="697" y="1098"/>
                </a:lnTo>
                <a:lnTo>
                  <a:pt x="725" y="1088"/>
                </a:lnTo>
                <a:lnTo>
                  <a:pt x="739" y="1084"/>
                </a:lnTo>
                <a:lnTo>
                  <a:pt x="747" y="1061"/>
                </a:lnTo>
                <a:lnTo>
                  <a:pt x="764" y="1051"/>
                </a:lnTo>
                <a:lnTo>
                  <a:pt x="786" y="1027"/>
                </a:lnTo>
                <a:lnTo>
                  <a:pt x="786" y="1008"/>
                </a:lnTo>
                <a:lnTo>
                  <a:pt x="764" y="1000"/>
                </a:lnTo>
                <a:lnTo>
                  <a:pt x="733" y="963"/>
                </a:lnTo>
                <a:lnTo>
                  <a:pt x="693" y="927"/>
                </a:lnTo>
                <a:lnTo>
                  <a:pt x="666" y="906"/>
                </a:lnTo>
                <a:lnTo>
                  <a:pt x="650" y="880"/>
                </a:lnTo>
                <a:lnTo>
                  <a:pt x="635" y="843"/>
                </a:lnTo>
                <a:lnTo>
                  <a:pt x="631" y="803"/>
                </a:lnTo>
                <a:lnTo>
                  <a:pt x="609" y="788"/>
                </a:lnTo>
                <a:lnTo>
                  <a:pt x="603" y="774"/>
                </a:lnTo>
                <a:lnTo>
                  <a:pt x="619" y="762"/>
                </a:lnTo>
                <a:lnTo>
                  <a:pt x="637" y="782"/>
                </a:lnTo>
                <a:lnTo>
                  <a:pt x="660" y="768"/>
                </a:lnTo>
                <a:lnTo>
                  <a:pt x="690" y="748"/>
                </a:lnTo>
                <a:lnTo>
                  <a:pt x="735" y="743"/>
                </a:lnTo>
                <a:lnTo>
                  <a:pt x="764" y="701"/>
                </a:lnTo>
                <a:lnTo>
                  <a:pt x="790" y="699"/>
                </a:lnTo>
                <a:lnTo>
                  <a:pt x="835" y="686"/>
                </a:lnTo>
                <a:lnTo>
                  <a:pt x="837" y="652"/>
                </a:lnTo>
                <a:lnTo>
                  <a:pt x="855" y="652"/>
                </a:lnTo>
                <a:lnTo>
                  <a:pt x="870" y="666"/>
                </a:lnTo>
                <a:lnTo>
                  <a:pt x="884" y="678"/>
                </a:lnTo>
                <a:lnTo>
                  <a:pt x="904" y="686"/>
                </a:lnTo>
                <a:close/>
              </a:path>
            </a:pathLst>
          </a:custGeom>
          <a:solidFill>
            <a:srgbClr val="009900"/>
          </a:solidFill>
          <a:ln w="9525">
            <a:solidFill>
              <a:srgbClr val="000000"/>
            </a:solidFill>
            <a:prstDash val="solid"/>
            <a:round/>
            <a:headEnd/>
            <a:tailEnd/>
          </a:ln>
        </p:spPr>
        <p:txBody>
          <a:bodyPr/>
          <a:lstStyle/>
          <a:p>
            <a:endParaRPr lang="cs-CZ"/>
          </a:p>
        </p:txBody>
      </p:sp>
      <p:sp>
        <p:nvSpPr>
          <p:cNvPr id="248" name="Freeform 256"/>
          <p:cNvSpPr>
            <a:spLocks/>
          </p:cNvSpPr>
          <p:nvPr/>
        </p:nvSpPr>
        <p:spPr bwMode="auto">
          <a:xfrm>
            <a:off x="3022600" y="3976265"/>
            <a:ext cx="268288" cy="246063"/>
          </a:xfrm>
          <a:custGeom>
            <a:avLst/>
            <a:gdLst>
              <a:gd name="T0" fmla="*/ 253 w 337"/>
              <a:gd name="T1" fmla="*/ 310 h 310"/>
              <a:gd name="T2" fmla="*/ 265 w 337"/>
              <a:gd name="T3" fmla="*/ 261 h 310"/>
              <a:gd name="T4" fmla="*/ 271 w 337"/>
              <a:gd name="T5" fmla="*/ 233 h 310"/>
              <a:gd name="T6" fmla="*/ 298 w 337"/>
              <a:gd name="T7" fmla="*/ 220 h 310"/>
              <a:gd name="T8" fmla="*/ 324 w 337"/>
              <a:gd name="T9" fmla="*/ 218 h 310"/>
              <a:gd name="T10" fmla="*/ 337 w 337"/>
              <a:gd name="T11" fmla="*/ 186 h 310"/>
              <a:gd name="T12" fmla="*/ 334 w 337"/>
              <a:gd name="T13" fmla="*/ 151 h 310"/>
              <a:gd name="T14" fmla="*/ 318 w 337"/>
              <a:gd name="T15" fmla="*/ 125 h 310"/>
              <a:gd name="T16" fmla="*/ 284 w 337"/>
              <a:gd name="T17" fmla="*/ 117 h 310"/>
              <a:gd name="T18" fmla="*/ 296 w 337"/>
              <a:gd name="T19" fmla="*/ 74 h 310"/>
              <a:gd name="T20" fmla="*/ 277 w 337"/>
              <a:gd name="T21" fmla="*/ 39 h 310"/>
              <a:gd name="T22" fmla="*/ 249 w 337"/>
              <a:gd name="T23" fmla="*/ 11 h 310"/>
              <a:gd name="T24" fmla="*/ 224 w 337"/>
              <a:gd name="T25" fmla="*/ 0 h 310"/>
              <a:gd name="T26" fmla="*/ 180 w 337"/>
              <a:gd name="T27" fmla="*/ 2 h 310"/>
              <a:gd name="T28" fmla="*/ 135 w 337"/>
              <a:gd name="T29" fmla="*/ 19 h 310"/>
              <a:gd name="T30" fmla="*/ 110 w 337"/>
              <a:gd name="T31" fmla="*/ 19 h 310"/>
              <a:gd name="T32" fmla="*/ 88 w 337"/>
              <a:gd name="T33" fmla="*/ 0 h 310"/>
              <a:gd name="T34" fmla="*/ 58 w 337"/>
              <a:gd name="T35" fmla="*/ 2 h 310"/>
              <a:gd name="T36" fmla="*/ 31 w 337"/>
              <a:gd name="T37" fmla="*/ 11 h 310"/>
              <a:gd name="T38" fmla="*/ 0 w 337"/>
              <a:gd name="T39" fmla="*/ 19 h 310"/>
              <a:gd name="T40" fmla="*/ 11 w 337"/>
              <a:gd name="T41" fmla="*/ 74 h 310"/>
              <a:gd name="T42" fmla="*/ 41 w 337"/>
              <a:gd name="T43" fmla="*/ 96 h 310"/>
              <a:gd name="T44" fmla="*/ 64 w 337"/>
              <a:gd name="T45" fmla="*/ 131 h 310"/>
              <a:gd name="T46" fmla="*/ 129 w 337"/>
              <a:gd name="T47" fmla="*/ 176 h 310"/>
              <a:gd name="T48" fmla="*/ 127 w 337"/>
              <a:gd name="T49" fmla="*/ 228 h 310"/>
              <a:gd name="T50" fmla="*/ 161 w 337"/>
              <a:gd name="T51" fmla="*/ 241 h 310"/>
              <a:gd name="T52" fmla="*/ 202 w 337"/>
              <a:gd name="T53" fmla="*/ 206 h 310"/>
              <a:gd name="T54" fmla="*/ 202 w 337"/>
              <a:gd name="T55" fmla="*/ 269 h 310"/>
              <a:gd name="T56" fmla="*/ 253 w 337"/>
              <a:gd name="T5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7" h="310">
                <a:moveTo>
                  <a:pt x="253" y="310"/>
                </a:moveTo>
                <a:lnTo>
                  <a:pt x="265" y="261"/>
                </a:lnTo>
                <a:lnTo>
                  <a:pt x="271" y="233"/>
                </a:lnTo>
                <a:lnTo>
                  <a:pt x="298" y="220"/>
                </a:lnTo>
                <a:lnTo>
                  <a:pt x="324" y="218"/>
                </a:lnTo>
                <a:lnTo>
                  <a:pt x="337" y="186"/>
                </a:lnTo>
                <a:lnTo>
                  <a:pt x="334" y="151"/>
                </a:lnTo>
                <a:lnTo>
                  <a:pt x="318" y="125"/>
                </a:lnTo>
                <a:lnTo>
                  <a:pt x="284" y="117"/>
                </a:lnTo>
                <a:lnTo>
                  <a:pt x="296" y="74"/>
                </a:lnTo>
                <a:lnTo>
                  <a:pt x="277" y="39"/>
                </a:lnTo>
                <a:lnTo>
                  <a:pt x="249" y="11"/>
                </a:lnTo>
                <a:lnTo>
                  <a:pt x="224" y="0"/>
                </a:lnTo>
                <a:lnTo>
                  <a:pt x="180" y="2"/>
                </a:lnTo>
                <a:lnTo>
                  <a:pt x="135" y="19"/>
                </a:lnTo>
                <a:lnTo>
                  <a:pt x="110" y="19"/>
                </a:lnTo>
                <a:lnTo>
                  <a:pt x="88" y="0"/>
                </a:lnTo>
                <a:lnTo>
                  <a:pt x="58" y="2"/>
                </a:lnTo>
                <a:lnTo>
                  <a:pt x="31" y="11"/>
                </a:lnTo>
                <a:lnTo>
                  <a:pt x="0" y="19"/>
                </a:lnTo>
                <a:lnTo>
                  <a:pt x="11" y="74"/>
                </a:lnTo>
                <a:lnTo>
                  <a:pt x="41" y="96"/>
                </a:lnTo>
                <a:lnTo>
                  <a:pt x="64" y="131"/>
                </a:lnTo>
                <a:lnTo>
                  <a:pt x="129" y="176"/>
                </a:lnTo>
                <a:lnTo>
                  <a:pt x="127" y="228"/>
                </a:lnTo>
                <a:lnTo>
                  <a:pt x="161" y="241"/>
                </a:lnTo>
                <a:lnTo>
                  <a:pt x="202" y="206"/>
                </a:lnTo>
                <a:lnTo>
                  <a:pt x="202" y="269"/>
                </a:lnTo>
                <a:lnTo>
                  <a:pt x="253" y="310"/>
                </a:lnTo>
                <a:close/>
              </a:path>
            </a:pathLst>
          </a:custGeom>
          <a:solidFill>
            <a:srgbClr val="D0D0D0"/>
          </a:solidFill>
          <a:ln w="9525">
            <a:solidFill>
              <a:srgbClr val="000000"/>
            </a:solidFill>
            <a:prstDash val="solid"/>
            <a:round/>
            <a:headEnd/>
            <a:tailEnd/>
          </a:ln>
        </p:spPr>
        <p:txBody>
          <a:bodyPr/>
          <a:lstStyle/>
          <a:p>
            <a:endParaRPr lang="cs-CZ"/>
          </a:p>
        </p:txBody>
      </p:sp>
      <p:sp>
        <p:nvSpPr>
          <p:cNvPr id="249" name="Freeform 257"/>
          <p:cNvSpPr>
            <a:spLocks/>
          </p:cNvSpPr>
          <p:nvPr/>
        </p:nvSpPr>
        <p:spPr bwMode="auto">
          <a:xfrm>
            <a:off x="2355850" y="4000078"/>
            <a:ext cx="1065213" cy="1108075"/>
          </a:xfrm>
          <a:custGeom>
            <a:avLst/>
            <a:gdLst>
              <a:gd name="T0" fmla="*/ 1269 w 1342"/>
              <a:gd name="T1" fmla="*/ 566 h 1397"/>
              <a:gd name="T2" fmla="*/ 1316 w 1342"/>
              <a:gd name="T3" fmla="*/ 476 h 1397"/>
              <a:gd name="T4" fmla="*/ 1330 w 1342"/>
              <a:gd name="T5" fmla="*/ 395 h 1397"/>
              <a:gd name="T6" fmla="*/ 1175 w 1342"/>
              <a:gd name="T7" fmla="*/ 310 h 1397"/>
              <a:gd name="T8" fmla="*/ 1043 w 1342"/>
              <a:gd name="T9" fmla="*/ 240 h 1397"/>
              <a:gd name="T10" fmla="*/ 994 w 1342"/>
              <a:gd name="T11" fmla="*/ 210 h 1397"/>
              <a:gd name="T12" fmla="*/ 905 w 1342"/>
              <a:gd name="T13" fmla="*/ 94 h 1397"/>
              <a:gd name="T14" fmla="*/ 846 w 1342"/>
              <a:gd name="T15" fmla="*/ 45 h 1397"/>
              <a:gd name="T16" fmla="*/ 742 w 1342"/>
              <a:gd name="T17" fmla="*/ 20 h 1397"/>
              <a:gd name="T18" fmla="*/ 715 w 1342"/>
              <a:gd name="T19" fmla="*/ 112 h 1397"/>
              <a:gd name="T20" fmla="*/ 634 w 1342"/>
              <a:gd name="T21" fmla="*/ 163 h 1397"/>
              <a:gd name="T22" fmla="*/ 550 w 1342"/>
              <a:gd name="T23" fmla="*/ 199 h 1397"/>
              <a:gd name="T24" fmla="*/ 538 w 1342"/>
              <a:gd name="T25" fmla="*/ 226 h 1397"/>
              <a:gd name="T26" fmla="*/ 422 w 1342"/>
              <a:gd name="T27" fmla="*/ 202 h 1397"/>
              <a:gd name="T28" fmla="*/ 387 w 1342"/>
              <a:gd name="T29" fmla="*/ 147 h 1397"/>
              <a:gd name="T30" fmla="*/ 347 w 1342"/>
              <a:gd name="T31" fmla="*/ 195 h 1397"/>
              <a:gd name="T32" fmla="*/ 367 w 1342"/>
              <a:gd name="T33" fmla="*/ 299 h 1397"/>
              <a:gd name="T34" fmla="*/ 220 w 1342"/>
              <a:gd name="T35" fmla="*/ 291 h 1397"/>
              <a:gd name="T36" fmla="*/ 114 w 1342"/>
              <a:gd name="T37" fmla="*/ 252 h 1397"/>
              <a:gd name="T38" fmla="*/ 21 w 1342"/>
              <a:gd name="T39" fmla="*/ 283 h 1397"/>
              <a:gd name="T40" fmla="*/ 11 w 1342"/>
              <a:gd name="T41" fmla="*/ 332 h 1397"/>
              <a:gd name="T42" fmla="*/ 84 w 1342"/>
              <a:gd name="T43" fmla="*/ 385 h 1397"/>
              <a:gd name="T44" fmla="*/ 145 w 1342"/>
              <a:gd name="T45" fmla="*/ 448 h 1397"/>
              <a:gd name="T46" fmla="*/ 210 w 1342"/>
              <a:gd name="T47" fmla="*/ 477 h 1397"/>
              <a:gd name="T48" fmla="*/ 237 w 1342"/>
              <a:gd name="T49" fmla="*/ 558 h 1397"/>
              <a:gd name="T50" fmla="*/ 245 w 1342"/>
              <a:gd name="T51" fmla="*/ 639 h 1397"/>
              <a:gd name="T52" fmla="*/ 308 w 1342"/>
              <a:gd name="T53" fmla="*/ 756 h 1397"/>
              <a:gd name="T54" fmla="*/ 322 w 1342"/>
              <a:gd name="T55" fmla="*/ 861 h 1397"/>
              <a:gd name="T56" fmla="*/ 273 w 1342"/>
              <a:gd name="T57" fmla="*/ 872 h 1397"/>
              <a:gd name="T58" fmla="*/ 251 w 1342"/>
              <a:gd name="T59" fmla="*/ 969 h 1397"/>
              <a:gd name="T60" fmla="*/ 204 w 1342"/>
              <a:gd name="T61" fmla="*/ 1094 h 1397"/>
              <a:gd name="T62" fmla="*/ 135 w 1342"/>
              <a:gd name="T63" fmla="*/ 1163 h 1397"/>
              <a:gd name="T64" fmla="*/ 190 w 1342"/>
              <a:gd name="T65" fmla="*/ 1224 h 1397"/>
              <a:gd name="T66" fmla="*/ 273 w 1342"/>
              <a:gd name="T67" fmla="*/ 1287 h 1397"/>
              <a:gd name="T68" fmla="*/ 422 w 1342"/>
              <a:gd name="T69" fmla="*/ 1307 h 1397"/>
              <a:gd name="T70" fmla="*/ 497 w 1342"/>
              <a:gd name="T71" fmla="*/ 1352 h 1397"/>
              <a:gd name="T72" fmla="*/ 599 w 1342"/>
              <a:gd name="T73" fmla="*/ 1397 h 1397"/>
              <a:gd name="T74" fmla="*/ 689 w 1342"/>
              <a:gd name="T75" fmla="*/ 1301 h 1397"/>
              <a:gd name="T76" fmla="*/ 768 w 1342"/>
              <a:gd name="T77" fmla="*/ 1256 h 1397"/>
              <a:gd name="T78" fmla="*/ 860 w 1342"/>
              <a:gd name="T79" fmla="*/ 1273 h 1397"/>
              <a:gd name="T80" fmla="*/ 994 w 1342"/>
              <a:gd name="T81" fmla="*/ 1324 h 1397"/>
              <a:gd name="T82" fmla="*/ 1090 w 1342"/>
              <a:gd name="T83" fmla="*/ 1328 h 1397"/>
              <a:gd name="T84" fmla="*/ 1171 w 1342"/>
              <a:gd name="T85" fmla="*/ 1265 h 1397"/>
              <a:gd name="T86" fmla="*/ 1216 w 1342"/>
              <a:gd name="T87" fmla="*/ 1195 h 1397"/>
              <a:gd name="T88" fmla="*/ 1139 w 1342"/>
              <a:gd name="T89" fmla="*/ 1106 h 1397"/>
              <a:gd name="T90" fmla="*/ 1171 w 1342"/>
              <a:gd name="T91" fmla="*/ 990 h 1397"/>
              <a:gd name="T92" fmla="*/ 1165 w 1342"/>
              <a:gd name="T93" fmla="*/ 886 h 1397"/>
              <a:gd name="T94" fmla="*/ 1159 w 1342"/>
              <a:gd name="T95" fmla="*/ 829 h 1397"/>
              <a:gd name="T96" fmla="*/ 1092 w 1342"/>
              <a:gd name="T97" fmla="*/ 847 h 1397"/>
              <a:gd name="T98" fmla="*/ 1139 w 1342"/>
              <a:gd name="T99" fmla="*/ 733 h 1397"/>
              <a:gd name="T100" fmla="*/ 1200 w 1342"/>
              <a:gd name="T101" fmla="*/ 635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2" h="1397">
                <a:moveTo>
                  <a:pt x="1267" y="625"/>
                </a:moveTo>
                <a:lnTo>
                  <a:pt x="1263" y="584"/>
                </a:lnTo>
                <a:lnTo>
                  <a:pt x="1269" y="566"/>
                </a:lnTo>
                <a:lnTo>
                  <a:pt x="1267" y="523"/>
                </a:lnTo>
                <a:lnTo>
                  <a:pt x="1296" y="476"/>
                </a:lnTo>
                <a:lnTo>
                  <a:pt x="1316" y="476"/>
                </a:lnTo>
                <a:lnTo>
                  <a:pt x="1322" y="444"/>
                </a:lnTo>
                <a:lnTo>
                  <a:pt x="1342" y="421"/>
                </a:lnTo>
                <a:lnTo>
                  <a:pt x="1330" y="395"/>
                </a:lnTo>
                <a:lnTo>
                  <a:pt x="1245" y="366"/>
                </a:lnTo>
                <a:lnTo>
                  <a:pt x="1202" y="360"/>
                </a:lnTo>
                <a:lnTo>
                  <a:pt x="1175" y="310"/>
                </a:lnTo>
                <a:lnTo>
                  <a:pt x="1143" y="283"/>
                </a:lnTo>
                <a:lnTo>
                  <a:pt x="1100" y="285"/>
                </a:lnTo>
                <a:lnTo>
                  <a:pt x="1043" y="240"/>
                </a:lnTo>
                <a:lnTo>
                  <a:pt x="1041" y="177"/>
                </a:lnTo>
                <a:lnTo>
                  <a:pt x="1015" y="199"/>
                </a:lnTo>
                <a:lnTo>
                  <a:pt x="994" y="210"/>
                </a:lnTo>
                <a:lnTo>
                  <a:pt x="962" y="195"/>
                </a:lnTo>
                <a:lnTo>
                  <a:pt x="974" y="142"/>
                </a:lnTo>
                <a:lnTo>
                  <a:pt x="905" y="94"/>
                </a:lnTo>
                <a:lnTo>
                  <a:pt x="894" y="79"/>
                </a:lnTo>
                <a:lnTo>
                  <a:pt x="872" y="53"/>
                </a:lnTo>
                <a:lnTo>
                  <a:pt x="846" y="45"/>
                </a:lnTo>
                <a:lnTo>
                  <a:pt x="844" y="0"/>
                </a:lnTo>
                <a:lnTo>
                  <a:pt x="762" y="4"/>
                </a:lnTo>
                <a:lnTo>
                  <a:pt x="742" y="20"/>
                </a:lnTo>
                <a:lnTo>
                  <a:pt x="725" y="53"/>
                </a:lnTo>
                <a:lnTo>
                  <a:pt x="723" y="79"/>
                </a:lnTo>
                <a:lnTo>
                  <a:pt x="715" y="112"/>
                </a:lnTo>
                <a:lnTo>
                  <a:pt x="715" y="134"/>
                </a:lnTo>
                <a:lnTo>
                  <a:pt x="675" y="149"/>
                </a:lnTo>
                <a:lnTo>
                  <a:pt x="634" y="163"/>
                </a:lnTo>
                <a:lnTo>
                  <a:pt x="599" y="163"/>
                </a:lnTo>
                <a:lnTo>
                  <a:pt x="562" y="183"/>
                </a:lnTo>
                <a:lnTo>
                  <a:pt x="550" y="199"/>
                </a:lnTo>
                <a:lnTo>
                  <a:pt x="585" y="218"/>
                </a:lnTo>
                <a:lnTo>
                  <a:pt x="571" y="238"/>
                </a:lnTo>
                <a:lnTo>
                  <a:pt x="538" y="226"/>
                </a:lnTo>
                <a:lnTo>
                  <a:pt x="499" y="232"/>
                </a:lnTo>
                <a:lnTo>
                  <a:pt x="465" y="226"/>
                </a:lnTo>
                <a:lnTo>
                  <a:pt x="422" y="202"/>
                </a:lnTo>
                <a:lnTo>
                  <a:pt x="396" y="177"/>
                </a:lnTo>
                <a:lnTo>
                  <a:pt x="402" y="153"/>
                </a:lnTo>
                <a:lnTo>
                  <a:pt x="387" y="147"/>
                </a:lnTo>
                <a:lnTo>
                  <a:pt x="341" y="130"/>
                </a:lnTo>
                <a:lnTo>
                  <a:pt x="339" y="157"/>
                </a:lnTo>
                <a:lnTo>
                  <a:pt x="347" y="195"/>
                </a:lnTo>
                <a:lnTo>
                  <a:pt x="355" y="232"/>
                </a:lnTo>
                <a:lnTo>
                  <a:pt x="341" y="269"/>
                </a:lnTo>
                <a:lnTo>
                  <a:pt x="367" y="299"/>
                </a:lnTo>
                <a:lnTo>
                  <a:pt x="341" y="312"/>
                </a:lnTo>
                <a:lnTo>
                  <a:pt x="300" y="297"/>
                </a:lnTo>
                <a:lnTo>
                  <a:pt x="220" y="291"/>
                </a:lnTo>
                <a:lnTo>
                  <a:pt x="182" y="240"/>
                </a:lnTo>
                <a:lnTo>
                  <a:pt x="137" y="238"/>
                </a:lnTo>
                <a:lnTo>
                  <a:pt x="114" y="252"/>
                </a:lnTo>
                <a:lnTo>
                  <a:pt x="21" y="242"/>
                </a:lnTo>
                <a:lnTo>
                  <a:pt x="0" y="269"/>
                </a:lnTo>
                <a:lnTo>
                  <a:pt x="21" y="283"/>
                </a:lnTo>
                <a:lnTo>
                  <a:pt x="13" y="307"/>
                </a:lnTo>
                <a:lnTo>
                  <a:pt x="43" y="328"/>
                </a:lnTo>
                <a:lnTo>
                  <a:pt x="11" y="332"/>
                </a:lnTo>
                <a:lnTo>
                  <a:pt x="15" y="358"/>
                </a:lnTo>
                <a:lnTo>
                  <a:pt x="47" y="381"/>
                </a:lnTo>
                <a:lnTo>
                  <a:pt x="84" y="385"/>
                </a:lnTo>
                <a:lnTo>
                  <a:pt x="110" y="417"/>
                </a:lnTo>
                <a:lnTo>
                  <a:pt x="123" y="440"/>
                </a:lnTo>
                <a:lnTo>
                  <a:pt x="145" y="448"/>
                </a:lnTo>
                <a:lnTo>
                  <a:pt x="176" y="454"/>
                </a:lnTo>
                <a:lnTo>
                  <a:pt x="176" y="468"/>
                </a:lnTo>
                <a:lnTo>
                  <a:pt x="210" y="477"/>
                </a:lnTo>
                <a:lnTo>
                  <a:pt x="202" y="515"/>
                </a:lnTo>
                <a:lnTo>
                  <a:pt x="243" y="531"/>
                </a:lnTo>
                <a:lnTo>
                  <a:pt x="237" y="558"/>
                </a:lnTo>
                <a:lnTo>
                  <a:pt x="237" y="576"/>
                </a:lnTo>
                <a:lnTo>
                  <a:pt x="224" y="601"/>
                </a:lnTo>
                <a:lnTo>
                  <a:pt x="245" y="639"/>
                </a:lnTo>
                <a:lnTo>
                  <a:pt x="281" y="682"/>
                </a:lnTo>
                <a:lnTo>
                  <a:pt x="304" y="709"/>
                </a:lnTo>
                <a:lnTo>
                  <a:pt x="308" y="756"/>
                </a:lnTo>
                <a:lnTo>
                  <a:pt x="294" y="790"/>
                </a:lnTo>
                <a:lnTo>
                  <a:pt x="304" y="811"/>
                </a:lnTo>
                <a:lnTo>
                  <a:pt x="322" y="861"/>
                </a:lnTo>
                <a:lnTo>
                  <a:pt x="318" y="872"/>
                </a:lnTo>
                <a:lnTo>
                  <a:pt x="294" y="837"/>
                </a:lnTo>
                <a:lnTo>
                  <a:pt x="273" y="872"/>
                </a:lnTo>
                <a:lnTo>
                  <a:pt x="265" y="935"/>
                </a:lnTo>
                <a:lnTo>
                  <a:pt x="251" y="925"/>
                </a:lnTo>
                <a:lnTo>
                  <a:pt x="251" y="969"/>
                </a:lnTo>
                <a:lnTo>
                  <a:pt x="237" y="1006"/>
                </a:lnTo>
                <a:lnTo>
                  <a:pt x="226" y="1037"/>
                </a:lnTo>
                <a:lnTo>
                  <a:pt x="204" y="1094"/>
                </a:lnTo>
                <a:lnTo>
                  <a:pt x="188" y="1132"/>
                </a:lnTo>
                <a:lnTo>
                  <a:pt x="169" y="1151"/>
                </a:lnTo>
                <a:lnTo>
                  <a:pt x="135" y="1163"/>
                </a:lnTo>
                <a:lnTo>
                  <a:pt x="141" y="1179"/>
                </a:lnTo>
                <a:lnTo>
                  <a:pt x="161" y="1206"/>
                </a:lnTo>
                <a:lnTo>
                  <a:pt x="190" y="1224"/>
                </a:lnTo>
                <a:lnTo>
                  <a:pt x="226" y="1246"/>
                </a:lnTo>
                <a:lnTo>
                  <a:pt x="239" y="1279"/>
                </a:lnTo>
                <a:lnTo>
                  <a:pt x="273" y="1287"/>
                </a:lnTo>
                <a:lnTo>
                  <a:pt x="326" y="1305"/>
                </a:lnTo>
                <a:lnTo>
                  <a:pt x="381" y="1320"/>
                </a:lnTo>
                <a:lnTo>
                  <a:pt x="422" y="1307"/>
                </a:lnTo>
                <a:lnTo>
                  <a:pt x="455" y="1334"/>
                </a:lnTo>
                <a:lnTo>
                  <a:pt x="471" y="1358"/>
                </a:lnTo>
                <a:lnTo>
                  <a:pt x="497" y="1352"/>
                </a:lnTo>
                <a:lnTo>
                  <a:pt x="518" y="1371"/>
                </a:lnTo>
                <a:lnTo>
                  <a:pt x="544" y="1391"/>
                </a:lnTo>
                <a:lnTo>
                  <a:pt x="599" y="1397"/>
                </a:lnTo>
                <a:lnTo>
                  <a:pt x="681" y="1397"/>
                </a:lnTo>
                <a:lnTo>
                  <a:pt x="683" y="1344"/>
                </a:lnTo>
                <a:lnTo>
                  <a:pt x="689" y="1301"/>
                </a:lnTo>
                <a:lnTo>
                  <a:pt x="715" y="1283"/>
                </a:lnTo>
                <a:lnTo>
                  <a:pt x="742" y="1273"/>
                </a:lnTo>
                <a:lnTo>
                  <a:pt x="768" y="1256"/>
                </a:lnTo>
                <a:lnTo>
                  <a:pt x="803" y="1238"/>
                </a:lnTo>
                <a:lnTo>
                  <a:pt x="839" y="1259"/>
                </a:lnTo>
                <a:lnTo>
                  <a:pt x="860" y="1273"/>
                </a:lnTo>
                <a:lnTo>
                  <a:pt x="896" y="1281"/>
                </a:lnTo>
                <a:lnTo>
                  <a:pt x="953" y="1297"/>
                </a:lnTo>
                <a:lnTo>
                  <a:pt x="994" y="1324"/>
                </a:lnTo>
                <a:lnTo>
                  <a:pt x="1027" y="1336"/>
                </a:lnTo>
                <a:lnTo>
                  <a:pt x="1057" y="1338"/>
                </a:lnTo>
                <a:lnTo>
                  <a:pt x="1090" y="1328"/>
                </a:lnTo>
                <a:lnTo>
                  <a:pt x="1112" y="1311"/>
                </a:lnTo>
                <a:lnTo>
                  <a:pt x="1143" y="1281"/>
                </a:lnTo>
                <a:lnTo>
                  <a:pt x="1171" y="1265"/>
                </a:lnTo>
                <a:lnTo>
                  <a:pt x="1200" y="1254"/>
                </a:lnTo>
                <a:lnTo>
                  <a:pt x="1228" y="1228"/>
                </a:lnTo>
                <a:lnTo>
                  <a:pt x="1216" y="1195"/>
                </a:lnTo>
                <a:lnTo>
                  <a:pt x="1202" y="1173"/>
                </a:lnTo>
                <a:lnTo>
                  <a:pt x="1159" y="1167"/>
                </a:lnTo>
                <a:lnTo>
                  <a:pt x="1139" y="1106"/>
                </a:lnTo>
                <a:lnTo>
                  <a:pt x="1159" y="1069"/>
                </a:lnTo>
                <a:lnTo>
                  <a:pt x="1129" y="1035"/>
                </a:lnTo>
                <a:lnTo>
                  <a:pt x="1171" y="990"/>
                </a:lnTo>
                <a:lnTo>
                  <a:pt x="1161" y="951"/>
                </a:lnTo>
                <a:lnTo>
                  <a:pt x="1161" y="906"/>
                </a:lnTo>
                <a:lnTo>
                  <a:pt x="1165" y="886"/>
                </a:lnTo>
                <a:lnTo>
                  <a:pt x="1186" y="886"/>
                </a:lnTo>
                <a:lnTo>
                  <a:pt x="1155" y="863"/>
                </a:lnTo>
                <a:lnTo>
                  <a:pt x="1159" y="829"/>
                </a:lnTo>
                <a:lnTo>
                  <a:pt x="1159" y="806"/>
                </a:lnTo>
                <a:lnTo>
                  <a:pt x="1116" y="798"/>
                </a:lnTo>
                <a:lnTo>
                  <a:pt x="1092" y="847"/>
                </a:lnTo>
                <a:lnTo>
                  <a:pt x="1078" y="817"/>
                </a:lnTo>
                <a:lnTo>
                  <a:pt x="1084" y="774"/>
                </a:lnTo>
                <a:lnTo>
                  <a:pt x="1139" y="733"/>
                </a:lnTo>
                <a:lnTo>
                  <a:pt x="1141" y="705"/>
                </a:lnTo>
                <a:lnTo>
                  <a:pt x="1198" y="668"/>
                </a:lnTo>
                <a:lnTo>
                  <a:pt x="1200" y="635"/>
                </a:lnTo>
                <a:lnTo>
                  <a:pt x="1234" y="641"/>
                </a:lnTo>
                <a:lnTo>
                  <a:pt x="1267" y="625"/>
                </a:lnTo>
                <a:close/>
              </a:path>
            </a:pathLst>
          </a:custGeom>
          <a:solidFill>
            <a:srgbClr val="D0D0D0"/>
          </a:solidFill>
          <a:ln w="9525">
            <a:solidFill>
              <a:srgbClr val="000000"/>
            </a:solidFill>
            <a:prstDash val="solid"/>
            <a:round/>
            <a:headEnd/>
            <a:tailEnd/>
          </a:ln>
        </p:spPr>
        <p:txBody>
          <a:bodyPr/>
          <a:lstStyle/>
          <a:p>
            <a:endParaRPr lang="cs-CZ"/>
          </a:p>
        </p:txBody>
      </p:sp>
      <p:sp>
        <p:nvSpPr>
          <p:cNvPr id="250" name="Freeform 258"/>
          <p:cNvSpPr>
            <a:spLocks/>
          </p:cNvSpPr>
          <p:nvPr/>
        </p:nvSpPr>
        <p:spPr bwMode="auto">
          <a:xfrm>
            <a:off x="1595438" y="4924003"/>
            <a:ext cx="412750" cy="663575"/>
          </a:xfrm>
          <a:custGeom>
            <a:avLst/>
            <a:gdLst>
              <a:gd name="T0" fmla="*/ 226 w 518"/>
              <a:gd name="T1" fmla="*/ 16 h 835"/>
              <a:gd name="T2" fmla="*/ 247 w 518"/>
              <a:gd name="T3" fmla="*/ 4 h 835"/>
              <a:gd name="T4" fmla="*/ 267 w 518"/>
              <a:gd name="T5" fmla="*/ 2 h 835"/>
              <a:gd name="T6" fmla="*/ 312 w 518"/>
              <a:gd name="T7" fmla="*/ 0 h 835"/>
              <a:gd name="T8" fmla="*/ 308 w 518"/>
              <a:gd name="T9" fmla="*/ 34 h 835"/>
              <a:gd name="T10" fmla="*/ 332 w 518"/>
              <a:gd name="T11" fmla="*/ 43 h 835"/>
              <a:gd name="T12" fmla="*/ 371 w 518"/>
              <a:gd name="T13" fmla="*/ 57 h 835"/>
              <a:gd name="T14" fmla="*/ 391 w 518"/>
              <a:gd name="T15" fmla="*/ 61 h 835"/>
              <a:gd name="T16" fmla="*/ 404 w 518"/>
              <a:gd name="T17" fmla="*/ 69 h 835"/>
              <a:gd name="T18" fmla="*/ 426 w 518"/>
              <a:gd name="T19" fmla="*/ 69 h 835"/>
              <a:gd name="T20" fmla="*/ 418 w 518"/>
              <a:gd name="T21" fmla="*/ 75 h 835"/>
              <a:gd name="T22" fmla="*/ 446 w 518"/>
              <a:gd name="T23" fmla="*/ 71 h 835"/>
              <a:gd name="T24" fmla="*/ 450 w 518"/>
              <a:gd name="T25" fmla="*/ 73 h 835"/>
              <a:gd name="T26" fmla="*/ 479 w 518"/>
              <a:gd name="T27" fmla="*/ 77 h 835"/>
              <a:gd name="T28" fmla="*/ 503 w 518"/>
              <a:gd name="T29" fmla="*/ 91 h 835"/>
              <a:gd name="T30" fmla="*/ 513 w 518"/>
              <a:gd name="T31" fmla="*/ 110 h 835"/>
              <a:gd name="T32" fmla="*/ 518 w 518"/>
              <a:gd name="T33" fmla="*/ 138 h 835"/>
              <a:gd name="T34" fmla="*/ 514 w 518"/>
              <a:gd name="T35" fmla="*/ 175 h 835"/>
              <a:gd name="T36" fmla="*/ 499 w 518"/>
              <a:gd name="T37" fmla="*/ 195 h 835"/>
              <a:gd name="T38" fmla="*/ 481 w 518"/>
              <a:gd name="T39" fmla="*/ 212 h 835"/>
              <a:gd name="T40" fmla="*/ 459 w 518"/>
              <a:gd name="T41" fmla="*/ 212 h 835"/>
              <a:gd name="T42" fmla="*/ 448 w 518"/>
              <a:gd name="T43" fmla="*/ 224 h 835"/>
              <a:gd name="T44" fmla="*/ 418 w 518"/>
              <a:gd name="T45" fmla="*/ 236 h 835"/>
              <a:gd name="T46" fmla="*/ 424 w 518"/>
              <a:gd name="T47" fmla="*/ 263 h 835"/>
              <a:gd name="T48" fmla="*/ 418 w 518"/>
              <a:gd name="T49" fmla="*/ 277 h 835"/>
              <a:gd name="T50" fmla="*/ 408 w 518"/>
              <a:gd name="T51" fmla="*/ 307 h 835"/>
              <a:gd name="T52" fmla="*/ 402 w 518"/>
              <a:gd name="T53" fmla="*/ 326 h 835"/>
              <a:gd name="T54" fmla="*/ 385 w 518"/>
              <a:gd name="T55" fmla="*/ 368 h 835"/>
              <a:gd name="T56" fmla="*/ 391 w 518"/>
              <a:gd name="T57" fmla="*/ 389 h 835"/>
              <a:gd name="T58" fmla="*/ 369 w 518"/>
              <a:gd name="T59" fmla="*/ 428 h 835"/>
              <a:gd name="T60" fmla="*/ 322 w 518"/>
              <a:gd name="T61" fmla="*/ 430 h 835"/>
              <a:gd name="T62" fmla="*/ 304 w 518"/>
              <a:gd name="T63" fmla="*/ 450 h 835"/>
              <a:gd name="T64" fmla="*/ 310 w 518"/>
              <a:gd name="T65" fmla="*/ 485 h 835"/>
              <a:gd name="T66" fmla="*/ 320 w 518"/>
              <a:gd name="T67" fmla="*/ 529 h 835"/>
              <a:gd name="T68" fmla="*/ 273 w 518"/>
              <a:gd name="T69" fmla="*/ 603 h 835"/>
              <a:gd name="T70" fmla="*/ 271 w 518"/>
              <a:gd name="T71" fmla="*/ 650 h 835"/>
              <a:gd name="T72" fmla="*/ 287 w 518"/>
              <a:gd name="T73" fmla="*/ 688 h 835"/>
              <a:gd name="T74" fmla="*/ 273 w 518"/>
              <a:gd name="T75" fmla="*/ 717 h 835"/>
              <a:gd name="T76" fmla="*/ 206 w 518"/>
              <a:gd name="T77" fmla="*/ 743 h 835"/>
              <a:gd name="T78" fmla="*/ 204 w 518"/>
              <a:gd name="T79" fmla="*/ 819 h 835"/>
              <a:gd name="T80" fmla="*/ 182 w 518"/>
              <a:gd name="T81" fmla="*/ 829 h 835"/>
              <a:gd name="T82" fmla="*/ 123 w 518"/>
              <a:gd name="T83" fmla="*/ 835 h 835"/>
              <a:gd name="T84" fmla="*/ 92 w 518"/>
              <a:gd name="T85" fmla="*/ 819 h 835"/>
              <a:gd name="T86" fmla="*/ 59 w 518"/>
              <a:gd name="T87" fmla="*/ 808 h 835"/>
              <a:gd name="T88" fmla="*/ 8 w 518"/>
              <a:gd name="T89" fmla="*/ 798 h 835"/>
              <a:gd name="T90" fmla="*/ 0 w 518"/>
              <a:gd name="T91" fmla="*/ 778 h 835"/>
              <a:gd name="T92" fmla="*/ 19 w 518"/>
              <a:gd name="T93" fmla="*/ 753 h 835"/>
              <a:gd name="T94" fmla="*/ 41 w 518"/>
              <a:gd name="T95" fmla="*/ 713 h 835"/>
              <a:gd name="T96" fmla="*/ 59 w 518"/>
              <a:gd name="T97" fmla="*/ 674 h 835"/>
              <a:gd name="T98" fmla="*/ 66 w 518"/>
              <a:gd name="T99" fmla="*/ 629 h 835"/>
              <a:gd name="T100" fmla="*/ 82 w 518"/>
              <a:gd name="T101" fmla="*/ 597 h 835"/>
              <a:gd name="T102" fmla="*/ 80 w 518"/>
              <a:gd name="T103" fmla="*/ 554 h 835"/>
              <a:gd name="T104" fmla="*/ 45 w 518"/>
              <a:gd name="T105" fmla="*/ 558 h 835"/>
              <a:gd name="T106" fmla="*/ 39 w 518"/>
              <a:gd name="T107" fmla="*/ 529 h 835"/>
              <a:gd name="T108" fmla="*/ 15 w 518"/>
              <a:gd name="T109" fmla="*/ 480 h 835"/>
              <a:gd name="T110" fmla="*/ 33 w 518"/>
              <a:gd name="T111" fmla="*/ 454 h 835"/>
              <a:gd name="T112" fmla="*/ 63 w 518"/>
              <a:gd name="T113" fmla="*/ 411 h 835"/>
              <a:gd name="T114" fmla="*/ 98 w 518"/>
              <a:gd name="T115" fmla="*/ 381 h 835"/>
              <a:gd name="T116" fmla="*/ 120 w 518"/>
              <a:gd name="T117" fmla="*/ 342 h 835"/>
              <a:gd name="T118" fmla="*/ 159 w 518"/>
              <a:gd name="T119" fmla="*/ 261 h 835"/>
              <a:gd name="T120" fmla="*/ 200 w 518"/>
              <a:gd name="T121" fmla="*/ 183 h 835"/>
              <a:gd name="T122" fmla="*/ 232 w 518"/>
              <a:gd name="T123" fmla="*/ 116 h 835"/>
              <a:gd name="T124" fmla="*/ 226 w 518"/>
              <a:gd name="T125" fmla="*/ 16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835">
                <a:moveTo>
                  <a:pt x="226" y="16"/>
                </a:moveTo>
                <a:lnTo>
                  <a:pt x="247" y="4"/>
                </a:lnTo>
                <a:lnTo>
                  <a:pt x="267" y="2"/>
                </a:lnTo>
                <a:lnTo>
                  <a:pt x="312" y="0"/>
                </a:lnTo>
                <a:lnTo>
                  <a:pt x="308" y="34"/>
                </a:lnTo>
                <a:lnTo>
                  <a:pt x="332" y="43"/>
                </a:lnTo>
                <a:lnTo>
                  <a:pt x="371" y="57"/>
                </a:lnTo>
                <a:lnTo>
                  <a:pt x="391" y="61"/>
                </a:lnTo>
                <a:lnTo>
                  <a:pt x="404" y="69"/>
                </a:lnTo>
                <a:lnTo>
                  <a:pt x="426" y="69"/>
                </a:lnTo>
                <a:lnTo>
                  <a:pt x="418" y="75"/>
                </a:lnTo>
                <a:lnTo>
                  <a:pt x="446" y="71"/>
                </a:lnTo>
                <a:lnTo>
                  <a:pt x="450" y="73"/>
                </a:lnTo>
                <a:lnTo>
                  <a:pt x="479" y="77"/>
                </a:lnTo>
                <a:lnTo>
                  <a:pt x="503" y="91"/>
                </a:lnTo>
                <a:lnTo>
                  <a:pt x="513" y="110"/>
                </a:lnTo>
                <a:lnTo>
                  <a:pt x="518" y="138"/>
                </a:lnTo>
                <a:lnTo>
                  <a:pt x="514" y="175"/>
                </a:lnTo>
                <a:lnTo>
                  <a:pt x="499" y="195"/>
                </a:lnTo>
                <a:lnTo>
                  <a:pt x="481" y="212"/>
                </a:lnTo>
                <a:lnTo>
                  <a:pt x="459" y="212"/>
                </a:lnTo>
                <a:lnTo>
                  <a:pt x="448" y="224"/>
                </a:lnTo>
                <a:lnTo>
                  <a:pt x="418" y="236"/>
                </a:lnTo>
                <a:lnTo>
                  <a:pt x="424" y="263"/>
                </a:lnTo>
                <a:lnTo>
                  <a:pt x="418" y="277"/>
                </a:lnTo>
                <a:lnTo>
                  <a:pt x="408" y="307"/>
                </a:lnTo>
                <a:lnTo>
                  <a:pt x="402" y="326"/>
                </a:lnTo>
                <a:lnTo>
                  <a:pt x="385" y="368"/>
                </a:lnTo>
                <a:lnTo>
                  <a:pt x="391" y="389"/>
                </a:lnTo>
                <a:lnTo>
                  <a:pt x="369" y="428"/>
                </a:lnTo>
                <a:lnTo>
                  <a:pt x="322" y="430"/>
                </a:lnTo>
                <a:lnTo>
                  <a:pt x="304" y="450"/>
                </a:lnTo>
                <a:lnTo>
                  <a:pt x="310" y="485"/>
                </a:lnTo>
                <a:lnTo>
                  <a:pt x="320" y="529"/>
                </a:lnTo>
                <a:lnTo>
                  <a:pt x="273" y="603"/>
                </a:lnTo>
                <a:lnTo>
                  <a:pt x="271" y="650"/>
                </a:lnTo>
                <a:lnTo>
                  <a:pt x="287" y="688"/>
                </a:lnTo>
                <a:lnTo>
                  <a:pt x="273" y="717"/>
                </a:lnTo>
                <a:lnTo>
                  <a:pt x="206" y="743"/>
                </a:lnTo>
                <a:lnTo>
                  <a:pt x="204" y="819"/>
                </a:lnTo>
                <a:lnTo>
                  <a:pt x="182" y="829"/>
                </a:lnTo>
                <a:lnTo>
                  <a:pt x="123" y="835"/>
                </a:lnTo>
                <a:lnTo>
                  <a:pt x="92" y="819"/>
                </a:lnTo>
                <a:lnTo>
                  <a:pt x="59" y="808"/>
                </a:lnTo>
                <a:lnTo>
                  <a:pt x="8" y="798"/>
                </a:lnTo>
                <a:lnTo>
                  <a:pt x="0" y="778"/>
                </a:lnTo>
                <a:lnTo>
                  <a:pt x="19" y="753"/>
                </a:lnTo>
                <a:lnTo>
                  <a:pt x="41" y="713"/>
                </a:lnTo>
                <a:lnTo>
                  <a:pt x="59" y="674"/>
                </a:lnTo>
                <a:lnTo>
                  <a:pt x="66" y="629"/>
                </a:lnTo>
                <a:lnTo>
                  <a:pt x="82" y="597"/>
                </a:lnTo>
                <a:lnTo>
                  <a:pt x="80" y="554"/>
                </a:lnTo>
                <a:lnTo>
                  <a:pt x="45" y="558"/>
                </a:lnTo>
                <a:lnTo>
                  <a:pt x="39" y="529"/>
                </a:lnTo>
                <a:lnTo>
                  <a:pt x="15" y="480"/>
                </a:lnTo>
                <a:lnTo>
                  <a:pt x="33" y="454"/>
                </a:lnTo>
                <a:lnTo>
                  <a:pt x="63" y="411"/>
                </a:lnTo>
                <a:lnTo>
                  <a:pt x="98" y="381"/>
                </a:lnTo>
                <a:lnTo>
                  <a:pt x="120" y="342"/>
                </a:lnTo>
                <a:lnTo>
                  <a:pt x="159" y="261"/>
                </a:lnTo>
                <a:lnTo>
                  <a:pt x="200" y="183"/>
                </a:lnTo>
                <a:lnTo>
                  <a:pt x="232" y="116"/>
                </a:lnTo>
                <a:lnTo>
                  <a:pt x="226" y="16"/>
                </a:lnTo>
                <a:close/>
              </a:path>
            </a:pathLst>
          </a:custGeom>
          <a:solidFill>
            <a:srgbClr val="0066CC"/>
          </a:solidFill>
          <a:ln w="9525">
            <a:solidFill>
              <a:srgbClr val="000000"/>
            </a:solidFill>
            <a:prstDash val="solid"/>
            <a:round/>
            <a:headEnd/>
            <a:tailEnd/>
          </a:ln>
        </p:spPr>
        <p:txBody>
          <a:bodyPr/>
          <a:lstStyle/>
          <a:p>
            <a:endParaRPr lang="cs-CZ"/>
          </a:p>
        </p:txBody>
      </p:sp>
      <p:sp>
        <p:nvSpPr>
          <p:cNvPr id="252" name="Freeform 260"/>
          <p:cNvSpPr>
            <a:spLocks/>
          </p:cNvSpPr>
          <p:nvPr/>
        </p:nvSpPr>
        <p:spPr bwMode="auto">
          <a:xfrm>
            <a:off x="3257550" y="4595390"/>
            <a:ext cx="1087438" cy="1323975"/>
          </a:xfrm>
          <a:custGeom>
            <a:avLst/>
            <a:gdLst>
              <a:gd name="T0" fmla="*/ 965 w 1372"/>
              <a:gd name="T1" fmla="*/ 1538 h 1668"/>
              <a:gd name="T2" fmla="*/ 973 w 1372"/>
              <a:gd name="T3" fmla="*/ 1640 h 1668"/>
              <a:gd name="T4" fmla="*/ 912 w 1372"/>
              <a:gd name="T5" fmla="*/ 1668 h 1668"/>
              <a:gd name="T6" fmla="*/ 804 w 1372"/>
              <a:gd name="T7" fmla="*/ 1611 h 1668"/>
              <a:gd name="T8" fmla="*/ 657 w 1372"/>
              <a:gd name="T9" fmla="*/ 1520 h 1668"/>
              <a:gd name="T10" fmla="*/ 647 w 1372"/>
              <a:gd name="T11" fmla="*/ 1432 h 1668"/>
              <a:gd name="T12" fmla="*/ 755 w 1372"/>
              <a:gd name="T13" fmla="*/ 1436 h 1668"/>
              <a:gd name="T14" fmla="*/ 818 w 1372"/>
              <a:gd name="T15" fmla="*/ 1452 h 1668"/>
              <a:gd name="T16" fmla="*/ 920 w 1372"/>
              <a:gd name="T17" fmla="*/ 1430 h 1668"/>
              <a:gd name="T18" fmla="*/ 1010 w 1372"/>
              <a:gd name="T19" fmla="*/ 1416 h 1668"/>
              <a:gd name="T20" fmla="*/ 1040 w 1372"/>
              <a:gd name="T21" fmla="*/ 1473 h 1668"/>
              <a:gd name="T22" fmla="*/ 1101 w 1372"/>
              <a:gd name="T23" fmla="*/ 1432 h 1668"/>
              <a:gd name="T24" fmla="*/ 1144 w 1372"/>
              <a:gd name="T25" fmla="*/ 1381 h 1668"/>
              <a:gd name="T26" fmla="*/ 1189 w 1372"/>
              <a:gd name="T27" fmla="*/ 1306 h 1668"/>
              <a:gd name="T28" fmla="*/ 1205 w 1372"/>
              <a:gd name="T29" fmla="*/ 1214 h 1668"/>
              <a:gd name="T30" fmla="*/ 1128 w 1372"/>
              <a:gd name="T31" fmla="*/ 1145 h 1668"/>
              <a:gd name="T32" fmla="*/ 1144 w 1372"/>
              <a:gd name="T33" fmla="*/ 1106 h 1668"/>
              <a:gd name="T34" fmla="*/ 1236 w 1372"/>
              <a:gd name="T35" fmla="*/ 1061 h 1668"/>
              <a:gd name="T36" fmla="*/ 1303 w 1372"/>
              <a:gd name="T37" fmla="*/ 1084 h 1668"/>
              <a:gd name="T38" fmla="*/ 1348 w 1372"/>
              <a:gd name="T39" fmla="*/ 1147 h 1668"/>
              <a:gd name="T40" fmla="*/ 1358 w 1372"/>
              <a:gd name="T41" fmla="*/ 1076 h 1668"/>
              <a:gd name="T42" fmla="*/ 1279 w 1372"/>
              <a:gd name="T43" fmla="*/ 1007 h 1668"/>
              <a:gd name="T44" fmla="*/ 1201 w 1372"/>
              <a:gd name="T45" fmla="*/ 962 h 1668"/>
              <a:gd name="T46" fmla="*/ 1053 w 1372"/>
              <a:gd name="T47" fmla="*/ 894 h 1668"/>
              <a:gd name="T48" fmla="*/ 1083 w 1372"/>
              <a:gd name="T49" fmla="*/ 823 h 1668"/>
              <a:gd name="T50" fmla="*/ 963 w 1372"/>
              <a:gd name="T51" fmla="*/ 827 h 1668"/>
              <a:gd name="T52" fmla="*/ 902 w 1372"/>
              <a:gd name="T53" fmla="*/ 789 h 1668"/>
              <a:gd name="T54" fmla="*/ 800 w 1372"/>
              <a:gd name="T55" fmla="*/ 597 h 1668"/>
              <a:gd name="T56" fmla="*/ 678 w 1372"/>
              <a:gd name="T57" fmla="*/ 489 h 1668"/>
              <a:gd name="T58" fmla="*/ 657 w 1372"/>
              <a:gd name="T59" fmla="*/ 339 h 1668"/>
              <a:gd name="T60" fmla="*/ 627 w 1372"/>
              <a:gd name="T61" fmla="*/ 261 h 1668"/>
              <a:gd name="T62" fmla="*/ 731 w 1372"/>
              <a:gd name="T63" fmla="*/ 220 h 1668"/>
              <a:gd name="T64" fmla="*/ 780 w 1372"/>
              <a:gd name="T65" fmla="*/ 196 h 1668"/>
              <a:gd name="T66" fmla="*/ 780 w 1372"/>
              <a:gd name="T67" fmla="*/ 137 h 1668"/>
              <a:gd name="T68" fmla="*/ 727 w 1372"/>
              <a:gd name="T69" fmla="*/ 70 h 1668"/>
              <a:gd name="T70" fmla="*/ 625 w 1372"/>
              <a:gd name="T71" fmla="*/ 11 h 1668"/>
              <a:gd name="T72" fmla="*/ 515 w 1372"/>
              <a:gd name="T73" fmla="*/ 19 h 1668"/>
              <a:gd name="T74" fmla="*/ 429 w 1372"/>
              <a:gd name="T75" fmla="*/ 59 h 1668"/>
              <a:gd name="T76" fmla="*/ 391 w 1372"/>
              <a:gd name="T77" fmla="*/ 110 h 1668"/>
              <a:gd name="T78" fmla="*/ 319 w 1372"/>
              <a:gd name="T79" fmla="*/ 82 h 1668"/>
              <a:gd name="T80" fmla="*/ 262 w 1372"/>
              <a:gd name="T81" fmla="*/ 161 h 1668"/>
              <a:gd name="T82" fmla="*/ 181 w 1372"/>
              <a:gd name="T83" fmla="*/ 88 h 1668"/>
              <a:gd name="T84" fmla="*/ 112 w 1372"/>
              <a:gd name="T85" fmla="*/ 141 h 1668"/>
              <a:gd name="T86" fmla="*/ 26 w 1372"/>
              <a:gd name="T87" fmla="*/ 174 h 1668"/>
              <a:gd name="T88" fmla="*/ 20 w 1372"/>
              <a:gd name="T89" fmla="*/ 261 h 1668"/>
              <a:gd name="T90" fmla="*/ 24 w 1372"/>
              <a:gd name="T91" fmla="*/ 322 h 1668"/>
              <a:gd name="T92" fmla="*/ 28 w 1372"/>
              <a:gd name="T93" fmla="*/ 420 h 1668"/>
              <a:gd name="T94" fmla="*/ 93 w 1372"/>
              <a:gd name="T95" fmla="*/ 457 h 1668"/>
              <a:gd name="T96" fmla="*/ 155 w 1372"/>
              <a:gd name="T97" fmla="*/ 469 h 1668"/>
              <a:gd name="T98" fmla="*/ 211 w 1372"/>
              <a:gd name="T99" fmla="*/ 408 h 1668"/>
              <a:gd name="T100" fmla="*/ 305 w 1372"/>
              <a:gd name="T101" fmla="*/ 430 h 1668"/>
              <a:gd name="T102" fmla="*/ 399 w 1372"/>
              <a:gd name="T103" fmla="*/ 497 h 1668"/>
              <a:gd name="T104" fmla="*/ 419 w 1372"/>
              <a:gd name="T105" fmla="*/ 607 h 1668"/>
              <a:gd name="T106" fmla="*/ 488 w 1372"/>
              <a:gd name="T107" fmla="*/ 740 h 1668"/>
              <a:gd name="T108" fmla="*/ 627 w 1372"/>
              <a:gd name="T109" fmla="*/ 860 h 1668"/>
              <a:gd name="T110" fmla="*/ 835 w 1372"/>
              <a:gd name="T111" fmla="*/ 994 h 1668"/>
              <a:gd name="T112" fmla="*/ 924 w 1372"/>
              <a:gd name="T113" fmla="*/ 1037 h 1668"/>
              <a:gd name="T114" fmla="*/ 1004 w 1372"/>
              <a:gd name="T115" fmla="*/ 1147 h 1668"/>
              <a:gd name="T116" fmla="*/ 1073 w 1372"/>
              <a:gd name="T117" fmla="*/ 1228 h 1668"/>
              <a:gd name="T118" fmla="*/ 1061 w 1372"/>
              <a:gd name="T119" fmla="*/ 1340 h 1668"/>
              <a:gd name="T120" fmla="*/ 1028 w 1372"/>
              <a:gd name="T121" fmla="*/ 1418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2" h="1668">
                <a:moveTo>
                  <a:pt x="1008" y="1430"/>
                </a:moveTo>
                <a:lnTo>
                  <a:pt x="1004" y="1455"/>
                </a:lnTo>
                <a:lnTo>
                  <a:pt x="965" y="1538"/>
                </a:lnTo>
                <a:lnTo>
                  <a:pt x="965" y="1565"/>
                </a:lnTo>
                <a:lnTo>
                  <a:pt x="977" y="1595"/>
                </a:lnTo>
                <a:lnTo>
                  <a:pt x="973" y="1640"/>
                </a:lnTo>
                <a:lnTo>
                  <a:pt x="967" y="1656"/>
                </a:lnTo>
                <a:lnTo>
                  <a:pt x="951" y="1668"/>
                </a:lnTo>
                <a:lnTo>
                  <a:pt x="912" y="1668"/>
                </a:lnTo>
                <a:lnTo>
                  <a:pt x="869" y="1642"/>
                </a:lnTo>
                <a:lnTo>
                  <a:pt x="833" y="1609"/>
                </a:lnTo>
                <a:lnTo>
                  <a:pt x="804" y="1611"/>
                </a:lnTo>
                <a:lnTo>
                  <a:pt x="772" y="1581"/>
                </a:lnTo>
                <a:lnTo>
                  <a:pt x="694" y="1532"/>
                </a:lnTo>
                <a:lnTo>
                  <a:pt x="657" y="1520"/>
                </a:lnTo>
                <a:lnTo>
                  <a:pt x="627" y="1487"/>
                </a:lnTo>
                <a:lnTo>
                  <a:pt x="629" y="1446"/>
                </a:lnTo>
                <a:lnTo>
                  <a:pt x="647" y="1432"/>
                </a:lnTo>
                <a:lnTo>
                  <a:pt x="678" y="1446"/>
                </a:lnTo>
                <a:lnTo>
                  <a:pt x="727" y="1422"/>
                </a:lnTo>
                <a:lnTo>
                  <a:pt x="755" y="1436"/>
                </a:lnTo>
                <a:lnTo>
                  <a:pt x="776" y="1452"/>
                </a:lnTo>
                <a:lnTo>
                  <a:pt x="794" y="1463"/>
                </a:lnTo>
                <a:lnTo>
                  <a:pt x="818" y="1452"/>
                </a:lnTo>
                <a:lnTo>
                  <a:pt x="890" y="1453"/>
                </a:lnTo>
                <a:lnTo>
                  <a:pt x="910" y="1444"/>
                </a:lnTo>
                <a:lnTo>
                  <a:pt x="920" y="1430"/>
                </a:lnTo>
                <a:lnTo>
                  <a:pt x="971" y="1430"/>
                </a:lnTo>
                <a:lnTo>
                  <a:pt x="985" y="1422"/>
                </a:lnTo>
                <a:lnTo>
                  <a:pt x="1010" y="1416"/>
                </a:lnTo>
                <a:lnTo>
                  <a:pt x="1026" y="1412"/>
                </a:lnTo>
                <a:lnTo>
                  <a:pt x="1032" y="1455"/>
                </a:lnTo>
                <a:lnTo>
                  <a:pt x="1040" y="1473"/>
                </a:lnTo>
                <a:lnTo>
                  <a:pt x="1061" y="1477"/>
                </a:lnTo>
                <a:lnTo>
                  <a:pt x="1089" y="1455"/>
                </a:lnTo>
                <a:lnTo>
                  <a:pt x="1101" y="1432"/>
                </a:lnTo>
                <a:lnTo>
                  <a:pt x="1112" y="1404"/>
                </a:lnTo>
                <a:lnTo>
                  <a:pt x="1136" y="1398"/>
                </a:lnTo>
                <a:lnTo>
                  <a:pt x="1144" y="1381"/>
                </a:lnTo>
                <a:lnTo>
                  <a:pt x="1150" y="1367"/>
                </a:lnTo>
                <a:lnTo>
                  <a:pt x="1148" y="1324"/>
                </a:lnTo>
                <a:lnTo>
                  <a:pt x="1189" y="1306"/>
                </a:lnTo>
                <a:lnTo>
                  <a:pt x="1213" y="1277"/>
                </a:lnTo>
                <a:lnTo>
                  <a:pt x="1215" y="1241"/>
                </a:lnTo>
                <a:lnTo>
                  <a:pt x="1205" y="1214"/>
                </a:lnTo>
                <a:lnTo>
                  <a:pt x="1175" y="1200"/>
                </a:lnTo>
                <a:lnTo>
                  <a:pt x="1142" y="1173"/>
                </a:lnTo>
                <a:lnTo>
                  <a:pt x="1128" y="1145"/>
                </a:lnTo>
                <a:lnTo>
                  <a:pt x="1136" y="1161"/>
                </a:lnTo>
                <a:lnTo>
                  <a:pt x="1140" y="1133"/>
                </a:lnTo>
                <a:lnTo>
                  <a:pt x="1144" y="1106"/>
                </a:lnTo>
                <a:lnTo>
                  <a:pt x="1169" y="1070"/>
                </a:lnTo>
                <a:lnTo>
                  <a:pt x="1211" y="1049"/>
                </a:lnTo>
                <a:lnTo>
                  <a:pt x="1236" y="1061"/>
                </a:lnTo>
                <a:lnTo>
                  <a:pt x="1252" y="1076"/>
                </a:lnTo>
                <a:lnTo>
                  <a:pt x="1279" y="1084"/>
                </a:lnTo>
                <a:lnTo>
                  <a:pt x="1303" y="1084"/>
                </a:lnTo>
                <a:lnTo>
                  <a:pt x="1313" y="1110"/>
                </a:lnTo>
                <a:lnTo>
                  <a:pt x="1332" y="1137"/>
                </a:lnTo>
                <a:lnTo>
                  <a:pt x="1348" y="1147"/>
                </a:lnTo>
                <a:lnTo>
                  <a:pt x="1366" y="1125"/>
                </a:lnTo>
                <a:lnTo>
                  <a:pt x="1372" y="1098"/>
                </a:lnTo>
                <a:lnTo>
                  <a:pt x="1358" y="1076"/>
                </a:lnTo>
                <a:lnTo>
                  <a:pt x="1317" y="1031"/>
                </a:lnTo>
                <a:lnTo>
                  <a:pt x="1299" y="1007"/>
                </a:lnTo>
                <a:lnTo>
                  <a:pt x="1279" y="1007"/>
                </a:lnTo>
                <a:lnTo>
                  <a:pt x="1256" y="994"/>
                </a:lnTo>
                <a:lnTo>
                  <a:pt x="1230" y="994"/>
                </a:lnTo>
                <a:lnTo>
                  <a:pt x="1201" y="962"/>
                </a:lnTo>
                <a:lnTo>
                  <a:pt x="1158" y="943"/>
                </a:lnTo>
                <a:lnTo>
                  <a:pt x="1089" y="919"/>
                </a:lnTo>
                <a:lnTo>
                  <a:pt x="1053" y="894"/>
                </a:lnTo>
                <a:lnTo>
                  <a:pt x="1061" y="872"/>
                </a:lnTo>
                <a:lnTo>
                  <a:pt x="1081" y="850"/>
                </a:lnTo>
                <a:lnTo>
                  <a:pt x="1083" y="823"/>
                </a:lnTo>
                <a:lnTo>
                  <a:pt x="1059" y="815"/>
                </a:lnTo>
                <a:lnTo>
                  <a:pt x="1012" y="827"/>
                </a:lnTo>
                <a:lnTo>
                  <a:pt x="963" y="827"/>
                </a:lnTo>
                <a:lnTo>
                  <a:pt x="963" y="850"/>
                </a:lnTo>
                <a:lnTo>
                  <a:pt x="934" y="805"/>
                </a:lnTo>
                <a:lnTo>
                  <a:pt x="902" y="789"/>
                </a:lnTo>
                <a:lnTo>
                  <a:pt x="896" y="764"/>
                </a:lnTo>
                <a:lnTo>
                  <a:pt x="831" y="707"/>
                </a:lnTo>
                <a:lnTo>
                  <a:pt x="800" y="597"/>
                </a:lnTo>
                <a:lnTo>
                  <a:pt x="776" y="552"/>
                </a:lnTo>
                <a:lnTo>
                  <a:pt x="739" y="532"/>
                </a:lnTo>
                <a:lnTo>
                  <a:pt x="678" y="489"/>
                </a:lnTo>
                <a:lnTo>
                  <a:pt x="637" y="438"/>
                </a:lnTo>
                <a:lnTo>
                  <a:pt x="637" y="355"/>
                </a:lnTo>
                <a:lnTo>
                  <a:pt x="657" y="339"/>
                </a:lnTo>
                <a:lnTo>
                  <a:pt x="645" y="312"/>
                </a:lnTo>
                <a:lnTo>
                  <a:pt x="631" y="298"/>
                </a:lnTo>
                <a:lnTo>
                  <a:pt x="627" y="261"/>
                </a:lnTo>
                <a:lnTo>
                  <a:pt x="659" y="251"/>
                </a:lnTo>
                <a:lnTo>
                  <a:pt x="698" y="245"/>
                </a:lnTo>
                <a:lnTo>
                  <a:pt x="731" y="220"/>
                </a:lnTo>
                <a:lnTo>
                  <a:pt x="767" y="216"/>
                </a:lnTo>
                <a:lnTo>
                  <a:pt x="796" y="212"/>
                </a:lnTo>
                <a:lnTo>
                  <a:pt x="780" y="196"/>
                </a:lnTo>
                <a:lnTo>
                  <a:pt x="782" y="169"/>
                </a:lnTo>
                <a:lnTo>
                  <a:pt x="769" y="159"/>
                </a:lnTo>
                <a:lnTo>
                  <a:pt x="780" y="137"/>
                </a:lnTo>
                <a:lnTo>
                  <a:pt x="763" y="114"/>
                </a:lnTo>
                <a:lnTo>
                  <a:pt x="780" y="82"/>
                </a:lnTo>
                <a:lnTo>
                  <a:pt x="727" y="70"/>
                </a:lnTo>
                <a:lnTo>
                  <a:pt x="688" y="74"/>
                </a:lnTo>
                <a:lnTo>
                  <a:pt x="643" y="49"/>
                </a:lnTo>
                <a:lnTo>
                  <a:pt x="625" y="11"/>
                </a:lnTo>
                <a:lnTo>
                  <a:pt x="613" y="0"/>
                </a:lnTo>
                <a:lnTo>
                  <a:pt x="596" y="2"/>
                </a:lnTo>
                <a:lnTo>
                  <a:pt x="515" y="19"/>
                </a:lnTo>
                <a:lnTo>
                  <a:pt x="495" y="25"/>
                </a:lnTo>
                <a:lnTo>
                  <a:pt x="438" y="19"/>
                </a:lnTo>
                <a:lnTo>
                  <a:pt x="429" y="59"/>
                </a:lnTo>
                <a:lnTo>
                  <a:pt x="395" y="66"/>
                </a:lnTo>
                <a:lnTo>
                  <a:pt x="401" y="90"/>
                </a:lnTo>
                <a:lnTo>
                  <a:pt x="391" y="110"/>
                </a:lnTo>
                <a:lnTo>
                  <a:pt x="368" y="102"/>
                </a:lnTo>
                <a:lnTo>
                  <a:pt x="336" y="96"/>
                </a:lnTo>
                <a:lnTo>
                  <a:pt x="319" y="82"/>
                </a:lnTo>
                <a:lnTo>
                  <a:pt x="293" y="100"/>
                </a:lnTo>
                <a:lnTo>
                  <a:pt x="283" y="127"/>
                </a:lnTo>
                <a:lnTo>
                  <a:pt x="262" y="161"/>
                </a:lnTo>
                <a:lnTo>
                  <a:pt x="222" y="114"/>
                </a:lnTo>
                <a:lnTo>
                  <a:pt x="211" y="82"/>
                </a:lnTo>
                <a:lnTo>
                  <a:pt x="181" y="88"/>
                </a:lnTo>
                <a:lnTo>
                  <a:pt x="167" y="114"/>
                </a:lnTo>
                <a:lnTo>
                  <a:pt x="136" y="147"/>
                </a:lnTo>
                <a:lnTo>
                  <a:pt x="112" y="141"/>
                </a:lnTo>
                <a:lnTo>
                  <a:pt x="45" y="125"/>
                </a:lnTo>
                <a:lnTo>
                  <a:pt x="28" y="141"/>
                </a:lnTo>
                <a:lnTo>
                  <a:pt x="26" y="174"/>
                </a:lnTo>
                <a:lnTo>
                  <a:pt x="30" y="216"/>
                </a:lnTo>
                <a:lnTo>
                  <a:pt x="40" y="243"/>
                </a:lnTo>
                <a:lnTo>
                  <a:pt x="20" y="261"/>
                </a:lnTo>
                <a:lnTo>
                  <a:pt x="0" y="284"/>
                </a:lnTo>
                <a:lnTo>
                  <a:pt x="12" y="308"/>
                </a:lnTo>
                <a:lnTo>
                  <a:pt x="24" y="322"/>
                </a:lnTo>
                <a:lnTo>
                  <a:pt x="10" y="359"/>
                </a:lnTo>
                <a:lnTo>
                  <a:pt x="20" y="404"/>
                </a:lnTo>
                <a:lnTo>
                  <a:pt x="28" y="420"/>
                </a:lnTo>
                <a:lnTo>
                  <a:pt x="59" y="430"/>
                </a:lnTo>
                <a:lnTo>
                  <a:pt x="81" y="430"/>
                </a:lnTo>
                <a:lnTo>
                  <a:pt x="93" y="457"/>
                </a:lnTo>
                <a:lnTo>
                  <a:pt x="95" y="483"/>
                </a:lnTo>
                <a:lnTo>
                  <a:pt x="120" y="483"/>
                </a:lnTo>
                <a:lnTo>
                  <a:pt x="155" y="469"/>
                </a:lnTo>
                <a:lnTo>
                  <a:pt x="167" y="448"/>
                </a:lnTo>
                <a:lnTo>
                  <a:pt x="183" y="428"/>
                </a:lnTo>
                <a:lnTo>
                  <a:pt x="211" y="408"/>
                </a:lnTo>
                <a:lnTo>
                  <a:pt x="228" y="395"/>
                </a:lnTo>
                <a:lnTo>
                  <a:pt x="252" y="402"/>
                </a:lnTo>
                <a:lnTo>
                  <a:pt x="305" y="430"/>
                </a:lnTo>
                <a:lnTo>
                  <a:pt x="338" y="457"/>
                </a:lnTo>
                <a:lnTo>
                  <a:pt x="374" y="477"/>
                </a:lnTo>
                <a:lnTo>
                  <a:pt x="399" y="497"/>
                </a:lnTo>
                <a:lnTo>
                  <a:pt x="395" y="536"/>
                </a:lnTo>
                <a:lnTo>
                  <a:pt x="413" y="577"/>
                </a:lnTo>
                <a:lnTo>
                  <a:pt x="419" y="607"/>
                </a:lnTo>
                <a:lnTo>
                  <a:pt x="427" y="638"/>
                </a:lnTo>
                <a:lnTo>
                  <a:pt x="482" y="709"/>
                </a:lnTo>
                <a:lnTo>
                  <a:pt x="488" y="740"/>
                </a:lnTo>
                <a:lnTo>
                  <a:pt x="517" y="736"/>
                </a:lnTo>
                <a:lnTo>
                  <a:pt x="570" y="795"/>
                </a:lnTo>
                <a:lnTo>
                  <a:pt x="627" y="860"/>
                </a:lnTo>
                <a:lnTo>
                  <a:pt x="712" y="935"/>
                </a:lnTo>
                <a:lnTo>
                  <a:pt x="794" y="935"/>
                </a:lnTo>
                <a:lnTo>
                  <a:pt x="835" y="994"/>
                </a:lnTo>
                <a:lnTo>
                  <a:pt x="861" y="1009"/>
                </a:lnTo>
                <a:lnTo>
                  <a:pt x="882" y="1037"/>
                </a:lnTo>
                <a:lnTo>
                  <a:pt x="924" y="1037"/>
                </a:lnTo>
                <a:lnTo>
                  <a:pt x="939" y="1063"/>
                </a:lnTo>
                <a:lnTo>
                  <a:pt x="943" y="1096"/>
                </a:lnTo>
                <a:lnTo>
                  <a:pt x="1004" y="1147"/>
                </a:lnTo>
                <a:lnTo>
                  <a:pt x="1026" y="1123"/>
                </a:lnTo>
                <a:lnTo>
                  <a:pt x="1048" y="1190"/>
                </a:lnTo>
                <a:lnTo>
                  <a:pt x="1073" y="1228"/>
                </a:lnTo>
                <a:lnTo>
                  <a:pt x="1081" y="1261"/>
                </a:lnTo>
                <a:lnTo>
                  <a:pt x="1101" y="1322"/>
                </a:lnTo>
                <a:lnTo>
                  <a:pt x="1061" y="1340"/>
                </a:lnTo>
                <a:lnTo>
                  <a:pt x="1055" y="1365"/>
                </a:lnTo>
                <a:lnTo>
                  <a:pt x="1048" y="1397"/>
                </a:lnTo>
                <a:lnTo>
                  <a:pt x="1028" y="1418"/>
                </a:lnTo>
                <a:lnTo>
                  <a:pt x="1014" y="1412"/>
                </a:lnTo>
                <a:lnTo>
                  <a:pt x="1008" y="1430"/>
                </a:lnTo>
                <a:close/>
              </a:path>
            </a:pathLst>
          </a:custGeom>
          <a:solidFill>
            <a:srgbClr val="FF0000"/>
          </a:solidFill>
          <a:ln>
            <a:noFill/>
          </a:ln>
        </p:spPr>
        <p:txBody>
          <a:bodyPr/>
          <a:lstStyle/>
          <a:p>
            <a:endParaRPr lang="cs-CZ"/>
          </a:p>
        </p:txBody>
      </p:sp>
      <p:sp>
        <p:nvSpPr>
          <p:cNvPr id="253" name="Freeform 261"/>
          <p:cNvSpPr>
            <a:spLocks/>
          </p:cNvSpPr>
          <p:nvPr/>
        </p:nvSpPr>
        <p:spPr bwMode="auto">
          <a:xfrm>
            <a:off x="3257550" y="4595390"/>
            <a:ext cx="1087438" cy="1323975"/>
          </a:xfrm>
          <a:custGeom>
            <a:avLst/>
            <a:gdLst>
              <a:gd name="T0" fmla="*/ 965 w 1372"/>
              <a:gd name="T1" fmla="*/ 1538 h 1668"/>
              <a:gd name="T2" fmla="*/ 973 w 1372"/>
              <a:gd name="T3" fmla="*/ 1640 h 1668"/>
              <a:gd name="T4" fmla="*/ 912 w 1372"/>
              <a:gd name="T5" fmla="*/ 1668 h 1668"/>
              <a:gd name="T6" fmla="*/ 804 w 1372"/>
              <a:gd name="T7" fmla="*/ 1611 h 1668"/>
              <a:gd name="T8" fmla="*/ 657 w 1372"/>
              <a:gd name="T9" fmla="*/ 1520 h 1668"/>
              <a:gd name="T10" fmla="*/ 647 w 1372"/>
              <a:gd name="T11" fmla="*/ 1432 h 1668"/>
              <a:gd name="T12" fmla="*/ 755 w 1372"/>
              <a:gd name="T13" fmla="*/ 1436 h 1668"/>
              <a:gd name="T14" fmla="*/ 818 w 1372"/>
              <a:gd name="T15" fmla="*/ 1452 h 1668"/>
              <a:gd name="T16" fmla="*/ 920 w 1372"/>
              <a:gd name="T17" fmla="*/ 1430 h 1668"/>
              <a:gd name="T18" fmla="*/ 1010 w 1372"/>
              <a:gd name="T19" fmla="*/ 1416 h 1668"/>
              <a:gd name="T20" fmla="*/ 1040 w 1372"/>
              <a:gd name="T21" fmla="*/ 1473 h 1668"/>
              <a:gd name="T22" fmla="*/ 1101 w 1372"/>
              <a:gd name="T23" fmla="*/ 1432 h 1668"/>
              <a:gd name="T24" fmla="*/ 1144 w 1372"/>
              <a:gd name="T25" fmla="*/ 1381 h 1668"/>
              <a:gd name="T26" fmla="*/ 1189 w 1372"/>
              <a:gd name="T27" fmla="*/ 1306 h 1668"/>
              <a:gd name="T28" fmla="*/ 1205 w 1372"/>
              <a:gd name="T29" fmla="*/ 1214 h 1668"/>
              <a:gd name="T30" fmla="*/ 1128 w 1372"/>
              <a:gd name="T31" fmla="*/ 1145 h 1668"/>
              <a:gd name="T32" fmla="*/ 1144 w 1372"/>
              <a:gd name="T33" fmla="*/ 1106 h 1668"/>
              <a:gd name="T34" fmla="*/ 1236 w 1372"/>
              <a:gd name="T35" fmla="*/ 1061 h 1668"/>
              <a:gd name="T36" fmla="*/ 1303 w 1372"/>
              <a:gd name="T37" fmla="*/ 1084 h 1668"/>
              <a:gd name="T38" fmla="*/ 1348 w 1372"/>
              <a:gd name="T39" fmla="*/ 1147 h 1668"/>
              <a:gd name="T40" fmla="*/ 1358 w 1372"/>
              <a:gd name="T41" fmla="*/ 1076 h 1668"/>
              <a:gd name="T42" fmla="*/ 1279 w 1372"/>
              <a:gd name="T43" fmla="*/ 1007 h 1668"/>
              <a:gd name="T44" fmla="*/ 1201 w 1372"/>
              <a:gd name="T45" fmla="*/ 962 h 1668"/>
              <a:gd name="T46" fmla="*/ 1053 w 1372"/>
              <a:gd name="T47" fmla="*/ 894 h 1668"/>
              <a:gd name="T48" fmla="*/ 1083 w 1372"/>
              <a:gd name="T49" fmla="*/ 823 h 1668"/>
              <a:gd name="T50" fmla="*/ 963 w 1372"/>
              <a:gd name="T51" fmla="*/ 827 h 1668"/>
              <a:gd name="T52" fmla="*/ 902 w 1372"/>
              <a:gd name="T53" fmla="*/ 789 h 1668"/>
              <a:gd name="T54" fmla="*/ 800 w 1372"/>
              <a:gd name="T55" fmla="*/ 597 h 1668"/>
              <a:gd name="T56" fmla="*/ 678 w 1372"/>
              <a:gd name="T57" fmla="*/ 489 h 1668"/>
              <a:gd name="T58" fmla="*/ 657 w 1372"/>
              <a:gd name="T59" fmla="*/ 339 h 1668"/>
              <a:gd name="T60" fmla="*/ 627 w 1372"/>
              <a:gd name="T61" fmla="*/ 261 h 1668"/>
              <a:gd name="T62" fmla="*/ 731 w 1372"/>
              <a:gd name="T63" fmla="*/ 220 h 1668"/>
              <a:gd name="T64" fmla="*/ 780 w 1372"/>
              <a:gd name="T65" fmla="*/ 196 h 1668"/>
              <a:gd name="T66" fmla="*/ 780 w 1372"/>
              <a:gd name="T67" fmla="*/ 137 h 1668"/>
              <a:gd name="T68" fmla="*/ 727 w 1372"/>
              <a:gd name="T69" fmla="*/ 70 h 1668"/>
              <a:gd name="T70" fmla="*/ 625 w 1372"/>
              <a:gd name="T71" fmla="*/ 11 h 1668"/>
              <a:gd name="T72" fmla="*/ 515 w 1372"/>
              <a:gd name="T73" fmla="*/ 19 h 1668"/>
              <a:gd name="T74" fmla="*/ 429 w 1372"/>
              <a:gd name="T75" fmla="*/ 59 h 1668"/>
              <a:gd name="T76" fmla="*/ 391 w 1372"/>
              <a:gd name="T77" fmla="*/ 110 h 1668"/>
              <a:gd name="T78" fmla="*/ 319 w 1372"/>
              <a:gd name="T79" fmla="*/ 82 h 1668"/>
              <a:gd name="T80" fmla="*/ 262 w 1372"/>
              <a:gd name="T81" fmla="*/ 161 h 1668"/>
              <a:gd name="T82" fmla="*/ 181 w 1372"/>
              <a:gd name="T83" fmla="*/ 88 h 1668"/>
              <a:gd name="T84" fmla="*/ 112 w 1372"/>
              <a:gd name="T85" fmla="*/ 141 h 1668"/>
              <a:gd name="T86" fmla="*/ 26 w 1372"/>
              <a:gd name="T87" fmla="*/ 174 h 1668"/>
              <a:gd name="T88" fmla="*/ 20 w 1372"/>
              <a:gd name="T89" fmla="*/ 261 h 1668"/>
              <a:gd name="T90" fmla="*/ 24 w 1372"/>
              <a:gd name="T91" fmla="*/ 322 h 1668"/>
              <a:gd name="T92" fmla="*/ 28 w 1372"/>
              <a:gd name="T93" fmla="*/ 420 h 1668"/>
              <a:gd name="T94" fmla="*/ 93 w 1372"/>
              <a:gd name="T95" fmla="*/ 457 h 1668"/>
              <a:gd name="T96" fmla="*/ 155 w 1372"/>
              <a:gd name="T97" fmla="*/ 469 h 1668"/>
              <a:gd name="T98" fmla="*/ 211 w 1372"/>
              <a:gd name="T99" fmla="*/ 408 h 1668"/>
              <a:gd name="T100" fmla="*/ 305 w 1372"/>
              <a:gd name="T101" fmla="*/ 430 h 1668"/>
              <a:gd name="T102" fmla="*/ 399 w 1372"/>
              <a:gd name="T103" fmla="*/ 497 h 1668"/>
              <a:gd name="T104" fmla="*/ 419 w 1372"/>
              <a:gd name="T105" fmla="*/ 607 h 1668"/>
              <a:gd name="T106" fmla="*/ 488 w 1372"/>
              <a:gd name="T107" fmla="*/ 740 h 1668"/>
              <a:gd name="T108" fmla="*/ 627 w 1372"/>
              <a:gd name="T109" fmla="*/ 860 h 1668"/>
              <a:gd name="T110" fmla="*/ 835 w 1372"/>
              <a:gd name="T111" fmla="*/ 994 h 1668"/>
              <a:gd name="T112" fmla="*/ 924 w 1372"/>
              <a:gd name="T113" fmla="*/ 1037 h 1668"/>
              <a:gd name="T114" fmla="*/ 1004 w 1372"/>
              <a:gd name="T115" fmla="*/ 1147 h 1668"/>
              <a:gd name="T116" fmla="*/ 1073 w 1372"/>
              <a:gd name="T117" fmla="*/ 1228 h 1668"/>
              <a:gd name="T118" fmla="*/ 1061 w 1372"/>
              <a:gd name="T119" fmla="*/ 1340 h 1668"/>
              <a:gd name="T120" fmla="*/ 1028 w 1372"/>
              <a:gd name="T121" fmla="*/ 1418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72" h="1668">
                <a:moveTo>
                  <a:pt x="1008" y="1430"/>
                </a:moveTo>
                <a:lnTo>
                  <a:pt x="1004" y="1455"/>
                </a:lnTo>
                <a:lnTo>
                  <a:pt x="965" y="1538"/>
                </a:lnTo>
                <a:lnTo>
                  <a:pt x="965" y="1565"/>
                </a:lnTo>
                <a:lnTo>
                  <a:pt x="977" y="1595"/>
                </a:lnTo>
                <a:lnTo>
                  <a:pt x="973" y="1640"/>
                </a:lnTo>
                <a:lnTo>
                  <a:pt x="967" y="1656"/>
                </a:lnTo>
                <a:lnTo>
                  <a:pt x="951" y="1668"/>
                </a:lnTo>
                <a:lnTo>
                  <a:pt x="912" y="1668"/>
                </a:lnTo>
                <a:lnTo>
                  <a:pt x="869" y="1642"/>
                </a:lnTo>
                <a:lnTo>
                  <a:pt x="833" y="1609"/>
                </a:lnTo>
                <a:lnTo>
                  <a:pt x="804" y="1611"/>
                </a:lnTo>
                <a:lnTo>
                  <a:pt x="772" y="1581"/>
                </a:lnTo>
                <a:lnTo>
                  <a:pt x="694" y="1532"/>
                </a:lnTo>
                <a:lnTo>
                  <a:pt x="657" y="1520"/>
                </a:lnTo>
                <a:lnTo>
                  <a:pt x="627" y="1487"/>
                </a:lnTo>
                <a:lnTo>
                  <a:pt x="629" y="1446"/>
                </a:lnTo>
                <a:lnTo>
                  <a:pt x="647" y="1432"/>
                </a:lnTo>
                <a:lnTo>
                  <a:pt x="678" y="1446"/>
                </a:lnTo>
                <a:lnTo>
                  <a:pt x="727" y="1422"/>
                </a:lnTo>
                <a:lnTo>
                  <a:pt x="755" y="1436"/>
                </a:lnTo>
                <a:lnTo>
                  <a:pt x="776" y="1452"/>
                </a:lnTo>
                <a:lnTo>
                  <a:pt x="794" y="1463"/>
                </a:lnTo>
                <a:lnTo>
                  <a:pt x="818" y="1452"/>
                </a:lnTo>
                <a:lnTo>
                  <a:pt x="890" y="1453"/>
                </a:lnTo>
                <a:lnTo>
                  <a:pt x="910" y="1444"/>
                </a:lnTo>
                <a:lnTo>
                  <a:pt x="920" y="1430"/>
                </a:lnTo>
                <a:lnTo>
                  <a:pt x="971" y="1430"/>
                </a:lnTo>
                <a:lnTo>
                  <a:pt x="985" y="1422"/>
                </a:lnTo>
                <a:lnTo>
                  <a:pt x="1010" y="1416"/>
                </a:lnTo>
                <a:lnTo>
                  <a:pt x="1026" y="1412"/>
                </a:lnTo>
                <a:lnTo>
                  <a:pt x="1032" y="1455"/>
                </a:lnTo>
                <a:lnTo>
                  <a:pt x="1040" y="1473"/>
                </a:lnTo>
                <a:lnTo>
                  <a:pt x="1061" y="1477"/>
                </a:lnTo>
                <a:lnTo>
                  <a:pt x="1089" y="1455"/>
                </a:lnTo>
                <a:lnTo>
                  <a:pt x="1101" y="1432"/>
                </a:lnTo>
                <a:lnTo>
                  <a:pt x="1112" y="1404"/>
                </a:lnTo>
                <a:lnTo>
                  <a:pt x="1136" y="1398"/>
                </a:lnTo>
                <a:lnTo>
                  <a:pt x="1144" y="1381"/>
                </a:lnTo>
                <a:lnTo>
                  <a:pt x="1150" y="1367"/>
                </a:lnTo>
                <a:lnTo>
                  <a:pt x="1148" y="1324"/>
                </a:lnTo>
                <a:lnTo>
                  <a:pt x="1189" y="1306"/>
                </a:lnTo>
                <a:lnTo>
                  <a:pt x="1213" y="1277"/>
                </a:lnTo>
                <a:lnTo>
                  <a:pt x="1215" y="1241"/>
                </a:lnTo>
                <a:lnTo>
                  <a:pt x="1205" y="1214"/>
                </a:lnTo>
                <a:lnTo>
                  <a:pt x="1175" y="1200"/>
                </a:lnTo>
                <a:lnTo>
                  <a:pt x="1142" y="1173"/>
                </a:lnTo>
                <a:lnTo>
                  <a:pt x="1128" y="1145"/>
                </a:lnTo>
                <a:lnTo>
                  <a:pt x="1136" y="1161"/>
                </a:lnTo>
                <a:lnTo>
                  <a:pt x="1140" y="1133"/>
                </a:lnTo>
                <a:lnTo>
                  <a:pt x="1144" y="1106"/>
                </a:lnTo>
                <a:lnTo>
                  <a:pt x="1169" y="1070"/>
                </a:lnTo>
                <a:lnTo>
                  <a:pt x="1211" y="1049"/>
                </a:lnTo>
                <a:lnTo>
                  <a:pt x="1236" y="1061"/>
                </a:lnTo>
                <a:lnTo>
                  <a:pt x="1252" y="1076"/>
                </a:lnTo>
                <a:lnTo>
                  <a:pt x="1279" y="1084"/>
                </a:lnTo>
                <a:lnTo>
                  <a:pt x="1303" y="1084"/>
                </a:lnTo>
                <a:lnTo>
                  <a:pt x="1313" y="1110"/>
                </a:lnTo>
                <a:lnTo>
                  <a:pt x="1332" y="1137"/>
                </a:lnTo>
                <a:lnTo>
                  <a:pt x="1348" y="1147"/>
                </a:lnTo>
                <a:lnTo>
                  <a:pt x="1366" y="1125"/>
                </a:lnTo>
                <a:lnTo>
                  <a:pt x="1372" y="1098"/>
                </a:lnTo>
                <a:lnTo>
                  <a:pt x="1358" y="1076"/>
                </a:lnTo>
                <a:lnTo>
                  <a:pt x="1317" y="1031"/>
                </a:lnTo>
                <a:lnTo>
                  <a:pt x="1299" y="1007"/>
                </a:lnTo>
                <a:lnTo>
                  <a:pt x="1279" y="1007"/>
                </a:lnTo>
                <a:lnTo>
                  <a:pt x="1256" y="994"/>
                </a:lnTo>
                <a:lnTo>
                  <a:pt x="1230" y="994"/>
                </a:lnTo>
                <a:lnTo>
                  <a:pt x="1201" y="962"/>
                </a:lnTo>
                <a:lnTo>
                  <a:pt x="1158" y="943"/>
                </a:lnTo>
                <a:lnTo>
                  <a:pt x="1089" y="919"/>
                </a:lnTo>
                <a:lnTo>
                  <a:pt x="1053" y="894"/>
                </a:lnTo>
                <a:lnTo>
                  <a:pt x="1061" y="872"/>
                </a:lnTo>
                <a:lnTo>
                  <a:pt x="1081" y="850"/>
                </a:lnTo>
                <a:lnTo>
                  <a:pt x="1083" y="823"/>
                </a:lnTo>
                <a:lnTo>
                  <a:pt x="1059" y="815"/>
                </a:lnTo>
                <a:lnTo>
                  <a:pt x="1012" y="827"/>
                </a:lnTo>
                <a:lnTo>
                  <a:pt x="963" y="827"/>
                </a:lnTo>
                <a:lnTo>
                  <a:pt x="963" y="850"/>
                </a:lnTo>
                <a:lnTo>
                  <a:pt x="934" y="805"/>
                </a:lnTo>
                <a:lnTo>
                  <a:pt x="902" y="789"/>
                </a:lnTo>
                <a:lnTo>
                  <a:pt x="896" y="764"/>
                </a:lnTo>
                <a:lnTo>
                  <a:pt x="831" y="707"/>
                </a:lnTo>
                <a:lnTo>
                  <a:pt x="800" y="597"/>
                </a:lnTo>
                <a:lnTo>
                  <a:pt x="776" y="552"/>
                </a:lnTo>
                <a:lnTo>
                  <a:pt x="739" y="532"/>
                </a:lnTo>
                <a:lnTo>
                  <a:pt x="678" y="489"/>
                </a:lnTo>
                <a:lnTo>
                  <a:pt x="637" y="438"/>
                </a:lnTo>
                <a:lnTo>
                  <a:pt x="637" y="355"/>
                </a:lnTo>
                <a:lnTo>
                  <a:pt x="657" y="339"/>
                </a:lnTo>
                <a:lnTo>
                  <a:pt x="645" y="312"/>
                </a:lnTo>
                <a:lnTo>
                  <a:pt x="631" y="298"/>
                </a:lnTo>
                <a:lnTo>
                  <a:pt x="627" y="261"/>
                </a:lnTo>
                <a:lnTo>
                  <a:pt x="659" y="251"/>
                </a:lnTo>
                <a:lnTo>
                  <a:pt x="698" y="245"/>
                </a:lnTo>
                <a:lnTo>
                  <a:pt x="731" y="220"/>
                </a:lnTo>
                <a:lnTo>
                  <a:pt x="767" y="216"/>
                </a:lnTo>
                <a:lnTo>
                  <a:pt x="796" y="212"/>
                </a:lnTo>
                <a:lnTo>
                  <a:pt x="780" y="196"/>
                </a:lnTo>
                <a:lnTo>
                  <a:pt x="782" y="169"/>
                </a:lnTo>
                <a:lnTo>
                  <a:pt x="769" y="159"/>
                </a:lnTo>
                <a:lnTo>
                  <a:pt x="780" y="137"/>
                </a:lnTo>
                <a:lnTo>
                  <a:pt x="763" y="114"/>
                </a:lnTo>
                <a:lnTo>
                  <a:pt x="780" y="82"/>
                </a:lnTo>
                <a:lnTo>
                  <a:pt x="727" y="70"/>
                </a:lnTo>
                <a:lnTo>
                  <a:pt x="688" y="74"/>
                </a:lnTo>
                <a:lnTo>
                  <a:pt x="643" y="49"/>
                </a:lnTo>
                <a:lnTo>
                  <a:pt x="625" y="11"/>
                </a:lnTo>
                <a:lnTo>
                  <a:pt x="613" y="0"/>
                </a:lnTo>
                <a:lnTo>
                  <a:pt x="596" y="2"/>
                </a:lnTo>
                <a:lnTo>
                  <a:pt x="515" y="19"/>
                </a:lnTo>
                <a:lnTo>
                  <a:pt x="495" y="25"/>
                </a:lnTo>
                <a:lnTo>
                  <a:pt x="438" y="19"/>
                </a:lnTo>
                <a:lnTo>
                  <a:pt x="429" y="59"/>
                </a:lnTo>
                <a:lnTo>
                  <a:pt x="395" y="66"/>
                </a:lnTo>
                <a:lnTo>
                  <a:pt x="401" y="90"/>
                </a:lnTo>
                <a:lnTo>
                  <a:pt x="391" y="110"/>
                </a:lnTo>
                <a:lnTo>
                  <a:pt x="368" y="102"/>
                </a:lnTo>
                <a:lnTo>
                  <a:pt x="336" y="96"/>
                </a:lnTo>
                <a:lnTo>
                  <a:pt x="319" y="82"/>
                </a:lnTo>
                <a:lnTo>
                  <a:pt x="293" y="100"/>
                </a:lnTo>
                <a:lnTo>
                  <a:pt x="283" y="127"/>
                </a:lnTo>
                <a:lnTo>
                  <a:pt x="262" y="161"/>
                </a:lnTo>
                <a:lnTo>
                  <a:pt x="222" y="114"/>
                </a:lnTo>
                <a:lnTo>
                  <a:pt x="211" y="82"/>
                </a:lnTo>
                <a:lnTo>
                  <a:pt x="181" y="88"/>
                </a:lnTo>
                <a:lnTo>
                  <a:pt x="167" y="114"/>
                </a:lnTo>
                <a:lnTo>
                  <a:pt x="136" y="147"/>
                </a:lnTo>
                <a:lnTo>
                  <a:pt x="112" y="141"/>
                </a:lnTo>
                <a:lnTo>
                  <a:pt x="45" y="125"/>
                </a:lnTo>
                <a:lnTo>
                  <a:pt x="28" y="141"/>
                </a:lnTo>
                <a:lnTo>
                  <a:pt x="26" y="174"/>
                </a:lnTo>
                <a:lnTo>
                  <a:pt x="30" y="216"/>
                </a:lnTo>
                <a:lnTo>
                  <a:pt x="40" y="243"/>
                </a:lnTo>
                <a:lnTo>
                  <a:pt x="20" y="261"/>
                </a:lnTo>
                <a:lnTo>
                  <a:pt x="0" y="284"/>
                </a:lnTo>
                <a:lnTo>
                  <a:pt x="12" y="308"/>
                </a:lnTo>
                <a:lnTo>
                  <a:pt x="24" y="322"/>
                </a:lnTo>
                <a:lnTo>
                  <a:pt x="10" y="359"/>
                </a:lnTo>
                <a:lnTo>
                  <a:pt x="20" y="404"/>
                </a:lnTo>
                <a:lnTo>
                  <a:pt x="28" y="420"/>
                </a:lnTo>
                <a:lnTo>
                  <a:pt x="59" y="430"/>
                </a:lnTo>
                <a:lnTo>
                  <a:pt x="81" y="430"/>
                </a:lnTo>
                <a:lnTo>
                  <a:pt x="93" y="457"/>
                </a:lnTo>
                <a:lnTo>
                  <a:pt x="95" y="483"/>
                </a:lnTo>
                <a:lnTo>
                  <a:pt x="120" y="483"/>
                </a:lnTo>
                <a:lnTo>
                  <a:pt x="155" y="469"/>
                </a:lnTo>
                <a:lnTo>
                  <a:pt x="167" y="448"/>
                </a:lnTo>
                <a:lnTo>
                  <a:pt x="183" y="428"/>
                </a:lnTo>
                <a:lnTo>
                  <a:pt x="211" y="408"/>
                </a:lnTo>
                <a:lnTo>
                  <a:pt x="228" y="395"/>
                </a:lnTo>
                <a:lnTo>
                  <a:pt x="252" y="402"/>
                </a:lnTo>
                <a:lnTo>
                  <a:pt x="305" y="430"/>
                </a:lnTo>
                <a:lnTo>
                  <a:pt x="338" y="457"/>
                </a:lnTo>
                <a:lnTo>
                  <a:pt x="374" y="477"/>
                </a:lnTo>
                <a:lnTo>
                  <a:pt x="399" y="497"/>
                </a:lnTo>
                <a:lnTo>
                  <a:pt x="395" y="536"/>
                </a:lnTo>
                <a:lnTo>
                  <a:pt x="413" y="577"/>
                </a:lnTo>
                <a:lnTo>
                  <a:pt x="419" y="607"/>
                </a:lnTo>
                <a:lnTo>
                  <a:pt x="427" y="638"/>
                </a:lnTo>
                <a:lnTo>
                  <a:pt x="482" y="709"/>
                </a:lnTo>
                <a:lnTo>
                  <a:pt x="488" y="740"/>
                </a:lnTo>
                <a:lnTo>
                  <a:pt x="517" y="736"/>
                </a:lnTo>
                <a:lnTo>
                  <a:pt x="570" y="795"/>
                </a:lnTo>
                <a:lnTo>
                  <a:pt x="627" y="860"/>
                </a:lnTo>
                <a:lnTo>
                  <a:pt x="712" y="935"/>
                </a:lnTo>
                <a:lnTo>
                  <a:pt x="794" y="935"/>
                </a:lnTo>
                <a:lnTo>
                  <a:pt x="835" y="994"/>
                </a:lnTo>
                <a:lnTo>
                  <a:pt x="861" y="1009"/>
                </a:lnTo>
                <a:lnTo>
                  <a:pt x="882" y="1037"/>
                </a:lnTo>
                <a:lnTo>
                  <a:pt x="924" y="1037"/>
                </a:lnTo>
                <a:lnTo>
                  <a:pt x="939" y="1063"/>
                </a:lnTo>
                <a:lnTo>
                  <a:pt x="943" y="1096"/>
                </a:lnTo>
                <a:lnTo>
                  <a:pt x="1004" y="1147"/>
                </a:lnTo>
                <a:lnTo>
                  <a:pt x="1026" y="1123"/>
                </a:lnTo>
                <a:lnTo>
                  <a:pt x="1048" y="1190"/>
                </a:lnTo>
                <a:lnTo>
                  <a:pt x="1073" y="1228"/>
                </a:lnTo>
                <a:lnTo>
                  <a:pt x="1081" y="1261"/>
                </a:lnTo>
                <a:lnTo>
                  <a:pt x="1101" y="1322"/>
                </a:lnTo>
                <a:lnTo>
                  <a:pt x="1061" y="1340"/>
                </a:lnTo>
                <a:lnTo>
                  <a:pt x="1055" y="1365"/>
                </a:lnTo>
                <a:lnTo>
                  <a:pt x="1048" y="1397"/>
                </a:lnTo>
                <a:lnTo>
                  <a:pt x="1028" y="1418"/>
                </a:lnTo>
                <a:lnTo>
                  <a:pt x="1014" y="141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254" name="Freeform 262"/>
          <p:cNvSpPr>
            <a:spLocks/>
          </p:cNvSpPr>
          <p:nvPr/>
        </p:nvSpPr>
        <p:spPr bwMode="auto">
          <a:xfrm>
            <a:off x="4611688" y="3725440"/>
            <a:ext cx="1492250" cy="1009650"/>
          </a:xfrm>
          <a:custGeom>
            <a:avLst/>
            <a:gdLst>
              <a:gd name="T0" fmla="*/ 909 w 1878"/>
              <a:gd name="T1" fmla="*/ 1154 h 1273"/>
              <a:gd name="T2" fmla="*/ 959 w 1878"/>
              <a:gd name="T3" fmla="*/ 1089 h 1273"/>
              <a:gd name="T4" fmla="*/ 978 w 1878"/>
              <a:gd name="T5" fmla="*/ 1051 h 1273"/>
              <a:gd name="T6" fmla="*/ 1033 w 1878"/>
              <a:gd name="T7" fmla="*/ 981 h 1273"/>
              <a:gd name="T8" fmla="*/ 1108 w 1878"/>
              <a:gd name="T9" fmla="*/ 934 h 1273"/>
              <a:gd name="T10" fmla="*/ 1130 w 1878"/>
              <a:gd name="T11" fmla="*/ 1008 h 1273"/>
              <a:gd name="T12" fmla="*/ 1249 w 1878"/>
              <a:gd name="T13" fmla="*/ 1010 h 1273"/>
              <a:gd name="T14" fmla="*/ 1297 w 1878"/>
              <a:gd name="T15" fmla="*/ 1051 h 1273"/>
              <a:gd name="T16" fmla="*/ 1224 w 1878"/>
              <a:gd name="T17" fmla="*/ 1152 h 1273"/>
              <a:gd name="T18" fmla="*/ 1354 w 1878"/>
              <a:gd name="T19" fmla="*/ 1209 h 1273"/>
              <a:gd name="T20" fmla="*/ 1444 w 1878"/>
              <a:gd name="T21" fmla="*/ 1246 h 1273"/>
              <a:gd name="T22" fmla="*/ 1530 w 1878"/>
              <a:gd name="T23" fmla="*/ 1146 h 1273"/>
              <a:gd name="T24" fmla="*/ 1664 w 1878"/>
              <a:gd name="T25" fmla="*/ 1087 h 1273"/>
              <a:gd name="T26" fmla="*/ 1597 w 1878"/>
              <a:gd name="T27" fmla="*/ 1046 h 1273"/>
              <a:gd name="T28" fmla="*/ 1503 w 1878"/>
              <a:gd name="T29" fmla="*/ 1079 h 1273"/>
              <a:gd name="T30" fmla="*/ 1432 w 1878"/>
              <a:gd name="T31" fmla="*/ 1028 h 1273"/>
              <a:gd name="T32" fmla="*/ 1367 w 1878"/>
              <a:gd name="T33" fmla="*/ 1010 h 1273"/>
              <a:gd name="T34" fmla="*/ 1456 w 1878"/>
              <a:gd name="T35" fmla="*/ 1000 h 1273"/>
              <a:gd name="T36" fmla="*/ 1483 w 1878"/>
              <a:gd name="T37" fmla="*/ 935 h 1273"/>
              <a:gd name="T38" fmla="*/ 1560 w 1878"/>
              <a:gd name="T39" fmla="*/ 837 h 1273"/>
              <a:gd name="T40" fmla="*/ 1652 w 1878"/>
              <a:gd name="T41" fmla="*/ 765 h 1273"/>
              <a:gd name="T42" fmla="*/ 1760 w 1878"/>
              <a:gd name="T43" fmla="*/ 690 h 1273"/>
              <a:gd name="T44" fmla="*/ 1788 w 1878"/>
              <a:gd name="T45" fmla="*/ 546 h 1273"/>
              <a:gd name="T46" fmla="*/ 1878 w 1878"/>
              <a:gd name="T47" fmla="*/ 444 h 1273"/>
              <a:gd name="T48" fmla="*/ 1843 w 1878"/>
              <a:gd name="T49" fmla="*/ 342 h 1273"/>
              <a:gd name="T50" fmla="*/ 1817 w 1878"/>
              <a:gd name="T51" fmla="*/ 226 h 1273"/>
              <a:gd name="T52" fmla="*/ 1678 w 1878"/>
              <a:gd name="T53" fmla="*/ 224 h 1273"/>
              <a:gd name="T54" fmla="*/ 1538 w 1878"/>
              <a:gd name="T55" fmla="*/ 212 h 1273"/>
              <a:gd name="T56" fmla="*/ 1426 w 1878"/>
              <a:gd name="T57" fmla="*/ 232 h 1273"/>
              <a:gd name="T58" fmla="*/ 1310 w 1878"/>
              <a:gd name="T59" fmla="*/ 232 h 1273"/>
              <a:gd name="T60" fmla="*/ 1185 w 1878"/>
              <a:gd name="T61" fmla="*/ 146 h 1273"/>
              <a:gd name="T62" fmla="*/ 1122 w 1878"/>
              <a:gd name="T63" fmla="*/ 40 h 1273"/>
              <a:gd name="T64" fmla="*/ 1033 w 1878"/>
              <a:gd name="T65" fmla="*/ 8 h 1273"/>
              <a:gd name="T66" fmla="*/ 951 w 1878"/>
              <a:gd name="T67" fmla="*/ 40 h 1273"/>
              <a:gd name="T68" fmla="*/ 862 w 1878"/>
              <a:gd name="T69" fmla="*/ 87 h 1273"/>
              <a:gd name="T70" fmla="*/ 805 w 1878"/>
              <a:gd name="T71" fmla="*/ 226 h 1273"/>
              <a:gd name="T72" fmla="*/ 703 w 1878"/>
              <a:gd name="T73" fmla="*/ 260 h 1273"/>
              <a:gd name="T74" fmla="*/ 603 w 1878"/>
              <a:gd name="T75" fmla="*/ 252 h 1273"/>
              <a:gd name="T76" fmla="*/ 454 w 1878"/>
              <a:gd name="T77" fmla="*/ 267 h 1273"/>
              <a:gd name="T78" fmla="*/ 344 w 1878"/>
              <a:gd name="T79" fmla="*/ 238 h 1273"/>
              <a:gd name="T80" fmla="*/ 222 w 1878"/>
              <a:gd name="T81" fmla="*/ 246 h 1273"/>
              <a:gd name="T82" fmla="*/ 92 w 1878"/>
              <a:gd name="T83" fmla="*/ 305 h 1273"/>
              <a:gd name="T84" fmla="*/ 153 w 1878"/>
              <a:gd name="T85" fmla="*/ 464 h 1273"/>
              <a:gd name="T86" fmla="*/ 47 w 1878"/>
              <a:gd name="T87" fmla="*/ 647 h 1273"/>
              <a:gd name="T88" fmla="*/ 10 w 1878"/>
              <a:gd name="T89" fmla="*/ 770 h 1273"/>
              <a:gd name="T90" fmla="*/ 222 w 1878"/>
              <a:gd name="T91" fmla="*/ 898 h 1273"/>
              <a:gd name="T92" fmla="*/ 349 w 1878"/>
              <a:gd name="T93" fmla="*/ 879 h 1273"/>
              <a:gd name="T94" fmla="*/ 495 w 1878"/>
              <a:gd name="T95" fmla="*/ 776 h 1273"/>
              <a:gd name="T96" fmla="*/ 719 w 1878"/>
              <a:gd name="T97" fmla="*/ 784 h 1273"/>
              <a:gd name="T98" fmla="*/ 823 w 1878"/>
              <a:gd name="T99" fmla="*/ 922 h 1273"/>
              <a:gd name="T100" fmla="*/ 896 w 1878"/>
              <a:gd name="T101" fmla="*/ 1000 h 1273"/>
              <a:gd name="T102" fmla="*/ 796 w 1878"/>
              <a:gd name="T103" fmla="*/ 1042 h 1273"/>
              <a:gd name="T104" fmla="*/ 750 w 1878"/>
              <a:gd name="T105" fmla="*/ 1171 h 1273"/>
              <a:gd name="T106" fmla="*/ 888 w 1878"/>
              <a:gd name="T107" fmla="*/ 1201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8" h="1273">
                <a:moveTo>
                  <a:pt x="888" y="1201"/>
                </a:moveTo>
                <a:lnTo>
                  <a:pt x="888" y="1173"/>
                </a:lnTo>
                <a:lnTo>
                  <a:pt x="882" y="1146"/>
                </a:lnTo>
                <a:lnTo>
                  <a:pt x="909" y="1154"/>
                </a:lnTo>
                <a:lnTo>
                  <a:pt x="923" y="1134"/>
                </a:lnTo>
                <a:lnTo>
                  <a:pt x="943" y="1130"/>
                </a:lnTo>
                <a:lnTo>
                  <a:pt x="957" y="1110"/>
                </a:lnTo>
                <a:lnTo>
                  <a:pt x="959" y="1089"/>
                </a:lnTo>
                <a:lnTo>
                  <a:pt x="937" y="1069"/>
                </a:lnTo>
                <a:lnTo>
                  <a:pt x="923" y="1044"/>
                </a:lnTo>
                <a:lnTo>
                  <a:pt x="949" y="1049"/>
                </a:lnTo>
                <a:lnTo>
                  <a:pt x="978" y="1051"/>
                </a:lnTo>
                <a:lnTo>
                  <a:pt x="986" y="1024"/>
                </a:lnTo>
                <a:lnTo>
                  <a:pt x="992" y="996"/>
                </a:lnTo>
                <a:lnTo>
                  <a:pt x="1014" y="990"/>
                </a:lnTo>
                <a:lnTo>
                  <a:pt x="1033" y="981"/>
                </a:lnTo>
                <a:lnTo>
                  <a:pt x="1055" y="973"/>
                </a:lnTo>
                <a:lnTo>
                  <a:pt x="1071" y="949"/>
                </a:lnTo>
                <a:lnTo>
                  <a:pt x="1084" y="959"/>
                </a:lnTo>
                <a:lnTo>
                  <a:pt x="1108" y="934"/>
                </a:lnTo>
                <a:lnTo>
                  <a:pt x="1135" y="959"/>
                </a:lnTo>
                <a:lnTo>
                  <a:pt x="1135" y="981"/>
                </a:lnTo>
                <a:lnTo>
                  <a:pt x="1102" y="987"/>
                </a:lnTo>
                <a:lnTo>
                  <a:pt x="1130" y="1008"/>
                </a:lnTo>
                <a:lnTo>
                  <a:pt x="1130" y="1022"/>
                </a:lnTo>
                <a:lnTo>
                  <a:pt x="1175" y="1030"/>
                </a:lnTo>
                <a:lnTo>
                  <a:pt x="1218" y="1036"/>
                </a:lnTo>
                <a:lnTo>
                  <a:pt x="1249" y="1010"/>
                </a:lnTo>
                <a:lnTo>
                  <a:pt x="1273" y="1002"/>
                </a:lnTo>
                <a:lnTo>
                  <a:pt x="1324" y="1010"/>
                </a:lnTo>
                <a:lnTo>
                  <a:pt x="1330" y="1030"/>
                </a:lnTo>
                <a:lnTo>
                  <a:pt x="1297" y="1051"/>
                </a:lnTo>
                <a:lnTo>
                  <a:pt x="1259" y="1077"/>
                </a:lnTo>
                <a:lnTo>
                  <a:pt x="1249" y="1102"/>
                </a:lnTo>
                <a:lnTo>
                  <a:pt x="1224" y="1130"/>
                </a:lnTo>
                <a:lnTo>
                  <a:pt x="1224" y="1152"/>
                </a:lnTo>
                <a:lnTo>
                  <a:pt x="1273" y="1144"/>
                </a:lnTo>
                <a:lnTo>
                  <a:pt x="1299" y="1159"/>
                </a:lnTo>
                <a:lnTo>
                  <a:pt x="1340" y="1165"/>
                </a:lnTo>
                <a:lnTo>
                  <a:pt x="1354" y="1209"/>
                </a:lnTo>
                <a:lnTo>
                  <a:pt x="1365" y="1240"/>
                </a:lnTo>
                <a:lnTo>
                  <a:pt x="1375" y="1269"/>
                </a:lnTo>
                <a:lnTo>
                  <a:pt x="1407" y="1273"/>
                </a:lnTo>
                <a:lnTo>
                  <a:pt x="1444" y="1246"/>
                </a:lnTo>
                <a:lnTo>
                  <a:pt x="1458" y="1209"/>
                </a:lnTo>
                <a:lnTo>
                  <a:pt x="1481" y="1181"/>
                </a:lnTo>
                <a:lnTo>
                  <a:pt x="1505" y="1173"/>
                </a:lnTo>
                <a:lnTo>
                  <a:pt x="1530" y="1146"/>
                </a:lnTo>
                <a:lnTo>
                  <a:pt x="1562" y="1097"/>
                </a:lnTo>
                <a:lnTo>
                  <a:pt x="1631" y="1099"/>
                </a:lnTo>
                <a:lnTo>
                  <a:pt x="1646" y="1085"/>
                </a:lnTo>
                <a:lnTo>
                  <a:pt x="1664" y="1087"/>
                </a:lnTo>
                <a:lnTo>
                  <a:pt x="1654" y="1046"/>
                </a:lnTo>
                <a:lnTo>
                  <a:pt x="1662" y="1016"/>
                </a:lnTo>
                <a:lnTo>
                  <a:pt x="1631" y="1022"/>
                </a:lnTo>
                <a:lnTo>
                  <a:pt x="1597" y="1046"/>
                </a:lnTo>
                <a:lnTo>
                  <a:pt x="1576" y="1047"/>
                </a:lnTo>
                <a:lnTo>
                  <a:pt x="1556" y="1073"/>
                </a:lnTo>
                <a:lnTo>
                  <a:pt x="1536" y="1063"/>
                </a:lnTo>
                <a:lnTo>
                  <a:pt x="1503" y="1079"/>
                </a:lnTo>
                <a:lnTo>
                  <a:pt x="1487" y="1071"/>
                </a:lnTo>
                <a:lnTo>
                  <a:pt x="1483" y="1044"/>
                </a:lnTo>
                <a:lnTo>
                  <a:pt x="1456" y="1038"/>
                </a:lnTo>
                <a:lnTo>
                  <a:pt x="1432" y="1028"/>
                </a:lnTo>
                <a:lnTo>
                  <a:pt x="1412" y="1010"/>
                </a:lnTo>
                <a:lnTo>
                  <a:pt x="1399" y="994"/>
                </a:lnTo>
                <a:lnTo>
                  <a:pt x="1379" y="996"/>
                </a:lnTo>
                <a:lnTo>
                  <a:pt x="1367" y="1010"/>
                </a:lnTo>
                <a:lnTo>
                  <a:pt x="1359" y="975"/>
                </a:lnTo>
                <a:lnTo>
                  <a:pt x="1399" y="967"/>
                </a:lnTo>
                <a:lnTo>
                  <a:pt x="1440" y="977"/>
                </a:lnTo>
                <a:lnTo>
                  <a:pt x="1456" y="1000"/>
                </a:lnTo>
                <a:lnTo>
                  <a:pt x="1469" y="990"/>
                </a:lnTo>
                <a:lnTo>
                  <a:pt x="1456" y="959"/>
                </a:lnTo>
                <a:lnTo>
                  <a:pt x="1468" y="943"/>
                </a:lnTo>
                <a:lnTo>
                  <a:pt x="1483" y="935"/>
                </a:lnTo>
                <a:lnTo>
                  <a:pt x="1469" y="900"/>
                </a:lnTo>
                <a:lnTo>
                  <a:pt x="1495" y="898"/>
                </a:lnTo>
                <a:lnTo>
                  <a:pt x="1515" y="873"/>
                </a:lnTo>
                <a:lnTo>
                  <a:pt x="1560" y="837"/>
                </a:lnTo>
                <a:lnTo>
                  <a:pt x="1607" y="804"/>
                </a:lnTo>
                <a:lnTo>
                  <a:pt x="1621" y="798"/>
                </a:lnTo>
                <a:lnTo>
                  <a:pt x="1635" y="804"/>
                </a:lnTo>
                <a:lnTo>
                  <a:pt x="1652" y="765"/>
                </a:lnTo>
                <a:lnTo>
                  <a:pt x="1680" y="749"/>
                </a:lnTo>
                <a:lnTo>
                  <a:pt x="1691" y="725"/>
                </a:lnTo>
                <a:lnTo>
                  <a:pt x="1729" y="702"/>
                </a:lnTo>
                <a:lnTo>
                  <a:pt x="1760" y="690"/>
                </a:lnTo>
                <a:lnTo>
                  <a:pt x="1748" y="655"/>
                </a:lnTo>
                <a:lnTo>
                  <a:pt x="1743" y="609"/>
                </a:lnTo>
                <a:lnTo>
                  <a:pt x="1782" y="582"/>
                </a:lnTo>
                <a:lnTo>
                  <a:pt x="1788" y="546"/>
                </a:lnTo>
                <a:lnTo>
                  <a:pt x="1823" y="546"/>
                </a:lnTo>
                <a:lnTo>
                  <a:pt x="1851" y="535"/>
                </a:lnTo>
                <a:lnTo>
                  <a:pt x="1878" y="521"/>
                </a:lnTo>
                <a:lnTo>
                  <a:pt x="1878" y="444"/>
                </a:lnTo>
                <a:lnTo>
                  <a:pt x="1853" y="434"/>
                </a:lnTo>
                <a:lnTo>
                  <a:pt x="1825" y="387"/>
                </a:lnTo>
                <a:lnTo>
                  <a:pt x="1837" y="356"/>
                </a:lnTo>
                <a:lnTo>
                  <a:pt x="1843" y="342"/>
                </a:lnTo>
                <a:lnTo>
                  <a:pt x="1811" y="334"/>
                </a:lnTo>
                <a:lnTo>
                  <a:pt x="1843" y="305"/>
                </a:lnTo>
                <a:lnTo>
                  <a:pt x="1837" y="264"/>
                </a:lnTo>
                <a:lnTo>
                  <a:pt x="1817" y="226"/>
                </a:lnTo>
                <a:lnTo>
                  <a:pt x="1782" y="238"/>
                </a:lnTo>
                <a:lnTo>
                  <a:pt x="1762" y="238"/>
                </a:lnTo>
                <a:lnTo>
                  <a:pt x="1707" y="226"/>
                </a:lnTo>
                <a:lnTo>
                  <a:pt x="1678" y="224"/>
                </a:lnTo>
                <a:lnTo>
                  <a:pt x="1627" y="232"/>
                </a:lnTo>
                <a:lnTo>
                  <a:pt x="1597" y="246"/>
                </a:lnTo>
                <a:lnTo>
                  <a:pt x="1566" y="234"/>
                </a:lnTo>
                <a:lnTo>
                  <a:pt x="1538" y="212"/>
                </a:lnTo>
                <a:lnTo>
                  <a:pt x="1509" y="187"/>
                </a:lnTo>
                <a:lnTo>
                  <a:pt x="1473" y="218"/>
                </a:lnTo>
                <a:lnTo>
                  <a:pt x="1440" y="238"/>
                </a:lnTo>
                <a:lnTo>
                  <a:pt x="1426" y="232"/>
                </a:lnTo>
                <a:lnTo>
                  <a:pt x="1401" y="240"/>
                </a:lnTo>
                <a:lnTo>
                  <a:pt x="1367" y="226"/>
                </a:lnTo>
                <a:lnTo>
                  <a:pt x="1344" y="246"/>
                </a:lnTo>
                <a:lnTo>
                  <a:pt x="1310" y="232"/>
                </a:lnTo>
                <a:lnTo>
                  <a:pt x="1293" y="183"/>
                </a:lnTo>
                <a:lnTo>
                  <a:pt x="1244" y="136"/>
                </a:lnTo>
                <a:lnTo>
                  <a:pt x="1214" y="148"/>
                </a:lnTo>
                <a:lnTo>
                  <a:pt x="1185" y="146"/>
                </a:lnTo>
                <a:lnTo>
                  <a:pt x="1171" y="144"/>
                </a:lnTo>
                <a:lnTo>
                  <a:pt x="1141" y="91"/>
                </a:lnTo>
                <a:lnTo>
                  <a:pt x="1157" y="63"/>
                </a:lnTo>
                <a:lnTo>
                  <a:pt x="1122" y="40"/>
                </a:lnTo>
                <a:lnTo>
                  <a:pt x="1116" y="22"/>
                </a:lnTo>
                <a:lnTo>
                  <a:pt x="1092" y="0"/>
                </a:lnTo>
                <a:lnTo>
                  <a:pt x="1069" y="2"/>
                </a:lnTo>
                <a:lnTo>
                  <a:pt x="1033" y="8"/>
                </a:lnTo>
                <a:lnTo>
                  <a:pt x="1014" y="12"/>
                </a:lnTo>
                <a:lnTo>
                  <a:pt x="990" y="28"/>
                </a:lnTo>
                <a:lnTo>
                  <a:pt x="964" y="34"/>
                </a:lnTo>
                <a:lnTo>
                  <a:pt x="951" y="40"/>
                </a:lnTo>
                <a:lnTo>
                  <a:pt x="929" y="77"/>
                </a:lnTo>
                <a:lnTo>
                  <a:pt x="915" y="77"/>
                </a:lnTo>
                <a:lnTo>
                  <a:pt x="894" y="75"/>
                </a:lnTo>
                <a:lnTo>
                  <a:pt x="862" y="87"/>
                </a:lnTo>
                <a:lnTo>
                  <a:pt x="813" y="122"/>
                </a:lnTo>
                <a:lnTo>
                  <a:pt x="797" y="152"/>
                </a:lnTo>
                <a:lnTo>
                  <a:pt x="786" y="177"/>
                </a:lnTo>
                <a:lnTo>
                  <a:pt x="805" y="226"/>
                </a:lnTo>
                <a:lnTo>
                  <a:pt x="788" y="252"/>
                </a:lnTo>
                <a:lnTo>
                  <a:pt x="752" y="238"/>
                </a:lnTo>
                <a:lnTo>
                  <a:pt x="733" y="252"/>
                </a:lnTo>
                <a:lnTo>
                  <a:pt x="703" y="260"/>
                </a:lnTo>
                <a:lnTo>
                  <a:pt x="689" y="267"/>
                </a:lnTo>
                <a:lnTo>
                  <a:pt x="648" y="226"/>
                </a:lnTo>
                <a:lnTo>
                  <a:pt x="623" y="267"/>
                </a:lnTo>
                <a:lnTo>
                  <a:pt x="603" y="252"/>
                </a:lnTo>
                <a:lnTo>
                  <a:pt x="560" y="252"/>
                </a:lnTo>
                <a:lnTo>
                  <a:pt x="499" y="285"/>
                </a:lnTo>
                <a:lnTo>
                  <a:pt x="473" y="266"/>
                </a:lnTo>
                <a:lnTo>
                  <a:pt x="454" y="267"/>
                </a:lnTo>
                <a:lnTo>
                  <a:pt x="424" y="238"/>
                </a:lnTo>
                <a:lnTo>
                  <a:pt x="405" y="232"/>
                </a:lnTo>
                <a:lnTo>
                  <a:pt x="369" y="246"/>
                </a:lnTo>
                <a:lnTo>
                  <a:pt x="344" y="238"/>
                </a:lnTo>
                <a:lnTo>
                  <a:pt x="310" y="220"/>
                </a:lnTo>
                <a:lnTo>
                  <a:pt x="296" y="232"/>
                </a:lnTo>
                <a:lnTo>
                  <a:pt x="226" y="230"/>
                </a:lnTo>
                <a:lnTo>
                  <a:pt x="222" y="246"/>
                </a:lnTo>
                <a:lnTo>
                  <a:pt x="190" y="246"/>
                </a:lnTo>
                <a:lnTo>
                  <a:pt x="161" y="277"/>
                </a:lnTo>
                <a:lnTo>
                  <a:pt x="129" y="305"/>
                </a:lnTo>
                <a:lnTo>
                  <a:pt x="92" y="305"/>
                </a:lnTo>
                <a:lnTo>
                  <a:pt x="96" y="362"/>
                </a:lnTo>
                <a:lnTo>
                  <a:pt x="112" y="391"/>
                </a:lnTo>
                <a:lnTo>
                  <a:pt x="151" y="417"/>
                </a:lnTo>
                <a:lnTo>
                  <a:pt x="153" y="464"/>
                </a:lnTo>
                <a:lnTo>
                  <a:pt x="161" y="486"/>
                </a:lnTo>
                <a:lnTo>
                  <a:pt x="96" y="558"/>
                </a:lnTo>
                <a:lnTo>
                  <a:pt x="69" y="598"/>
                </a:lnTo>
                <a:lnTo>
                  <a:pt x="47" y="647"/>
                </a:lnTo>
                <a:lnTo>
                  <a:pt x="47" y="688"/>
                </a:lnTo>
                <a:lnTo>
                  <a:pt x="43" y="731"/>
                </a:lnTo>
                <a:lnTo>
                  <a:pt x="19" y="735"/>
                </a:lnTo>
                <a:lnTo>
                  <a:pt x="10" y="770"/>
                </a:lnTo>
                <a:lnTo>
                  <a:pt x="0" y="833"/>
                </a:lnTo>
                <a:lnTo>
                  <a:pt x="51" y="871"/>
                </a:lnTo>
                <a:lnTo>
                  <a:pt x="76" y="898"/>
                </a:lnTo>
                <a:lnTo>
                  <a:pt x="222" y="898"/>
                </a:lnTo>
                <a:lnTo>
                  <a:pt x="267" y="884"/>
                </a:lnTo>
                <a:lnTo>
                  <a:pt x="289" y="894"/>
                </a:lnTo>
                <a:lnTo>
                  <a:pt x="322" y="906"/>
                </a:lnTo>
                <a:lnTo>
                  <a:pt x="349" y="879"/>
                </a:lnTo>
                <a:lnTo>
                  <a:pt x="369" y="871"/>
                </a:lnTo>
                <a:lnTo>
                  <a:pt x="397" y="865"/>
                </a:lnTo>
                <a:lnTo>
                  <a:pt x="477" y="796"/>
                </a:lnTo>
                <a:lnTo>
                  <a:pt x="495" y="776"/>
                </a:lnTo>
                <a:lnTo>
                  <a:pt x="526" y="772"/>
                </a:lnTo>
                <a:lnTo>
                  <a:pt x="562" y="753"/>
                </a:lnTo>
                <a:lnTo>
                  <a:pt x="630" y="792"/>
                </a:lnTo>
                <a:lnTo>
                  <a:pt x="719" y="784"/>
                </a:lnTo>
                <a:lnTo>
                  <a:pt x="760" y="810"/>
                </a:lnTo>
                <a:lnTo>
                  <a:pt x="772" y="820"/>
                </a:lnTo>
                <a:lnTo>
                  <a:pt x="782" y="861"/>
                </a:lnTo>
                <a:lnTo>
                  <a:pt x="823" y="922"/>
                </a:lnTo>
                <a:lnTo>
                  <a:pt x="839" y="953"/>
                </a:lnTo>
                <a:lnTo>
                  <a:pt x="870" y="953"/>
                </a:lnTo>
                <a:lnTo>
                  <a:pt x="884" y="977"/>
                </a:lnTo>
                <a:lnTo>
                  <a:pt x="896" y="1000"/>
                </a:lnTo>
                <a:lnTo>
                  <a:pt x="890" y="1047"/>
                </a:lnTo>
                <a:lnTo>
                  <a:pt x="866" y="1047"/>
                </a:lnTo>
                <a:lnTo>
                  <a:pt x="813" y="1059"/>
                </a:lnTo>
                <a:lnTo>
                  <a:pt x="796" y="1042"/>
                </a:lnTo>
                <a:lnTo>
                  <a:pt x="794" y="1087"/>
                </a:lnTo>
                <a:lnTo>
                  <a:pt x="796" y="1112"/>
                </a:lnTo>
                <a:lnTo>
                  <a:pt x="778" y="1157"/>
                </a:lnTo>
                <a:lnTo>
                  <a:pt x="750" y="1171"/>
                </a:lnTo>
                <a:lnTo>
                  <a:pt x="752" y="1228"/>
                </a:lnTo>
                <a:lnTo>
                  <a:pt x="797" y="1242"/>
                </a:lnTo>
                <a:lnTo>
                  <a:pt x="839" y="1228"/>
                </a:lnTo>
                <a:lnTo>
                  <a:pt x="888" y="1201"/>
                </a:lnTo>
                <a:close/>
              </a:path>
            </a:pathLst>
          </a:custGeom>
          <a:solidFill>
            <a:srgbClr val="D0D0D0"/>
          </a:solidFill>
          <a:ln w="9525">
            <a:solidFill>
              <a:srgbClr val="000000"/>
            </a:solidFill>
            <a:prstDash val="solid"/>
            <a:round/>
            <a:headEnd/>
            <a:tailEnd/>
          </a:ln>
        </p:spPr>
        <p:txBody>
          <a:bodyPr/>
          <a:lstStyle/>
          <a:p>
            <a:endParaRPr lang="cs-CZ"/>
          </a:p>
        </p:txBody>
      </p:sp>
      <p:sp>
        <p:nvSpPr>
          <p:cNvPr id="255" name="Freeform 263"/>
          <p:cNvSpPr>
            <a:spLocks/>
          </p:cNvSpPr>
          <p:nvPr/>
        </p:nvSpPr>
        <p:spPr bwMode="auto">
          <a:xfrm>
            <a:off x="4425950" y="3133303"/>
            <a:ext cx="530225" cy="285750"/>
          </a:xfrm>
          <a:custGeom>
            <a:avLst/>
            <a:gdLst>
              <a:gd name="T0" fmla="*/ 14 w 668"/>
              <a:gd name="T1" fmla="*/ 359 h 359"/>
              <a:gd name="T2" fmla="*/ 39 w 668"/>
              <a:gd name="T3" fmla="*/ 351 h 359"/>
              <a:gd name="T4" fmla="*/ 59 w 668"/>
              <a:gd name="T5" fmla="*/ 328 h 359"/>
              <a:gd name="T6" fmla="*/ 114 w 668"/>
              <a:gd name="T7" fmla="*/ 302 h 359"/>
              <a:gd name="T8" fmla="*/ 147 w 668"/>
              <a:gd name="T9" fmla="*/ 288 h 359"/>
              <a:gd name="T10" fmla="*/ 161 w 668"/>
              <a:gd name="T11" fmla="*/ 298 h 359"/>
              <a:gd name="T12" fmla="*/ 187 w 668"/>
              <a:gd name="T13" fmla="*/ 286 h 359"/>
              <a:gd name="T14" fmla="*/ 242 w 668"/>
              <a:gd name="T15" fmla="*/ 283 h 359"/>
              <a:gd name="T16" fmla="*/ 303 w 668"/>
              <a:gd name="T17" fmla="*/ 296 h 359"/>
              <a:gd name="T18" fmla="*/ 344 w 668"/>
              <a:gd name="T19" fmla="*/ 265 h 359"/>
              <a:gd name="T20" fmla="*/ 359 w 668"/>
              <a:gd name="T21" fmla="*/ 263 h 359"/>
              <a:gd name="T22" fmla="*/ 385 w 668"/>
              <a:gd name="T23" fmla="*/ 285 h 359"/>
              <a:gd name="T24" fmla="*/ 422 w 668"/>
              <a:gd name="T25" fmla="*/ 300 h 359"/>
              <a:gd name="T26" fmla="*/ 470 w 668"/>
              <a:gd name="T27" fmla="*/ 326 h 359"/>
              <a:gd name="T28" fmla="*/ 507 w 668"/>
              <a:gd name="T29" fmla="*/ 345 h 359"/>
              <a:gd name="T30" fmla="*/ 530 w 668"/>
              <a:gd name="T31" fmla="*/ 355 h 359"/>
              <a:gd name="T32" fmla="*/ 544 w 668"/>
              <a:gd name="T33" fmla="*/ 353 h 359"/>
              <a:gd name="T34" fmla="*/ 564 w 668"/>
              <a:gd name="T35" fmla="*/ 328 h 359"/>
              <a:gd name="T36" fmla="*/ 607 w 668"/>
              <a:gd name="T37" fmla="*/ 328 h 359"/>
              <a:gd name="T38" fmla="*/ 619 w 668"/>
              <a:gd name="T39" fmla="*/ 290 h 359"/>
              <a:gd name="T40" fmla="*/ 625 w 668"/>
              <a:gd name="T41" fmla="*/ 269 h 359"/>
              <a:gd name="T42" fmla="*/ 652 w 668"/>
              <a:gd name="T43" fmla="*/ 253 h 359"/>
              <a:gd name="T44" fmla="*/ 668 w 668"/>
              <a:gd name="T45" fmla="*/ 251 h 359"/>
              <a:gd name="T46" fmla="*/ 664 w 668"/>
              <a:gd name="T47" fmla="*/ 216 h 359"/>
              <a:gd name="T48" fmla="*/ 637 w 668"/>
              <a:gd name="T49" fmla="*/ 178 h 359"/>
              <a:gd name="T50" fmla="*/ 605 w 668"/>
              <a:gd name="T51" fmla="*/ 145 h 359"/>
              <a:gd name="T52" fmla="*/ 583 w 668"/>
              <a:gd name="T53" fmla="*/ 133 h 359"/>
              <a:gd name="T54" fmla="*/ 585 w 668"/>
              <a:gd name="T55" fmla="*/ 72 h 359"/>
              <a:gd name="T56" fmla="*/ 558 w 668"/>
              <a:gd name="T57" fmla="*/ 51 h 359"/>
              <a:gd name="T58" fmla="*/ 532 w 668"/>
              <a:gd name="T59" fmla="*/ 31 h 359"/>
              <a:gd name="T60" fmla="*/ 495 w 668"/>
              <a:gd name="T61" fmla="*/ 45 h 359"/>
              <a:gd name="T62" fmla="*/ 470 w 668"/>
              <a:gd name="T63" fmla="*/ 57 h 359"/>
              <a:gd name="T64" fmla="*/ 438 w 668"/>
              <a:gd name="T65" fmla="*/ 39 h 359"/>
              <a:gd name="T66" fmla="*/ 416 w 668"/>
              <a:gd name="T67" fmla="*/ 13 h 359"/>
              <a:gd name="T68" fmla="*/ 387 w 668"/>
              <a:gd name="T69" fmla="*/ 9 h 359"/>
              <a:gd name="T70" fmla="*/ 369 w 668"/>
              <a:gd name="T71" fmla="*/ 0 h 359"/>
              <a:gd name="T72" fmla="*/ 326 w 668"/>
              <a:gd name="T73" fmla="*/ 6 h 359"/>
              <a:gd name="T74" fmla="*/ 289 w 668"/>
              <a:gd name="T75" fmla="*/ 19 h 359"/>
              <a:gd name="T76" fmla="*/ 275 w 668"/>
              <a:gd name="T77" fmla="*/ 33 h 359"/>
              <a:gd name="T78" fmla="*/ 273 w 668"/>
              <a:gd name="T79" fmla="*/ 80 h 359"/>
              <a:gd name="T80" fmla="*/ 287 w 668"/>
              <a:gd name="T81" fmla="*/ 145 h 359"/>
              <a:gd name="T82" fmla="*/ 277 w 668"/>
              <a:gd name="T83" fmla="*/ 165 h 359"/>
              <a:gd name="T84" fmla="*/ 257 w 668"/>
              <a:gd name="T85" fmla="*/ 180 h 359"/>
              <a:gd name="T86" fmla="*/ 230 w 668"/>
              <a:gd name="T87" fmla="*/ 184 h 359"/>
              <a:gd name="T88" fmla="*/ 198 w 668"/>
              <a:gd name="T89" fmla="*/ 173 h 359"/>
              <a:gd name="T90" fmla="*/ 183 w 668"/>
              <a:gd name="T91" fmla="*/ 153 h 359"/>
              <a:gd name="T92" fmla="*/ 161 w 668"/>
              <a:gd name="T93" fmla="*/ 123 h 359"/>
              <a:gd name="T94" fmla="*/ 132 w 668"/>
              <a:gd name="T95" fmla="*/ 98 h 359"/>
              <a:gd name="T96" fmla="*/ 118 w 668"/>
              <a:gd name="T97" fmla="*/ 86 h 359"/>
              <a:gd name="T98" fmla="*/ 102 w 668"/>
              <a:gd name="T99" fmla="*/ 82 h 359"/>
              <a:gd name="T100" fmla="*/ 73 w 668"/>
              <a:gd name="T101" fmla="*/ 104 h 359"/>
              <a:gd name="T102" fmla="*/ 45 w 668"/>
              <a:gd name="T103" fmla="*/ 129 h 359"/>
              <a:gd name="T104" fmla="*/ 33 w 668"/>
              <a:gd name="T105" fmla="*/ 155 h 359"/>
              <a:gd name="T106" fmla="*/ 25 w 668"/>
              <a:gd name="T107" fmla="*/ 188 h 359"/>
              <a:gd name="T108" fmla="*/ 24 w 668"/>
              <a:gd name="T109" fmla="*/ 216 h 359"/>
              <a:gd name="T110" fmla="*/ 10 w 668"/>
              <a:gd name="T111" fmla="*/ 245 h 359"/>
              <a:gd name="T112" fmla="*/ 0 w 668"/>
              <a:gd name="T113" fmla="*/ 277 h 359"/>
              <a:gd name="T114" fmla="*/ 4 w 668"/>
              <a:gd name="T115" fmla="*/ 292 h 359"/>
              <a:gd name="T116" fmla="*/ 4 w 668"/>
              <a:gd name="T117" fmla="*/ 326 h 359"/>
              <a:gd name="T118" fmla="*/ 6 w 668"/>
              <a:gd name="T119" fmla="*/ 345 h 359"/>
              <a:gd name="T120" fmla="*/ 14 w 668"/>
              <a:gd name="T121"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8" h="359">
                <a:moveTo>
                  <a:pt x="14" y="359"/>
                </a:moveTo>
                <a:lnTo>
                  <a:pt x="39" y="351"/>
                </a:lnTo>
                <a:lnTo>
                  <a:pt x="59" y="328"/>
                </a:lnTo>
                <a:lnTo>
                  <a:pt x="114" y="302"/>
                </a:lnTo>
                <a:lnTo>
                  <a:pt x="147" y="288"/>
                </a:lnTo>
                <a:lnTo>
                  <a:pt x="161" y="298"/>
                </a:lnTo>
                <a:lnTo>
                  <a:pt x="187" y="286"/>
                </a:lnTo>
                <a:lnTo>
                  <a:pt x="242" y="283"/>
                </a:lnTo>
                <a:lnTo>
                  <a:pt x="303" y="296"/>
                </a:lnTo>
                <a:lnTo>
                  <a:pt x="344" y="265"/>
                </a:lnTo>
                <a:lnTo>
                  <a:pt x="359" y="263"/>
                </a:lnTo>
                <a:lnTo>
                  <a:pt x="385" y="285"/>
                </a:lnTo>
                <a:lnTo>
                  <a:pt x="422" y="300"/>
                </a:lnTo>
                <a:lnTo>
                  <a:pt x="470" y="326"/>
                </a:lnTo>
                <a:lnTo>
                  <a:pt x="507" y="345"/>
                </a:lnTo>
                <a:lnTo>
                  <a:pt x="530" y="355"/>
                </a:lnTo>
                <a:lnTo>
                  <a:pt x="544" y="353"/>
                </a:lnTo>
                <a:lnTo>
                  <a:pt x="564" y="328"/>
                </a:lnTo>
                <a:lnTo>
                  <a:pt x="607" y="328"/>
                </a:lnTo>
                <a:lnTo>
                  <a:pt x="619" y="290"/>
                </a:lnTo>
                <a:lnTo>
                  <a:pt x="625" y="269"/>
                </a:lnTo>
                <a:lnTo>
                  <a:pt x="652" y="253"/>
                </a:lnTo>
                <a:lnTo>
                  <a:pt x="668" y="251"/>
                </a:lnTo>
                <a:lnTo>
                  <a:pt x="664" y="216"/>
                </a:lnTo>
                <a:lnTo>
                  <a:pt x="637" y="178"/>
                </a:lnTo>
                <a:lnTo>
                  <a:pt x="605" y="145"/>
                </a:lnTo>
                <a:lnTo>
                  <a:pt x="583" y="133"/>
                </a:lnTo>
                <a:lnTo>
                  <a:pt x="585" y="72"/>
                </a:lnTo>
                <a:lnTo>
                  <a:pt x="558" y="51"/>
                </a:lnTo>
                <a:lnTo>
                  <a:pt x="532" y="31"/>
                </a:lnTo>
                <a:lnTo>
                  <a:pt x="495" y="45"/>
                </a:lnTo>
                <a:lnTo>
                  <a:pt x="470" y="57"/>
                </a:lnTo>
                <a:lnTo>
                  <a:pt x="438" y="39"/>
                </a:lnTo>
                <a:lnTo>
                  <a:pt x="416" y="13"/>
                </a:lnTo>
                <a:lnTo>
                  <a:pt x="387" y="9"/>
                </a:lnTo>
                <a:lnTo>
                  <a:pt x="369" y="0"/>
                </a:lnTo>
                <a:lnTo>
                  <a:pt x="326" y="6"/>
                </a:lnTo>
                <a:lnTo>
                  <a:pt x="289" y="19"/>
                </a:lnTo>
                <a:lnTo>
                  <a:pt x="275" y="33"/>
                </a:lnTo>
                <a:lnTo>
                  <a:pt x="273" y="80"/>
                </a:lnTo>
                <a:lnTo>
                  <a:pt x="287" y="145"/>
                </a:lnTo>
                <a:lnTo>
                  <a:pt x="277" y="165"/>
                </a:lnTo>
                <a:lnTo>
                  <a:pt x="257" y="180"/>
                </a:lnTo>
                <a:lnTo>
                  <a:pt x="230" y="184"/>
                </a:lnTo>
                <a:lnTo>
                  <a:pt x="198" y="173"/>
                </a:lnTo>
                <a:lnTo>
                  <a:pt x="183" y="153"/>
                </a:lnTo>
                <a:lnTo>
                  <a:pt x="161" y="123"/>
                </a:lnTo>
                <a:lnTo>
                  <a:pt x="132" y="98"/>
                </a:lnTo>
                <a:lnTo>
                  <a:pt x="118" y="86"/>
                </a:lnTo>
                <a:lnTo>
                  <a:pt x="102" y="82"/>
                </a:lnTo>
                <a:lnTo>
                  <a:pt x="73" y="104"/>
                </a:lnTo>
                <a:lnTo>
                  <a:pt x="45" y="129"/>
                </a:lnTo>
                <a:lnTo>
                  <a:pt x="33" y="155"/>
                </a:lnTo>
                <a:lnTo>
                  <a:pt x="25" y="188"/>
                </a:lnTo>
                <a:lnTo>
                  <a:pt x="24" y="216"/>
                </a:lnTo>
                <a:lnTo>
                  <a:pt x="10" y="245"/>
                </a:lnTo>
                <a:lnTo>
                  <a:pt x="0" y="277"/>
                </a:lnTo>
                <a:lnTo>
                  <a:pt x="4" y="292"/>
                </a:lnTo>
                <a:lnTo>
                  <a:pt x="4" y="326"/>
                </a:lnTo>
                <a:lnTo>
                  <a:pt x="6" y="345"/>
                </a:lnTo>
                <a:lnTo>
                  <a:pt x="14" y="359"/>
                </a:lnTo>
                <a:close/>
              </a:path>
            </a:pathLst>
          </a:custGeom>
          <a:solidFill>
            <a:srgbClr val="E93011"/>
          </a:solidFill>
          <a:ln w="9525">
            <a:solidFill>
              <a:srgbClr val="000000"/>
            </a:solidFill>
            <a:prstDash val="solid"/>
            <a:round/>
            <a:headEnd/>
            <a:tailEnd/>
          </a:ln>
        </p:spPr>
        <p:txBody>
          <a:bodyPr/>
          <a:lstStyle/>
          <a:p>
            <a:endParaRPr lang="cs-CZ"/>
          </a:p>
        </p:txBody>
      </p:sp>
      <p:sp>
        <p:nvSpPr>
          <p:cNvPr id="256" name="Freeform 264"/>
          <p:cNvSpPr>
            <a:spLocks/>
          </p:cNvSpPr>
          <p:nvPr/>
        </p:nvSpPr>
        <p:spPr bwMode="auto">
          <a:xfrm>
            <a:off x="4645025" y="3336503"/>
            <a:ext cx="709613" cy="628650"/>
          </a:xfrm>
          <a:custGeom>
            <a:avLst/>
            <a:gdLst>
              <a:gd name="T0" fmla="*/ 86 w 894"/>
              <a:gd name="T1" fmla="*/ 792 h 792"/>
              <a:gd name="T2" fmla="*/ 118 w 894"/>
              <a:gd name="T3" fmla="*/ 768 h 792"/>
              <a:gd name="T4" fmla="*/ 145 w 894"/>
              <a:gd name="T5" fmla="*/ 735 h 792"/>
              <a:gd name="T6" fmla="*/ 189 w 894"/>
              <a:gd name="T7" fmla="*/ 719 h 792"/>
              <a:gd name="T8" fmla="*/ 269 w 894"/>
              <a:gd name="T9" fmla="*/ 707 h 792"/>
              <a:gd name="T10" fmla="*/ 324 w 894"/>
              <a:gd name="T11" fmla="*/ 735 h 792"/>
              <a:gd name="T12" fmla="*/ 360 w 894"/>
              <a:gd name="T13" fmla="*/ 717 h 792"/>
              <a:gd name="T14" fmla="*/ 393 w 894"/>
              <a:gd name="T15" fmla="*/ 733 h 792"/>
              <a:gd name="T16" fmla="*/ 440 w 894"/>
              <a:gd name="T17" fmla="*/ 758 h 792"/>
              <a:gd name="T18" fmla="*/ 499 w 894"/>
              <a:gd name="T19" fmla="*/ 749 h 792"/>
              <a:gd name="T20" fmla="*/ 560 w 894"/>
              <a:gd name="T21" fmla="*/ 737 h 792"/>
              <a:gd name="T22" fmla="*/ 591 w 894"/>
              <a:gd name="T23" fmla="*/ 733 h 792"/>
              <a:gd name="T24" fmla="*/ 623 w 894"/>
              <a:gd name="T25" fmla="*/ 721 h 792"/>
              <a:gd name="T26" fmla="*/ 658 w 894"/>
              <a:gd name="T27" fmla="*/ 747 h 792"/>
              <a:gd name="T28" fmla="*/ 692 w 894"/>
              <a:gd name="T29" fmla="*/ 739 h 792"/>
              <a:gd name="T30" fmla="*/ 745 w 894"/>
              <a:gd name="T31" fmla="*/ 741 h 792"/>
              <a:gd name="T32" fmla="*/ 760 w 894"/>
              <a:gd name="T33" fmla="*/ 688 h 792"/>
              <a:gd name="T34" fmla="*/ 755 w 894"/>
              <a:gd name="T35" fmla="*/ 631 h 792"/>
              <a:gd name="T36" fmla="*/ 810 w 894"/>
              <a:gd name="T37" fmla="*/ 580 h 792"/>
              <a:gd name="T38" fmla="*/ 861 w 894"/>
              <a:gd name="T39" fmla="*/ 574 h 792"/>
              <a:gd name="T40" fmla="*/ 833 w 894"/>
              <a:gd name="T41" fmla="*/ 521 h 792"/>
              <a:gd name="T42" fmla="*/ 798 w 894"/>
              <a:gd name="T43" fmla="*/ 462 h 792"/>
              <a:gd name="T44" fmla="*/ 762 w 894"/>
              <a:gd name="T45" fmla="*/ 405 h 792"/>
              <a:gd name="T46" fmla="*/ 823 w 894"/>
              <a:gd name="T47" fmla="*/ 387 h 792"/>
              <a:gd name="T48" fmla="*/ 874 w 894"/>
              <a:gd name="T49" fmla="*/ 371 h 792"/>
              <a:gd name="T50" fmla="*/ 894 w 894"/>
              <a:gd name="T51" fmla="*/ 330 h 792"/>
              <a:gd name="T52" fmla="*/ 861 w 894"/>
              <a:gd name="T53" fmla="*/ 307 h 792"/>
              <a:gd name="T54" fmla="*/ 825 w 894"/>
              <a:gd name="T55" fmla="*/ 285 h 792"/>
              <a:gd name="T56" fmla="*/ 784 w 894"/>
              <a:gd name="T57" fmla="*/ 289 h 792"/>
              <a:gd name="T58" fmla="*/ 747 w 894"/>
              <a:gd name="T59" fmla="*/ 244 h 792"/>
              <a:gd name="T60" fmla="*/ 678 w 894"/>
              <a:gd name="T61" fmla="*/ 163 h 792"/>
              <a:gd name="T62" fmla="*/ 662 w 894"/>
              <a:gd name="T63" fmla="*/ 128 h 792"/>
              <a:gd name="T64" fmla="*/ 658 w 894"/>
              <a:gd name="T65" fmla="*/ 83 h 792"/>
              <a:gd name="T66" fmla="*/ 641 w 894"/>
              <a:gd name="T67" fmla="*/ 33 h 792"/>
              <a:gd name="T68" fmla="*/ 582 w 894"/>
              <a:gd name="T69" fmla="*/ 12 h 792"/>
              <a:gd name="T70" fmla="*/ 525 w 894"/>
              <a:gd name="T71" fmla="*/ 26 h 792"/>
              <a:gd name="T72" fmla="*/ 497 w 894"/>
              <a:gd name="T73" fmla="*/ 20 h 792"/>
              <a:gd name="T74" fmla="*/ 454 w 894"/>
              <a:gd name="T75" fmla="*/ 2 h 792"/>
              <a:gd name="T76" fmla="*/ 397 w 894"/>
              <a:gd name="T77" fmla="*/ 4 h 792"/>
              <a:gd name="T78" fmla="*/ 356 w 894"/>
              <a:gd name="T79" fmla="*/ 6 h 792"/>
              <a:gd name="T80" fmla="*/ 340 w 894"/>
              <a:gd name="T81" fmla="*/ 59 h 792"/>
              <a:gd name="T82" fmla="*/ 289 w 894"/>
              <a:gd name="T83" fmla="*/ 73 h 792"/>
              <a:gd name="T84" fmla="*/ 265 w 894"/>
              <a:gd name="T85" fmla="*/ 104 h 792"/>
              <a:gd name="T86" fmla="*/ 236 w 894"/>
              <a:gd name="T87" fmla="*/ 132 h 792"/>
              <a:gd name="T88" fmla="*/ 279 w 894"/>
              <a:gd name="T89" fmla="*/ 163 h 792"/>
              <a:gd name="T90" fmla="*/ 250 w 894"/>
              <a:gd name="T91" fmla="*/ 189 h 792"/>
              <a:gd name="T92" fmla="*/ 208 w 894"/>
              <a:gd name="T93" fmla="*/ 218 h 792"/>
              <a:gd name="T94" fmla="*/ 193 w 894"/>
              <a:gd name="T95" fmla="*/ 293 h 792"/>
              <a:gd name="T96" fmla="*/ 200 w 894"/>
              <a:gd name="T97" fmla="*/ 340 h 792"/>
              <a:gd name="T98" fmla="*/ 196 w 894"/>
              <a:gd name="T99" fmla="*/ 360 h 792"/>
              <a:gd name="T100" fmla="*/ 161 w 894"/>
              <a:gd name="T101" fmla="*/ 344 h 792"/>
              <a:gd name="T102" fmla="*/ 120 w 894"/>
              <a:gd name="T103" fmla="*/ 369 h 792"/>
              <a:gd name="T104" fmla="*/ 114 w 894"/>
              <a:gd name="T105" fmla="*/ 403 h 792"/>
              <a:gd name="T106" fmla="*/ 86 w 894"/>
              <a:gd name="T107" fmla="*/ 411 h 792"/>
              <a:gd name="T108" fmla="*/ 39 w 894"/>
              <a:gd name="T109" fmla="*/ 409 h 792"/>
              <a:gd name="T110" fmla="*/ 0 w 894"/>
              <a:gd name="T111" fmla="*/ 419 h 792"/>
              <a:gd name="T112" fmla="*/ 29 w 894"/>
              <a:gd name="T113" fmla="*/ 523 h 792"/>
              <a:gd name="T114" fmla="*/ 55 w 894"/>
              <a:gd name="T115" fmla="*/ 599 h 792"/>
              <a:gd name="T116" fmla="*/ 20 w 894"/>
              <a:gd name="T117" fmla="*/ 678 h 792"/>
              <a:gd name="T118" fmla="*/ 18 w 894"/>
              <a:gd name="T119" fmla="*/ 713 h 792"/>
              <a:gd name="T120" fmla="*/ 45 w 894"/>
              <a:gd name="T121" fmla="*/ 75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4" h="792">
                <a:moveTo>
                  <a:pt x="45" y="790"/>
                </a:moveTo>
                <a:lnTo>
                  <a:pt x="86" y="792"/>
                </a:lnTo>
                <a:lnTo>
                  <a:pt x="96" y="780"/>
                </a:lnTo>
                <a:lnTo>
                  <a:pt x="118" y="768"/>
                </a:lnTo>
                <a:lnTo>
                  <a:pt x="126" y="756"/>
                </a:lnTo>
                <a:lnTo>
                  <a:pt x="145" y="735"/>
                </a:lnTo>
                <a:lnTo>
                  <a:pt x="181" y="729"/>
                </a:lnTo>
                <a:lnTo>
                  <a:pt x="189" y="719"/>
                </a:lnTo>
                <a:lnTo>
                  <a:pt x="259" y="719"/>
                </a:lnTo>
                <a:lnTo>
                  <a:pt x="269" y="707"/>
                </a:lnTo>
                <a:lnTo>
                  <a:pt x="299" y="723"/>
                </a:lnTo>
                <a:lnTo>
                  <a:pt x="324" y="735"/>
                </a:lnTo>
                <a:lnTo>
                  <a:pt x="346" y="729"/>
                </a:lnTo>
                <a:lnTo>
                  <a:pt x="360" y="717"/>
                </a:lnTo>
                <a:lnTo>
                  <a:pt x="371" y="723"/>
                </a:lnTo>
                <a:lnTo>
                  <a:pt x="393" y="733"/>
                </a:lnTo>
                <a:lnTo>
                  <a:pt x="417" y="756"/>
                </a:lnTo>
                <a:lnTo>
                  <a:pt x="440" y="758"/>
                </a:lnTo>
                <a:lnTo>
                  <a:pt x="460" y="772"/>
                </a:lnTo>
                <a:lnTo>
                  <a:pt x="499" y="749"/>
                </a:lnTo>
                <a:lnTo>
                  <a:pt x="521" y="737"/>
                </a:lnTo>
                <a:lnTo>
                  <a:pt x="560" y="737"/>
                </a:lnTo>
                <a:lnTo>
                  <a:pt x="582" y="755"/>
                </a:lnTo>
                <a:lnTo>
                  <a:pt x="591" y="733"/>
                </a:lnTo>
                <a:lnTo>
                  <a:pt x="603" y="711"/>
                </a:lnTo>
                <a:lnTo>
                  <a:pt x="623" y="721"/>
                </a:lnTo>
                <a:lnTo>
                  <a:pt x="644" y="749"/>
                </a:lnTo>
                <a:lnTo>
                  <a:pt x="658" y="747"/>
                </a:lnTo>
                <a:lnTo>
                  <a:pt x="676" y="741"/>
                </a:lnTo>
                <a:lnTo>
                  <a:pt x="692" y="739"/>
                </a:lnTo>
                <a:lnTo>
                  <a:pt x="721" y="729"/>
                </a:lnTo>
                <a:lnTo>
                  <a:pt x="745" y="741"/>
                </a:lnTo>
                <a:lnTo>
                  <a:pt x="766" y="711"/>
                </a:lnTo>
                <a:lnTo>
                  <a:pt x="760" y="688"/>
                </a:lnTo>
                <a:lnTo>
                  <a:pt x="747" y="660"/>
                </a:lnTo>
                <a:lnTo>
                  <a:pt x="755" y="631"/>
                </a:lnTo>
                <a:lnTo>
                  <a:pt x="774" y="601"/>
                </a:lnTo>
                <a:lnTo>
                  <a:pt x="810" y="580"/>
                </a:lnTo>
                <a:lnTo>
                  <a:pt x="833" y="570"/>
                </a:lnTo>
                <a:lnTo>
                  <a:pt x="861" y="574"/>
                </a:lnTo>
                <a:lnTo>
                  <a:pt x="847" y="542"/>
                </a:lnTo>
                <a:lnTo>
                  <a:pt x="833" y="521"/>
                </a:lnTo>
                <a:lnTo>
                  <a:pt x="823" y="495"/>
                </a:lnTo>
                <a:lnTo>
                  <a:pt x="798" y="462"/>
                </a:lnTo>
                <a:lnTo>
                  <a:pt x="784" y="436"/>
                </a:lnTo>
                <a:lnTo>
                  <a:pt x="762" y="405"/>
                </a:lnTo>
                <a:lnTo>
                  <a:pt x="784" y="385"/>
                </a:lnTo>
                <a:lnTo>
                  <a:pt x="823" y="387"/>
                </a:lnTo>
                <a:lnTo>
                  <a:pt x="849" y="393"/>
                </a:lnTo>
                <a:lnTo>
                  <a:pt x="874" y="371"/>
                </a:lnTo>
                <a:lnTo>
                  <a:pt x="888" y="346"/>
                </a:lnTo>
                <a:lnTo>
                  <a:pt x="894" y="330"/>
                </a:lnTo>
                <a:lnTo>
                  <a:pt x="886" y="309"/>
                </a:lnTo>
                <a:lnTo>
                  <a:pt x="861" y="307"/>
                </a:lnTo>
                <a:lnTo>
                  <a:pt x="851" y="295"/>
                </a:lnTo>
                <a:lnTo>
                  <a:pt x="825" y="285"/>
                </a:lnTo>
                <a:lnTo>
                  <a:pt x="800" y="291"/>
                </a:lnTo>
                <a:lnTo>
                  <a:pt x="784" y="289"/>
                </a:lnTo>
                <a:lnTo>
                  <a:pt x="778" y="259"/>
                </a:lnTo>
                <a:lnTo>
                  <a:pt x="747" y="244"/>
                </a:lnTo>
                <a:lnTo>
                  <a:pt x="719" y="232"/>
                </a:lnTo>
                <a:lnTo>
                  <a:pt x="678" y="163"/>
                </a:lnTo>
                <a:lnTo>
                  <a:pt x="656" y="153"/>
                </a:lnTo>
                <a:lnTo>
                  <a:pt x="662" y="128"/>
                </a:lnTo>
                <a:lnTo>
                  <a:pt x="674" y="102"/>
                </a:lnTo>
                <a:lnTo>
                  <a:pt x="658" y="83"/>
                </a:lnTo>
                <a:lnTo>
                  <a:pt x="646" y="67"/>
                </a:lnTo>
                <a:lnTo>
                  <a:pt x="641" y="33"/>
                </a:lnTo>
                <a:lnTo>
                  <a:pt x="603" y="22"/>
                </a:lnTo>
                <a:lnTo>
                  <a:pt x="582" y="12"/>
                </a:lnTo>
                <a:lnTo>
                  <a:pt x="548" y="6"/>
                </a:lnTo>
                <a:lnTo>
                  <a:pt x="525" y="26"/>
                </a:lnTo>
                <a:lnTo>
                  <a:pt x="509" y="39"/>
                </a:lnTo>
                <a:lnTo>
                  <a:pt x="497" y="20"/>
                </a:lnTo>
                <a:lnTo>
                  <a:pt x="474" y="0"/>
                </a:lnTo>
                <a:lnTo>
                  <a:pt x="454" y="2"/>
                </a:lnTo>
                <a:lnTo>
                  <a:pt x="440" y="10"/>
                </a:lnTo>
                <a:lnTo>
                  <a:pt x="397" y="4"/>
                </a:lnTo>
                <a:lnTo>
                  <a:pt x="383" y="4"/>
                </a:lnTo>
                <a:lnTo>
                  <a:pt x="356" y="6"/>
                </a:lnTo>
                <a:lnTo>
                  <a:pt x="344" y="18"/>
                </a:lnTo>
                <a:lnTo>
                  <a:pt x="340" y="59"/>
                </a:lnTo>
                <a:lnTo>
                  <a:pt x="330" y="73"/>
                </a:lnTo>
                <a:lnTo>
                  <a:pt x="289" y="73"/>
                </a:lnTo>
                <a:lnTo>
                  <a:pt x="277" y="87"/>
                </a:lnTo>
                <a:lnTo>
                  <a:pt x="265" y="104"/>
                </a:lnTo>
                <a:lnTo>
                  <a:pt x="244" y="114"/>
                </a:lnTo>
                <a:lnTo>
                  <a:pt x="236" y="132"/>
                </a:lnTo>
                <a:lnTo>
                  <a:pt x="242" y="157"/>
                </a:lnTo>
                <a:lnTo>
                  <a:pt x="279" y="163"/>
                </a:lnTo>
                <a:lnTo>
                  <a:pt x="267" y="185"/>
                </a:lnTo>
                <a:lnTo>
                  <a:pt x="250" y="189"/>
                </a:lnTo>
                <a:lnTo>
                  <a:pt x="236" y="193"/>
                </a:lnTo>
                <a:lnTo>
                  <a:pt x="208" y="218"/>
                </a:lnTo>
                <a:lnTo>
                  <a:pt x="202" y="271"/>
                </a:lnTo>
                <a:lnTo>
                  <a:pt x="193" y="293"/>
                </a:lnTo>
                <a:lnTo>
                  <a:pt x="189" y="318"/>
                </a:lnTo>
                <a:lnTo>
                  <a:pt x="200" y="340"/>
                </a:lnTo>
                <a:lnTo>
                  <a:pt x="210" y="358"/>
                </a:lnTo>
                <a:lnTo>
                  <a:pt x="196" y="360"/>
                </a:lnTo>
                <a:lnTo>
                  <a:pt x="181" y="344"/>
                </a:lnTo>
                <a:lnTo>
                  <a:pt x="161" y="344"/>
                </a:lnTo>
                <a:lnTo>
                  <a:pt x="143" y="358"/>
                </a:lnTo>
                <a:lnTo>
                  <a:pt x="120" y="369"/>
                </a:lnTo>
                <a:lnTo>
                  <a:pt x="120" y="385"/>
                </a:lnTo>
                <a:lnTo>
                  <a:pt x="114" y="403"/>
                </a:lnTo>
                <a:lnTo>
                  <a:pt x="98" y="399"/>
                </a:lnTo>
                <a:lnTo>
                  <a:pt x="86" y="411"/>
                </a:lnTo>
                <a:lnTo>
                  <a:pt x="67" y="409"/>
                </a:lnTo>
                <a:lnTo>
                  <a:pt x="39" y="409"/>
                </a:lnTo>
                <a:lnTo>
                  <a:pt x="12" y="421"/>
                </a:lnTo>
                <a:lnTo>
                  <a:pt x="0" y="419"/>
                </a:lnTo>
                <a:lnTo>
                  <a:pt x="16" y="464"/>
                </a:lnTo>
                <a:lnTo>
                  <a:pt x="29" y="523"/>
                </a:lnTo>
                <a:lnTo>
                  <a:pt x="49" y="542"/>
                </a:lnTo>
                <a:lnTo>
                  <a:pt x="55" y="599"/>
                </a:lnTo>
                <a:lnTo>
                  <a:pt x="45" y="639"/>
                </a:lnTo>
                <a:lnTo>
                  <a:pt x="20" y="678"/>
                </a:lnTo>
                <a:lnTo>
                  <a:pt x="8" y="696"/>
                </a:lnTo>
                <a:lnTo>
                  <a:pt x="18" y="713"/>
                </a:lnTo>
                <a:lnTo>
                  <a:pt x="33" y="733"/>
                </a:lnTo>
                <a:lnTo>
                  <a:pt x="45" y="758"/>
                </a:lnTo>
                <a:lnTo>
                  <a:pt x="45" y="790"/>
                </a:lnTo>
                <a:close/>
              </a:path>
            </a:pathLst>
          </a:custGeom>
          <a:solidFill>
            <a:srgbClr val="FFFFFF"/>
          </a:solidFill>
          <a:ln w="9525">
            <a:solidFill>
              <a:srgbClr val="000000"/>
            </a:solidFill>
            <a:prstDash val="solid"/>
            <a:round/>
            <a:headEnd/>
            <a:tailEnd/>
          </a:ln>
        </p:spPr>
        <p:txBody>
          <a:bodyPr/>
          <a:lstStyle/>
          <a:p>
            <a:endParaRPr lang="cs-CZ"/>
          </a:p>
        </p:txBody>
      </p:sp>
      <p:sp>
        <p:nvSpPr>
          <p:cNvPr id="257" name="Freeform 265"/>
          <p:cNvSpPr>
            <a:spLocks/>
          </p:cNvSpPr>
          <p:nvPr/>
        </p:nvSpPr>
        <p:spPr bwMode="auto">
          <a:xfrm>
            <a:off x="4992688" y="4323928"/>
            <a:ext cx="333375" cy="377825"/>
          </a:xfrm>
          <a:custGeom>
            <a:avLst/>
            <a:gdLst>
              <a:gd name="T0" fmla="*/ 0 w 421"/>
              <a:gd name="T1" fmla="*/ 45 h 475"/>
              <a:gd name="T2" fmla="*/ 71 w 421"/>
              <a:gd name="T3" fmla="*/ 84 h 475"/>
              <a:gd name="T4" fmla="*/ 96 w 421"/>
              <a:gd name="T5" fmla="*/ 110 h 475"/>
              <a:gd name="T6" fmla="*/ 108 w 421"/>
              <a:gd name="T7" fmla="*/ 145 h 475"/>
              <a:gd name="T8" fmla="*/ 153 w 421"/>
              <a:gd name="T9" fmla="*/ 206 h 475"/>
              <a:gd name="T10" fmla="*/ 199 w 421"/>
              <a:gd name="T11" fmla="*/ 251 h 475"/>
              <a:gd name="T12" fmla="*/ 216 w 421"/>
              <a:gd name="T13" fmla="*/ 283 h 475"/>
              <a:gd name="T14" fmla="*/ 238 w 421"/>
              <a:gd name="T15" fmla="*/ 365 h 475"/>
              <a:gd name="T16" fmla="*/ 248 w 421"/>
              <a:gd name="T17" fmla="*/ 461 h 475"/>
              <a:gd name="T18" fmla="*/ 277 w 421"/>
              <a:gd name="T19" fmla="*/ 475 h 475"/>
              <a:gd name="T20" fmla="*/ 275 w 421"/>
              <a:gd name="T21" fmla="*/ 430 h 475"/>
              <a:gd name="T22" fmla="*/ 277 w 421"/>
              <a:gd name="T23" fmla="*/ 410 h 475"/>
              <a:gd name="T24" fmla="*/ 301 w 421"/>
              <a:gd name="T25" fmla="*/ 395 h 475"/>
              <a:gd name="T26" fmla="*/ 311 w 421"/>
              <a:gd name="T27" fmla="*/ 369 h 475"/>
              <a:gd name="T28" fmla="*/ 318 w 421"/>
              <a:gd name="T29" fmla="*/ 355 h 475"/>
              <a:gd name="T30" fmla="*/ 315 w 421"/>
              <a:gd name="T31" fmla="*/ 289 h 475"/>
              <a:gd name="T32" fmla="*/ 338 w 421"/>
              <a:gd name="T33" fmla="*/ 302 h 475"/>
              <a:gd name="T34" fmla="*/ 352 w 421"/>
              <a:gd name="T35" fmla="*/ 294 h 475"/>
              <a:gd name="T36" fmla="*/ 385 w 421"/>
              <a:gd name="T37" fmla="*/ 289 h 475"/>
              <a:gd name="T38" fmla="*/ 409 w 421"/>
              <a:gd name="T39" fmla="*/ 291 h 475"/>
              <a:gd name="T40" fmla="*/ 419 w 421"/>
              <a:gd name="T41" fmla="*/ 275 h 475"/>
              <a:gd name="T42" fmla="*/ 421 w 421"/>
              <a:gd name="T43" fmla="*/ 255 h 475"/>
              <a:gd name="T44" fmla="*/ 407 w 421"/>
              <a:gd name="T45" fmla="*/ 241 h 475"/>
              <a:gd name="T46" fmla="*/ 403 w 421"/>
              <a:gd name="T47" fmla="*/ 214 h 475"/>
              <a:gd name="T48" fmla="*/ 381 w 421"/>
              <a:gd name="T49" fmla="*/ 194 h 475"/>
              <a:gd name="T50" fmla="*/ 360 w 421"/>
              <a:gd name="T51" fmla="*/ 196 h 475"/>
              <a:gd name="T52" fmla="*/ 324 w 421"/>
              <a:gd name="T53" fmla="*/ 137 h 475"/>
              <a:gd name="T54" fmla="*/ 301 w 421"/>
              <a:gd name="T55" fmla="*/ 104 h 475"/>
              <a:gd name="T56" fmla="*/ 289 w 421"/>
              <a:gd name="T57" fmla="*/ 53 h 475"/>
              <a:gd name="T58" fmla="*/ 269 w 421"/>
              <a:gd name="T59" fmla="*/ 51 h 475"/>
              <a:gd name="T60" fmla="*/ 254 w 421"/>
              <a:gd name="T61" fmla="*/ 37 h 475"/>
              <a:gd name="T62" fmla="*/ 236 w 421"/>
              <a:gd name="T63" fmla="*/ 25 h 475"/>
              <a:gd name="T64" fmla="*/ 210 w 421"/>
              <a:gd name="T65" fmla="*/ 29 h 475"/>
              <a:gd name="T66" fmla="*/ 177 w 421"/>
              <a:gd name="T67" fmla="*/ 39 h 475"/>
              <a:gd name="T68" fmla="*/ 140 w 421"/>
              <a:gd name="T69" fmla="*/ 31 h 475"/>
              <a:gd name="T70" fmla="*/ 104 w 421"/>
              <a:gd name="T71" fmla="*/ 6 h 475"/>
              <a:gd name="T72" fmla="*/ 77 w 421"/>
              <a:gd name="T73" fmla="*/ 0 h 475"/>
              <a:gd name="T74" fmla="*/ 45 w 421"/>
              <a:gd name="T75" fmla="*/ 17 h 475"/>
              <a:gd name="T76" fmla="*/ 24 w 421"/>
              <a:gd name="T77" fmla="*/ 19 h 475"/>
              <a:gd name="T78" fmla="*/ 6 w 421"/>
              <a:gd name="T79" fmla="*/ 29 h 475"/>
              <a:gd name="T80" fmla="*/ 0 w 421"/>
              <a:gd name="T81" fmla="*/ 4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75">
                <a:moveTo>
                  <a:pt x="0" y="45"/>
                </a:moveTo>
                <a:lnTo>
                  <a:pt x="71" y="84"/>
                </a:lnTo>
                <a:lnTo>
                  <a:pt x="96" y="110"/>
                </a:lnTo>
                <a:lnTo>
                  <a:pt x="108" y="145"/>
                </a:lnTo>
                <a:lnTo>
                  <a:pt x="153" y="206"/>
                </a:lnTo>
                <a:lnTo>
                  <a:pt x="199" y="251"/>
                </a:lnTo>
                <a:lnTo>
                  <a:pt x="216" y="283"/>
                </a:lnTo>
                <a:lnTo>
                  <a:pt x="238" y="365"/>
                </a:lnTo>
                <a:lnTo>
                  <a:pt x="248" y="461"/>
                </a:lnTo>
                <a:lnTo>
                  <a:pt x="277" y="475"/>
                </a:lnTo>
                <a:lnTo>
                  <a:pt x="275" y="430"/>
                </a:lnTo>
                <a:lnTo>
                  <a:pt x="277" y="410"/>
                </a:lnTo>
                <a:lnTo>
                  <a:pt x="301" y="395"/>
                </a:lnTo>
                <a:lnTo>
                  <a:pt x="311" y="369"/>
                </a:lnTo>
                <a:lnTo>
                  <a:pt x="318" y="355"/>
                </a:lnTo>
                <a:lnTo>
                  <a:pt x="315" y="289"/>
                </a:lnTo>
                <a:lnTo>
                  <a:pt x="338" y="302"/>
                </a:lnTo>
                <a:lnTo>
                  <a:pt x="352" y="294"/>
                </a:lnTo>
                <a:lnTo>
                  <a:pt x="385" y="289"/>
                </a:lnTo>
                <a:lnTo>
                  <a:pt x="409" y="291"/>
                </a:lnTo>
                <a:lnTo>
                  <a:pt x="419" y="275"/>
                </a:lnTo>
                <a:lnTo>
                  <a:pt x="421" y="255"/>
                </a:lnTo>
                <a:lnTo>
                  <a:pt x="407" y="241"/>
                </a:lnTo>
                <a:lnTo>
                  <a:pt x="403" y="214"/>
                </a:lnTo>
                <a:lnTo>
                  <a:pt x="381" y="194"/>
                </a:lnTo>
                <a:lnTo>
                  <a:pt x="360" y="196"/>
                </a:lnTo>
                <a:lnTo>
                  <a:pt x="324" y="137"/>
                </a:lnTo>
                <a:lnTo>
                  <a:pt x="301" y="104"/>
                </a:lnTo>
                <a:lnTo>
                  <a:pt x="289" y="53"/>
                </a:lnTo>
                <a:lnTo>
                  <a:pt x="269" y="51"/>
                </a:lnTo>
                <a:lnTo>
                  <a:pt x="254" y="37"/>
                </a:lnTo>
                <a:lnTo>
                  <a:pt x="236" y="25"/>
                </a:lnTo>
                <a:lnTo>
                  <a:pt x="210" y="29"/>
                </a:lnTo>
                <a:lnTo>
                  <a:pt x="177" y="39"/>
                </a:lnTo>
                <a:lnTo>
                  <a:pt x="140" y="31"/>
                </a:lnTo>
                <a:lnTo>
                  <a:pt x="104" y="6"/>
                </a:lnTo>
                <a:lnTo>
                  <a:pt x="77" y="0"/>
                </a:lnTo>
                <a:lnTo>
                  <a:pt x="45" y="17"/>
                </a:lnTo>
                <a:lnTo>
                  <a:pt x="24" y="19"/>
                </a:lnTo>
                <a:lnTo>
                  <a:pt x="6" y="29"/>
                </a:lnTo>
                <a:lnTo>
                  <a:pt x="0" y="45"/>
                </a:lnTo>
                <a:close/>
              </a:path>
            </a:pathLst>
          </a:custGeom>
          <a:solidFill>
            <a:srgbClr val="FFFFFF"/>
          </a:solidFill>
          <a:ln w="9525">
            <a:solidFill>
              <a:srgbClr val="000000"/>
            </a:solidFill>
            <a:prstDash val="solid"/>
            <a:round/>
            <a:headEnd/>
            <a:tailEnd/>
          </a:ln>
        </p:spPr>
        <p:txBody>
          <a:bodyPr/>
          <a:lstStyle/>
          <a:p>
            <a:endParaRPr lang="cs-CZ"/>
          </a:p>
        </p:txBody>
      </p:sp>
      <p:sp>
        <p:nvSpPr>
          <p:cNvPr id="258" name="Freeform 266"/>
          <p:cNvSpPr>
            <a:spLocks/>
          </p:cNvSpPr>
          <p:nvPr/>
        </p:nvSpPr>
        <p:spPr bwMode="auto">
          <a:xfrm>
            <a:off x="4471988" y="4360440"/>
            <a:ext cx="858837" cy="612775"/>
          </a:xfrm>
          <a:custGeom>
            <a:avLst/>
            <a:gdLst>
              <a:gd name="T0" fmla="*/ 39 w 1083"/>
              <a:gd name="T1" fmla="*/ 405 h 770"/>
              <a:gd name="T2" fmla="*/ 84 w 1083"/>
              <a:gd name="T3" fmla="*/ 389 h 770"/>
              <a:gd name="T4" fmla="*/ 108 w 1083"/>
              <a:gd name="T5" fmla="*/ 344 h 770"/>
              <a:gd name="T6" fmla="*/ 128 w 1083"/>
              <a:gd name="T7" fmla="*/ 293 h 770"/>
              <a:gd name="T8" fmla="*/ 147 w 1083"/>
              <a:gd name="T9" fmla="*/ 251 h 770"/>
              <a:gd name="T10" fmla="*/ 163 w 1083"/>
              <a:gd name="T11" fmla="*/ 202 h 770"/>
              <a:gd name="T12" fmla="*/ 181 w 1083"/>
              <a:gd name="T13" fmla="*/ 167 h 770"/>
              <a:gd name="T14" fmla="*/ 226 w 1083"/>
              <a:gd name="T15" fmla="*/ 139 h 770"/>
              <a:gd name="T16" fmla="*/ 253 w 1083"/>
              <a:gd name="T17" fmla="*/ 116 h 770"/>
              <a:gd name="T18" fmla="*/ 393 w 1083"/>
              <a:gd name="T19" fmla="*/ 96 h 770"/>
              <a:gd name="T20" fmla="*/ 424 w 1083"/>
              <a:gd name="T21" fmla="*/ 82 h 770"/>
              <a:gd name="T22" fmla="*/ 479 w 1083"/>
              <a:gd name="T23" fmla="*/ 96 h 770"/>
              <a:gd name="T24" fmla="*/ 526 w 1083"/>
              <a:gd name="T25" fmla="*/ 80 h 770"/>
              <a:gd name="T26" fmla="*/ 583 w 1083"/>
              <a:gd name="T27" fmla="*/ 61 h 770"/>
              <a:gd name="T28" fmla="*/ 707 w 1083"/>
              <a:gd name="T29" fmla="*/ 25 h 770"/>
              <a:gd name="T30" fmla="*/ 754 w 1083"/>
              <a:gd name="T31" fmla="*/ 75 h 770"/>
              <a:gd name="T32" fmla="*/ 792 w 1083"/>
              <a:gd name="T33" fmla="*/ 141 h 770"/>
              <a:gd name="T34" fmla="*/ 880 w 1083"/>
              <a:gd name="T35" fmla="*/ 271 h 770"/>
              <a:gd name="T36" fmla="*/ 894 w 1083"/>
              <a:gd name="T37" fmla="*/ 377 h 770"/>
              <a:gd name="T38" fmla="*/ 916 w 1083"/>
              <a:gd name="T39" fmla="*/ 424 h 770"/>
              <a:gd name="T40" fmla="*/ 963 w 1083"/>
              <a:gd name="T41" fmla="*/ 444 h 770"/>
              <a:gd name="T42" fmla="*/ 1033 w 1083"/>
              <a:gd name="T43" fmla="*/ 411 h 770"/>
              <a:gd name="T44" fmla="*/ 1077 w 1083"/>
              <a:gd name="T45" fmla="*/ 424 h 770"/>
              <a:gd name="T46" fmla="*/ 1081 w 1083"/>
              <a:gd name="T47" fmla="*/ 501 h 770"/>
              <a:gd name="T48" fmla="*/ 1037 w 1083"/>
              <a:gd name="T49" fmla="*/ 528 h 770"/>
              <a:gd name="T50" fmla="*/ 1006 w 1083"/>
              <a:gd name="T51" fmla="*/ 564 h 770"/>
              <a:gd name="T52" fmla="*/ 1020 w 1083"/>
              <a:gd name="T53" fmla="*/ 499 h 770"/>
              <a:gd name="T54" fmla="*/ 1000 w 1083"/>
              <a:gd name="T55" fmla="*/ 528 h 770"/>
              <a:gd name="T56" fmla="*/ 988 w 1083"/>
              <a:gd name="T57" fmla="*/ 581 h 770"/>
              <a:gd name="T58" fmla="*/ 990 w 1083"/>
              <a:gd name="T59" fmla="*/ 640 h 770"/>
              <a:gd name="T60" fmla="*/ 1000 w 1083"/>
              <a:gd name="T61" fmla="*/ 688 h 770"/>
              <a:gd name="T62" fmla="*/ 917 w 1083"/>
              <a:gd name="T63" fmla="*/ 674 h 770"/>
              <a:gd name="T64" fmla="*/ 829 w 1083"/>
              <a:gd name="T65" fmla="*/ 658 h 770"/>
              <a:gd name="T66" fmla="*/ 723 w 1083"/>
              <a:gd name="T67" fmla="*/ 705 h 770"/>
              <a:gd name="T68" fmla="*/ 633 w 1083"/>
              <a:gd name="T69" fmla="*/ 770 h 770"/>
              <a:gd name="T70" fmla="*/ 336 w 1083"/>
              <a:gd name="T71" fmla="*/ 766 h 770"/>
              <a:gd name="T72" fmla="*/ 330 w 1083"/>
              <a:gd name="T73" fmla="*/ 723 h 770"/>
              <a:gd name="T74" fmla="*/ 289 w 1083"/>
              <a:gd name="T75" fmla="*/ 723 h 770"/>
              <a:gd name="T76" fmla="*/ 281 w 1083"/>
              <a:gd name="T77" fmla="*/ 691 h 770"/>
              <a:gd name="T78" fmla="*/ 293 w 1083"/>
              <a:gd name="T79" fmla="*/ 656 h 770"/>
              <a:gd name="T80" fmla="*/ 240 w 1083"/>
              <a:gd name="T81" fmla="*/ 648 h 770"/>
              <a:gd name="T82" fmla="*/ 200 w 1083"/>
              <a:gd name="T83" fmla="*/ 640 h 770"/>
              <a:gd name="T84" fmla="*/ 139 w 1083"/>
              <a:gd name="T85" fmla="*/ 560 h 770"/>
              <a:gd name="T86" fmla="*/ 82 w 1083"/>
              <a:gd name="T87" fmla="*/ 515 h 770"/>
              <a:gd name="T88" fmla="*/ 33 w 1083"/>
              <a:gd name="T89" fmla="*/ 43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3" h="770">
                <a:moveTo>
                  <a:pt x="0" y="428"/>
                </a:moveTo>
                <a:lnTo>
                  <a:pt x="39" y="405"/>
                </a:lnTo>
                <a:lnTo>
                  <a:pt x="67" y="395"/>
                </a:lnTo>
                <a:lnTo>
                  <a:pt x="84" y="389"/>
                </a:lnTo>
                <a:lnTo>
                  <a:pt x="98" y="375"/>
                </a:lnTo>
                <a:lnTo>
                  <a:pt x="108" y="344"/>
                </a:lnTo>
                <a:lnTo>
                  <a:pt x="124" y="326"/>
                </a:lnTo>
                <a:lnTo>
                  <a:pt x="128" y="293"/>
                </a:lnTo>
                <a:lnTo>
                  <a:pt x="149" y="275"/>
                </a:lnTo>
                <a:lnTo>
                  <a:pt x="147" y="251"/>
                </a:lnTo>
                <a:lnTo>
                  <a:pt x="169" y="234"/>
                </a:lnTo>
                <a:lnTo>
                  <a:pt x="163" y="202"/>
                </a:lnTo>
                <a:lnTo>
                  <a:pt x="179" y="204"/>
                </a:lnTo>
                <a:lnTo>
                  <a:pt x="181" y="167"/>
                </a:lnTo>
                <a:lnTo>
                  <a:pt x="198" y="145"/>
                </a:lnTo>
                <a:lnTo>
                  <a:pt x="226" y="139"/>
                </a:lnTo>
                <a:lnTo>
                  <a:pt x="242" y="139"/>
                </a:lnTo>
                <a:lnTo>
                  <a:pt x="253" y="116"/>
                </a:lnTo>
                <a:lnTo>
                  <a:pt x="255" y="96"/>
                </a:lnTo>
                <a:lnTo>
                  <a:pt x="393" y="96"/>
                </a:lnTo>
                <a:lnTo>
                  <a:pt x="411" y="94"/>
                </a:lnTo>
                <a:lnTo>
                  <a:pt x="424" y="82"/>
                </a:lnTo>
                <a:lnTo>
                  <a:pt x="458" y="90"/>
                </a:lnTo>
                <a:lnTo>
                  <a:pt x="479" y="96"/>
                </a:lnTo>
                <a:lnTo>
                  <a:pt x="493" y="102"/>
                </a:lnTo>
                <a:lnTo>
                  <a:pt x="526" y="80"/>
                </a:lnTo>
                <a:lnTo>
                  <a:pt x="552" y="65"/>
                </a:lnTo>
                <a:lnTo>
                  <a:pt x="583" y="61"/>
                </a:lnTo>
                <a:lnTo>
                  <a:pt x="656" y="0"/>
                </a:lnTo>
                <a:lnTo>
                  <a:pt x="707" y="25"/>
                </a:lnTo>
                <a:lnTo>
                  <a:pt x="741" y="53"/>
                </a:lnTo>
                <a:lnTo>
                  <a:pt x="754" y="75"/>
                </a:lnTo>
                <a:lnTo>
                  <a:pt x="762" y="98"/>
                </a:lnTo>
                <a:lnTo>
                  <a:pt x="792" y="141"/>
                </a:lnTo>
                <a:lnTo>
                  <a:pt x="857" y="212"/>
                </a:lnTo>
                <a:lnTo>
                  <a:pt x="880" y="271"/>
                </a:lnTo>
                <a:lnTo>
                  <a:pt x="892" y="332"/>
                </a:lnTo>
                <a:lnTo>
                  <a:pt x="894" y="377"/>
                </a:lnTo>
                <a:lnTo>
                  <a:pt x="904" y="416"/>
                </a:lnTo>
                <a:lnTo>
                  <a:pt x="916" y="424"/>
                </a:lnTo>
                <a:lnTo>
                  <a:pt x="943" y="440"/>
                </a:lnTo>
                <a:lnTo>
                  <a:pt x="963" y="444"/>
                </a:lnTo>
                <a:lnTo>
                  <a:pt x="1000" y="430"/>
                </a:lnTo>
                <a:lnTo>
                  <a:pt x="1033" y="411"/>
                </a:lnTo>
                <a:lnTo>
                  <a:pt x="1063" y="405"/>
                </a:lnTo>
                <a:lnTo>
                  <a:pt x="1077" y="424"/>
                </a:lnTo>
                <a:lnTo>
                  <a:pt x="1083" y="464"/>
                </a:lnTo>
                <a:lnTo>
                  <a:pt x="1081" y="501"/>
                </a:lnTo>
                <a:lnTo>
                  <a:pt x="1057" y="521"/>
                </a:lnTo>
                <a:lnTo>
                  <a:pt x="1037" y="528"/>
                </a:lnTo>
                <a:lnTo>
                  <a:pt x="1020" y="558"/>
                </a:lnTo>
                <a:lnTo>
                  <a:pt x="1006" y="564"/>
                </a:lnTo>
                <a:lnTo>
                  <a:pt x="1020" y="528"/>
                </a:lnTo>
                <a:lnTo>
                  <a:pt x="1020" y="499"/>
                </a:lnTo>
                <a:lnTo>
                  <a:pt x="992" y="491"/>
                </a:lnTo>
                <a:lnTo>
                  <a:pt x="1000" y="528"/>
                </a:lnTo>
                <a:lnTo>
                  <a:pt x="1002" y="556"/>
                </a:lnTo>
                <a:lnTo>
                  <a:pt x="988" y="581"/>
                </a:lnTo>
                <a:lnTo>
                  <a:pt x="992" y="611"/>
                </a:lnTo>
                <a:lnTo>
                  <a:pt x="990" y="640"/>
                </a:lnTo>
                <a:lnTo>
                  <a:pt x="998" y="662"/>
                </a:lnTo>
                <a:lnTo>
                  <a:pt x="1000" y="688"/>
                </a:lnTo>
                <a:lnTo>
                  <a:pt x="959" y="695"/>
                </a:lnTo>
                <a:lnTo>
                  <a:pt x="917" y="674"/>
                </a:lnTo>
                <a:lnTo>
                  <a:pt x="857" y="674"/>
                </a:lnTo>
                <a:lnTo>
                  <a:pt x="829" y="658"/>
                </a:lnTo>
                <a:lnTo>
                  <a:pt x="802" y="660"/>
                </a:lnTo>
                <a:lnTo>
                  <a:pt x="723" y="705"/>
                </a:lnTo>
                <a:lnTo>
                  <a:pt x="654" y="764"/>
                </a:lnTo>
                <a:lnTo>
                  <a:pt x="633" y="770"/>
                </a:lnTo>
                <a:lnTo>
                  <a:pt x="515" y="764"/>
                </a:lnTo>
                <a:lnTo>
                  <a:pt x="336" y="766"/>
                </a:lnTo>
                <a:lnTo>
                  <a:pt x="326" y="741"/>
                </a:lnTo>
                <a:lnTo>
                  <a:pt x="330" y="723"/>
                </a:lnTo>
                <a:lnTo>
                  <a:pt x="304" y="713"/>
                </a:lnTo>
                <a:lnTo>
                  <a:pt x="289" y="723"/>
                </a:lnTo>
                <a:lnTo>
                  <a:pt x="285" y="713"/>
                </a:lnTo>
                <a:lnTo>
                  <a:pt x="281" y="691"/>
                </a:lnTo>
                <a:lnTo>
                  <a:pt x="269" y="674"/>
                </a:lnTo>
                <a:lnTo>
                  <a:pt x="293" y="656"/>
                </a:lnTo>
                <a:lnTo>
                  <a:pt x="267" y="634"/>
                </a:lnTo>
                <a:lnTo>
                  <a:pt x="240" y="648"/>
                </a:lnTo>
                <a:lnTo>
                  <a:pt x="230" y="640"/>
                </a:lnTo>
                <a:lnTo>
                  <a:pt x="200" y="640"/>
                </a:lnTo>
                <a:lnTo>
                  <a:pt x="159" y="617"/>
                </a:lnTo>
                <a:lnTo>
                  <a:pt x="139" y="560"/>
                </a:lnTo>
                <a:lnTo>
                  <a:pt x="108" y="552"/>
                </a:lnTo>
                <a:lnTo>
                  <a:pt x="82" y="515"/>
                </a:lnTo>
                <a:lnTo>
                  <a:pt x="59" y="466"/>
                </a:lnTo>
                <a:lnTo>
                  <a:pt x="33" y="438"/>
                </a:lnTo>
                <a:lnTo>
                  <a:pt x="0" y="428"/>
                </a:lnTo>
                <a:close/>
              </a:path>
            </a:pathLst>
          </a:custGeom>
          <a:solidFill>
            <a:srgbClr val="D0D0D0"/>
          </a:solidFill>
          <a:ln w="9525">
            <a:solidFill>
              <a:srgbClr val="000000"/>
            </a:solidFill>
            <a:prstDash val="solid"/>
            <a:round/>
            <a:headEnd/>
            <a:tailEnd/>
          </a:ln>
        </p:spPr>
        <p:txBody>
          <a:bodyPr/>
          <a:lstStyle/>
          <a:p>
            <a:endParaRPr lang="cs-CZ"/>
          </a:p>
        </p:txBody>
      </p:sp>
      <p:sp>
        <p:nvSpPr>
          <p:cNvPr id="259" name="Freeform 267"/>
          <p:cNvSpPr>
            <a:spLocks/>
          </p:cNvSpPr>
          <p:nvPr/>
        </p:nvSpPr>
        <p:spPr bwMode="auto">
          <a:xfrm>
            <a:off x="4692650" y="4884315"/>
            <a:ext cx="574675" cy="400050"/>
          </a:xfrm>
          <a:custGeom>
            <a:avLst/>
            <a:gdLst>
              <a:gd name="T0" fmla="*/ 134 w 723"/>
              <a:gd name="T1" fmla="*/ 505 h 505"/>
              <a:gd name="T2" fmla="*/ 196 w 723"/>
              <a:gd name="T3" fmla="*/ 487 h 505"/>
              <a:gd name="T4" fmla="*/ 242 w 723"/>
              <a:gd name="T5" fmla="*/ 474 h 505"/>
              <a:gd name="T6" fmla="*/ 306 w 723"/>
              <a:gd name="T7" fmla="*/ 452 h 505"/>
              <a:gd name="T8" fmla="*/ 356 w 723"/>
              <a:gd name="T9" fmla="*/ 477 h 505"/>
              <a:gd name="T10" fmla="*/ 413 w 723"/>
              <a:gd name="T11" fmla="*/ 485 h 505"/>
              <a:gd name="T12" fmla="*/ 481 w 723"/>
              <a:gd name="T13" fmla="*/ 432 h 505"/>
              <a:gd name="T14" fmla="*/ 493 w 723"/>
              <a:gd name="T15" fmla="*/ 387 h 505"/>
              <a:gd name="T16" fmla="*/ 527 w 723"/>
              <a:gd name="T17" fmla="*/ 371 h 505"/>
              <a:gd name="T18" fmla="*/ 582 w 723"/>
              <a:gd name="T19" fmla="*/ 344 h 505"/>
              <a:gd name="T20" fmla="*/ 625 w 723"/>
              <a:gd name="T21" fmla="*/ 352 h 505"/>
              <a:gd name="T22" fmla="*/ 678 w 723"/>
              <a:gd name="T23" fmla="*/ 344 h 505"/>
              <a:gd name="T24" fmla="*/ 694 w 723"/>
              <a:gd name="T25" fmla="*/ 324 h 505"/>
              <a:gd name="T26" fmla="*/ 652 w 723"/>
              <a:gd name="T27" fmla="*/ 277 h 505"/>
              <a:gd name="T28" fmla="*/ 652 w 723"/>
              <a:gd name="T29" fmla="*/ 224 h 505"/>
              <a:gd name="T30" fmla="*/ 662 w 723"/>
              <a:gd name="T31" fmla="*/ 161 h 505"/>
              <a:gd name="T32" fmla="*/ 676 w 723"/>
              <a:gd name="T33" fmla="*/ 118 h 505"/>
              <a:gd name="T34" fmla="*/ 723 w 723"/>
              <a:gd name="T35" fmla="*/ 85 h 505"/>
              <a:gd name="T36" fmla="*/ 682 w 723"/>
              <a:gd name="T37" fmla="*/ 37 h 505"/>
              <a:gd name="T38" fmla="*/ 644 w 723"/>
              <a:gd name="T39" fmla="*/ 18 h 505"/>
              <a:gd name="T40" fmla="*/ 560 w 723"/>
              <a:gd name="T41" fmla="*/ 2 h 505"/>
              <a:gd name="T42" fmla="*/ 456 w 723"/>
              <a:gd name="T43" fmla="*/ 39 h 505"/>
              <a:gd name="T44" fmla="*/ 352 w 723"/>
              <a:gd name="T45" fmla="*/ 110 h 505"/>
              <a:gd name="T46" fmla="*/ 222 w 723"/>
              <a:gd name="T47" fmla="*/ 108 h 505"/>
              <a:gd name="T48" fmla="*/ 53 w 723"/>
              <a:gd name="T49" fmla="*/ 88 h 505"/>
              <a:gd name="T50" fmla="*/ 31 w 723"/>
              <a:gd name="T51" fmla="*/ 59 h 505"/>
              <a:gd name="T52" fmla="*/ 0 w 723"/>
              <a:gd name="T53" fmla="*/ 83 h 505"/>
              <a:gd name="T54" fmla="*/ 41 w 723"/>
              <a:gd name="T55" fmla="*/ 214 h 505"/>
              <a:gd name="T56" fmla="*/ 18 w 723"/>
              <a:gd name="T57" fmla="*/ 309 h 505"/>
              <a:gd name="T58" fmla="*/ 49 w 723"/>
              <a:gd name="T59" fmla="*/ 381 h 505"/>
              <a:gd name="T60" fmla="*/ 82 w 723"/>
              <a:gd name="T61" fmla="*/ 417 h 505"/>
              <a:gd name="T62" fmla="*/ 100 w 723"/>
              <a:gd name="T63" fmla="*/ 46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505">
                <a:moveTo>
                  <a:pt x="100" y="505"/>
                </a:moveTo>
                <a:lnTo>
                  <a:pt x="134" y="505"/>
                </a:lnTo>
                <a:lnTo>
                  <a:pt x="159" y="491"/>
                </a:lnTo>
                <a:lnTo>
                  <a:pt x="196" y="487"/>
                </a:lnTo>
                <a:lnTo>
                  <a:pt x="230" y="485"/>
                </a:lnTo>
                <a:lnTo>
                  <a:pt x="242" y="474"/>
                </a:lnTo>
                <a:lnTo>
                  <a:pt x="271" y="466"/>
                </a:lnTo>
                <a:lnTo>
                  <a:pt x="306" y="452"/>
                </a:lnTo>
                <a:lnTo>
                  <a:pt x="328" y="472"/>
                </a:lnTo>
                <a:lnTo>
                  <a:pt x="356" y="477"/>
                </a:lnTo>
                <a:lnTo>
                  <a:pt x="377" y="485"/>
                </a:lnTo>
                <a:lnTo>
                  <a:pt x="413" y="485"/>
                </a:lnTo>
                <a:lnTo>
                  <a:pt x="462" y="468"/>
                </a:lnTo>
                <a:lnTo>
                  <a:pt x="481" y="432"/>
                </a:lnTo>
                <a:lnTo>
                  <a:pt x="475" y="399"/>
                </a:lnTo>
                <a:lnTo>
                  <a:pt x="493" y="387"/>
                </a:lnTo>
                <a:lnTo>
                  <a:pt x="505" y="389"/>
                </a:lnTo>
                <a:lnTo>
                  <a:pt x="527" y="371"/>
                </a:lnTo>
                <a:lnTo>
                  <a:pt x="550" y="364"/>
                </a:lnTo>
                <a:lnTo>
                  <a:pt x="582" y="344"/>
                </a:lnTo>
                <a:lnTo>
                  <a:pt x="597" y="338"/>
                </a:lnTo>
                <a:lnTo>
                  <a:pt x="625" y="352"/>
                </a:lnTo>
                <a:lnTo>
                  <a:pt x="652" y="350"/>
                </a:lnTo>
                <a:lnTo>
                  <a:pt x="678" y="344"/>
                </a:lnTo>
                <a:lnTo>
                  <a:pt x="695" y="344"/>
                </a:lnTo>
                <a:lnTo>
                  <a:pt x="694" y="324"/>
                </a:lnTo>
                <a:lnTo>
                  <a:pt x="672" y="305"/>
                </a:lnTo>
                <a:lnTo>
                  <a:pt x="652" y="277"/>
                </a:lnTo>
                <a:lnTo>
                  <a:pt x="631" y="254"/>
                </a:lnTo>
                <a:lnTo>
                  <a:pt x="652" y="224"/>
                </a:lnTo>
                <a:lnTo>
                  <a:pt x="672" y="204"/>
                </a:lnTo>
                <a:lnTo>
                  <a:pt x="662" y="161"/>
                </a:lnTo>
                <a:lnTo>
                  <a:pt x="670" y="138"/>
                </a:lnTo>
                <a:lnTo>
                  <a:pt x="676" y="118"/>
                </a:lnTo>
                <a:lnTo>
                  <a:pt x="695" y="102"/>
                </a:lnTo>
                <a:lnTo>
                  <a:pt x="723" y="85"/>
                </a:lnTo>
                <a:lnTo>
                  <a:pt x="721" y="30"/>
                </a:lnTo>
                <a:lnTo>
                  <a:pt x="682" y="37"/>
                </a:lnTo>
                <a:lnTo>
                  <a:pt x="654" y="26"/>
                </a:lnTo>
                <a:lnTo>
                  <a:pt x="644" y="18"/>
                </a:lnTo>
                <a:lnTo>
                  <a:pt x="578" y="12"/>
                </a:lnTo>
                <a:lnTo>
                  <a:pt x="560" y="2"/>
                </a:lnTo>
                <a:lnTo>
                  <a:pt x="523" y="0"/>
                </a:lnTo>
                <a:lnTo>
                  <a:pt x="456" y="39"/>
                </a:lnTo>
                <a:lnTo>
                  <a:pt x="377" y="100"/>
                </a:lnTo>
                <a:lnTo>
                  <a:pt x="352" y="110"/>
                </a:lnTo>
                <a:lnTo>
                  <a:pt x="265" y="104"/>
                </a:lnTo>
                <a:lnTo>
                  <a:pt x="222" y="108"/>
                </a:lnTo>
                <a:lnTo>
                  <a:pt x="65" y="108"/>
                </a:lnTo>
                <a:lnTo>
                  <a:pt x="53" y="88"/>
                </a:lnTo>
                <a:lnTo>
                  <a:pt x="57" y="65"/>
                </a:lnTo>
                <a:lnTo>
                  <a:pt x="31" y="59"/>
                </a:lnTo>
                <a:lnTo>
                  <a:pt x="10" y="73"/>
                </a:lnTo>
                <a:lnTo>
                  <a:pt x="0" y="83"/>
                </a:lnTo>
                <a:lnTo>
                  <a:pt x="0" y="155"/>
                </a:lnTo>
                <a:lnTo>
                  <a:pt x="41" y="214"/>
                </a:lnTo>
                <a:lnTo>
                  <a:pt x="61" y="240"/>
                </a:lnTo>
                <a:lnTo>
                  <a:pt x="18" y="309"/>
                </a:lnTo>
                <a:lnTo>
                  <a:pt x="20" y="366"/>
                </a:lnTo>
                <a:lnTo>
                  <a:pt x="49" y="381"/>
                </a:lnTo>
                <a:lnTo>
                  <a:pt x="69" y="395"/>
                </a:lnTo>
                <a:lnTo>
                  <a:pt x="82" y="417"/>
                </a:lnTo>
                <a:lnTo>
                  <a:pt x="94" y="446"/>
                </a:lnTo>
                <a:lnTo>
                  <a:pt x="100" y="466"/>
                </a:lnTo>
                <a:lnTo>
                  <a:pt x="100" y="505"/>
                </a:lnTo>
                <a:close/>
              </a:path>
            </a:pathLst>
          </a:custGeom>
          <a:solidFill>
            <a:srgbClr val="D0D0D0"/>
          </a:solidFill>
          <a:ln w="9525">
            <a:solidFill>
              <a:srgbClr val="000000"/>
            </a:solidFill>
            <a:prstDash val="solid"/>
            <a:round/>
            <a:headEnd/>
            <a:tailEnd/>
          </a:ln>
        </p:spPr>
        <p:txBody>
          <a:bodyPr/>
          <a:lstStyle/>
          <a:p>
            <a:endParaRPr lang="cs-CZ"/>
          </a:p>
        </p:txBody>
      </p:sp>
      <p:sp>
        <p:nvSpPr>
          <p:cNvPr id="260" name="Freeform 268"/>
          <p:cNvSpPr>
            <a:spLocks/>
          </p:cNvSpPr>
          <p:nvPr/>
        </p:nvSpPr>
        <p:spPr bwMode="auto">
          <a:xfrm>
            <a:off x="4538663" y="5171653"/>
            <a:ext cx="231775" cy="196850"/>
          </a:xfrm>
          <a:custGeom>
            <a:avLst/>
            <a:gdLst>
              <a:gd name="T0" fmla="*/ 4 w 291"/>
              <a:gd name="T1" fmla="*/ 55 h 247"/>
              <a:gd name="T2" fmla="*/ 30 w 291"/>
              <a:gd name="T3" fmla="*/ 55 h 247"/>
              <a:gd name="T4" fmla="*/ 32 w 291"/>
              <a:gd name="T5" fmla="*/ 29 h 247"/>
              <a:gd name="T6" fmla="*/ 57 w 291"/>
              <a:gd name="T7" fmla="*/ 13 h 247"/>
              <a:gd name="T8" fmla="*/ 85 w 291"/>
              <a:gd name="T9" fmla="*/ 23 h 247"/>
              <a:gd name="T10" fmla="*/ 105 w 291"/>
              <a:gd name="T11" fmla="*/ 9 h 247"/>
              <a:gd name="T12" fmla="*/ 134 w 291"/>
              <a:gd name="T13" fmla="*/ 11 h 247"/>
              <a:gd name="T14" fmla="*/ 156 w 291"/>
              <a:gd name="T15" fmla="*/ 3 h 247"/>
              <a:gd name="T16" fmla="*/ 207 w 291"/>
              <a:gd name="T17" fmla="*/ 0 h 247"/>
              <a:gd name="T18" fmla="*/ 238 w 291"/>
              <a:gd name="T19" fmla="*/ 17 h 247"/>
              <a:gd name="T20" fmla="*/ 266 w 291"/>
              <a:gd name="T21" fmla="*/ 45 h 247"/>
              <a:gd name="T22" fmla="*/ 281 w 291"/>
              <a:gd name="T23" fmla="*/ 76 h 247"/>
              <a:gd name="T24" fmla="*/ 291 w 291"/>
              <a:gd name="T25" fmla="*/ 113 h 247"/>
              <a:gd name="T26" fmla="*/ 291 w 291"/>
              <a:gd name="T27" fmla="*/ 141 h 247"/>
              <a:gd name="T28" fmla="*/ 275 w 291"/>
              <a:gd name="T29" fmla="*/ 155 h 247"/>
              <a:gd name="T30" fmla="*/ 248 w 291"/>
              <a:gd name="T31" fmla="*/ 182 h 247"/>
              <a:gd name="T32" fmla="*/ 201 w 291"/>
              <a:gd name="T33" fmla="*/ 184 h 247"/>
              <a:gd name="T34" fmla="*/ 146 w 291"/>
              <a:gd name="T35" fmla="*/ 222 h 247"/>
              <a:gd name="T36" fmla="*/ 128 w 291"/>
              <a:gd name="T37" fmla="*/ 233 h 247"/>
              <a:gd name="T38" fmla="*/ 91 w 291"/>
              <a:gd name="T39" fmla="*/ 235 h 247"/>
              <a:gd name="T40" fmla="*/ 71 w 291"/>
              <a:gd name="T41" fmla="*/ 247 h 247"/>
              <a:gd name="T42" fmla="*/ 46 w 291"/>
              <a:gd name="T43" fmla="*/ 235 h 247"/>
              <a:gd name="T44" fmla="*/ 10 w 291"/>
              <a:gd name="T45" fmla="*/ 190 h 247"/>
              <a:gd name="T46" fmla="*/ 0 w 291"/>
              <a:gd name="T47" fmla="*/ 141 h 247"/>
              <a:gd name="T48" fmla="*/ 0 w 291"/>
              <a:gd name="T49" fmla="*/ 94 h 247"/>
              <a:gd name="T50" fmla="*/ 4 w 291"/>
              <a:gd name="T51" fmla="*/ 5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1" h="247">
                <a:moveTo>
                  <a:pt x="4" y="55"/>
                </a:moveTo>
                <a:lnTo>
                  <a:pt x="30" y="55"/>
                </a:lnTo>
                <a:lnTo>
                  <a:pt x="32" y="29"/>
                </a:lnTo>
                <a:lnTo>
                  <a:pt x="57" y="13"/>
                </a:lnTo>
                <a:lnTo>
                  <a:pt x="85" y="23"/>
                </a:lnTo>
                <a:lnTo>
                  <a:pt x="105" y="9"/>
                </a:lnTo>
                <a:lnTo>
                  <a:pt x="134" y="11"/>
                </a:lnTo>
                <a:lnTo>
                  <a:pt x="156" y="3"/>
                </a:lnTo>
                <a:lnTo>
                  <a:pt x="207" y="0"/>
                </a:lnTo>
                <a:lnTo>
                  <a:pt x="238" y="17"/>
                </a:lnTo>
                <a:lnTo>
                  <a:pt x="266" y="45"/>
                </a:lnTo>
                <a:lnTo>
                  <a:pt x="281" y="76"/>
                </a:lnTo>
                <a:lnTo>
                  <a:pt x="291" y="113"/>
                </a:lnTo>
                <a:lnTo>
                  <a:pt x="291" y="141"/>
                </a:lnTo>
                <a:lnTo>
                  <a:pt x="275" y="155"/>
                </a:lnTo>
                <a:lnTo>
                  <a:pt x="248" y="182"/>
                </a:lnTo>
                <a:lnTo>
                  <a:pt x="201" y="184"/>
                </a:lnTo>
                <a:lnTo>
                  <a:pt x="146" y="222"/>
                </a:lnTo>
                <a:lnTo>
                  <a:pt x="128" y="233"/>
                </a:lnTo>
                <a:lnTo>
                  <a:pt x="91" y="235"/>
                </a:lnTo>
                <a:lnTo>
                  <a:pt x="71" y="247"/>
                </a:lnTo>
                <a:lnTo>
                  <a:pt x="46" y="235"/>
                </a:lnTo>
                <a:lnTo>
                  <a:pt x="10" y="190"/>
                </a:lnTo>
                <a:lnTo>
                  <a:pt x="0" y="141"/>
                </a:lnTo>
                <a:lnTo>
                  <a:pt x="0" y="94"/>
                </a:lnTo>
                <a:lnTo>
                  <a:pt x="4" y="55"/>
                </a:lnTo>
                <a:close/>
              </a:path>
            </a:pathLst>
          </a:custGeom>
          <a:solidFill>
            <a:srgbClr val="FA0000"/>
          </a:solidFill>
          <a:ln w="9525">
            <a:solidFill>
              <a:srgbClr val="000000"/>
            </a:solidFill>
            <a:prstDash val="solid"/>
            <a:round/>
            <a:headEnd/>
            <a:tailEnd/>
          </a:ln>
        </p:spPr>
        <p:txBody>
          <a:bodyPr/>
          <a:lstStyle/>
          <a:p>
            <a:endParaRPr lang="cs-CZ"/>
          </a:p>
        </p:txBody>
      </p:sp>
      <p:sp>
        <p:nvSpPr>
          <p:cNvPr id="261" name="Freeform 269"/>
          <p:cNvSpPr>
            <a:spLocks/>
          </p:cNvSpPr>
          <p:nvPr/>
        </p:nvSpPr>
        <p:spPr bwMode="auto">
          <a:xfrm>
            <a:off x="4421188" y="5149428"/>
            <a:ext cx="176212" cy="374650"/>
          </a:xfrm>
          <a:custGeom>
            <a:avLst/>
            <a:gdLst>
              <a:gd name="T0" fmla="*/ 0 w 222"/>
              <a:gd name="T1" fmla="*/ 134 h 474"/>
              <a:gd name="T2" fmla="*/ 18 w 222"/>
              <a:gd name="T3" fmla="*/ 83 h 474"/>
              <a:gd name="T4" fmla="*/ 0 w 222"/>
              <a:gd name="T5" fmla="*/ 59 h 474"/>
              <a:gd name="T6" fmla="*/ 16 w 222"/>
              <a:gd name="T7" fmla="*/ 33 h 474"/>
              <a:gd name="T8" fmla="*/ 16 w 222"/>
              <a:gd name="T9" fmla="*/ 22 h 474"/>
              <a:gd name="T10" fmla="*/ 45 w 222"/>
              <a:gd name="T11" fmla="*/ 0 h 474"/>
              <a:gd name="T12" fmla="*/ 81 w 222"/>
              <a:gd name="T13" fmla="*/ 18 h 474"/>
              <a:gd name="T14" fmla="*/ 90 w 222"/>
              <a:gd name="T15" fmla="*/ 14 h 474"/>
              <a:gd name="T16" fmla="*/ 94 w 222"/>
              <a:gd name="T17" fmla="*/ 33 h 474"/>
              <a:gd name="T18" fmla="*/ 149 w 222"/>
              <a:gd name="T19" fmla="*/ 67 h 474"/>
              <a:gd name="T20" fmla="*/ 161 w 222"/>
              <a:gd name="T21" fmla="*/ 90 h 474"/>
              <a:gd name="T22" fmla="*/ 149 w 222"/>
              <a:gd name="T23" fmla="*/ 159 h 474"/>
              <a:gd name="T24" fmla="*/ 153 w 222"/>
              <a:gd name="T25" fmla="*/ 202 h 474"/>
              <a:gd name="T26" fmla="*/ 171 w 222"/>
              <a:gd name="T27" fmla="*/ 236 h 474"/>
              <a:gd name="T28" fmla="*/ 206 w 222"/>
              <a:gd name="T29" fmla="*/ 277 h 474"/>
              <a:gd name="T30" fmla="*/ 222 w 222"/>
              <a:gd name="T31" fmla="*/ 301 h 474"/>
              <a:gd name="T32" fmla="*/ 218 w 222"/>
              <a:gd name="T33" fmla="*/ 332 h 474"/>
              <a:gd name="T34" fmla="*/ 193 w 222"/>
              <a:gd name="T35" fmla="*/ 369 h 474"/>
              <a:gd name="T36" fmla="*/ 177 w 222"/>
              <a:gd name="T37" fmla="*/ 401 h 474"/>
              <a:gd name="T38" fmla="*/ 161 w 222"/>
              <a:gd name="T39" fmla="*/ 415 h 474"/>
              <a:gd name="T40" fmla="*/ 151 w 222"/>
              <a:gd name="T41" fmla="*/ 440 h 474"/>
              <a:gd name="T42" fmla="*/ 134 w 222"/>
              <a:gd name="T43" fmla="*/ 466 h 474"/>
              <a:gd name="T44" fmla="*/ 124 w 222"/>
              <a:gd name="T45" fmla="*/ 474 h 474"/>
              <a:gd name="T46" fmla="*/ 98 w 222"/>
              <a:gd name="T47" fmla="*/ 462 h 474"/>
              <a:gd name="T48" fmla="*/ 94 w 222"/>
              <a:gd name="T49" fmla="*/ 440 h 474"/>
              <a:gd name="T50" fmla="*/ 85 w 222"/>
              <a:gd name="T51" fmla="*/ 426 h 474"/>
              <a:gd name="T52" fmla="*/ 57 w 222"/>
              <a:gd name="T53" fmla="*/ 417 h 474"/>
              <a:gd name="T54" fmla="*/ 45 w 222"/>
              <a:gd name="T55" fmla="*/ 413 h 474"/>
              <a:gd name="T56" fmla="*/ 28 w 222"/>
              <a:gd name="T57" fmla="*/ 403 h 474"/>
              <a:gd name="T58" fmla="*/ 22 w 222"/>
              <a:gd name="T59" fmla="*/ 385 h 474"/>
              <a:gd name="T60" fmla="*/ 14 w 222"/>
              <a:gd name="T61" fmla="*/ 375 h 474"/>
              <a:gd name="T62" fmla="*/ 2 w 222"/>
              <a:gd name="T63" fmla="*/ 352 h 474"/>
              <a:gd name="T64" fmla="*/ 24 w 222"/>
              <a:gd name="T65" fmla="*/ 352 h 474"/>
              <a:gd name="T66" fmla="*/ 24 w 222"/>
              <a:gd name="T67" fmla="*/ 328 h 474"/>
              <a:gd name="T68" fmla="*/ 12 w 222"/>
              <a:gd name="T69" fmla="*/ 316 h 474"/>
              <a:gd name="T70" fmla="*/ 6 w 222"/>
              <a:gd name="T71" fmla="*/ 263 h 474"/>
              <a:gd name="T72" fmla="*/ 10 w 222"/>
              <a:gd name="T73" fmla="*/ 248 h 474"/>
              <a:gd name="T74" fmla="*/ 24 w 222"/>
              <a:gd name="T75" fmla="*/ 234 h 474"/>
              <a:gd name="T76" fmla="*/ 20 w 222"/>
              <a:gd name="T77" fmla="*/ 218 h 474"/>
              <a:gd name="T78" fmla="*/ 10 w 222"/>
              <a:gd name="T79" fmla="*/ 197 h 474"/>
              <a:gd name="T80" fmla="*/ 20 w 222"/>
              <a:gd name="T81" fmla="*/ 173 h 474"/>
              <a:gd name="T82" fmla="*/ 30 w 222"/>
              <a:gd name="T83" fmla="*/ 155 h 474"/>
              <a:gd name="T84" fmla="*/ 26 w 222"/>
              <a:gd name="T85" fmla="*/ 136 h 474"/>
              <a:gd name="T86" fmla="*/ 0 w 222"/>
              <a:gd name="T87" fmla="*/ 13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2" h="474">
                <a:moveTo>
                  <a:pt x="0" y="134"/>
                </a:moveTo>
                <a:lnTo>
                  <a:pt x="18" y="83"/>
                </a:lnTo>
                <a:lnTo>
                  <a:pt x="0" y="59"/>
                </a:lnTo>
                <a:lnTo>
                  <a:pt x="16" y="33"/>
                </a:lnTo>
                <a:lnTo>
                  <a:pt x="16" y="22"/>
                </a:lnTo>
                <a:lnTo>
                  <a:pt x="45" y="0"/>
                </a:lnTo>
                <a:lnTo>
                  <a:pt x="81" y="18"/>
                </a:lnTo>
                <a:lnTo>
                  <a:pt x="90" y="14"/>
                </a:lnTo>
                <a:lnTo>
                  <a:pt x="94" y="33"/>
                </a:lnTo>
                <a:lnTo>
                  <a:pt x="149" y="67"/>
                </a:lnTo>
                <a:lnTo>
                  <a:pt x="161" y="90"/>
                </a:lnTo>
                <a:lnTo>
                  <a:pt x="149" y="159"/>
                </a:lnTo>
                <a:lnTo>
                  <a:pt x="153" y="202"/>
                </a:lnTo>
                <a:lnTo>
                  <a:pt x="171" y="236"/>
                </a:lnTo>
                <a:lnTo>
                  <a:pt x="206" y="277"/>
                </a:lnTo>
                <a:lnTo>
                  <a:pt x="222" y="301"/>
                </a:lnTo>
                <a:lnTo>
                  <a:pt x="218" y="332"/>
                </a:lnTo>
                <a:lnTo>
                  <a:pt x="193" y="369"/>
                </a:lnTo>
                <a:lnTo>
                  <a:pt x="177" y="401"/>
                </a:lnTo>
                <a:lnTo>
                  <a:pt x="161" y="415"/>
                </a:lnTo>
                <a:lnTo>
                  <a:pt x="151" y="440"/>
                </a:lnTo>
                <a:lnTo>
                  <a:pt x="134" y="466"/>
                </a:lnTo>
                <a:lnTo>
                  <a:pt x="124" y="474"/>
                </a:lnTo>
                <a:lnTo>
                  <a:pt x="98" y="462"/>
                </a:lnTo>
                <a:lnTo>
                  <a:pt x="94" y="440"/>
                </a:lnTo>
                <a:lnTo>
                  <a:pt x="85" y="426"/>
                </a:lnTo>
                <a:lnTo>
                  <a:pt x="57" y="417"/>
                </a:lnTo>
                <a:lnTo>
                  <a:pt x="45" y="413"/>
                </a:lnTo>
                <a:lnTo>
                  <a:pt x="28" y="403"/>
                </a:lnTo>
                <a:lnTo>
                  <a:pt x="22" y="385"/>
                </a:lnTo>
                <a:lnTo>
                  <a:pt x="14" y="375"/>
                </a:lnTo>
                <a:lnTo>
                  <a:pt x="2" y="352"/>
                </a:lnTo>
                <a:lnTo>
                  <a:pt x="24" y="352"/>
                </a:lnTo>
                <a:lnTo>
                  <a:pt x="24" y="328"/>
                </a:lnTo>
                <a:lnTo>
                  <a:pt x="12" y="316"/>
                </a:lnTo>
                <a:lnTo>
                  <a:pt x="6" y="263"/>
                </a:lnTo>
                <a:lnTo>
                  <a:pt x="10" y="248"/>
                </a:lnTo>
                <a:lnTo>
                  <a:pt x="24" y="234"/>
                </a:lnTo>
                <a:lnTo>
                  <a:pt x="20" y="218"/>
                </a:lnTo>
                <a:lnTo>
                  <a:pt x="10" y="197"/>
                </a:lnTo>
                <a:lnTo>
                  <a:pt x="20" y="173"/>
                </a:lnTo>
                <a:lnTo>
                  <a:pt x="30" y="155"/>
                </a:lnTo>
                <a:lnTo>
                  <a:pt x="26" y="136"/>
                </a:lnTo>
                <a:lnTo>
                  <a:pt x="0" y="134"/>
                </a:lnTo>
                <a:close/>
              </a:path>
            </a:pathLst>
          </a:custGeom>
          <a:solidFill>
            <a:srgbClr val="FA0000"/>
          </a:solidFill>
          <a:ln w="9525">
            <a:solidFill>
              <a:srgbClr val="000000"/>
            </a:solidFill>
            <a:prstDash val="solid"/>
            <a:round/>
            <a:headEnd/>
            <a:tailEnd/>
          </a:ln>
        </p:spPr>
        <p:txBody>
          <a:bodyPr/>
          <a:lstStyle/>
          <a:p>
            <a:endParaRPr lang="cs-CZ"/>
          </a:p>
        </p:txBody>
      </p:sp>
      <p:sp>
        <p:nvSpPr>
          <p:cNvPr id="262" name="Freeform 270"/>
          <p:cNvSpPr>
            <a:spLocks/>
          </p:cNvSpPr>
          <p:nvPr/>
        </p:nvSpPr>
        <p:spPr bwMode="auto">
          <a:xfrm>
            <a:off x="4243388" y="5022428"/>
            <a:ext cx="265112" cy="230187"/>
          </a:xfrm>
          <a:custGeom>
            <a:avLst/>
            <a:gdLst>
              <a:gd name="T0" fmla="*/ 10 w 334"/>
              <a:gd name="T1" fmla="*/ 137 h 291"/>
              <a:gd name="T2" fmla="*/ 39 w 334"/>
              <a:gd name="T3" fmla="*/ 139 h 291"/>
              <a:gd name="T4" fmla="*/ 67 w 334"/>
              <a:gd name="T5" fmla="*/ 159 h 291"/>
              <a:gd name="T6" fmla="*/ 90 w 334"/>
              <a:gd name="T7" fmla="*/ 175 h 291"/>
              <a:gd name="T8" fmla="*/ 122 w 334"/>
              <a:gd name="T9" fmla="*/ 192 h 291"/>
              <a:gd name="T10" fmla="*/ 147 w 334"/>
              <a:gd name="T11" fmla="*/ 208 h 291"/>
              <a:gd name="T12" fmla="*/ 187 w 334"/>
              <a:gd name="T13" fmla="*/ 240 h 291"/>
              <a:gd name="T14" fmla="*/ 212 w 334"/>
              <a:gd name="T15" fmla="*/ 273 h 291"/>
              <a:gd name="T16" fmla="*/ 224 w 334"/>
              <a:gd name="T17" fmla="*/ 291 h 291"/>
              <a:gd name="T18" fmla="*/ 230 w 334"/>
              <a:gd name="T19" fmla="*/ 259 h 291"/>
              <a:gd name="T20" fmla="*/ 238 w 334"/>
              <a:gd name="T21" fmla="*/ 242 h 291"/>
              <a:gd name="T22" fmla="*/ 224 w 334"/>
              <a:gd name="T23" fmla="*/ 218 h 291"/>
              <a:gd name="T24" fmla="*/ 236 w 334"/>
              <a:gd name="T25" fmla="*/ 202 h 291"/>
              <a:gd name="T26" fmla="*/ 238 w 334"/>
              <a:gd name="T27" fmla="*/ 187 h 291"/>
              <a:gd name="T28" fmla="*/ 257 w 334"/>
              <a:gd name="T29" fmla="*/ 173 h 291"/>
              <a:gd name="T30" fmla="*/ 267 w 334"/>
              <a:gd name="T31" fmla="*/ 159 h 291"/>
              <a:gd name="T32" fmla="*/ 289 w 334"/>
              <a:gd name="T33" fmla="*/ 171 h 291"/>
              <a:gd name="T34" fmla="*/ 303 w 334"/>
              <a:gd name="T35" fmla="*/ 175 h 291"/>
              <a:gd name="T36" fmla="*/ 314 w 334"/>
              <a:gd name="T37" fmla="*/ 167 h 291"/>
              <a:gd name="T38" fmla="*/ 314 w 334"/>
              <a:gd name="T39" fmla="*/ 145 h 291"/>
              <a:gd name="T40" fmla="*/ 297 w 334"/>
              <a:gd name="T41" fmla="*/ 134 h 291"/>
              <a:gd name="T42" fmla="*/ 334 w 334"/>
              <a:gd name="T43" fmla="*/ 130 h 291"/>
              <a:gd name="T44" fmla="*/ 328 w 334"/>
              <a:gd name="T45" fmla="*/ 112 h 291"/>
              <a:gd name="T46" fmla="*/ 293 w 334"/>
              <a:gd name="T47" fmla="*/ 92 h 291"/>
              <a:gd name="T48" fmla="*/ 289 w 334"/>
              <a:gd name="T49" fmla="*/ 63 h 291"/>
              <a:gd name="T50" fmla="*/ 250 w 334"/>
              <a:gd name="T51" fmla="*/ 35 h 291"/>
              <a:gd name="T52" fmla="*/ 214 w 334"/>
              <a:gd name="T53" fmla="*/ 24 h 291"/>
              <a:gd name="T54" fmla="*/ 206 w 334"/>
              <a:gd name="T55" fmla="*/ 0 h 291"/>
              <a:gd name="T56" fmla="*/ 187 w 334"/>
              <a:gd name="T57" fmla="*/ 10 h 291"/>
              <a:gd name="T58" fmla="*/ 161 w 334"/>
              <a:gd name="T59" fmla="*/ 8 h 291"/>
              <a:gd name="T60" fmla="*/ 187 w 334"/>
              <a:gd name="T61" fmla="*/ 39 h 291"/>
              <a:gd name="T62" fmla="*/ 177 w 334"/>
              <a:gd name="T63" fmla="*/ 57 h 291"/>
              <a:gd name="T64" fmla="*/ 161 w 334"/>
              <a:gd name="T65" fmla="*/ 41 h 291"/>
              <a:gd name="T66" fmla="*/ 147 w 334"/>
              <a:gd name="T67" fmla="*/ 39 h 291"/>
              <a:gd name="T68" fmla="*/ 136 w 334"/>
              <a:gd name="T69" fmla="*/ 55 h 291"/>
              <a:gd name="T70" fmla="*/ 130 w 334"/>
              <a:gd name="T71" fmla="*/ 94 h 291"/>
              <a:gd name="T72" fmla="*/ 116 w 334"/>
              <a:gd name="T73" fmla="*/ 102 h 291"/>
              <a:gd name="T74" fmla="*/ 116 w 334"/>
              <a:gd name="T75" fmla="*/ 128 h 291"/>
              <a:gd name="T76" fmla="*/ 124 w 334"/>
              <a:gd name="T77" fmla="*/ 159 h 291"/>
              <a:gd name="T78" fmla="*/ 116 w 334"/>
              <a:gd name="T79" fmla="*/ 169 h 291"/>
              <a:gd name="T80" fmla="*/ 104 w 334"/>
              <a:gd name="T81" fmla="*/ 161 h 291"/>
              <a:gd name="T82" fmla="*/ 57 w 334"/>
              <a:gd name="T83" fmla="*/ 134 h 291"/>
              <a:gd name="T84" fmla="*/ 32 w 334"/>
              <a:gd name="T85" fmla="*/ 120 h 291"/>
              <a:gd name="T86" fmla="*/ 10 w 334"/>
              <a:gd name="T87" fmla="*/ 110 h 291"/>
              <a:gd name="T88" fmla="*/ 0 w 334"/>
              <a:gd name="T89" fmla="*/ 124 h 291"/>
              <a:gd name="T90" fmla="*/ 10 w 334"/>
              <a:gd name="T91" fmla="*/ 13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291">
                <a:moveTo>
                  <a:pt x="10" y="137"/>
                </a:moveTo>
                <a:lnTo>
                  <a:pt x="39" y="139"/>
                </a:lnTo>
                <a:lnTo>
                  <a:pt x="67" y="159"/>
                </a:lnTo>
                <a:lnTo>
                  <a:pt x="90" y="175"/>
                </a:lnTo>
                <a:lnTo>
                  <a:pt x="122" y="192"/>
                </a:lnTo>
                <a:lnTo>
                  <a:pt x="147" y="208"/>
                </a:lnTo>
                <a:lnTo>
                  <a:pt x="187" y="240"/>
                </a:lnTo>
                <a:lnTo>
                  <a:pt x="212" y="273"/>
                </a:lnTo>
                <a:lnTo>
                  <a:pt x="224" y="291"/>
                </a:lnTo>
                <a:lnTo>
                  <a:pt x="230" y="259"/>
                </a:lnTo>
                <a:lnTo>
                  <a:pt x="238" y="242"/>
                </a:lnTo>
                <a:lnTo>
                  <a:pt x="224" y="218"/>
                </a:lnTo>
                <a:lnTo>
                  <a:pt x="236" y="202"/>
                </a:lnTo>
                <a:lnTo>
                  <a:pt x="238" y="187"/>
                </a:lnTo>
                <a:lnTo>
                  <a:pt x="257" y="173"/>
                </a:lnTo>
                <a:lnTo>
                  <a:pt x="267" y="159"/>
                </a:lnTo>
                <a:lnTo>
                  <a:pt x="289" y="171"/>
                </a:lnTo>
                <a:lnTo>
                  <a:pt x="303" y="175"/>
                </a:lnTo>
                <a:lnTo>
                  <a:pt x="314" y="167"/>
                </a:lnTo>
                <a:lnTo>
                  <a:pt x="314" y="145"/>
                </a:lnTo>
                <a:lnTo>
                  <a:pt x="297" y="134"/>
                </a:lnTo>
                <a:lnTo>
                  <a:pt x="334" y="130"/>
                </a:lnTo>
                <a:lnTo>
                  <a:pt x="328" y="112"/>
                </a:lnTo>
                <a:lnTo>
                  <a:pt x="293" y="92"/>
                </a:lnTo>
                <a:lnTo>
                  <a:pt x="289" y="63"/>
                </a:lnTo>
                <a:lnTo>
                  <a:pt x="250" y="35"/>
                </a:lnTo>
                <a:lnTo>
                  <a:pt x="214" y="24"/>
                </a:lnTo>
                <a:lnTo>
                  <a:pt x="206" y="0"/>
                </a:lnTo>
                <a:lnTo>
                  <a:pt x="187" y="10"/>
                </a:lnTo>
                <a:lnTo>
                  <a:pt x="161" y="8"/>
                </a:lnTo>
                <a:lnTo>
                  <a:pt x="187" y="39"/>
                </a:lnTo>
                <a:lnTo>
                  <a:pt x="177" y="57"/>
                </a:lnTo>
                <a:lnTo>
                  <a:pt x="161" y="41"/>
                </a:lnTo>
                <a:lnTo>
                  <a:pt x="147" y="39"/>
                </a:lnTo>
                <a:lnTo>
                  <a:pt x="136" y="55"/>
                </a:lnTo>
                <a:lnTo>
                  <a:pt x="130" y="94"/>
                </a:lnTo>
                <a:lnTo>
                  <a:pt x="116" y="102"/>
                </a:lnTo>
                <a:lnTo>
                  <a:pt x="116" y="128"/>
                </a:lnTo>
                <a:lnTo>
                  <a:pt x="124" y="159"/>
                </a:lnTo>
                <a:lnTo>
                  <a:pt x="116" y="169"/>
                </a:lnTo>
                <a:lnTo>
                  <a:pt x="104" y="161"/>
                </a:lnTo>
                <a:lnTo>
                  <a:pt x="57" y="134"/>
                </a:lnTo>
                <a:lnTo>
                  <a:pt x="32" y="120"/>
                </a:lnTo>
                <a:lnTo>
                  <a:pt x="10" y="110"/>
                </a:lnTo>
                <a:lnTo>
                  <a:pt x="0" y="124"/>
                </a:lnTo>
                <a:lnTo>
                  <a:pt x="10" y="137"/>
                </a:lnTo>
                <a:close/>
              </a:path>
            </a:pathLst>
          </a:custGeom>
          <a:solidFill>
            <a:srgbClr val="FFFFFF"/>
          </a:solidFill>
          <a:ln w="9525">
            <a:solidFill>
              <a:srgbClr val="000000"/>
            </a:solidFill>
            <a:prstDash val="solid"/>
            <a:round/>
            <a:headEnd/>
            <a:tailEnd/>
          </a:ln>
        </p:spPr>
        <p:txBody>
          <a:bodyPr/>
          <a:lstStyle/>
          <a:p>
            <a:endParaRPr lang="cs-CZ"/>
          </a:p>
        </p:txBody>
      </p:sp>
      <p:sp>
        <p:nvSpPr>
          <p:cNvPr id="263" name="Freeform 271"/>
          <p:cNvSpPr>
            <a:spLocks/>
          </p:cNvSpPr>
          <p:nvPr/>
        </p:nvSpPr>
        <p:spPr bwMode="auto">
          <a:xfrm>
            <a:off x="3868738" y="4647778"/>
            <a:ext cx="533400" cy="488950"/>
          </a:xfrm>
          <a:custGeom>
            <a:avLst/>
            <a:gdLst>
              <a:gd name="T0" fmla="*/ 15 w 671"/>
              <a:gd name="T1" fmla="*/ 203 h 615"/>
              <a:gd name="T2" fmla="*/ 84 w 671"/>
              <a:gd name="T3" fmla="*/ 199 h 615"/>
              <a:gd name="T4" fmla="*/ 111 w 671"/>
              <a:gd name="T5" fmla="*/ 163 h 615"/>
              <a:gd name="T6" fmla="*/ 123 w 671"/>
              <a:gd name="T7" fmla="*/ 160 h 615"/>
              <a:gd name="T8" fmla="*/ 125 w 671"/>
              <a:gd name="T9" fmla="*/ 163 h 615"/>
              <a:gd name="T10" fmla="*/ 170 w 671"/>
              <a:gd name="T11" fmla="*/ 199 h 615"/>
              <a:gd name="T12" fmla="*/ 202 w 671"/>
              <a:gd name="T13" fmla="*/ 205 h 615"/>
              <a:gd name="T14" fmla="*/ 208 w 671"/>
              <a:gd name="T15" fmla="*/ 156 h 615"/>
              <a:gd name="T16" fmla="*/ 249 w 671"/>
              <a:gd name="T17" fmla="*/ 124 h 615"/>
              <a:gd name="T18" fmla="*/ 239 w 671"/>
              <a:gd name="T19" fmla="*/ 69 h 615"/>
              <a:gd name="T20" fmla="*/ 292 w 671"/>
              <a:gd name="T21" fmla="*/ 36 h 615"/>
              <a:gd name="T22" fmla="*/ 298 w 671"/>
              <a:gd name="T23" fmla="*/ 14 h 615"/>
              <a:gd name="T24" fmla="*/ 335 w 671"/>
              <a:gd name="T25" fmla="*/ 20 h 615"/>
              <a:gd name="T26" fmla="*/ 400 w 671"/>
              <a:gd name="T27" fmla="*/ 65 h 615"/>
              <a:gd name="T28" fmla="*/ 451 w 671"/>
              <a:gd name="T29" fmla="*/ 108 h 615"/>
              <a:gd name="T30" fmla="*/ 528 w 671"/>
              <a:gd name="T31" fmla="*/ 130 h 615"/>
              <a:gd name="T32" fmla="*/ 599 w 671"/>
              <a:gd name="T33" fmla="*/ 103 h 615"/>
              <a:gd name="T34" fmla="*/ 616 w 671"/>
              <a:gd name="T35" fmla="*/ 152 h 615"/>
              <a:gd name="T36" fmla="*/ 652 w 671"/>
              <a:gd name="T37" fmla="*/ 193 h 615"/>
              <a:gd name="T38" fmla="*/ 646 w 671"/>
              <a:gd name="T39" fmla="*/ 211 h 615"/>
              <a:gd name="T40" fmla="*/ 642 w 671"/>
              <a:gd name="T41" fmla="*/ 246 h 615"/>
              <a:gd name="T42" fmla="*/ 607 w 671"/>
              <a:gd name="T43" fmla="*/ 256 h 615"/>
              <a:gd name="T44" fmla="*/ 581 w 671"/>
              <a:gd name="T45" fmla="*/ 228 h 615"/>
              <a:gd name="T46" fmla="*/ 544 w 671"/>
              <a:gd name="T47" fmla="*/ 226 h 615"/>
              <a:gd name="T48" fmla="*/ 510 w 671"/>
              <a:gd name="T49" fmla="*/ 224 h 615"/>
              <a:gd name="T50" fmla="*/ 475 w 671"/>
              <a:gd name="T51" fmla="*/ 218 h 615"/>
              <a:gd name="T52" fmla="*/ 398 w 671"/>
              <a:gd name="T53" fmla="*/ 199 h 615"/>
              <a:gd name="T54" fmla="*/ 341 w 671"/>
              <a:gd name="T55" fmla="*/ 207 h 615"/>
              <a:gd name="T56" fmla="*/ 290 w 671"/>
              <a:gd name="T57" fmla="*/ 207 h 615"/>
              <a:gd name="T58" fmla="*/ 255 w 671"/>
              <a:gd name="T59" fmla="*/ 242 h 615"/>
              <a:gd name="T60" fmla="*/ 288 w 671"/>
              <a:gd name="T61" fmla="*/ 299 h 615"/>
              <a:gd name="T62" fmla="*/ 300 w 671"/>
              <a:gd name="T63" fmla="*/ 360 h 615"/>
              <a:gd name="T64" fmla="*/ 353 w 671"/>
              <a:gd name="T65" fmla="*/ 411 h 615"/>
              <a:gd name="T66" fmla="*/ 440 w 671"/>
              <a:gd name="T67" fmla="*/ 531 h 615"/>
              <a:gd name="T68" fmla="*/ 475 w 671"/>
              <a:gd name="T69" fmla="*/ 586 h 615"/>
              <a:gd name="T70" fmla="*/ 471 w 671"/>
              <a:gd name="T71" fmla="*/ 615 h 615"/>
              <a:gd name="T72" fmla="*/ 451 w 671"/>
              <a:gd name="T73" fmla="*/ 602 h 615"/>
              <a:gd name="T74" fmla="*/ 422 w 671"/>
              <a:gd name="T75" fmla="*/ 598 h 615"/>
              <a:gd name="T76" fmla="*/ 379 w 671"/>
              <a:gd name="T77" fmla="*/ 588 h 615"/>
              <a:gd name="T78" fmla="*/ 430 w 671"/>
              <a:gd name="T79" fmla="*/ 574 h 615"/>
              <a:gd name="T80" fmla="*/ 408 w 671"/>
              <a:gd name="T81" fmla="*/ 533 h 615"/>
              <a:gd name="T82" fmla="*/ 391 w 671"/>
              <a:gd name="T83" fmla="*/ 535 h 615"/>
              <a:gd name="T84" fmla="*/ 349 w 671"/>
              <a:gd name="T85" fmla="*/ 543 h 615"/>
              <a:gd name="T86" fmla="*/ 334 w 671"/>
              <a:gd name="T87" fmla="*/ 525 h 615"/>
              <a:gd name="T88" fmla="*/ 282 w 671"/>
              <a:gd name="T89" fmla="*/ 503 h 615"/>
              <a:gd name="T90" fmla="*/ 273 w 671"/>
              <a:gd name="T91" fmla="*/ 486 h 615"/>
              <a:gd name="T92" fmla="*/ 257 w 671"/>
              <a:gd name="T93" fmla="*/ 464 h 615"/>
              <a:gd name="T94" fmla="*/ 233 w 671"/>
              <a:gd name="T95" fmla="*/ 442 h 615"/>
              <a:gd name="T96" fmla="*/ 204 w 671"/>
              <a:gd name="T97" fmla="*/ 417 h 615"/>
              <a:gd name="T98" fmla="*/ 190 w 671"/>
              <a:gd name="T99" fmla="*/ 384 h 615"/>
              <a:gd name="T100" fmla="*/ 218 w 671"/>
              <a:gd name="T101" fmla="*/ 368 h 615"/>
              <a:gd name="T102" fmla="*/ 190 w 671"/>
              <a:gd name="T103" fmla="*/ 356 h 615"/>
              <a:gd name="T104" fmla="*/ 165 w 671"/>
              <a:gd name="T105" fmla="*/ 305 h 615"/>
              <a:gd name="T106" fmla="*/ 155 w 671"/>
              <a:gd name="T107" fmla="*/ 250 h 615"/>
              <a:gd name="T108" fmla="*/ 102 w 671"/>
              <a:gd name="T109" fmla="*/ 207 h 615"/>
              <a:gd name="T110" fmla="*/ 78 w 671"/>
              <a:gd name="T111" fmla="*/ 262 h 615"/>
              <a:gd name="T112" fmla="*/ 49 w 671"/>
              <a:gd name="T113" fmla="*/ 293 h 615"/>
              <a:gd name="T114" fmla="*/ 19 w 671"/>
              <a:gd name="T115" fmla="*/ 244 h 615"/>
              <a:gd name="T116" fmla="*/ 3 w 671"/>
              <a:gd name="T117" fmla="*/ 20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0" y="187"/>
                </a:moveTo>
                <a:lnTo>
                  <a:pt x="15" y="203"/>
                </a:lnTo>
                <a:lnTo>
                  <a:pt x="62" y="193"/>
                </a:lnTo>
                <a:lnTo>
                  <a:pt x="84" y="199"/>
                </a:lnTo>
                <a:lnTo>
                  <a:pt x="102" y="183"/>
                </a:lnTo>
                <a:lnTo>
                  <a:pt x="111" y="163"/>
                </a:lnTo>
                <a:lnTo>
                  <a:pt x="119" y="161"/>
                </a:lnTo>
                <a:lnTo>
                  <a:pt x="123" y="160"/>
                </a:lnTo>
                <a:lnTo>
                  <a:pt x="125" y="160"/>
                </a:lnTo>
                <a:lnTo>
                  <a:pt x="125" y="163"/>
                </a:lnTo>
                <a:lnTo>
                  <a:pt x="147" y="193"/>
                </a:lnTo>
                <a:lnTo>
                  <a:pt x="170" y="199"/>
                </a:lnTo>
                <a:lnTo>
                  <a:pt x="184" y="217"/>
                </a:lnTo>
                <a:lnTo>
                  <a:pt x="202" y="205"/>
                </a:lnTo>
                <a:lnTo>
                  <a:pt x="200" y="175"/>
                </a:lnTo>
                <a:lnTo>
                  <a:pt x="208" y="156"/>
                </a:lnTo>
                <a:lnTo>
                  <a:pt x="229" y="142"/>
                </a:lnTo>
                <a:lnTo>
                  <a:pt x="249" y="124"/>
                </a:lnTo>
                <a:lnTo>
                  <a:pt x="251" y="99"/>
                </a:lnTo>
                <a:lnTo>
                  <a:pt x="239" y="69"/>
                </a:lnTo>
                <a:lnTo>
                  <a:pt x="275" y="55"/>
                </a:lnTo>
                <a:lnTo>
                  <a:pt x="292" y="36"/>
                </a:lnTo>
                <a:lnTo>
                  <a:pt x="310" y="40"/>
                </a:lnTo>
                <a:lnTo>
                  <a:pt x="298" y="14"/>
                </a:lnTo>
                <a:lnTo>
                  <a:pt x="314" y="0"/>
                </a:lnTo>
                <a:lnTo>
                  <a:pt x="335" y="20"/>
                </a:lnTo>
                <a:lnTo>
                  <a:pt x="367" y="28"/>
                </a:lnTo>
                <a:lnTo>
                  <a:pt x="400" y="65"/>
                </a:lnTo>
                <a:lnTo>
                  <a:pt x="428" y="73"/>
                </a:lnTo>
                <a:lnTo>
                  <a:pt x="451" y="108"/>
                </a:lnTo>
                <a:lnTo>
                  <a:pt x="487" y="124"/>
                </a:lnTo>
                <a:lnTo>
                  <a:pt x="528" y="130"/>
                </a:lnTo>
                <a:lnTo>
                  <a:pt x="563" y="116"/>
                </a:lnTo>
                <a:lnTo>
                  <a:pt x="599" y="103"/>
                </a:lnTo>
                <a:lnTo>
                  <a:pt x="609" y="130"/>
                </a:lnTo>
                <a:lnTo>
                  <a:pt x="616" y="152"/>
                </a:lnTo>
                <a:lnTo>
                  <a:pt x="626" y="191"/>
                </a:lnTo>
                <a:lnTo>
                  <a:pt x="652" y="193"/>
                </a:lnTo>
                <a:lnTo>
                  <a:pt x="671" y="199"/>
                </a:lnTo>
                <a:lnTo>
                  <a:pt x="646" y="211"/>
                </a:lnTo>
                <a:lnTo>
                  <a:pt x="642" y="232"/>
                </a:lnTo>
                <a:lnTo>
                  <a:pt x="642" y="246"/>
                </a:lnTo>
                <a:lnTo>
                  <a:pt x="626" y="258"/>
                </a:lnTo>
                <a:lnTo>
                  <a:pt x="607" y="256"/>
                </a:lnTo>
                <a:lnTo>
                  <a:pt x="603" y="232"/>
                </a:lnTo>
                <a:lnTo>
                  <a:pt x="581" y="228"/>
                </a:lnTo>
                <a:lnTo>
                  <a:pt x="565" y="220"/>
                </a:lnTo>
                <a:lnTo>
                  <a:pt x="544" y="226"/>
                </a:lnTo>
                <a:lnTo>
                  <a:pt x="530" y="226"/>
                </a:lnTo>
                <a:lnTo>
                  <a:pt x="510" y="224"/>
                </a:lnTo>
                <a:lnTo>
                  <a:pt x="495" y="234"/>
                </a:lnTo>
                <a:lnTo>
                  <a:pt x="475" y="218"/>
                </a:lnTo>
                <a:lnTo>
                  <a:pt x="412" y="215"/>
                </a:lnTo>
                <a:lnTo>
                  <a:pt x="398" y="199"/>
                </a:lnTo>
                <a:lnTo>
                  <a:pt x="377" y="211"/>
                </a:lnTo>
                <a:lnTo>
                  <a:pt x="341" y="207"/>
                </a:lnTo>
                <a:lnTo>
                  <a:pt x="318" y="242"/>
                </a:lnTo>
                <a:lnTo>
                  <a:pt x="290" y="207"/>
                </a:lnTo>
                <a:lnTo>
                  <a:pt x="265" y="207"/>
                </a:lnTo>
                <a:lnTo>
                  <a:pt x="255" y="242"/>
                </a:lnTo>
                <a:lnTo>
                  <a:pt x="261" y="277"/>
                </a:lnTo>
                <a:lnTo>
                  <a:pt x="288" y="299"/>
                </a:lnTo>
                <a:lnTo>
                  <a:pt x="302" y="321"/>
                </a:lnTo>
                <a:lnTo>
                  <a:pt x="300" y="360"/>
                </a:lnTo>
                <a:lnTo>
                  <a:pt x="332" y="393"/>
                </a:lnTo>
                <a:lnTo>
                  <a:pt x="353" y="411"/>
                </a:lnTo>
                <a:lnTo>
                  <a:pt x="424" y="494"/>
                </a:lnTo>
                <a:lnTo>
                  <a:pt x="440" y="531"/>
                </a:lnTo>
                <a:lnTo>
                  <a:pt x="475" y="566"/>
                </a:lnTo>
                <a:lnTo>
                  <a:pt x="475" y="586"/>
                </a:lnTo>
                <a:lnTo>
                  <a:pt x="475" y="600"/>
                </a:lnTo>
                <a:lnTo>
                  <a:pt x="471" y="615"/>
                </a:lnTo>
                <a:lnTo>
                  <a:pt x="461" y="600"/>
                </a:lnTo>
                <a:lnTo>
                  <a:pt x="451" y="602"/>
                </a:lnTo>
                <a:lnTo>
                  <a:pt x="440" y="586"/>
                </a:lnTo>
                <a:lnTo>
                  <a:pt x="422" y="598"/>
                </a:lnTo>
                <a:lnTo>
                  <a:pt x="369" y="600"/>
                </a:lnTo>
                <a:lnTo>
                  <a:pt x="379" y="588"/>
                </a:lnTo>
                <a:lnTo>
                  <a:pt x="414" y="588"/>
                </a:lnTo>
                <a:lnTo>
                  <a:pt x="430" y="574"/>
                </a:lnTo>
                <a:lnTo>
                  <a:pt x="420" y="547"/>
                </a:lnTo>
                <a:lnTo>
                  <a:pt x="408" y="533"/>
                </a:lnTo>
                <a:lnTo>
                  <a:pt x="398" y="523"/>
                </a:lnTo>
                <a:lnTo>
                  <a:pt x="391" y="535"/>
                </a:lnTo>
                <a:lnTo>
                  <a:pt x="373" y="545"/>
                </a:lnTo>
                <a:lnTo>
                  <a:pt x="349" y="543"/>
                </a:lnTo>
                <a:lnTo>
                  <a:pt x="339" y="539"/>
                </a:lnTo>
                <a:lnTo>
                  <a:pt x="334" y="525"/>
                </a:lnTo>
                <a:lnTo>
                  <a:pt x="343" y="507"/>
                </a:lnTo>
                <a:lnTo>
                  <a:pt x="282" y="503"/>
                </a:lnTo>
                <a:lnTo>
                  <a:pt x="288" y="482"/>
                </a:lnTo>
                <a:lnTo>
                  <a:pt x="273" y="486"/>
                </a:lnTo>
                <a:lnTo>
                  <a:pt x="271" y="464"/>
                </a:lnTo>
                <a:lnTo>
                  <a:pt x="257" y="464"/>
                </a:lnTo>
                <a:lnTo>
                  <a:pt x="251" y="450"/>
                </a:lnTo>
                <a:lnTo>
                  <a:pt x="233" y="442"/>
                </a:lnTo>
                <a:lnTo>
                  <a:pt x="216" y="433"/>
                </a:lnTo>
                <a:lnTo>
                  <a:pt x="204" y="417"/>
                </a:lnTo>
                <a:lnTo>
                  <a:pt x="190" y="399"/>
                </a:lnTo>
                <a:lnTo>
                  <a:pt x="190" y="384"/>
                </a:lnTo>
                <a:lnTo>
                  <a:pt x="196" y="372"/>
                </a:lnTo>
                <a:lnTo>
                  <a:pt x="218" y="368"/>
                </a:lnTo>
                <a:lnTo>
                  <a:pt x="229" y="374"/>
                </a:lnTo>
                <a:lnTo>
                  <a:pt x="190" y="356"/>
                </a:lnTo>
                <a:lnTo>
                  <a:pt x="170" y="329"/>
                </a:lnTo>
                <a:lnTo>
                  <a:pt x="165" y="305"/>
                </a:lnTo>
                <a:lnTo>
                  <a:pt x="155" y="273"/>
                </a:lnTo>
                <a:lnTo>
                  <a:pt x="155" y="250"/>
                </a:lnTo>
                <a:lnTo>
                  <a:pt x="133" y="232"/>
                </a:lnTo>
                <a:lnTo>
                  <a:pt x="102" y="207"/>
                </a:lnTo>
                <a:lnTo>
                  <a:pt x="86" y="240"/>
                </a:lnTo>
                <a:lnTo>
                  <a:pt x="78" y="262"/>
                </a:lnTo>
                <a:lnTo>
                  <a:pt x="64" y="281"/>
                </a:lnTo>
                <a:lnTo>
                  <a:pt x="49" y="293"/>
                </a:lnTo>
                <a:lnTo>
                  <a:pt x="35" y="275"/>
                </a:lnTo>
                <a:lnTo>
                  <a:pt x="19" y="244"/>
                </a:lnTo>
                <a:lnTo>
                  <a:pt x="11" y="226"/>
                </a:lnTo>
                <a:lnTo>
                  <a:pt x="3" y="203"/>
                </a:lnTo>
                <a:lnTo>
                  <a:pt x="0" y="187"/>
                </a:lnTo>
                <a:close/>
              </a:path>
            </a:pathLst>
          </a:custGeom>
          <a:solidFill>
            <a:srgbClr val="FA0000"/>
          </a:solidFill>
          <a:ln w="9525">
            <a:solidFill>
              <a:srgbClr val="000000"/>
            </a:solidFill>
            <a:prstDash val="solid"/>
            <a:round/>
            <a:headEnd/>
            <a:tailEnd/>
          </a:ln>
        </p:spPr>
        <p:txBody>
          <a:bodyPr/>
          <a:lstStyle/>
          <a:p>
            <a:endParaRPr lang="cs-CZ"/>
          </a:p>
        </p:txBody>
      </p:sp>
      <p:sp>
        <p:nvSpPr>
          <p:cNvPr id="264" name="Freeform 272"/>
          <p:cNvSpPr>
            <a:spLocks/>
          </p:cNvSpPr>
          <p:nvPr/>
        </p:nvSpPr>
        <p:spPr bwMode="auto">
          <a:xfrm>
            <a:off x="4071938" y="4804940"/>
            <a:ext cx="361950" cy="352425"/>
          </a:xfrm>
          <a:custGeom>
            <a:avLst/>
            <a:gdLst>
              <a:gd name="T0" fmla="*/ 424 w 456"/>
              <a:gd name="T1" fmla="*/ 63 h 444"/>
              <a:gd name="T2" fmla="*/ 393 w 456"/>
              <a:gd name="T3" fmla="*/ 118 h 444"/>
              <a:gd name="T4" fmla="*/ 397 w 456"/>
              <a:gd name="T5" fmla="*/ 155 h 444"/>
              <a:gd name="T6" fmla="*/ 436 w 456"/>
              <a:gd name="T7" fmla="*/ 175 h 444"/>
              <a:gd name="T8" fmla="*/ 456 w 456"/>
              <a:gd name="T9" fmla="*/ 202 h 444"/>
              <a:gd name="T10" fmla="*/ 454 w 456"/>
              <a:gd name="T11" fmla="*/ 249 h 444"/>
              <a:gd name="T12" fmla="*/ 411 w 456"/>
              <a:gd name="T13" fmla="*/ 285 h 444"/>
              <a:gd name="T14" fmla="*/ 397 w 456"/>
              <a:gd name="T15" fmla="*/ 310 h 444"/>
              <a:gd name="T16" fmla="*/ 381 w 456"/>
              <a:gd name="T17" fmla="*/ 314 h 444"/>
              <a:gd name="T18" fmla="*/ 350 w 456"/>
              <a:gd name="T19" fmla="*/ 332 h 444"/>
              <a:gd name="T20" fmla="*/ 332 w 456"/>
              <a:gd name="T21" fmla="*/ 371 h 444"/>
              <a:gd name="T22" fmla="*/ 332 w 456"/>
              <a:gd name="T23" fmla="*/ 416 h 444"/>
              <a:gd name="T24" fmla="*/ 332 w 456"/>
              <a:gd name="T25" fmla="*/ 444 h 444"/>
              <a:gd name="T26" fmla="*/ 253 w 456"/>
              <a:gd name="T27" fmla="*/ 399 h 444"/>
              <a:gd name="T28" fmla="*/ 218 w 456"/>
              <a:gd name="T29" fmla="*/ 387 h 444"/>
              <a:gd name="T30" fmla="*/ 190 w 456"/>
              <a:gd name="T31" fmla="*/ 338 h 444"/>
              <a:gd name="T32" fmla="*/ 169 w 456"/>
              <a:gd name="T33" fmla="*/ 295 h 444"/>
              <a:gd name="T34" fmla="*/ 116 w 456"/>
              <a:gd name="T35" fmla="*/ 241 h 444"/>
              <a:gd name="T36" fmla="*/ 69 w 456"/>
              <a:gd name="T37" fmla="*/ 190 h 444"/>
              <a:gd name="T38" fmla="*/ 43 w 456"/>
              <a:gd name="T39" fmla="*/ 161 h 444"/>
              <a:gd name="T40" fmla="*/ 29 w 456"/>
              <a:gd name="T41" fmla="*/ 96 h 444"/>
              <a:gd name="T42" fmla="*/ 0 w 456"/>
              <a:gd name="T43" fmla="*/ 63 h 444"/>
              <a:gd name="T44" fmla="*/ 10 w 456"/>
              <a:gd name="T45" fmla="*/ 10 h 444"/>
              <a:gd name="T46" fmla="*/ 67 w 456"/>
              <a:gd name="T47" fmla="*/ 45 h 444"/>
              <a:gd name="T48" fmla="*/ 128 w 456"/>
              <a:gd name="T49" fmla="*/ 14 h 444"/>
              <a:gd name="T50" fmla="*/ 161 w 456"/>
              <a:gd name="T51" fmla="*/ 19 h 444"/>
              <a:gd name="T52" fmla="*/ 230 w 456"/>
              <a:gd name="T53" fmla="*/ 21 h 444"/>
              <a:gd name="T54" fmla="*/ 263 w 456"/>
              <a:gd name="T55" fmla="*/ 25 h 444"/>
              <a:gd name="T56" fmla="*/ 306 w 456"/>
              <a:gd name="T57" fmla="*/ 23 h 444"/>
              <a:gd name="T58" fmla="*/ 334 w 456"/>
              <a:gd name="T59" fmla="*/ 29 h 444"/>
              <a:gd name="T60" fmla="*/ 348 w 456"/>
              <a:gd name="T61" fmla="*/ 59 h 444"/>
              <a:gd name="T62" fmla="*/ 397 w 456"/>
              <a:gd name="T63" fmla="*/ 53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6" h="444">
                <a:moveTo>
                  <a:pt x="397" y="53"/>
                </a:moveTo>
                <a:lnTo>
                  <a:pt x="424" y="63"/>
                </a:lnTo>
                <a:lnTo>
                  <a:pt x="414" y="86"/>
                </a:lnTo>
                <a:lnTo>
                  <a:pt x="393" y="118"/>
                </a:lnTo>
                <a:lnTo>
                  <a:pt x="387" y="133"/>
                </a:lnTo>
                <a:lnTo>
                  <a:pt x="397" y="155"/>
                </a:lnTo>
                <a:lnTo>
                  <a:pt x="420" y="159"/>
                </a:lnTo>
                <a:lnTo>
                  <a:pt x="436" y="175"/>
                </a:lnTo>
                <a:lnTo>
                  <a:pt x="456" y="188"/>
                </a:lnTo>
                <a:lnTo>
                  <a:pt x="456" y="202"/>
                </a:lnTo>
                <a:lnTo>
                  <a:pt x="420" y="210"/>
                </a:lnTo>
                <a:lnTo>
                  <a:pt x="454" y="249"/>
                </a:lnTo>
                <a:lnTo>
                  <a:pt x="428" y="269"/>
                </a:lnTo>
                <a:lnTo>
                  <a:pt x="411" y="285"/>
                </a:lnTo>
                <a:lnTo>
                  <a:pt x="379" y="283"/>
                </a:lnTo>
                <a:lnTo>
                  <a:pt x="397" y="310"/>
                </a:lnTo>
                <a:lnTo>
                  <a:pt x="395" y="328"/>
                </a:lnTo>
                <a:lnTo>
                  <a:pt x="381" y="314"/>
                </a:lnTo>
                <a:lnTo>
                  <a:pt x="361" y="314"/>
                </a:lnTo>
                <a:lnTo>
                  <a:pt x="350" y="332"/>
                </a:lnTo>
                <a:lnTo>
                  <a:pt x="350" y="363"/>
                </a:lnTo>
                <a:lnTo>
                  <a:pt x="332" y="371"/>
                </a:lnTo>
                <a:lnTo>
                  <a:pt x="328" y="399"/>
                </a:lnTo>
                <a:lnTo>
                  <a:pt x="332" y="416"/>
                </a:lnTo>
                <a:lnTo>
                  <a:pt x="338" y="434"/>
                </a:lnTo>
                <a:lnTo>
                  <a:pt x="332" y="444"/>
                </a:lnTo>
                <a:lnTo>
                  <a:pt x="281" y="410"/>
                </a:lnTo>
                <a:lnTo>
                  <a:pt x="253" y="399"/>
                </a:lnTo>
                <a:lnTo>
                  <a:pt x="238" y="385"/>
                </a:lnTo>
                <a:lnTo>
                  <a:pt x="218" y="387"/>
                </a:lnTo>
                <a:lnTo>
                  <a:pt x="218" y="363"/>
                </a:lnTo>
                <a:lnTo>
                  <a:pt x="190" y="338"/>
                </a:lnTo>
                <a:lnTo>
                  <a:pt x="175" y="322"/>
                </a:lnTo>
                <a:lnTo>
                  <a:pt x="169" y="295"/>
                </a:lnTo>
                <a:lnTo>
                  <a:pt x="151" y="281"/>
                </a:lnTo>
                <a:lnTo>
                  <a:pt x="116" y="241"/>
                </a:lnTo>
                <a:lnTo>
                  <a:pt x="84" y="202"/>
                </a:lnTo>
                <a:lnTo>
                  <a:pt x="69" y="190"/>
                </a:lnTo>
                <a:lnTo>
                  <a:pt x="55" y="175"/>
                </a:lnTo>
                <a:lnTo>
                  <a:pt x="43" y="161"/>
                </a:lnTo>
                <a:lnTo>
                  <a:pt x="45" y="124"/>
                </a:lnTo>
                <a:lnTo>
                  <a:pt x="29" y="96"/>
                </a:lnTo>
                <a:lnTo>
                  <a:pt x="8" y="82"/>
                </a:lnTo>
                <a:lnTo>
                  <a:pt x="0" y="63"/>
                </a:lnTo>
                <a:lnTo>
                  <a:pt x="4" y="31"/>
                </a:lnTo>
                <a:lnTo>
                  <a:pt x="10" y="10"/>
                </a:lnTo>
                <a:lnTo>
                  <a:pt x="39" y="12"/>
                </a:lnTo>
                <a:lnTo>
                  <a:pt x="67" y="45"/>
                </a:lnTo>
                <a:lnTo>
                  <a:pt x="88" y="10"/>
                </a:lnTo>
                <a:lnTo>
                  <a:pt x="128" y="14"/>
                </a:lnTo>
                <a:lnTo>
                  <a:pt x="143" y="0"/>
                </a:lnTo>
                <a:lnTo>
                  <a:pt x="161" y="19"/>
                </a:lnTo>
                <a:lnTo>
                  <a:pt x="175" y="23"/>
                </a:lnTo>
                <a:lnTo>
                  <a:pt x="230" y="21"/>
                </a:lnTo>
                <a:lnTo>
                  <a:pt x="246" y="39"/>
                </a:lnTo>
                <a:lnTo>
                  <a:pt x="263" y="25"/>
                </a:lnTo>
                <a:lnTo>
                  <a:pt x="281" y="31"/>
                </a:lnTo>
                <a:lnTo>
                  <a:pt x="306" y="23"/>
                </a:lnTo>
                <a:lnTo>
                  <a:pt x="320" y="39"/>
                </a:lnTo>
                <a:lnTo>
                  <a:pt x="334" y="29"/>
                </a:lnTo>
                <a:lnTo>
                  <a:pt x="354" y="35"/>
                </a:lnTo>
                <a:lnTo>
                  <a:pt x="348" y="59"/>
                </a:lnTo>
                <a:lnTo>
                  <a:pt x="359" y="63"/>
                </a:lnTo>
                <a:lnTo>
                  <a:pt x="397" y="53"/>
                </a:lnTo>
                <a:close/>
              </a:path>
            </a:pathLst>
          </a:custGeom>
          <a:solidFill>
            <a:srgbClr val="FA0000"/>
          </a:solidFill>
          <a:ln w="9525">
            <a:solidFill>
              <a:srgbClr val="000000"/>
            </a:solidFill>
            <a:prstDash val="solid"/>
            <a:round/>
            <a:headEnd/>
            <a:tailEnd/>
          </a:ln>
        </p:spPr>
        <p:txBody>
          <a:bodyPr/>
          <a:lstStyle/>
          <a:p>
            <a:endParaRPr lang="cs-CZ"/>
          </a:p>
        </p:txBody>
      </p:sp>
      <p:sp>
        <p:nvSpPr>
          <p:cNvPr id="265" name="Freeform 273"/>
          <p:cNvSpPr>
            <a:spLocks/>
          </p:cNvSpPr>
          <p:nvPr/>
        </p:nvSpPr>
        <p:spPr bwMode="auto">
          <a:xfrm>
            <a:off x="4338638" y="4690640"/>
            <a:ext cx="401637" cy="523875"/>
          </a:xfrm>
          <a:custGeom>
            <a:avLst/>
            <a:gdLst>
              <a:gd name="T0" fmla="*/ 12 w 505"/>
              <a:gd name="T1" fmla="*/ 50 h 661"/>
              <a:gd name="T2" fmla="*/ 55 w 505"/>
              <a:gd name="T3" fmla="*/ 40 h 661"/>
              <a:gd name="T4" fmla="*/ 100 w 505"/>
              <a:gd name="T5" fmla="*/ 0 h 661"/>
              <a:gd name="T6" fmla="*/ 149 w 505"/>
              <a:gd name="T7" fmla="*/ 10 h 661"/>
              <a:gd name="T8" fmla="*/ 183 w 505"/>
              <a:gd name="T9" fmla="*/ 30 h 661"/>
              <a:gd name="T10" fmla="*/ 236 w 505"/>
              <a:gd name="T11" fmla="*/ 67 h 661"/>
              <a:gd name="T12" fmla="*/ 265 w 505"/>
              <a:gd name="T13" fmla="*/ 132 h 661"/>
              <a:gd name="T14" fmla="*/ 308 w 505"/>
              <a:gd name="T15" fmla="*/ 150 h 661"/>
              <a:gd name="T16" fmla="*/ 332 w 505"/>
              <a:gd name="T17" fmla="*/ 211 h 661"/>
              <a:gd name="T18" fmla="*/ 399 w 505"/>
              <a:gd name="T19" fmla="*/ 230 h 661"/>
              <a:gd name="T20" fmla="*/ 424 w 505"/>
              <a:gd name="T21" fmla="*/ 234 h 661"/>
              <a:gd name="T22" fmla="*/ 458 w 505"/>
              <a:gd name="T23" fmla="*/ 238 h 661"/>
              <a:gd name="T24" fmla="*/ 436 w 505"/>
              <a:gd name="T25" fmla="*/ 266 h 661"/>
              <a:gd name="T26" fmla="*/ 454 w 505"/>
              <a:gd name="T27" fmla="*/ 297 h 661"/>
              <a:gd name="T28" fmla="*/ 442 w 505"/>
              <a:gd name="T29" fmla="*/ 327 h 661"/>
              <a:gd name="T30" fmla="*/ 477 w 505"/>
              <a:gd name="T31" fmla="*/ 452 h 661"/>
              <a:gd name="T32" fmla="*/ 473 w 505"/>
              <a:gd name="T33" fmla="*/ 529 h 661"/>
              <a:gd name="T34" fmla="*/ 462 w 505"/>
              <a:gd name="T35" fmla="*/ 608 h 661"/>
              <a:gd name="T36" fmla="*/ 418 w 505"/>
              <a:gd name="T37" fmla="*/ 610 h 661"/>
              <a:gd name="T38" fmla="*/ 385 w 505"/>
              <a:gd name="T39" fmla="*/ 617 h 661"/>
              <a:gd name="T40" fmla="*/ 336 w 505"/>
              <a:gd name="T41" fmla="*/ 627 h 661"/>
              <a:gd name="T42" fmla="*/ 293 w 505"/>
              <a:gd name="T43" fmla="*/ 625 h 661"/>
              <a:gd name="T44" fmla="*/ 281 w 505"/>
              <a:gd name="T45" fmla="*/ 659 h 661"/>
              <a:gd name="T46" fmla="*/ 247 w 505"/>
              <a:gd name="T47" fmla="*/ 643 h 661"/>
              <a:gd name="T48" fmla="*/ 210 w 505"/>
              <a:gd name="T49" fmla="*/ 617 h 661"/>
              <a:gd name="T50" fmla="*/ 194 w 505"/>
              <a:gd name="T51" fmla="*/ 590 h 661"/>
              <a:gd name="T52" fmla="*/ 177 w 505"/>
              <a:gd name="T53" fmla="*/ 554 h 661"/>
              <a:gd name="T54" fmla="*/ 204 w 505"/>
              <a:gd name="T55" fmla="*/ 527 h 661"/>
              <a:gd name="T56" fmla="*/ 173 w 505"/>
              <a:gd name="T57" fmla="*/ 492 h 661"/>
              <a:gd name="T58" fmla="*/ 137 w 505"/>
              <a:gd name="T59" fmla="*/ 462 h 661"/>
              <a:gd name="T60" fmla="*/ 96 w 505"/>
              <a:gd name="T61" fmla="*/ 443 h 661"/>
              <a:gd name="T62" fmla="*/ 102 w 505"/>
              <a:gd name="T63" fmla="*/ 407 h 661"/>
              <a:gd name="T64" fmla="*/ 86 w 505"/>
              <a:gd name="T65" fmla="*/ 356 h 661"/>
              <a:gd name="T66" fmla="*/ 120 w 505"/>
              <a:gd name="T67" fmla="*/ 344 h 661"/>
              <a:gd name="T68" fmla="*/ 94 w 505"/>
              <a:gd name="T69" fmla="*/ 317 h 661"/>
              <a:gd name="T70" fmla="*/ 59 w 505"/>
              <a:gd name="T71" fmla="*/ 297 h 661"/>
              <a:gd name="T72" fmla="*/ 65 w 505"/>
              <a:gd name="T73" fmla="*/ 246 h 661"/>
              <a:gd name="T74" fmla="*/ 86 w 505"/>
              <a:gd name="T75" fmla="*/ 207 h 661"/>
              <a:gd name="T76" fmla="*/ 53 w 505"/>
              <a:gd name="T77" fmla="*/ 197 h 661"/>
              <a:gd name="T78" fmla="*/ 53 w 505"/>
              <a:gd name="T79" fmla="*/ 160 h 661"/>
              <a:gd name="T80" fmla="*/ 82 w 505"/>
              <a:gd name="T81" fmla="*/ 146 h 661"/>
              <a:gd name="T82" fmla="*/ 43 w 505"/>
              <a:gd name="T83" fmla="*/ 138 h 661"/>
              <a:gd name="T84" fmla="*/ 29 w 505"/>
              <a:gd name="T85" fmla="*/ 114 h 661"/>
              <a:gd name="T86" fmla="*/ 18 w 505"/>
              <a:gd name="T87" fmla="*/ 95 h 661"/>
              <a:gd name="T88" fmla="*/ 0 w 505"/>
              <a:gd name="T89" fmla="*/ 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5" h="661">
                <a:moveTo>
                  <a:pt x="0" y="44"/>
                </a:moveTo>
                <a:lnTo>
                  <a:pt x="12" y="50"/>
                </a:lnTo>
                <a:lnTo>
                  <a:pt x="29" y="32"/>
                </a:lnTo>
                <a:lnTo>
                  <a:pt x="55" y="40"/>
                </a:lnTo>
                <a:lnTo>
                  <a:pt x="71" y="30"/>
                </a:lnTo>
                <a:lnTo>
                  <a:pt x="100" y="0"/>
                </a:lnTo>
                <a:lnTo>
                  <a:pt x="132" y="0"/>
                </a:lnTo>
                <a:lnTo>
                  <a:pt x="149" y="10"/>
                </a:lnTo>
                <a:lnTo>
                  <a:pt x="169" y="20"/>
                </a:lnTo>
                <a:lnTo>
                  <a:pt x="183" y="30"/>
                </a:lnTo>
                <a:lnTo>
                  <a:pt x="206" y="30"/>
                </a:lnTo>
                <a:lnTo>
                  <a:pt x="236" y="67"/>
                </a:lnTo>
                <a:lnTo>
                  <a:pt x="249" y="103"/>
                </a:lnTo>
                <a:lnTo>
                  <a:pt x="265" y="132"/>
                </a:lnTo>
                <a:lnTo>
                  <a:pt x="279" y="144"/>
                </a:lnTo>
                <a:lnTo>
                  <a:pt x="308" y="150"/>
                </a:lnTo>
                <a:lnTo>
                  <a:pt x="318" y="169"/>
                </a:lnTo>
                <a:lnTo>
                  <a:pt x="332" y="211"/>
                </a:lnTo>
                <a:lnTo>
                  <a:pt x="373" y="230"/>
                </a:lnTo>
                <a:lnTo>
                  <a:pt x="399" y="230"/>
                </a:lnTo>
                <a:lnTo>
                  <a:pt x="413" y="242"/>
                </a:lnTo>
                <a:lnTo>
                  <a:pt x="424" y="234"/>
                </a:lnTo>
                <a:lnTo>
                  <a:pt x="442" y="220"/>
                </a:lnTo>
                <a:lnTo>
                  <a:pt x="458" y="238"/>
                </a:lnTo>
                <a:lnTo>
                  <a:pt x="448" y="256"/>
                </a:lnTo>
                <a:lnTo>
                  <a:pt x="436" y="266"/>
                </a:lnTo>
                <a:lnTo>
                  <a:pt x="446" y="285"/>
                </a:lnTo>
                <a:lnTo>
                  <a:pt x="454" y="297"/>
                </a:lnTo>
                <a:lnTo>
                  <a:pt x="452" y="317"/>
                </a:lnTo>
                <a:lnTo>
                  <a:pt x="442" y="327"/>
                </a:lnTo>
                <a:lnTo>
                  <a:pt x="442" y="401"/>
                </a:lnTo>
                <a:lnTo>
                  <a:pt x="477" y="452"/>
                </a:lnTo>
                <a:lnTo>
                  <a:pt x="505" y="478"/>
                </a:lnTo>
                <a:lnTo>
                  <a:pt x="473" y="529"/>
                </a:lnTo>
                <a:lnTo>
                  <a:pt x="462" y="554"/>
                </a:lnTo>
                <a:lnTo>
                  <a:pt x="462" y="608"/>
                </a:lnTo>
                <a:lnTo>
                  <a:pt x="436" y="608"/>
                </a:lnTo>
                <a:lnTo>
                  <a:pt x="418" y="610"/>
                </a:lnTo>
                <a:lnTo>
                  <a:pt x="401" y="610"/>
                </a:lnTo>
                <a:lnTo>
                  <a:pt x="385" y="617"/>
                </a:lnTo>
                <a:lnTo>
                  <a:pt x="350" y="617"/>
                </a:lnTo>
                <a:lnTo>
                  <a:pt x="336" y="627"/>
                </a:lnTo>
                <a:lnTo>
                  <a:pt x="318" y="621"/>
                </a:lnTo>
                <a:lnTo>
                  <a:pt x="293" y="625"/>
                </a:lnTo>
                <a:lnTo>
                  <a:pt x="283" y="641"/>
                </a:lnTo>
                <a:lnTo>
                  <a:pt x="281" y="659"/>
                </a:lnTo>
                <a:lnTo>
                  <a:pt x="257" y="661"/>
                </a:lnTo>
                <a:lnTo>
                  <a:pt x="247" y="643"/>
                </a:lnTo>
                <a:lnTo>
                  <a:pt x="236" y="633"/>
                </a:lnTo>
                <a:lnTo>
                  <a:pt x="210" y="617"/>
                </a:lnTo>
                <a:lnTo>
                  <a:pt x="196" y="610"/>
                </a:lnTo>
                <a:lnTo>
                  <a:pt x="194" y="590"/>
                </a:lnTo>
                <a:lnTo>
                  <a:pt x="192" y="566"/>
                </a:lnTo>
                <a:lnTo>
                  <a:pt x="177" y="554"/>
                </a:lnTo>
                <a:lnTo>
                  <a:pt x="216" y="551"/>
                </a:lnTo>
                <a:lnTo>
                  <a:pt x="204" y="527"/>
                </a:lnTo>
                <a:lnTo>
                  <a:pt x="175" y="515"/>
                </a:lnTo>
                <a:lnTo>
                  <a:pt x="173" y="492"/>
                </a:lnTo>
                <a:lnTo>
                  <a:pt x="157" y="472"/>
                </a:lnTo>
                <a:lnTo>
                  <a:pt x="137" y="462"/>
                </a:lnTo>
                <a:lnTo>
                  <a:pt x="120" y="452"/>
                </a:lnTo>
                <a:lnTo>
                  <a:pt x="96" y="443"/>
                </a:lnTo>
                <a:lnTo>
                  <a:pt x="88" y="417"/>
                </a:lnTo>
                <a:lnTo>
                  <a:pt x="102" y="407"/>
                </a:lnTo>
                <a:lnTo>
                  <a:pt x="116" y="393"/>
                </a:lnTo>
                <a:lnTo>
                  <a:pt x="86" y="356"/>
                </a:lnTo>
                <a:lnTo>
                  <a:pt x="104" y="350"/>
                </a:lnTo>
                <a:lnTo>
                  <a:pt x="120" y="344"/>
                </a:lnTo>
                <a:lnTo>
                  <a:pt x="116" y="331"/>
                </a:lnTo>
                <a:lnTo>
                  <a:pt x="94" y="317"/>
                </a:lnTo>
                <a:lnTo>
                  <a:pt x="84" y="303"/>
                </a:lnTo>
                <a:lnTo>
                  <a:pt x="59" y="297"/>
                </a:lnTo>
                <a:lnTo>
                  <a:pt x="51" y="276"/>
                </a:lnTo>
                <a:lnTo>
                  <a:pt x="65" y="246"/>
                </a:lnTo>
                <a:lnTo>
                  <a:pt x="82" y="226"/>
                </a:lnTo>
                <a:lnTo>
                  <a:pt x="86" y="207"/>
                </a:lnTo>
                <a:lnTo>
                  <a:pt x="67" y="199"/>
                </a:lnTo>
                <a:lnTo>
                  <a:pt x="53" y="197"/>
                </a:lnTo>
                <a:lnTo>
                  <a:pt x="47" y="181"/>
                </a:lnTo>
                <a:lnTo>
                  <a:pt x="53" y="160"/>
                </a:lnTo>
                <a:lnTo>
                  <a:pt x="69" y="156"/>
                </a:lnTo>
                <a:lnTo>
                  <a:pt x="82" y="146"/>
                </a:lnTo>
                <a:lnTo>
                  <a:pt x="69" y="140"/>
                </a:lnTo>
                <a:lnTo>
                  <a:pt x="43" y="138"/>
                </a:lnTo>
                <a:lnTo>
                  <a:pt x="31" y="136"/>
                </a:lnTo>
                <a:lnTo>
                  <a:pt x="29" y="114"/>
                </a:lnTo>
                <a:lnTo>
                  <a:pt x="27" y="103"/>
                </a:lnTo>
                <a:lnTo>
                  <a:pt x="18" y="95"/>
                </a:lnTo>
                <a:lnTo>
                  <a:pt x="14" y="63"/>
                </a:lnTo>
                <a:lnTo>
                  <a:pt x="0" y="44"/>
                </a:lnTo>
                <a:close/>
              </a:path>
            </a:pathLst>
          </a:custGeom>
          <a:solidFill>
            <a:srgbClr val="FA0000"/>
          </a:solidFill>
          <a:ln w="9525">
            <a:solidFill>
              <a:srgbClr val="000000"/>
            </a:solidFill>
            <a:prstDash val="solid"/>
            <a:round/>
            <a:headEnd/>
            <a:tailEnd/>
          </a:ln>
        </p:spPr>
        <p:txBody>
          <a:bodyPr/>
          <a:lstStyle/>
          <a:p>
            <a:endParaRPr lang="cs-CZ"/>
          </a:p>
        </p:txBody>
      </p:sp>
      <p:sp>
        <p:nvSpPr>
          <p:cNvPr id="266" name="Freeform 274"/>
          <p:cNvSpPr>
            <a:spLocks/>
          </p:cNvSpPr>
          <p:nvPr/>
        </p:nvSpPr>
        <p:spPr bwMode="auto">
          <a:xfrm>
            <a:off x="3862388" y="4619203"/>
            <a:ext cx="273050" cy="196850"/>
          </a:xfrm>
          <a:custGeom>
            <a:avLst/>
            <a:gdLst>
              <a:gd name="T0" fmla="*/ 19 w 343"/>
              <a:gd name="T1" fmla="*/ 53 h 250"/>
              <a:gd name="T2" fmla="*/ 33 w 343"/>
              <a:gd name="T3" fmla="*/ 61 h 250"/>
              <a:gd name="T4" fmla="*/ 59 w 343"/>
              <a:gd name="T5" fmla="*/ 57 h 250"/>
              <a:gd name="T6" fmla="*/ 139 w 343"/>
              <a:gd name="T7" fmla="*/ 67 h 250"/>
              <a:gd name="T8" fmla="*/ 165 w 343"/>
              <a:gd name="T9" fmla="*/ 31 h 250"/>
              <a:gd name="T10" fmla="*/ 235 w 343"/>
              <a:gd name="T11" fmla="*/ 35 h 250"/>
              <a:gd name="T12" fmla="*/ 257 w 343"/>
              <a:gd name="T13" fmla="*/ 20 h 250"/>
              <a:gd name="T14" fmla="*/ 290 w 343"/>
              <a:gd name="T15" fmla="*/ 26 h 250"/>
              <a:gd name="T16" fmla="*/ 308 w 343"/>
              <a:gd name="T17" fmla="*/ 0 h 250"/>
              <a:gd name="T18" fmla="*/ 328 w 343"/>
              <a:gd name="T19" fmla="*/ 12 h 250"/>
              <a:gd name="T20" fmla="*/ 338 w 343"/>
              <a:gd name="T21" fmla="*/ 35 h 250"/>
              <a:gd name="T22" fmla="*/ 343 w 343"/>
              <a:gd name="T23" fmla="*/ 57 h 250"/>
              <a:gd name="T24" fmla="*/ 320 w 343"/>
              <a:gd name="T25" fmla="*/ 39 h 250"/>
              <a:gd name="T26" fmla="*/ 308 w 343"/>
              <a:gd name="T27" fmla="*/ 55 h 250"/>
              <a:gd name="T28" fmla="*/ 318 w 343"/>
              <a:gd name="T29" fmla="*/ 79 h 250"/>
              <a:gd name="T30" fmla="*/ 298 w 343"/>
              <a:gd name="T31" fmla="*/ 73 h 250"/>
              <a:gd name="T32" fmla="*/ 287 w 343"/>
              <a:gd name="T33" fmla="*/ 94 h 250"/>
              <a:gd name="T34" fmla="*/ 265 w 343"/>
              <a:gd name="T35" fmla="*/ 98 h 250"/>
              <a:gd name="T36" fmla="*/ 247 w 343"/>
              <a:gd name="T37" fmla="*/ 106 h 250"/>
              <a:gd name="T38" fmla="*/ 255 w 343"/>
              <a:gd name="T39" fmla="*/ 126 h 250"/>
              <a:gd name="T40" fmla="*/ 261 w 343"/>
              <a:gd name="T41" fmla="*/ 143 h 250"/>
              <a:gd name="T42" fmla="*/ 255 w 343"/>
              <a:gd name="T43" fmla="*/ 169 h 250"/>
              <a:gd name="T44" fmla="*/ 245 w 343"/>
              <a:gd name="T45" fmla="*/ 177 h 250"/>
              <a:gd name="T46" fmla="*/ 222 w 343"/>
              <a:gd name="T47" fmla="*/ 183 h 250"/>
              <a:gd name="T48" fmla="*/ 210 w 343"/>
              <a:gd name="T49" fmla="*/ 200 h 250"/>
              <a:gd name="T50" fmla="*/ 210 w 343"/>
              <a:gd name="T51" fmla="*/ 218 h 250"/>
              <a:gd name="T52" fmla="*/ 210 w 343"/>
              <a:gd name="T53" fmla="*/ 244 h 250"/>
              <a:gd name="T54" fmla="*/ 194 w 343"/>
              <a:gd name="T55" fmla="*/ 250 h 250"/>
              <a:gd name="T56" fmla="*/ 182 w 343"/>
              <a:gd name="T57" fmla="*/ 230 h 250"/>
              <a:gd name="T58" fmla="*/ 159 w 343"/>
              <a:gd name="T59" fmla="*/ 230 h 250"/>
              <a:gd name="T60" fmla="*/ 141 w 343"/>
              <a:gd name="T61" fmla="*/ 210 h 250"/>
              <a:gd name="T62" fmla="*/ 135 w 343"/>
              <a:gd name="T63" fmla="*/ 197 h 250"/>
              <a:gd name="T64" fmla="*/ 118 w 343"/>
              <a:gd name="T65" fmla="*/ 200 h 250"/>
              <a:gd name="T66" fmla="*/ 114 w 343"/>
              <a:gd name="T67" fmla="*/ 218 h 250"/>
              <a:gd name="T68" fmla="*/ 92 w 343"/>
              <a:gd name="T69" fmla="*/ 230 h 250"/>
              <a:gd name="T70" fmla="*/ 64 w 343"/>
              <a:gd name="T71" fmla="*/ 232 h 250"/>
              <a:gd name="T72" fmla="*/ 43 w 343"/>
              <a:gd name="T73" fmla="*/ 236 h 250"/>
              <a:gd name="T74" fmla="*/ 19 w 343"/>
              <a:gd name="T75" fmla="*/ 244 h 250"/>
              <a:gd name="T76" fmla="*/ 13 w 343"/>
              <a:gd name="T77" fmla="*/ 222 h 250"/>
              <a:gd name="T78" fmla="*/ 45 w 343"/>
              <a:gd name="T79" fmla="*/ 208 h 250"/>
              <a:gd name="T80" fmla="*/ 63 w 343"/>
              <a:gd name="T81" fmla="*/ 198 h 250"/>
              <a:gd name="T82" fmla="*/ 21 w 343"/>
              <a:gd name="T83" fmla="*/ 161 h 250"/>
              <a:gd name="T84" fmla="*/ 25 w 343"/>
              <a:gd name="T85" fmla="*/ 140 h 250"/>
              <a:gd name="T86" fmla="*/ 13 w 343"/>
              <a:gd name="T87" fmla="*/ 134 h 250"/>
              <a:gd name="T88" fmla="*/ 17 w 343"/>
              <a:gd name="T89" fmla="*/ 112 h 250"/>
              <a:gd name="T90" fmla="*/ 8 w 343"/>
              <a:gd name="T91" fmla="*/ 98 h 250"/>
              <a:gd name="T92" fmla="*/ 0 w 343"/>
              <a:gd name="T93" fmla="*/ 90 h 250"/>
              <a:gd name="T94" fmla="*/ 8 w 343"/>
              <a:gd name="T95" fmla="*/ 73 h 250"/>
              <a:gd name="T96" fmla="*/ 19 w 343"/>
              <a:gd name="T97" fmla="*/ 63 h 250"/>
              <a:gd name="T98" fmla="*/ 19 w 343"/>
              <a:gd name="T99" fmla="*/ 5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3" h="250">
                <a:moveTo>
                  <a:pt x="19" y="53"/>
                </a:moveTo>
                <a:lnTo>
                  <a:pt x="33" y="61"/>
                </a:lnTo>
                <a:lnTo>
                  <a:pt x="59" y="57"/>
                </a:lnTo>
                <a:lnTo>
                  <a:pt x="139" y="67"/>
                </a:lnTo>
                <a:lnTo>
                  <a:pt x="165" y="31"/>
                </a:lnTo>
                <a:lnTo>
                  <a:pt x="235" y="35"/>
                </a:lnTo>
                <a:lnTo>
                  <a:pt x="257" y="20"/>
                </a:lnTo>
                <a:lnTo>
                  <a:pt x="290" y="26"/>
                </a:lnTo>
                <a:lnTo>
                  <a:pt x="308" y="0"/>
                </a:lnTo>
                <a:lnTo>
                  <a:pt x="328" y="12"/>
                </a:lnTo>
                <a:lnTo>
                  <a:pt x="338" y="35"/>
                </a:lnTo>
                <a:lnTo>
                  <a:pt x="343" y="57"/>
                </a:lnTo>
                <a:lnTo>
                  <a:pt x="320" y="39"/>
                </a:lnTo>
                <a:lnTo>
                  <a:pt x="308" y="55"/>
                </a:lnTo>
                <a:lnTo>
                  <a:pt x="318" y="79"/>
                </a:lnTo>
                <a:lnTo>
                  <a:pt x="298" y="73"/>
                </a:lnTo>
                <a:lnTo>
                  <a:pt x="287" y="94"/>
                </a:lnTo>
                <a:lnTo>
                  <a:pt x="265" y="98"/>
                </a:lnTo>
                <a:lnTo>
                  <a:pt x="247" y="106"/>
                </a:lnTo>
                <a:lnTo>
                  <a:pt x="255" y="126"/>
                </a:lnTo>
                <a:lnTo>
                  <a:pt x="261" y="143"/>
                </a:lnTo>
                <a:lnTo>
                  <a:pt x="255" y="169"/>
                </a:lnTo>
                <a:lnTo>
                  <a:pt x="245" y="177"/>
                </a:lnTo>
                <a:lnTo>
                  <a:pt x="222" y="183"/>
                </a:lnTo>
                <a:lnTo>
                  <a:pt x="210" y="200"/>
                </a:lnTo>
                <a:lnTo>
                  <a:pt x="210" y="218"/>
                </a:lnTo>
                <a:lnTo>
                  <a:pt x="210" y="244"/>
                </a:lnTo>
                <a:lnTo>
                  <a:pt x="194" y="250"/>
                </a:lnTo>
                <a:lnTo>
                  <a:pt x="182" y="230"/>
                </a:lnTo>
                <a:lnTo>
                  <a:pt x="159" y="230"/>
                </a:lnTo>
                <a:lnTo>
                  <a:pt x="141" y="210"/>
                </a:lnTo>
                <a:lnTo>
                  <a:pt x="135" y="197"/>
                </a:lnTo>
                <a:lnTo>
                  <a:pt x="118" y="200"/>
                </a:lnTo>
                <a:lnTo>
                  <a:pt x="114" y="218"/>
                </a:lnTo>
                <a:lnTo>
                  <a:pt x="92" y="230"/>
                </a:lnTo>
                <a:lnTo>
                  <a:pt x="64" y="232"/>
                </a:lnTo>
                <a:lnTo>
                  <a:pt x="43" y="236"/>
                </a:lnTo>
                <a:lnTo>
                  <a:pt x="19" y="244"/>
                </a:lnTo>
                <a:lnTo>
                  <a:pt x="13" y="222"/>
                </a:lnTo>
                <a:lnTo>
                  <a:pt x="45" y="208"/>
                </a:lnTo>
                <a:lnTo>
                  <a:pt x="63" y="198"/>
                </a:lnTo>
                <a:lnTo>
                  <a:pt x="21" y="161"/>
                </a:lnTo>
                <a:lnTo>
                  <a:pt x="25" y="140"/>
                </a:lnTo>
                <a:lnTo>
                  <a:pt x="13" y="134"/>
                </a:lnTo>
                <a:lnTo>
                  <a:pt x="17" y="112"/>
                </a:lnTo>
                <a:lnTo>
                  <a:pt x="8" y="98"/>
                </a:lnTo>
                <a:lnTo>
                  <a:pt x="0" y="90"/>
                </a:lnTo>
                <a:lnTo>
                  <a:pt x="8" y="73"/>
                </a:lnTo>
                <a:lnTo>
                  <a:pt x="19" y="63"/>
                </a:lnTo>
                <a:lnTo>
                  <a:pt x="19" y="53"/>
                </a:lnTo>
                <a:close/>
              </a:path>
            </a:pathLst>
          </a:custGeom>
          <a:solidFill>
            <a:srgbClr val="D0D0D0"/>
          </a:solidFill>
          <a:ln w="9525">
            <a:solidFill>
              <a:srgbClr val="000000"/>
            </a:solidFill>
            <a:prstDash val="solid"/>
            <a:round/>
            <a:headEnd/>
            <a:tailEnd/>
          </a:ln>
        </p:spPr>
        <p:txBody>
          <a:bodyPr/>
          <a:lstStyle/>
          <a:p>
            <a:endParaRPr lang="cs-CZ"/>
          </a:p>
        </p:txBody>
      </p:sp>
      <p:sp>
        <p:nvSpPr>
          <p:cNvPr id="267" name="Freeform 275"/>
          <p:cNvSpPr>
            <a:spLocks/>
          </p:cNvSpPr>
          <p:nvPr/>
        </p:nvSpPr>
        <p:spPr bwMode="auto">
          <a:xfrm>
            <a:off x="4098925" y="4384253"/>
            <a:ext cx="576263" cy="365125"/>
          </a:xfrm>
          <a:custGeom>
            <a:avLst/>
            <a:gdLst>
              <a:gd name="T0" fmla="*/ 30 w 725"/>
              <a:gd name="T1" fmla="*/ 271 h 460"/>
              <a:gd name="T2" fmla="*/ 47 w 725"/>
              <a:gd name="T3" fmla="*/ 216 h 460"/>
              <a:gd name="T4" fmla="*/ 59 w 725"/>
              <a:gd name="T5" fmla="*/ 183 h 460"/>
              <a:gd name="T6" fmla="*/ 55 w 725"/>
              <a:gd name="T7" fmla="*/ 154 h 460"/>
              <a:gd name="T8" fmla="*/ 106 w 725"/>
              <a:gd name="T9" fmla="*/ 154 h 460"/>
              <a:gd name="T10" fmla="*/ 120 w 725"/>
              <a:gd name="T11" fmla="*/ 150 h 460"/>
              <a:gd name="T12" fmla="*/ 175 w 725"/>
              <a:gd name="T13" fmla="*/ 152 h 460"/>
              <a:gd name="T14" fmla="*/ 299 w 725"/>
              <a:gd name="T15" fmla="*/ 91 h 460"/>
              <a:gd name="T16" fmla="*/ 328 w 725"/>
              <a:gd name="T17" fmla="*/ 79 h 460"/>
              <a:gd name="T18" fmla="*/ 370 w 725"/>
              <a:gd name="T19" fmla="*/ 69 h 460"/>
              <a:gd name="T20" fmla="*/ 415 w 725"/>
              <a:gd name="T21" fmla="*/ 71 h 460"/>
              <a:gd name="T22" fmla="*/ 462 w 725"/>
              <a:gd name="T23" fmla="*/ 51 h 460"/>
              <a:gd name="T24" fmla="*/ 497 w 725"/>
              <a:gd name="T25" fmla="*/ 0 h 460"/>
              <a:gd name="T26" fmla="*/ 588 w 725"/>
              <a:gd name="T27" fmla="*/ 2 h 460"/>
              <a:gd name="T28" fmla="*/ 647 w 725"/>
              <a:gd name="T29" fmla="*/ 6 h 460"/>
              <a:gd name="T30" fmla="*/ 706 w 725"/>
              <a:gd name="T31" fmla="*/ 44 h 460"/>
              <a:gd name="T32" fmla="*/ 725 w 725"/>
              <a:gd name="T33" fmla="*/ 85 h 460"/>
              <a:gd name="T34" fmla="*/ 680 w 725"/>
              <a:gd name="T35" fmla="*/ 112 h 460"/>
              <a:gd name="T36" fmla="*/ 651 w 725"/>
              <a:gd name="T37" fmla="*/ 150 h 460"/>
              <a:gd name="T38" fmla="*/ 635 w 725"/>
              <a:gd name="T39" fmla="*/ 177 h 460"/>
              <a:gd name="T40" fmla="*/ 617 w 725"/>
              <a:gd name="T41" fmla="*/ 228 h 460"/>
              <a:gd name="T42" fmla="*/ 600 w 725"/>
              <a:gd name="T43" fmla="*/ 270 h 460"/>
              <a:gd name="T44" fmla="*/ 576 w 725"/>
              <a:gd name="T45" fmla="*/ 323 h 460"/>
              <a:gd name="T46" fmla="*/ 554 w 725"/>
              <a:gd name="T47" fmla="*/ 362 h 460"/>
              <a:gd name="T48" fmla="*/ 490 w 725"/>
              <a:gd name="T49" fmla="*/ 389 h 460"/>
              <a:gd name="T50" fmla="*/ 456 w 725"/>
              <a:gd name="T51" fmla="*/ 387 h 460"/>
              <a:gd name="T52" fmla="*/ 413 w 725"/>
              <a:gd name="T53" fmla="*/ 383 h 460"/>
              <a:gd name="T54" fmla="*/ 378 w 725"/>
              <a:gd name="T55" fmla="*/ 409 h 460"/>
              <a:gd name="T56" fmla="*/ 332 w 725"/>
              <a:gd name="T57" fmla="*/ 417 h 460"/>
              <a:gd name="T58" fmla="*/ 303 w 725"/>
              <a:gd name="T59" fmla="*/ 431 h 460"/>
              <a:gd name="T60" fmla="*/ 246 w 725"/>
              <a:gd name="T61" fmla="*/ 460 h 460"/>
              <a:gd name="T62" fmla="*/ 179 w 725"/>
              <a:gd name="T63" fmla="*/ 446 h 460"/>
              <a:gd name="T64" fmla="*/ 142 w 725"/>
              <a:gd name="T65" fmla="*/ 409 h 460"/>
              <a:gd name="T66" fmla="*/ 99 w 725"/>
              <a:gd name="T67" fmla="*/ 383 h 460"/>
              <a:gd name="T68" fmla="*/ 47 w 725"/>
              <a:gd name="T69" fmla="*/ 346 h 460"/>
              <a:gd name="T70" fmla="*/ 34 w 725"/>
              <a:gd name="T71" fmla="*/ 309 h 460"/>
              <a:gd name="T72" fmla="*/ 0 w 725"/>
              <a:gd name="T73" fmla="*/ 30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5" h="460">
                <a:moveTo>
                  <a:pt x="0" y="301"/>
                </a:moveTo>
                <a:lnTo>
                  <a:pt x="30" y="271"/>
                </a:lnTo>
                <a:lnTo>
                  <a:pt x="45" y="262"/>
                </a:lnTo>
                <a:lnTo>
                  <a:pt x="47" y="216"/>
                </a:lnTo>
                <a:lnTo>
                  <a:pt x="57" y="203"/>
                </a:lnTo>
                <a:lnTo>
                  <a:pt x="59" y="183"/>
                </a:lnTo>
                <a:lnTo>
                  <a:pt x="53" y="171"/>
                </a:lnTo>
                <a:lnTo>
                  <a:pt x="55" y="154"/>
                </a:lnTo>
                <a:lnTo>
                  <a:pt x="79" y="154"/>
                </a:lnTo>
                <a:lnTo>
                  <a:pt x="106" y="154"/>
                </a:lnTo>
                <a:lnTo>
                  <a:pt x="110" y="140"/>
                </a:lnTo>
                <a:lnTo>
                  <a:pt x="120" y="150"/>
                </a:lnTo>
                <a:lnTo>
                  <a:pt x="120" y="97"/>
                </a:lnTo>
                <a:lnTo>
                  <a:pt x="175" y="152"/>
                </a:lnTo>
                <a:lnTo>
                  <a:pt x="264" y="152"/>
                </a:lnTo>
                <a:lnTo>
                  <a:pt x="299" y="91"/>
                </a:lnTo>
                <a:lnTo>
                  <a:pt x="317" y="91"/>
                </a:lnTo>
                <a:lnTo>
                  <a:pt x="328" y="79"/>
                </a:lnTo>
                <a:lnTo>
                  <a:pt x="358" y="65"/>
                </a:lnTo>
                <a:lnTo>
                  <a:pt x="370" y="69"/>
                </a:lnTo>
                <a:lnTo>
                  <a:pt x="387" y="53"/>
                </a:lnTo>
                <a:lnTo>
                  <a:pt x="415" y="71"/>
                </a:lnTo>
                <a:lnTo>
                  <a:pt x="433" y="55"/>
                </a:lnTo>
                <a:lnTo>
                  <a:pt x="462" y="51"/>
                </a:lnTo>
                <a:lnTo>
                  <a:pt x="468" y="16"/>
                </a:lnTo>
                <a:lnTo>
                  <a:pt x="497" y="0"/>
                </a:lnTo>
                <a:lnTo>
                  <a:pt x="548" y="0"/>
                </a:lnTo>
                <a:lnTo>
                  <a:pt x="588" y="2"/>
                </a:lnTo>
                <a:lnTo>
                  <a:pt x="619" y="22"/>
                </a:lnTo>
                <a:lnTo>
                  <a:pt x="647" y="6"/>
                </a:lnTo>
                <a:lnTo>
                  <a:pt x="680" y="26"/>
                </a:lnTo>
                <a:lnTo>
                  <a:pt x="706" y="44"/>
                </a:lnTo>
                <a:lnTo>
                  <a:pt x="721" y="65"/>
                </a:lnTo>
                <a:lnTo>
                  <a:pt x="725" y="85"/>
                </a:lnTo>
                <a:lnTo>
                  <a:pt x="710" y="108"/>
                </a:lnTo>
                <a:lnTo>
                  <a:pt x="680" y="112"/>
                </a:lnTo>
                <a:lnTo>
                  <a:pt x="662" y="118"/>
                </a:lnTo>
                <a:lnTo>
                  <a:pt x="651" y="150"/>
                </a:lnTo>
                <a:lnTo>
                  <a:pt x="649" y="177"/>
                </a:lnTo>
                <a:lnTo>
                  <a:pt x="635" y="177"/>
                </a:lnTo>
                <a:lnTo>
                  <a:pt x="637" y="205"/>
                </a:lnTo>
                <a:lnTo>
                  <a:pt x="617" y="228"/>
                </a:lnTo>
                <a:lnTo>
                  <a:pt x="617" y="244"/>
                </a:lnTo>
                <a:lnTo>
                  <a:pt x="600" y="270"/>
                </a:lnTo>
                <a:lnTo>
                  <a:pt x="594" y="295"/>
                </a:lnTo>
                <a:lnTo>
                  <a:pt x="576" y="323"/>
                </a:lnTo>
                <a:lnTo>
                  <a:pt x="572" y="342"/>
                </a:lnTo>
                <a:lnTo>
                  <a:pt x="554" y="362"/>
                </a:lnTo>
                <a:lnTo>
                  <a:pt x="511" y="376"/>
                </a:lnTo>
                <a:lnTo>
                  <a:pt x="490" y="389"/>
                </a:lnTo>
                <a:lnTo>
                  <a:pt x="476" y="399"/>
                </a:lnTo>
                <a:lnTo>
                  <a:pt x="456" y="387"/>
                </a:lnTo>
                <a:lnTo>
                  <a:pt x="435" y="382"/>
                </a:lnTo>
                <a:lnTo>
                  <a:pt x="413" y="383"/>
                </a:lnTo>
                <a:lnTo>
                  <a:pt x="399" y="385"/>
                </a:lnTo>
                <a:lnTo>
                  <a:pt x="378" y="409"/>
                </a:lnTo>
                <a:lnTo>
                  <a:pt x="360" y="419"/>
                </a:lnTo>
                <a:lnTo>
                  <a:pt x="332" y="417"/>
                </a:lnTo>
                <a:lnTo>
                  <a:pt x="321" y="431"/>
                </a:lnTo>
                <a:lnTo>
                  <a:pt x="303" y="431"/>
                </a:lnTo>
                <a:lnTo>
                  <a:pt x="275" y="448"/>
                </a:lnTo>
                <a:lnTo>
                  <a:pt x="246" y="460"/>
                </a:lnTo>
                <a:lnTo>
                  <a:pt x="211" y="458"/>
                </a:lnTo>
                <a:lnTo>
                  <a:pt x="179" y="446"/>
                </a:lnTo>
                <a:lnTo>
                  <a:pt x="156" y="431"/>
                </a:lnTo>
                <a:lnTo>
                  <a:pt x="142" y="409"/>
                </a:lnTo>
                <a:lnTo>
                  <a:pt x="118" y="399"/>
                </a:lnTo>
                <a:lnTo>
                  <a:pt x="99" y="383"/>
                </a:lnTo>
                <a:lnTo>
                  <a:pt x="81" y="360"/>
                </a:lnTo>
                <a:lnTo>
                  <a:pt x="47" y="346"/>
                </a:lnTo>
                <a:lnTo>
                  <a:pt x="44" y="325"/>
                </a:lnTo>
                <a:lnTo>
                  <a:pt x="34" y="309"/>
                </a:lnTo>
                <a:lnTo>
                  <a:pt x="20" y="295"/>
                </a:lnTo>
                <a:lnTo>
                  <a:pt x="0" y="301"/>
                </a:lnTo>
                <a:close/>
              </a:path>
            </a:pathLst>
          </a:custGeom>
          <a:solidFill>
            <a:srgbClr val="D0D0D0"/>
          </a:solidFill>
          <a:ln w="9525">
            <a:solidFill>
              <a:srgbClr val="000000"/>
            </a:solidFill>
            <a:prstDash val="solid"/>
            <a:round/>
            <a:headEnd/>
            <a:tailEnd/>
          </a:ln>
        </p:spPr>
        <p:txBody>
          <a:bodyPr/>
          <a:lstStyle/>
          <a:p>
            <a:endParaRPr lang="cs-CZ"/>
          </a:p>
        </p:txBody>
      </p:sp>
      <p:sp>
        <p:nvSpPr>
          <p:cNvPr id="268" name="Freeform 276"/>
          <p:cNvSpPr>
            <a:spLocks/>
          </p:cNvSpPr>
          <p:nvPr/>
        </p:nvSpPr>
        <p:spPr bwMode="auto">
          <a:xfrm>
            <a:off x="3757613" y="4079453"/>
            <a:ext cx="563562" cy="311150"/>
          </a:xfrm>
          <a:custGeom>
            <a:avLst/>
            <a:gdLst>
              <a:gd name="T0" fmla="*/ 297 w 709"/>
              <a:gd name="T1" fmla="*/ 32 h 393"/>
              <a:gd name="T2" fmla="*/ 310 w 709"/>
              <a:gd name="T3" fmla="*/ 26 h 393"/>
              <a:gd name="T4" fmla="*/ 330 w 709"/>
              <a:gd name="T5" fmla="*/ 20 h 393"/>
              <a:gd name="T6" fmla="*/ 354 w 709"/>
              <a:gd name="T7" fmla="*/ 40 h 393"/>
              <a:gd name="T8" fmla="*/ 409 w 709"/>
              <a:gd name="T9" fmla="*/ 45 h 393"/>
              <a:gd name="T10" fmla="*/ 420 w 709"/>
              <a:gd name="T11" fmla="*/ 73 h 393"/>
              <a:gd name="T12" fmla="*/ 442 w 709"/>
              <a:gd name="T13" fmla="*/ 81 h 393"/>
              <a:gd name="T14" fmla="*/ 456 w 709"/>
              <a:gd name="T15" fmla="*/ 116 h 393"/>
              <a:gd name="T16" fmla="*/ 485 w 709"/>
              <a:gd name="T17" fmla="*/ 140 h 393"/>
              <a:gd name="T18" fmla="*/ 511 w 709"/>
              <a:gd name="T19" fmla="*/ 128 h 393"/>
              <a:gd name="T20" fmla="*/ 568 w 709"/>
              <a:gd name="T21" fmla="*/ 124 h 393"/>
              <a:gd name="T22" fmla="*/ 589 w 709"/>
              <a:gd name="T23" fmla="*/ 130 h 393"/>
              <a:gd name="T24" fmla="*/ 603 w 709"/>
              <a:gd name="T25" fmla="*/ 161 h 393"/>
              <a:gd name="T26" fmla="*/ 625 w 709"/>
              <a:gd name="T27" fmla="*/ 167 h 393"/>
              <a:gd name="T28" fmla="*/ 637 w 709"/>
              <a:gd name="T29" fmla="*/ 179 h 393"/>
              <a:gd name="T30" fmla="*/ 656 w 709"/>
              <a:gd name="T31" fmla="*/ 201 h 393"/>
              <a:gd name="T32" fmla="*/ 680 w 709"/>
              <a:gd name="T33" fmla="*/ 216 h 393"/>
              <a:gd name="T34" fmla="*/ 694 w 709"/>
              <a:gd name="T35" fmla="*/ 234 h 393"/>
              <a:gd name="T36" fmla="*/ 709 w 709"/>
              <a:gd name="T37" fmla="*/ 250 h 393"/>
              <a:gd name="T38" fmla="*/ 688 w 709"/>
              <a:gd name="T39" fmla="*/ 254 h 393"/>
              <a:gd name="T40" fmla="*/ 666 w 709"/>
              <a:gd name="T41" fmla="*/ 285 h 393"/>
              <a:gd name="T42" fmla="*/ 644 w 709"/>
              <a:gd name="T43" fmla="*/ 293 h 393"/>
              <a:gd name="T44" fmla="*/ 646 w 709"/>
              <a:gd name="T45" fmla="*/ 328 h 393"/>
              <a:gd name="T46" fmla="*/ 621 w 709"/>
              <a:gd name="T47" fmla="*/ 348 h 393"/>
              <a:gd name="T48" fmla="*/ 605 w 709"/>
              <a:gd name="T49" fmla="*/ 370 h 393"/>
              <a:gd name="T50" fmla="*/ 572 w 709"/>
              <a:gd name="T51" fmla="*/ 376 h 393"/>
              <a:gd name="T52" fmla="*/ 532 w 709"/>
              <a:gd name="T53" fmla="*/ 377 h 393"/>
              <a:gd name="T54" fmla="*/ 519 w 709"/>
              <a:gd name="T55" fmla="*/ 391 h 393"/>
              <a:gd name="T56" fmla="*/ 507 w 709"/>
              <a:gd name="T57" fmla="*/ 381 h 393"/>
              <a:gd name="T58" fmla="*/ 483 w 709"/>
              <a:gd name="T59" fmla="*/ 360 h 393"/>
              <a:gd name="T60" fmla="*/ 446 w 709"/>
              <a:gd name="T61" fmla="*/ 370 h 393"/>
              <a:gd name="T62" fmla="*/ 430 w 709"/>
              <a:gd name="T63" fmla="*/ 366 h 393"/>
              <a:gd name="T64" fmla="*/ 415 w 709"/>
              <a:gd name="T65" fmla="*/ 360 h 393"/>
              <a:gd name="T66" fmla="*/ 373 w 709"/>
              <a:gd name="T67" fmla="*/ 338 h 393"/>
              <a:gd name="T68" fmla="*/ 326 w 709"/>
              <a:gd name="T69" fmla="*/ 336 h 393"/>
              <a:gd name="T70" fmla="*/ 310 w 709"/>
              <a:gd name="T71" fmla="*/ 350 h 393"/>
              <a:gd name="T72" fmla="*/ 297 w 709"/>
              <a:gd name="T73" fmla="*/ 370 h 393"/>
              <a:gd name="T74" fmla="*/ 269 w 709"/>
              <a:gd name="T75" fmla="*/ 393 h 393"/>
              <a:gd name="T76" fmla="*/ 212 w 709"/>
              <a:gd name="T77" fmla="*/ 387 h 393"/>
              <a:gd name="T78" fmla="*/ 167 w 709"/>
              <a:gd name="T79" fmla="*/ 366 h 393"/>
              <a:gd name="T80" fmla="*/ 140 w 709"/>
              <a:gd name="T81" fmla="*/ 334 h 393"/>
              <a:gd name="T82" fmla="*/ 128 w 709"/>
              <a:gd name="T83" fmla="*/ 321 h 393"/>
              <a:gd name="T84" fmla="*/ 86 w 709"/>
              <a:gd name="T85" fmla="*/ 281 h 393"/>
              <a:gd name="T86" fmla="*/ 65 w 709"/>
              <a:gd name="T87" fmla="*/ 262 h 393"/>
              <a:gd name="T88" fmla="*/ 53 w 709"/>
              <a:gd name="T89" fmla="*/ 246 h 393"/>
              <a:gd name="T90" fmla="*/ 41 w 709"/>
              <a:gd name="T91" fmla="*/ 220 h 393"/>
              <a:gd name="T92" fmla="*/ 28 w 709"/>
              <a:gd name="T93" fmla="*/ 191 h 393"/>
              <a:gd name="T94" fmla="*/ 22 w 709"/>
              <a:gd name="T95" fmla="*/ 163 h 393"/>
              <a:gd name="T96" fmla="*/ 4 w 709"/>
              <a:gd name="T97" fmla="*/ 146 h 393"/>
              <a:gd name="T98" fmla="*/ 4 w 709"/>
              <a:gd name="T99" fmla="*/ 124 h 393"/>
              <a:gd name="T100" fmla="*/ 20 w 709"/>
              <a:gd name="T101" fmla="*/ 138 h 393"/>
              <a:gd name="T102" fmla="*/ 39 w 709"/>
              <a:gd name="T103" fmla="*/ 134 h 393"/>
              <a:gd name="T104" fmla="*/ 65 w 709"/>
              <a:gd name="T105" fmla="*/ 112 h 393"/>
              <a:gd name="T106" fmla="*/ 116 w 709"/>
              <a:gd name="T107" fmla="*/ 99 h 393"/>
              <a:gd name="T108" fmla="*/ 136 w 709"/>
              <a:gd name="T109" fmla="*/ 89 h 393"/>
              <a:gd name="T110" fmla="*/ 169 w 709"/>
              <a:gd name="T111" fmla="*/ 59 h 393"/>
              <a:gd name="T112" fmla="*/ 210 w 709"/>
              <a:gd name="T113" fmla="*/ 43 h 393"/>
              <a:gd name="T114" fmla="*/ 230 w 709"/>
              <a:gd name="T115" fmla="*/ 28 h 393"/>
              <a:gd name="T116" fmla="*/ 238 w 709"/>
              <a:gd name="T117" fmla="*/ 0 h 393"/>
              <a:gd name="T118" fmla="*/ 257 w 709"/>
              <a:gd name="T119" fmla="*/ 22 h 393"/>
              <a:gd name="T120" fmla="*/ 277 w 709"/>
              <a:gd name="T121" fmla="*/ 38 h 393"/>
              <a:gd name="T122" fmla="*/ 295 w 709"/>
              <a:gd name="T123" fmla="*/ 4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9" h="393">
                <a:moveTo>
                  <a:pt x="295" y="36"/>
                </a:moveTo>
                <a:lnTo>
                  <a:pt x="297" y="34"/>
                </a:lnTo>
                <a:lnTo>
                  <a:pt x="297" y="34"/>
                </a:lnTo>
                <a:lnTo>
                  <a:pt x="297" y="32"/>
                </a:lnTo>
                <a:lnTo>
                  <a:pt x="301" y="30"/>
                </a:lnTo>
                <a:lnTo>
                  <a:pt x="307" y="28"/>
                </a:lnTo>
                <a:lnTo>
                  <a:pt x="310" y="26"/>
                </a:lnTo>
                <a:lnTo>
                  <a:pt x="310" y="26"/>
                </a:lnTo>
                <a:lnTo>
                  <a:pt x="314" y="22"/>
                </a:lnTo>
                <a:lnTo>
                  <a:pt x="318" y="20"/>
                </a:lnTo>
                <a:lnTo>
                  <a:pt x="324" y="20"/>
                </a:lnTo>
                <a:lnTo>
                  <a:pt x="330" y="20"/>
                </a:lnTo>
                <a:lnTo>
                  <a:pt x="338" y="30"/>
                </a:lnTo>
                <a:lnTo>
                  <a:pt x="344" y="32"/>
                </a:lnTo>
                <a:lnTo>
                  <a:pt x="348" y="34"/>
                </a:lnTo>
                <a:lnTo>
                  <a:pt x="354" y="40"/>
                </a:lnTo>
                <a:lnTo>
                  <a:pt x="360" y="43"/>
                </a:lnTo>
                <a:lnTo>
                  <a:pt x="375" y="47"/>
                </a:lnTo>
                <a:lnTo>
                  <a:pt x="393" y="47"/>
                </a:lnTo>
                <a:lnTo>
                  <a:pt x="409" y="45"/>
                </a:lnTo>
                <a:lnTo>
                  <a:pt x="415" y="51"/>
                </a:lnTo>
                <a:lnTo>
                  <a:pt x="419" y="57"/>
                </a:lnTo>
                <a:lnTo>
                  <a:pt x="420" y="65"/>
                </a:lnTo>
                <a:lnTo>
                  <a:pt x="420" y="73"/>
                </a:lnTo>
                <a:lnTo>
                  <a:pt x="422" y="73"/>
                </a:lnTo>
                <a:lnTo>
                  <a:pt x="424" y="75"/>
                </a:lnTo>
                <a:lnTo>
                  <a:pt x="432" y="79"/>
                </a:lnTo>
                <a:lnTo>
                  <a:pt x="442" y="81"/>
                </a:lnTo>
                <a:lnTo>
                  <a:pt x="448" y="85"/>
                </a:lnTo>
                <a:lnTo>
                  <a:pt x="450" y="95"/>
                </a:lnTo>
                <a:lnTo>
                  <a:pt x="452" y="106"/>
                </a:lnTo>
                <a:lnTo>
                  <a:pt x="456" y="116"/>
                </a:lnTo>
                <a:lnTo>
                  <a:pt x="464" y="124"/>
                </a:lnTo>
                <a:lnTo>
                  <a:pt x="468" y="130"/>
                </a:lnTo>
                <a:lnTo>
                  <a:pt x="474" y="134"/>
                </a:lnTo>
                <a:lnTo>
                  <a:pt x="485" y="140"/>
                </a:lnTo>
                <a:lnTo>
                  <a:pt x="495" y="140"/>
                </a:lnTo>
                <a:lnTo>
                  <a:pt x="503" y="138"/>
                </a:lnTo>
                <a:lnTo>
                  <a:pt x="509" y="134"/>
                </a:lnTo>
                <a:lnTo>
                  <a:pt x="511" y="128"/>
                </a:lnTo>
                <a:lnTo>
                  <a:pt x="513" y="120"/>
                </a:lnTo>
                <a:lnTo>
                  <a:pt x="519" y="116"/>
                </a:lnTo>
                <a:lnTo>
                  <a:pt x="544" y="120"/>
                </a:lnTo>
                <a:lnTo>
                  <a:pt x="568" y="124"/>
                </a:lnTo>
                <a:lnTo>
                  <a:pt x="574" y="126"/>
                </a:lnTo>
                <a:lnTo>
                  <a:pt x="582" y="128"/>
                </a:lnTo>
                <a:lnTo>
                  <a:pt x="587" y="130"/>
                </a:lnTo>
                <a:lnTo>
                  <a:pt x="589" y="130"/>
                </a:lnTo>
                <a:lnTo>
                  <a:pt x="591" y="138"/>
                </a:lnTo>
                <a:lnTo>
                  <a:pt x="595" y="146"/>
                </a:lnTo>
                <a:lnTo>
                  <a:pt x="599" y="155"/>
                </a:lnTo>
                <a:lnTo>
                  <a:pt x="603" y="161"/>
                </a:lnTo>
                <a:lnTo>
                  <a:pt x="611" y="163"/>
                </a:lnTo>
                <a:lnTo>
                  <a:pt x="619" y="165"/>
                </a:lnTo>
                <a:lnTo>
                  <a:pt x="623" y="167"/>
                </a:lnTo>
                <a:lnTo>
                  <a:pt x="625" y="167"/>
                </a:lnTo>
                <a:lnTo>
                  <a:pt x="627" y="171"/>
                </a:lnTo>
                <a:lnTo>
                  <a:pt x="631" y="175"/>
                </a:lnTo>
                <a:lnTo>
                  <a:pt x="635" y="179"/>
                </a:lnTo>
                <a:lnTo>
                  <a:pt x="637" y="179"/>
                </a:lnTo>
                <a:lnTo>
                  <a:pt x="641" y="187"/>
                </a:lnTo>
                <a:lnTo>
                  <a:pt x="644" y="193"/>
                </a:lnTo>
                <a:lnTo>
                  <a:pt x="648" y="197"/>
                </a:lnTo>
                <a:lnTo>
                  <a:pt x="656" y="201"/>
                </a:lnTo>
                <a:lnTo>
                  <a:pt x="666" y="209"/>
                </a:lnTo>
                <a:lnTo>
                  <a:pt x="676" y="214"/>
                </a:lnTo>
                <a:lnTo>
                  <a:pt x="678" y="216"/>
                </a:lnTo>
                <a:lnTo>
                  <a:pt x="680" y="216"/>
                </a:lnTo>
                <a:lnTo>
                  <a:pt x="684" y="222"/>
                </a:lnTo>
                <a:lnTo>
                  <a:pt x="686" y="226"/>
                </a:lnTo>
                <a:lnTo>
                  <a:pt x="690" y="230"/>
                </a:lnTo>
                <a:lnTo>
                  <a:pt x="694" y="234"/>
                </a:lnTo>
                <a:lnTo>
                  <a:pt x="698" y="238"/>
                </a:lnTo>
                <a:lnTo>
                  <a:pt x="701" y="242"/>
                </a:lnTo>
                <a:lnTo>
                  <a:pt x="707" y="246"/>
                </a:lnTo>
                <a:lnTo>
                  <a:pt x="709" y="250"/>
                </a:lnTo>
                <a:lnTo>
                  <a:pt x="707" y="254"/>
                </a:lnTo>
                <a:lnTo>
                  <a:pt x="703" y="256"/>
                </a:lnTo>
                <a:lnTo>
                  <a:pt x="696" y="254"/>
                </a:lnTo>
                <a:lnTo>
                  <a:pt x="688" y="254"/>
                </a:lnTo>
                <a:lnTo>
                  <a:pt x="678" y="258"/>
                </a:lnTo>
                <a:lnTo>
                  <a:pt x="672" y="266"/>
                </a:lnTo>
                <a:lnTo>
                  <a:pt x="668" y="275"/>
                </a:lnTo>
                <a:lnTo>
                  <a:pt x="666" y="285"/>
                </a:lnTo>
                <a:lnTo>
                  <a:pt x="662" y="289"/>
                </a:lnTo>
                <a:lnTo>
                  <a:pt x="654" y="293"/>
                </a:lnTo>
                <a:lnTo>
                  <a:pt x="646" y="293"/>
                </a:lnTo>
                <a:lnTo>
                  <a:pt x="644" y="293"/>
                </a:lnTo>
                <a:lnTo>
                  <a:pt x="643" y="293"/>
                </a:lnTo>
                <a:lnTo>
                  <a:pt x="643" y="311"/>
                </a:lnTo>
                <a:lnTo>
                  <a:pt x="643" y="321"/>
                </a:lnTo>
                <a:lnTo>
                  <a:pt x="646" y="328"/>
                </a:lnTo>
                <a:lnTo>
                  <a:pt x="639" y="334"/>
                </a:lnTo>
                <a:lnTo>
                  <a:pt x="633" y="340"/>
                </a:lnTo>
                <a:lnTo>
                  <a:pt x="627" y="344"/>
                </a:lnTo>
                <a:lnTo>
                  <a:pt x="621" y="348"/>
                </a:lnTo>
                <a:lnTo>
                  <a:pt x="615" y="350"/>
                </a:lnTo>
                <a:lnTo>
                  <a:pt x="613" y="362"/>
                </a:lnTo>
                <a:lnTo>
                  <a:pt x="611" y="366"/>
                </a:lnTo>
                <a:lnTo>
                  <a:pt x="605" y="370"/>
                </a:lnTo>
                <a:lnTo>
                  <a:pt x="603" y="374"/>
                </a:lnTo>
                <a:lnTo>
                  <a:pt x="599" y="377"/>
                </a:lnTo>
                <a:lnTo>
                  <a:pt x="589" y="381"/>
                </a:lnTo>
                <a:lnTo>
                  <a:pt x="572" y="376"/>
                </a:lnTo>
                <a:lnTo>
                  <a:pt x="554" y="374"/>
                </a:lnTo>
                <a:lnTo>
                  <a:pt x="546" y="374"/>
                </a:lnTo>
                <a:lnTo>
                  <a:pt x="538" y="376"/>
                </a:lnTo>
                <a:lnTo>
                  <a:pt x="532" y="377"/>
                </a:lnTo>
                <a:lnTo>
                  <a:pt x="529" y="377"/>
                </a:lnTo>
                <a:lnTo>
                  <a:pt x="527" y="383"/>
                </a:lnTo>
                <a:lnTo>
                  <a:pt x="525" y="385"/>
                </a:lnTo>
                <a:lnTo>
                  <a:pt x="519" y="391"/>
                </a:lnTo>
                <a:lnTo>
                  <a:pt x="515" y="389"/>
                </a:lnTo>
                <a:lnTo>
                  <a:pt x="513" y="387"/>
                </a:lnTo>
                <a:lnTo>
                  <a:pt x="511" y="385"/>
                </a:lnTo>
                <a:lnTo>
                  <a:pt x="507" y="381"/>
                </a:lnTo>
                <a:lnTo>
                  <a:pt x="501" y="372"/>
                </a:lnTo>
                <a:lnTo>
                  <a:pt x="491" y="364"/>
                </a:lnTo>
                <a:lnTo>
                  <a:pt x="485" y="362"/>
                </a:lnTo>
                <a:lnTo>
                  <a:pt x="483" y="360"/>
                </a:lnTo>
                <a:lnTo>
                  <a:pt x="481" y="360"/>
                </a:lnTo>
                <a:lnTo>
                  <a:pt x="468" y="366"/>
                </a:lnTo>
                <a:lnTo>
                  <a:pt x="452" y="370"/>
                </a:lnTo>
                <a:lnTo>
                  <a:pt x="446" y="370"/>
                </a:lnTo>
                <a:lnTo>
                  <a:pt x="442" y="370"/>
                </a:lnTo>
                <a:lnTo>
                  <a:pt x="436" y="368"/>
                </a:lnTo>
                <a:lnTo>
                  <a:pt x="432" y="368"/>
                </a:lnTo>
                <a:lnTo>
                  <a:pt x="430" y="366"/>
                </a:lnTo>
                <a:lnTo>
                  <a:pt x="424" y="364"/>
                </a:lnTo>
                <a:lnTo>
                  <a:pt x="419" y="362"/>
                </a:lnTo>
                <a:lnTo>
                  <a:pt x="417" y="360"/>
                </a:lnTo>
                <a:lnTo>
                  <a:pt x="415" y="360"/>
                </a:lnTo>
                <a:lnTo>
                  <a:pt x="413" y="356"/>
                </a:lnTo>
                <a:lnTo>
                  <a:pt x="407" y="352"/>
                </a:lnTo>
                <a:lnTo>
                  <a:pt x="391" y="344"/>
                </a:lnTo>
                <a:lnTo>
                  <a:pt x="373" y="338"/>
                </a:lnTo>
                <a:lnTo>
                  <a:pt x="365" y="336"/>
                </a:lnTo>
                <a:lnTo>
                  <a:pt x="360" y="334"/>
                </a:lnTo>
                <a:lnTo>
                  <a:pt x="330" y="334"/>
                </a:lnTo>
                <a:lnTo>
                  <a:pt x="326" y="336"/>
                </a:lnTo>
                <a:lnTo>
                  <a:pt x="320" y="340"/>
                </a:lnTo>
                <a:lnTo>
                  <a:pt x="316" y="342"/>
                </a:lnTo>
                <a:lnTo>
                  <a:pt x="314" y="344"/>
                </a:lnTo>
                <a:lnTo>
                  <a:pt x="310" y="350"/>
                </a:lnTo>
                <a:lnTo>
                  <a:pt x="308" y="354"/>
                </a:lnTo>
                <a:lnTo>
                  <a:pt x="307" y="356"/>
                </a:lnTo>
                <a:lnTo>
                  <a:pt x="303" y="358"/>
                </a:lnTo>
                <a:lnTo>
                  <a:pt x="297" y="370"/>
                </a:lnTo>
                <a:lnTo>
                  <a:pt x="289" y="383"/>
                </a:lnTo>
                <a:lnTo>
                  <a:pt x="283" y="387"/>
                </a:lnTo>
                <a:lnTo>
                  <a:pt x="277" y="391"/>
                </a:lnTo>
                <a:lnTo>
                  <a:pt x="269" y="393"/>
                </a:lnTo>
                <a:lnTo>
                  <a:pt x="267" y="393"/>
                </a:lnTo>
                <a:lnTo>
                  <a:pt x="240" y="391"/>
                </a:lnTo>
                <a:lnTo>
                  <a:pt x="226" y="391"/>
                </a:lnTo>
                <a:lnTo>
                  <a:pt x="212" y="387"/>
                </a:lnTo>
                <a:lnTo>
                  <a:pt x="202" y="379"/>
                </a:lnTo>
                <a:lnTo>
                  <a:pt x="191" y="374"/>
                </a:lnTo>
                <a:lnTo>
                  <a:pt x="179" y="370"/>
                </a:lnTo>
                <a:lnTo>
                  <a:pt x="167" y="366"/>
                </a:lnTo>
                <a:lnTo>
                  <a:pt x="159" y="356"/>
                </a:lnTo>
                <a:lnTo>
                  <a:pt x="149" y="348"/>
                </a:lnTo>
                <a:lnTo>
                  <a:pt x="147" y="340"/>
                </a:lnTo>
                <a:lnTo>
                  <a:pt x="140" y="334"/>
                </a:lnTo>
                <a:lnTo>
                  <a:pt x="136" y="328"/>
                </a:lnTo>
                <a:lnTo>
                  <a:pt x="134" y="324"/>
                </a:lnTo>
                <a:lnTo>
                  <a:pt x="132" y="324"/>
                </a:lnTo>
                <a:lnTo>
                  <a:pt x="128" y="321"/>
                </a:lnTo>
                <a:lnTo>
                  <a:pt x="120" y="309"/>
                </a:lnTo>
                <a:lnTo>
                  <a:pt x="110" y="299"/>
                </a:lnTo>
                <a:lnTo>
                  <a:pt x="98" y="289"/>
                </a:lnTo>
                <a:lnTo>
                  <a:pt x="86" y="281"/>
                </a:lnTo>
                <a:lnTo>
                  <a:pt x="83" y="273"/>
                </a:lnTo>
                <a:lnTo>
                  <a:pt x="75" y="269"/>
                </a:lnTo>
                <a:lnTo>
                  <a:pt x="71" y="266"/>
                </a:lnTo>
                <a:lnTo>
                  <a:pt x="65" y="262"/>
                </a:lnTo>
                <a:lnTo>
                  <a:pt x="61" y="260"/>
                </a:lnTo>
                <a:lnTo>
                  <a:pt x="59" y="258"/>
                </a:lnTo>
                <a:lnTo>
                  <a:pt x="57" y="252"/>
                </a:lnTo>
                <a:lnTo>
                  <a:pt x="53" y="246"/>
                </a:lnTo>
                <a:lnTo>
                  <a:pt x="45" y="234"/>
                </a:lnTo>
                <a:lnTo>
                  <a:pt x="45" y="230"/>
                </a:lnTo>
                <a:lnTo>
                  <a:pt x="43" y="224"/>
                </a:lnTo>
                <a:lnTo>
                  <a:pt x="41" y="220"/>
                </a:lnTo>
                <a:lnTo>
                  <a:pt x="39" y="218"/>
                </a:lnTo>
                <a:lnTo>
                  <a:pt x="35" y="209"/>
                </a:lnTo>
                <a:lnTo>
                  <a:pt x="29" y="197"/>
                </a:lnTo>
                <a:lnTo>
                  <a:pt x="28" y="191"/>
                </a:lnTo>
                <a:lnTo>
                  <a:pt x="28" y="183"/>
                </a:lnTo>
                <a:lnTo>
                  <a:pt x="26" y="175"/>
                </a:lnTo>
                <a:lnTo>
                  <a:pt x="24" y="167"/>
                </a:lnTo>
                <a:lnTo>
                  <a:pt x="22" y="163"/>
                </a:lnTo>
                <a:lnTo>
                  <a:pt x="18" y="159"/>
                </a:lnTo>
                <a:lnTo>
                  <a:pt x="16" y="154"/>
                </a:lnTo>
                <a:lnTo>
                  <a:pt x="10" y="152"/>
                </a:lnTo>
                <a:lnTo>
                  <a:pt x="4" y="146"/>
                </a:lnTo>
                <a:lnTo>
                  <a:pt x="0" y="138"/>
                </a:lnTo>
                <a:lnTo>
                  <a:pt x="2" y="132"/>
                </a:lnTo>
                <a:lnTo>
                  <a:pt x="2" y="126"/>
                </a:lnTo>
                <a:lnTo>
                  <a:pt x="4" y="124"/>
                </a:lnTo>
                <a:lnTo>
                  <a:pt x="6" y="124"/>
                </a:lnTo>
                <a:lnTo>
                  <a:pt x="12" y="128"/>
                </a:lnTo>
                <a:lnTo>
                  <a:pt x="18" y="136"/>
                </a:lnTo>
                <a:lnTo>
                  <a:pt x="20" y="138"/>
                </a:lnTo>
                <a:lnTo>
                  <a:pt x="22" y="138"/>
                </a:lnTo>
                <a:lnTo>
                  <a:pt x="28" y="136"/>
                </a:lnTo>
                <a:lnTo>
                  <a:pt x="33" y="136"/>
                </a:lnTo>
                <a:lnTo>
                  <a:pt x="39" y="134"/>
                </a:lnTo>
                <a:lnTo>
                  <a:pt x="45" y="130"/>
                </a:lnTo>
                <a:lnTo>
                  <a:pt x="49" y="124"/>
                </a:lnTo>
                <a:lnTo>
                  <a:pt x="55" y="118"/>
                </a:lnTo>
                <a:lnTo>
                  <a:pt x="65" y="112"/>
                </a:lnTo>
                <a:lnTo>
                  <a:pt x="75" y="108"/>
                </a:lnTo>
                <a:lnTo>
                  <a:pt x="98" y="102"/>
                </a:lnTo>
                <a:lnTo>
                  <a:pt x="108" y="100"/>
                </a:lnTo>
                <a:lnTo>
                  <a:pt x="116" y="99"/>
                </a:lnTo>
                <a:lnTo>
                  <a:pt x="122" y="97"/>
                </a:lnTo>
                <a:lnTo>
                  <a:pt x="126" y="95"/>
                </a:lnTo>
                <a:lnTo>
                  <a:pt x="132" y="91"/>
                </a:lnTo>
                <a:lnTo>
                  <a:pt x="136" y="89"/>
                </a:lnTo>
                <a:lnTo>
                  <a:pt x="143" y="75"/>
                </a:lnTo>
                <a:lnTo>
                  <a:pt x="151" y="67"/>
                </a:lnTo>
                <a:lnTo>
                  <a:pt x="163" y="61"/>
                </a:lnTo>
                <a:lnTo>
                  <a:pt x="169" y="59"/>
                </a:lnTo>
                <a:lnTo>
                  <a:pt x="179" y="57"/>
                </a:lnTo>
                <a:lnTo>
                  <a:pt x="193" y="51"/>
                </a:lnTo>
                <a:lnTo>
                  <a:pt x="204" y="47"/>
                </a:lnTo>
                <a:lnTo>
                  <a:pt x="210" y="43"/>
                </a:lnTo>
                <a:lnTo>
                  <a:pt x="216" y="42"/>
                </a:lnTo>
                <a:lnTo>
                  <a:pt x="222" y="40"/>
                </a:lnTo>
                <a:lnTo>
                  <a:pt x="228" y="38"/>
                </a:lnTo>
                <a:lnTo>
                  <a:pt x="230" y="28"/>
                </a:lnTo>
                <a:lnTo>
                  <a:pt x="230" y="16"/>
                </a:lnTo>
                <a:lnTo>
                  <a:pt x="230" y="6"/>
                </a:lnTo>
                <a:lnTo>
                  <a:pt x="234" y="2"/>
                </a:lnTo>
                <a:lnTo>
                  <a:pt x="238" y="0"/>
                </a:lnTo>
                <a:lnTo>
                  <a:pt x="246" y="4"/>
                </a:lnTo>
                <a:lnTo>
                  <a:pt x="251" y="10"/>
                </a:lnTo>
                <a:lnTo>
                  <a:pt x="253" y="16"/>
                </a:lnTo>
                <a:lnTo>
                  <a:pt x="257" y="22"/>
                </a:lnTo>
                <a:lnTo>
                  <a:pt x="265" y="30"/>
                </a:lnTo>
                <a:lnTo>
                  <a:pt x="269" y="34"/>
                </a:lnTo>
                <a:lnTo>
                  <a:pt x="273" y="36"/>
                </a:lnTo>
                <a:lnTo>
                  <a:pt x="277" y="38"/>
                </a:lnTo>
                <a:lnTo>
                  <a:pt x="279" y="38"/>
                </a:lnTo>
                <a:lnTo>
                  <a:pt x="285" y="38"/>
                </a:lnTo>
                <a:lnTo>
                  <a:pt x="291" y="42"/>
                </a:lnTo>
                <a:lnTo>
                  <a:pt x="295" y="42"/>
                </a:lnTo>
                <a:lnTo>
                  <a:pt x="295" y="40"/>
                </a:lnTo>
                <a:lnTo>
                  <a:pt x="295" y="36"/>
                </a:lnTo>
                <a:close/>
              </a:path>
            </a:pathLst>
          </a:custGeom>
          <a:solidFill>
            <a:srgbClr val="D0D0D0"/>
          </a:solidFill>
          <a:ln w="9525">
            <a:solidFill>
              <a:srgbClr val="000000"/>
            </a:solidFill>
            <a:prstDash val="solid"/>
            <a:round/>
            <a:headEnd/>
            <a:tailEnd/>
          </a:ln>
        </p:spPr>
        <p:txBody>
          <a:bodyPr/>
          <a:lstStyle/>
          <a:p>
            <a:endParaRPr lang="cs-CZ"/>
          </a:p>
        </p:txBody>
      </p:sp>
      <p:sp>
        <p:nvSpPr>
          <p:cNvPr id="269" name="Freeform 277"/>
          <p:cNvSpPr>
            <a:spLocks/>
          </p:cNvSpPr>
          <p:nvPr/>
        </p:nvSpPr>
        <p:spPr bwMode="auto">
          <a:xfrm>
            <a:off x="3933825" y="3593678"/>
            <a:ext cx="806450" cy="719137"/>
          </a:xfrm>
          <a:custGeom>
            <a:avLst/>
            <a:gdLst>
              <a:gd name="T0" fmla="*/ 755 w 1016"/>
              <a:gd name="T1" fmla="*/ 55 h 906"/>
              <a:gd name="T2" fmla="*/ 904 w 1016"/>
              <a:gd name="T3" fmla="*/ 122 h 906"/>
              <a:gd name="T4" fmla="*/ 927 w 1016"/>
              <a:gd name="T5" fmla="*/ 199 h 906"/>
              <a:gd name="T6" fmla="*/ 943 w 1016"/>
              <a:gd name="T7" fmla="*/ 305 h 906"/>
              <a:gd name="T8" fmla="*/ 906 w 1016"/>
              <a:gd name="T9" fmla="*/ 377 h 906"/>
              <a:gd name="T10" fmla="*/ 925 w 1016"/>
              <a:gd name="T11" fmla="*/ 405 h 906"/>
              <a:gd name="T12" fmla="*/ 943 w 1016"/>
              <a:gd name="T13" fmla="*/ 438 h 906"/>
              <a:gd name="T14" fmla="*/ 953 w 1016"/>
              <a:gd name="T15" fmla="*/ 523 h 906"/>
              <a:gd name="T16" fmla="*/ 994 w 1016"/>
              <a:gd name="T17" fmla="*/ 576 h 906"/>
              <a:gd name="T18" fmla="*/ 1006 w 1016"/>
              <a:gd name="T19" fmla="*/ 601 h 906"/>
              <a:gd name="T20" fmla="*/ 1006 w 1016"/>
              <a:gd name="T21" fmla="*/ 617 h 906"/>
              <a:gd name="T22" fmla="*/ 898 w 1016"/>
              <a:gd name="T23" fmla="*/ 814 h 906"/>
              <a:gd name="T24" fmla="*/ 810 w 1016"/>
              <a:gd name="T25" fmla="*/ 863 h 906"/>
              <a:gd name="T26" fmla="*/ 711 w 1016"/>
              <a:gd name="T27" fmla="*/ 873 h 906"/>
              <a:gd name="T28" fmla="*/ 678 w 1016"/>
              <a:gd name="T29" fmla="*/ 865 h 906"/>
              <a:gd name="T30" fmla="*/ 623 w 1016"/>
              <a:gd name="T31" fmla="*/ 884 h 906"/>
              <a:gd name="T32" fmla="*/ 611 w 1016"/>
              <a:gd name="T33" fmla="*/ 902 h 906"/>
              <a:gd name="T34" fmla="*/ 607 w 1016"/>
              <a:gd name="T35" fmla="*/ 904 h 906"/>
              <a:gd name="T36" fmla="*/ 580 w 1016"/>
              <a:gd name="T37" fmla="*/ 877 h 906"/>
              <a:gd name="T38" fmla="*/ 564 w 1016"/>
              <a:gd name="T39" fmla="*/ 861 h 906"/>
              <a:gd name="T40" fmla="*/ 538 w 1016"/>
              <a:gd name="T41" fmla="*/ 851 h 906"/>
              <a:gd name="T42" fmla="*/ 483 w 1016"/>
              <a:gd name="T43" fmla="*/ 849 h 906"/>
              <a:gd name="T44" fmla="*/ 440 w 1016"/>
              <a:gd name="T45" fmla="*/ 816 h 906"/>
              <a:gd name="T46" fmla="*/ 399 w 1016"/>
              <a:gd name="T47" fmla="*/ 776 h 906"/>
              <a:gd name="T48" fmla="*/ 371 w 1016"/>
              <a:gd name="T49" fmla="*/ 751 h 906"/>
              <a:gd name="T50" fmla="*/ 334 w 1016"/>
              <a:gd name="T51" fmla="*/ 729 h 906"/>
              <a:gd name="T52" fmla="*/ 295 w 1016"/>
              <a:gd name="T53" fmla="*/ 721 h 906"/>
              <a:gd name="T54" fmla="*/ 287 w 1016"/>
              <a:gd name="T55" fmla="*/ 735 h 906"/>
              <a:gd name="T56" fmla="*/ 269 w 1016"/>
              <a:gd name="T57" fmla="*/ 749 h 906"/>
              <a:gd name="T58" fmla="*/ 238 w 1016"/>
              <a:gd name="T59" fmla="*/ 729 h 906"/>
              <a:gd name="T60" fmla="*/ 224 w 1016"/>
              <a:gd name="T61" fmla="*/ 696 h 906"/>
              <a:gd name="T62" fmla="*/ 198 w 1016"/>
              <a:gd name="T63" fmla="*/ 684 h 906"/>
              <a:gd name="T64" fmla="*/ 189 w 1016"/>
              <a:gd name="T65" fmla="*/ 656 h 906"/>
              <a:gd name="T66" fmla="*/ 165 w 1016"/>
              <a:gd name="T67" fmla="*/ 654 h 906"/>
              <a:gd name="T68" fmla="*/ 132 w 1016"/>
              <a:gd name="T69" fmla="*/ 653 h 906"/>
              <a:gd name="T70" fmla="*/ 106 w 1016"/>
              <a:gd name="T71" fmla="*/ 629 h 906"/>
              <a:gd name="T72" fmla="*/ 86 w 1016"/>
              <a:gd name="T73" fmla="*/ 633 h 906"/>
              <a:gd name="T74" fmla="*/ 75 w 1016"/>
              <a:gd name="T75" fmla="*/ 653 h 906"/>
              <a:gd name="T76" fmla="*/ 83 w 1016"/>
              <a:gd name="T77" fmla="*/ 570 h 906"/>
              <a:gd name="T78" fmla="*/ 59 w 1016"/>
              <a:gd name="T79" fmla="*/ 525 h 906"/>
              <a:gd name="T80" fmla="*/ 45 w 1016"/>
              <a:gd name="T81" fmla="*/ 505 h 906"/>
              <a:gd name="T82" fmla="*/ 45 w 1016"/>
              <a:gd name="T83" fmla="*/ 466 h 906"/>
              <a:gd name="T84" fmla="*/ 29 w 1016"/>
              <a:gd name="T85" fmla="*/ 387 h 906"/>
              <a:gd name="T86" fmla="*/ 2 w 1016"/>
              <a:gd name="T87" fmla="*/ 336 h 906"/>
              <a:gd name="T88" fmla="*/ 16 w 1016"/>
              <a:gd name="T89" fmla="*/ 301 h 906"/>
              <a:gd name="T90" fmla="*/ 14 w 1016"/>
              <a:gd name="T91" fmla="*/ 222 h 906"/>
              <a:gd name="T92" fmla="*/ 35 w 1016"/>
              <a:gd name="T93" fmla="*/ 185 h 906"/>
              <a:gd name="T94" fmla="*/ 37 w 1016"/>
              <a:gd name="T95" fmla="*/ 150 h 906"/>
              <a:gd name="T96" fmla="*/ 100 w 1016"/>
              <a:gd name="T97" fmla="*/ 128 h 906"/>
              <a:gd name="T98" fmla="*/ 124 w 1016"/>
              <a:gd name="T99" fmla="*/ 110 h 906"/>
              <a:gd name="T100" fmla="*/ 177 w 1016"/>
              <a:gd name="T101" fmla="*/ 97 h 906"/>
              <a:gd name="T102" fmla="*/ 226 w 1016"/>
              <a:gd name="T103" fmla="*/ 57 h 906"/>
              <a:gd name="T104" fmla="*/ 273 w 1016"/>
              <a:gd name="T105" fmla="*/ 30 h 906"/>
              <a:gd name="T106" fmla="*/ 320 w 1016"/>
              <a:gd name="T107" fmla="*/ 8 h 906"/>
              <a:gd name="T108" fmla="*/ 377 w 1016"/>
              <a:gd name="T109" fmla="*/ 2 h 906"/>
              <a:gd name="T110" fmla="*/ 428 w 1016"/>
              <a:gd name="T111" fmla="*/ 16 h 906"/>
              <a:gd name="T112" fmla="*/ 422 w 1016"/>
              <a:gd name="T113" fmla="*/ 34 h 906"/>
              <a:gd name="T114" fmla="*/ 426 w 1016"/>
              <a:gd name="T115" fmla="*/ 61 h 906"/>
              <a:gd name="T116" fmla="*/ 477 w 1016"/>
              <a:gd name="T117" fmla="*/ 65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6" h="906">
                <a:moveTo>
                  <a:pt x="521" y="51"/>
                </a:moveTo>
                <a:lnTo>
                  <a:pt x="588" y="63"/>
                </a:lnTo>
                <a:lnTo>
                  <a:pt x="692" y="71"/>
                </a:lnTo>
                <a:lnTo>
                  <a:pt x="755" y="55"/>
                </a:lnTo>
                <a:lnTo>
                  <a:pt x="817" y="36"/>
                </a:lnTo>
                <a:lnTo>
                  <a:pt x="853" y="40"/>
                </a:lnTo>
                <a:lnTo>
                  <a:pt x="888" y="73"/>
                </a:lnTo>
                <a:lnTo>
                  <a:pt x="904" y="122"/>
                </a:lnTo>
                <a:lnTo>
                  <a:pt x="910" y="146"/>
                </a:lnTo>
                <a:lnTo>
                  <a:pt x="918" y="167"/>
                </a:lnTo>
                <a:lnTo>
                  <a:pt x="922" y="183"/>
                </a:lnTo>
                <a:lnTo>
                  <a:pt x="927" y="199"/>
                </a:lnTo>
                <a:lnTo>
                  <a:pt x="943" y="224"/>
                </a:lnTo>
                <a:lnTo>
                  <a:pt x="949" y="277"/>
                </a:lnTo>
                <a:lnTo>
                  <a:pt x="947" y="291"/>
                </a:lnTo>
                <a:lnTo>
                  <a:pt x="943" y="305"/>
                </a:lnTo>
                <a:lnTo>
                  <a:pt x="931" y="326"/>
                </a:lnTo>
                <a:lnTo>
                  <a:pt x="918" y="346"/>
                </a:lnTo>
                <a:lnTo>
                  <a:pt x="904" y="370"/>
                </a:lnTo>
                <a:lnTo>
                  <a:pt x="906" y="377"/>
                </a:lnTo>
                <a:lnTo>
                  <a:pt x="910" y="385"/>
                </a:lnTo>
                <a:lnTo>
                  <a:pt x="914" y="389"/>
                </a:lnTo>
                <a:lnTo>
                  <a:pt x="920" y="393"/>
                </a:lnTo>
                <a:lnTo>
                  <a:pt x="925" y="405"/>
                </a:lnTo>
                <a:lnTo>
                  <a:pt x="933" y="415"/>
                </a:lnTo>
                <a:lnTo>
                  <a:pt x="935" y="421"/>
                </a:lnTo>
                <a:lnTo>
                  <a:pt x="937" y="427"/>
                </a:lnTo>
                <a:lnTo>
                  <a:pt x="943" y="438"/>
                </a:lnTo>
                <a:lnTo>
                  <a:pt x="943" y="460"/>
                </a:lnTo>
                <a:lnTo>
                  <a:pt x="945" y="482"/>
                </a:lnTo>
                <a:lnTo>
                  <a:pt x="947" y="503"/>
                </a:lnTo>
                <a:lnTo>
                  <a:pt x="953" y="523"/>
                </a:lnTo>
                <a:lnTo>
                  <a:pt x="957" y="535"/>
                </a:lnTo>
                <a:lnTo>
                  <a:pt x="965" y="546"/>
                </a:lnTo>
                <a:lnTo>
                  <a:pt x="984" y="562"/>
                </a:lnTo>
                <a:lnTo>
                  <a:pt x="994" y="576"/>
                </a:lnTo>
                <a:lnTo>
                  <a:pt x="1000" y="582"/>
                </a:lnTo>
                <a:lnTo>
                  <a:pt x="1004" y="590"/>
                </a:lnTo>
                <a:lnTo>
                  <a:pt x="1004" y="596"/>
                </a:lnTo>
                <a:lnTo>
                  <a:pt x="1006" y="601"/>
                </a:lnTo>
                <a:lnTo>
                  <a:pt x="1006" y="605"/>
                </a:lnTo>
                <a:lnTo>
                  <a:pt x="1006" y="609"/>
                </a:lnTo>
                <a:lnTo>
                  <a:pt x="1006" y="613"/>
                </a:lnTo>
                <a:lnTo>
                  <a:pt x="1006" y="617"/>
                </a:lnTo>
                <a:lnTo>
                  <a:pt x="1016" y="654"/>
                </a:lnTo>
                <a:lnTo>
                  <a:pt x="971" y="692"/>
                </a:lnTo>
                <a:lnTo>
                  <a:pt x="927" y="743"/>
                </a:lnTo>
                <a:lnTo>
                  <a:pt x="898" y="814"/>
                </a:lnTo>
                <a:lnTo>
                  <a:pt x="908" y="855"/>
                </a:lnTo>
                <a:lnTo>
                  <a:pt x="902" y="888"/>
                </a:lnTo>
                <a:lnTo>
                  <a:pt x="868" y="888"/>
                </a:lnTo>
                <a:lnTo>
                  <a:pt x="810" y="863"/>
                </a:lnTo>
                <a:lnTo>
                  <a:pt x="774" y="843"/>
                </a:lnTo>
                <a:lnTo>
                  <a:pt x="719" y="859"/>
                </a:lnTo>
                <a:lnTo>
                  <a:pt x="715" y="867"/>
                </a:lnTo>
                <a:lnTo>
                  <a:pt x="711" y="873"/>
                </a:lnTo>
                <a:lnTo>
                  <a:pt x="709" y="875"/>
                </a:lnTo>
                <a:lnTo>
                  <a:pt x="705" y="875"/>
                </a:lnTo>
                <a:lnTo>
                  <a:pt x="694" y="873"/>
                </a:lnTo>
                <a:lnTo>
                  <a:pt x="678" y="865"/>
                </a:lnTo>
                <a:lnTo>
                  <a:pt x="650" y="869"/>
                </a:lnTo>
                <a:lnTo>
                  <a:pt x="639" y="873"/>
                </a:lnTo>
                <a:lnTo>
                  <a:pt x="627" y="878"/>
                </a:lnTo>
                <a:lnTo>
                  <a:pt x="623" y="884"/>
                </a:lnTo>
                <a:lnTo>
                  <a:pt x="621" y="890"/>
                </a:lnTo>
                <a:lnTo>
                  <a:pt x="619" y="894"/>
                </a:lnTo>
                <a:lnTo>
                  <a:pt x="613" y="900"/>
                </a:lnTo>
                <a:lnTo>
                  <a:pt x="611" y="902"/>
                </a:lnTo>
                <a:lnTo>
                  <a:pt x="611" y="904"/>
                </a:lnTo>
                <a:lnTo>
                  <a:pt x="609" y="906"/>
                </a:lnTo>
                <a:lnTo>
                  <a:pt x="607" y="906"/>
                </a:lnTo>
                <a:lnTo>
                  <a:pt x="607" y="904"/>
                </a:lnTo>
                <a:lnTo>
                  <a:pt x="603" y="902"/>
                </a:lnTo>
                <a:lnTo>
                  <a:pt x="595" y="892"/>
                </a:lnTo>
                <a:lnTo>
                  <a:pt x="586" y="880"/>
                </a:lnTo>
                <a:lnTo>
                  <a:pt x="580" y="877"/>
                </a:lnTo>
                <a:lnTo>
                  <a:pt x="576" y="875"/>
                </a:lnTo>
                <a:lnTo>
                  <a:pt x="572" y="867"/>
                </a:lnTo>
                <a:lnTo>
                  <a:pt x="568" y="863"/>
                </a:lnTo>
                <a:lnTo>
                  <a:pt x="564" y="861"/>
                </a:lnTo>
                <a:lnTo>
                  <a:pt x="556" y="859"/>
                </a:lnTo>
                <a:lnTo>
                  <a:pt x="550" y="855"/>
                </a:lnTo>
                <a:lnTo>
                  <a:pt x="544" y="851"/>
                </a:lnTo>
                <a:lnTo>
                  <a:pt x="538" y="851"/>
                </a:lnTo>
                <a:lnTo>
                  <a:pt x="531" y="853"/>
                </a:lnTo>
                <a:lnTo>
                  <a:pt x="517" y="853"/>
                </a:lnTo>
                <a:lnTo>
                  <a:pt x="499" y="851"/>
                </a:lnTo>
                <a:lnTo>
                  <a:pt x="483" y="849"/>
                </a:lnTo>
                <a:lnTo>
                  <a:pt x="468" y="843"/>
                </a:lnTo>
                <a:lnTo>
                  <a:pt x="460" y="833"/>
                </a:lnTo>
                <a:lnTo>
                  <a:pt x="452" y="823"/>
                </a:lnTo>
                <a:lnTo>
                  <a:pt x="440" y="816"/>
                </a:lnTo>
                <a:lnTo>
                  <a:pt x="428" y="810"/>
                </a:lnTo>
                <a:lnTo>
                  <a:pt x="419" y="796"/>
                </a:lnTo>
                <a:lnTo>
                  <a:pt x="409" y="784"/>
                </a:lnTo>
                <a:lnTo>
                  <a:pt x="399" y="776"/>
                </a:lnTo>
                <a:lnTo>
                  <a:pt x="383" y="770"/>
                </a:lnTo>
                <a:lnTo>
                  <a:pt x="375" y="765"/>
                </a:lnTo>
                <a:lnTo>
                  <a:pt x="373" y="759"/>
                </a:lnTo>
                <a:lnTo>
                  <a:pt x="371" y="751"/>
                </a:lnTo>
                <a:lnTo>
                  <a:pt x="365" y="743"/>
                </a:lnTo>
                <a:lnTo>
                  <a:pt x="358" y="737"/>
                </a:lnTo>
                <a:lnTo>
                  <a:pt x="352" y="733"/>
                </a:lnTo>
                <a:lnTo>
                  <a:pt x="334" y="729"/>
                </a:lnTo>
                <a:lnTo>
                  <a:pt x="318" y="727"/>
                </a:lnTo>
                <a:lnTo>
                  <a:pt x="301" y="725"/>
                </a:lnTo>
                <a:lnTo>
                  <a:pt x="297" y="721"/>
                </a:lnTo>
                <a:lnTo>
                  <a:pt x="295" y="721"/>
                </a:lnTo>
                <a:lnTo>
                  <a:pt x="295" y="721"/>
                </a:lnTo>
                <a:lnTo>
                  <a:pt x="293" y="725"/>
                </a:lnTo>
                <a:lnTo>
                  <a:pt x="289" y="729"/>
                </a:lnTo>
                <a:lnTo>
                  <a:pt x="287" y="735"/>
                </a:lnTo>
                <a:lnTo>
                  <a:pt x="285" y="737"/>
                </a:lnTo>
                <a:lnTo>
                  <a:pt x="281" y="743"/>
                </a:lnTo>
                <a:lnTo>
                  <a:pt x="275" y="745"/>
                </a:lnTo>
                <a:lnTo>
                  <a:pt x="269" y="749"/>
                </a:lnTo>
                <a:lnTo>
                  <a:pt x="263" y="751"/>
                </a:lnTo>
                <a:lnTo>
                  <a:pt x="252" y="745"/>
                </a:lnTo>
                <a:lnTo>
                  <a:pt x="244" y="739"/>
                </a:lnTo>
                <a:lnTo>
                  <a:pt x="238" y="729"/>
                </a:lnTo>
                <a:lnTo>
                  <a:pt x="228" y="719"/>
                </a:lnTo>
                <a:lnTo>
                  <a:pt x="226" y="711"/>
                </a:lnTo>
                <a:lnTo>
                  <a:pt x="226" y="706"/>
                </a:lnTo>
                <a:lnTo>
                  <a:pt x="224" y="696"/>
                </a:lnTo>
                <a:lnTo>
                  <a:pt x="222" y="692"/>
                </a:lnTo>
                <a:lnTo>
                  <a:pt x="218" y="690"/>
                </a:lnTo>
                <a:lnTo>
                  <a:pt x="210" y="686"/>
                </a:lnTo>
                <a:lnTo>
                  <a:pt x="198" y="684"/>
                </a:lnTo>
                <a:lnTo>
                  <a:pt x="195" y="674"/>
                </a:lnTo>
                <a:lnTo>
                  <a:pt x="195" y="664"/>
                </a:lnTo>
                <a:lnTo>
                  <a:pt x="193" y="658"/>
                </a:lnTo>
                <a:lnTo>
                  <a:pt x="189" y="656"/>
                </a:lnTo>
                <a:lnTo>
                  <a:pt x="183" y="654"/>
                </a:lnTo>
                <a:lnTo>
                  <a:pt x="177" y="653"/>
                </a:lnTo>
                <a:lnTo>
                  <a:pt x="171" y="653"/>
                </a:lnTo>
                <a:lnTo>
                  <a:pt x="165" y="654"/>
                </a:lnTo>
                <a:lnTo>
                  <a:pt x="157" y="656"/>
                </a:lnTo>
                <a:lnTo>
                  <a:pt x="145" y="656"/>
                </a:lnTo>
                <a:lnTo>
                  <a:pt x="138" y="654"/>
                </a:lnTo>
                <a:lnTo>
                  <a:pt x="132" y="653"/>
                </a:lnTo>
                <a:lnTo>
                  <a:pt x="128" y="649"/>
                </a:lnTo>
                <a:lnTo>
                  <a:pt x="120" y="641"/>
                </a:lnTo>
                <a:lnTo>
                  <a:pt x="114" y="635"/>
                </a:lnTo>
                <a:lnTo>
                  <a:pt x="106" y="629"/>
                </a:lnTo>
                <a:lnTo>
                  <a:pt x="100" y="625"/>
                </a:lnTo>
                <a:lnTo>
                  <a:pt x="96" y="625"/>
                </a:lnTo>
                <a:lnTo>
                  <a:pt x="92" y="629"/>
                </a:lnTo>
                <a:lnTo>
                  <a:pt x="86" y="633"/>
                </a:lnTo>
                <a:lnTo>
                  <a:pt x="83" y="639"/>
                </a:lnTo>
                <a:lnTo>
                  <a:pt x="79" y="643"/>
                </a:lnTo>
                <a:lnTo>
                  <a:pt x="77" y="647"/>
                </a:lnTo>
                <a:lnTo>
                  <a:pt x="75" y="653"/>
                </a:lnTo>
                <a:lnTo>
                  <a:pt x="77" y="639"/>
                </a:lnTo>
                <a:lnTo>
                  <a:pt x="79" y="621"/>
                </a:lnTo>
                <a:lnTo>
                  <a:pt x="83" y="586"/>
                </a:lnTo>
                <a:lnTo>
                  <a:pt x="83" y="570"/>
                </a:lnTo>
                <a:lnTo>
                  <a:pt x="79" y="554"/>
                </a:lnTo>
                <a:lnTo>
                  <a:pt x="73" y="541"/>
                </a:lnTo>
                <a:lnTo>
                  <a:pt x="61" y="531"/>
                </a:lnTo>
                <a:lnTo>
                  <a:pt x="59" y="525"/>
                </a:lnTo>
                <a:lnTo>
                  <a:pt x="57" y="519"/>
                </a:lnTo>
                <a:lnTo>
                  <a:pt x="55" y="515"/>
                </a:lnTo>
                <a:lnTo>
                  <a:pt x="49" y="511"/>
                </a:lnTo>
                <a:lnTo>
                  <a:pt x="45" y="505"/>
                </a:lnTo>
                <a:lnTo>
                  <a:pt x="41" y="499"/>
                </a:lnTo>
                <a:lnTo>
                  <a:pt x="41" y="495"/>
                </a:lnTo>
                <a:lnTo>
                  <a:pt x="43" y="487"/>
                </a:lnTo>
                <a:lnTo>
                  <a:pt x="45" y="466"/>
                </a:lnTo>
                <a:lnTo>
                  <a:pt x="41" y="446"/>
                </a:lnTo>
                <a:lnTo>
                  <a:pt x="39" y="417"/>
                </a:lnTo>
                <a:lnTo>
                  <a:pt x="35" y="401"/>
                </a:lnTo>
                <a:lnTo>
                  <a:pt x="29" y="387"/>
                </a:lnTo>
                <a:lnTo>
                  <a:pt x="28" y="374"/>
                </a:lnTo>
                <a:lnTo>
                  <a:pt x="22" y="360"/>
                </a:lnTo>
                <a:lnTo>
                  <a:pt x="12" y="346"/>
                </a:lnTo>
                <a:lnTo>
                  <a:pt x="2" y="336"/>
                </a:lnTo>
                <a:lnTo>
                  <a:pt x="0" y="326"/>
                </a:lnTo>
                <a:lnTo>
                  <a:pt x="2" y="317"/>
                </a:lnTo>
                <a:lnTo>
                  <a:pt x="8" y="309"/>
                </a:lnTo>
                <a:lnTo>
                  <a:pt x="16" y="301"/>
                </a:lnTo>
                <a:lnTo>
                  <a:pt x="18" y="287"/>
                </a:lnTo>
                <a:lnTo>
                  <a:pt x="18" y="271"/>
                </a:lnTo>
                <a:lnTo>
                  <a:pt x="16" y="238"/>
                </a:lnTo>
                <a:lnTo>
                  <a:pt x="14" y="222"/>
                </a:lnTo>
                <a:lnTo>
                  <a:pt x="16" y="208"/>
                </a:lnTo>
                <a:lnTo>
                  <a:pt x="22" y="199"/>
                </a:lnTo>
                <a:lnTo>
                  <a:pt x="33" y="193"/>
                </a:lnTo>
                <a:lnTo>
                  <a:pt x="35" y="185"/>
                </a:lnTo>
                <a:lnTo>
                  <a:pt x="33" y="175"/>
                </a:lnTo>
                <a:lnTo>
                  <a:pt x="31" y="165"/>
                </a:lnTo>
                <a:lnTo>
                  <a:pt x="33" y="157"/>
                </a:lnTo>
                <a:lnTo>
                  <a:pt x="37" y="150"/>
                </a:lnTo>
                <a:lnTo>
                  <a:pt x="43" y="144"/>
                </a:lnTo>
                <a:lnTo>
                  <a:pt x="61" y="134"/>
                </a:lnTo>
                <a:lnTo>
                  <a:pt x="83" y="130"/>
                </a:lnTo>
                <a:lnTo>
                  <a:pt x="100" y="128"/>
                </a:lnTo>
                <a:lnTo>
                  <a:pt x="106" y="124"/>
                </a:lnTo>
                <a:lnTo>
                  <a:pt x="112" y="118"/>
                </a:lnTo>
                <a:lnTo>
                  <a:pt x="118" y="112"/>
                </a:lnTo>
                <a:lnTo>
                  <a:pt x="124" y="110"/>
                </a:lnTo>
                <a:lnTo>
                  <a:pt x="136" y="106"/>
                </a:lnTo>
                <a:lnTo>
                  <a:pt x="151" y="102"/>
                </a:lnTo>
                <a:lnTo>
                  <a:pt x="165" y="100"/>
                </a:lnTo>
                <a:lnTo>
                  <a:pt x="177" y="97"/>
                </a:lnTo>
                <a:lnTo>
                  <a:pt x="189" y="93"/>
                </a:lnTo>
                <a:lnTo>
                  <a:pt x="198" y="89"/>
                </a:lnTo>
                <a:lnTo>
                  <a:pt x="210" y="71"/>
                </a:lnTo>
                <a:lnTo>
                  <a:pt x="226" y="57"/>
                </a:lnTo>
                <a:lnTo>
                  <a:pt x="234" y="47"/>
                </a:lnTo>
                <a:lnTo>
                  <a:pt x="248" y="40"/>
                </a:lnTo>
                <a:lnTo>
                  <a:pt x="259" y="34"/>
                </a:lnTo>
                <a:lnTo>
                  <a:pt x="273" y="30"/>
                </a:lnTo>
                <a:lnTo>
                  <a:pt x="289" y="20"/>
                </a:lnTo>
                <a:lnTo>
                  <a:pt x="297" y="16"/>
                </a:lnTo>
                <a:lnTo>
                  <a:pt x="305" y="14"/>
                </a:lnTo>
                <a:lnTo>
                  <a:pt x="320" y="8"/>
                </a:lnTo>
                <a:lnTo>
                  <a:pt x="336" y="4"/>
                </a:lnTo>
                <a:lnTo>
                  <a:pt x="346" y="2"/>
                </a:lnTo>
                <a:lnTo>
                  <a:pt x="356" y="0"/>
                </a:lnTo>
                <a:lnTo>
                  <a:pt x="377" y="2"/>
                </a:lnTo>
                <a:lnTo>
                  <a:pt x="397" y="6"/>
                </a:lnTo>
                <a:lnTo>
                  <a:pt x="417" y="12"/>
                </a:lnTo>
                <a:lnTo>
                  <a:pt x="422" y="14"/>
                </a:lnTo>
                <a:lnTo>
                  <a:pt x="428" y="16"/>
                </a:lnTo>
                <a:lnTo>
                  <a:pt x="432" y="20"/>
                </a:lnTo>
                <a:lnTo>
                  <a:pt x="434" y="26"/>
                </a:lnTo>
                <a:lnTo>
                  <a:pt x="426" y="30"/>
                </a:lnTo>
                <a:lnTo>
                  <a:pt x="422" y="34"/>
                </a:lnTo>
                <a:lnTo>
                  <a:pt x="419" y="38"/>
                </a:lnTo>
                <a:lnTo>
                  <a:pt x="417" y="45"/>
                </a:lnTo>
                <a:lnTo>
                  <a:pt x="422" y="53"/>
                </a:lnTo>
                <a:lnTo>
                  <a:pt x="426" y="61"/>
                </a:lnTo>
                <a:lnTo>
                  <a:pt x="430" y="69"/>
                </a:lnTo>
                <a:lnTo>
                  <a:pt x="438" y="77"/>
                </a:lnTo>
                <a:lnTo>
                  <a:pt x="458" y="71"/>
                </a:lnTo>
                <a:lnTo>
                  <a:pt x="477" y="65"/>
                </a:lnTo>
                <a:lnTo>
                  <a:pt x="499" y="57"/>
                </a:lnTo>
                <a:lnTo>
                  <a:pt x="521" y="51"/>
                </a:lnTo>
                <a:close/>
              </a:path>
            </a:pathLst>
          </a:custGeom>
          <a:solidFill>
            <a:srgbClr val="0066CC"/>
          </a:solidFill>
          <a:ln w="9525">
            <a:solidFill>
              <a:srgbClr val="000000"/>
            </a:solidFill>
            <a:prstDash val="solid"/>
            <a:round/>
            <a:headEnd/>
            <a:tailEnd/>
          </a:ln>
        </p:spPr>
        <p:txBody>
          <a:bodyPr/>
          <a:lstStyle/>
          <a:p>
            <a:endParaRPr lang="cs-CZ"/>
          </a:p>
        </p:txBody>
      </p:sp>
      <p:grpSp>
        <p:nvGrpSpPr>
          <p:cNvPr id="270" name="Group 278"/>
          <p:cNvGrpSpPr>
            <a:grpSpLocks/>
          </p:cNvGrpSpPr>
          <p:nvPr/>
        </p:nvGrpSpPr>
        <p:grpSpPr bwMode="auto">
          <a:xfrm>
            <a:off x="4164013" y="4265190"/>
            <a:ext cx="463550" cy="239713"/>
            <a:chOff x="2615" y="2751"/>
            <a:chExt cx="292" cy="151"/>
          </a:xfrm>
        </p:grpSpPr>
        <p:sp>
          <p:nvSpPr>
            <p:cNvPr id="271" name="Freeform 279"/>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 name="T110" fmla="*/ 4 w 583"/>
                <a:gd name="T111" fmla="*/ 1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lnTo>
                    <a:pt x="4" y="157"/>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72" name="Freeform 280"/>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273" name="Freeform 281"/>
          <p:cNvSpPr>
            <a:spLocks/>
          </p:cNvSpPr>
          <p:nvPr/>
        </p:nvSpPr>
        <p:spPr bwMode="auto">
          <a:xfrm>
            <a:off x="3536950" y="4341390"/>
            <a:ext cx="657225" cy="333375"/>
          </a:xfrm>
          <a:custGeom>
            <a:avLst/>
            <a:gdLst>
              <a:gd name="T0" fmla="*/ 813 w 827"/>
              <a:gd name="T1" fmla="*/ 207 h 421"/>
              <a:gd name="T2" fmla="*/ 827 w 827"/>
              <a:gd name="T3" fmla="*/ 195 h 421"/>
              <a:gd name="T4" fmla="*/ 806 w 827"/>
              <a:gd name="T5" fmla="*/ 126 h 421"/>
              <a:gd name="T6" fmla="*/ 794 w 827"/>
              <a:gd name="T7" fmla="*/ 85 h 421"/>
              <a:gd name="T8" fmla="*/ 784 w 827"/>
              <a:gd name="T9" fmla="*/ 46 h 421"/>
              <a:gd name="T10" fmla="*/ 717 w 827"/>
              <a:gd name="T11" fmla="*/ 36 h 421"/>
              <a:gd name="T12" fmla="*/ 674 w 827"/>
              <a:gd name="T13" fmla="*/ 14 h 421"/>
              <a:gd name="T14" fmla="*/ 611 w 827"/>
              <a:gd name="T15" fmla="*/ 0 h 421"/>
              <a:gd name="T16" fmla="*/ 576 w 827"/>
              <a:gd name="T17" fmla="*/ 34 h 421"/>
              <a:gd name="T18" fmla="*/ 534 w 827"/>
              <a:gd name="T19" fmla="*/ 65 h 421"/>
              <a:gd name="T20" fmla="*/ 485 w 827"/>
              <a:gd name="T21" fmla="*/ 53 h 421"/>
              <a:gd name="T22" fmla="*/ 452 w 827"/>
              <a:gd name="T23" fmla="*/ 42 h 421"/>
              <a:gd name="T24" fmla="*/ 434 w 827"/>
              <a:gd name="T25" fmla="*/ 65 h 421"/>
              <a:gd name="T26" fmla="*/ 417 w 827"/>
              <a:gd name="T27" fmla="*/ 83 h 421"/>
              <a:gd name="T28" fmla="*/ 411 w 827"/>
              <a:gd name="T29" fmla="*/ 108 h 421"/>
              <a:gd name="T30" fmla="*/ 383 w 827"/>
              <a:gd name="T31" fmla="*/ 116 h 421"/>
              <a:gd name="T32" fmla="*/ 358 w 827"/>
              <a:gd name="T33" fmla="*/ 132 h 421"/>
              <a:gd name="T34" fmla="*/ 363 w 827"/>
              <a:gd name="T35" fmla="*/ 203 h 421"/>
              <a:gd name="T36" fmla="*/ 363 w 827"/>
              <a:gd name="T37" fmla="*/ 232 h 421"/>
              <a:gd name="T38" fmla="*/ 340 w 827"/>
              <a:gd name="T39" fmla="*/ 216 h 421"/>
              <a:gd name="T40" fmla="*/ 291 w 827"/>
              <a:gd name="T41" fmla="*/ 205 h 421"/>
              <a:gd name="T42" fmla="*/ 248 w 827"/>
              <a:gd name="T43" fmla="*/ 222 h 421"/>
              <a:gd name="T44" fmla="*/ 214 w 827"/>
              <a:gd name="T45" fmla="*/ 230 h 421"/>
              <a:gd name="T46" fmla="*/ 183 w 827"/>
              <a:gd name="T47" fmla="*/ 240 h 421"/>
              <a:gd name="T48" fmla="*/ 149 w 827"/>
              <a:gd name="T49" fmla="*/ 250 h 421"/>
              <a:gd name="T50" fmla="*/ 126 w 827"/>
              <a:gd name="T51" fmla="*/ 230 h 421"/>
              <a:gd name="T52" fmla="*/ 90 w 827"/>
              <a:gd name="T53" fmla="*/ 238 h 421"/>
              <a:gd name="T54" fmla="*/ 67 w 827"/>
              <a:gd name="T55" fmla="*/ 258 h 421"/>
              <a:gd name="T56" fmla="*/ 25 w 827"/>
              <a:gd name="T57" fmla="*/ 224 h 421"/>
              <a:gd name="T58" fmla="*/ 4 w 827"/>
              <a:gd name="T59" fmla="*/ 262 h 421"/>
              <a:gd name="T60" fmla="*/ 14 w 827"/>
              <a:gd name="T61" fmla="*/ 309 h 421"/>
              <a:gd name="T62" fmla="*/ 25 w 827"/>
              <a:gd name="T63" fmla="*/ 323 h 421"/>
              <a:gd name="T64" fmla="*/ 47 w 827"/>
              <a:gd name="T65" fmla="*/ 336 h 421"/>
              <a:gd name="T66" fmla="*/ 84 w 827"/>
              <a:gd name="T67" fmla="*/ 334 h 421"/>
              <a:gd name="T68" fmla="*/ 137 w 827"/>
              <a:gd name="T69" fmla="*/ 346 h 421"/>
              <a:gd name="T70" fmla="*/ 212 w 827"/>
              <a:gd name="T71" fmla="*/ 325 h 421"/>
              <a:gd name="T72" fmla="*/ 261 w 827"/>
              <a:gd name="T73" fmla="*/ 311 h 421"/>
              <a:gd name="T74" fmla="*/ 285 w 827"/>
              <a:gd name="T75" fmla="*/ 352 h 421"/>
              <a:gd name="T76" fmla="*/ 328 w 827"/>
              <a:gd name="T77" fmla="*/ 387 h 421"/>
              <a:gd name="T78" fmla="*/ 403 w 827"/>
              <a:gd name="T79" fmla="*/ 393 h 421"/>
              <a:gd name="T80" fmla="*/ 493 w 827"/>
              <a:gd name="T81" fmla="*/ 413 h 421"/>
              <a:gd name="T82" fmla="*/ 570 w 827"/>
              <a:gd name="T83" fmla="*/ 383 h 421"/>
              <a:gd name="T84" fmla="*/ 662 w 827"/>
              <a:gd name="T85" fmla="*/ 372 h 421"/>
              <a:gd name="T86" fmla="*/ 713 w 827"/>
              <a:gd name="T87" fmla="*/ 350 h 421"/>
              <a:gd name="T88" fmla="*/ 754 w 827"/>
              <a:gd name="T89" fmla="*/ 315 h 421"/>
              <a:gd name="T90" fmla="*/ 764 w 827"/>
              <a:gd name="T91" fmla="*/ 260 h 421"/>
              <a:gd name="T92" fmla="*/ 754 w 827"/>
              <a:gd name="T93" fmla="*/ 22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7" h="421">
                <a:moveTo>
                  <a:pt x="760" y="207"/>
                </a:moveTo>
                <a:lnTo>
                  <a:pt x="813" y="207"/>
                </a:lnTo>
                <a:lnTo>
                  <a:pt x="815" y="195"/>
                </a:lnTo>
                <a:lnTo>
                  <a:pt x="827" y="195"/>
                </a:lnTo>
                <a:lnTo>
                  <a:pt x="827" y="148"/>
                </a:lnTo>
                <a:lnTo>
                  <a:pt x="806" y="126"/>
                </a:lnTo>
                <a:lnTo>
                  <a:pt x="808" y="106"/>
                </a:lnTo>
                <a:lnTo>
                  <a:pt x="794" y="85"/>
                </a:lnTo>
                <a:lnTo>
                  <a:pt x="792" y="61"/>
                </a:lnTo>
                <a:lnTo>
                  <a:pt x="784" y="46"/>
                </a:lnTo>
                <a:lnTo>
                  <a:pt x="764" y="30"/>
                </a:lnTo>
                <a:lnTo>
                  <a:pt x="717" y="36"/>
                </a:lnTo>
                <a:lnTo>
                  <a:pt x="692" y="30"/>
                </a:lnTo>
                <a:lnTo>
                  <a:pt x="674" y="14"/>
                </a:lnTo>
                <a:lnTo>
                  <a:pt x="639" y="0"/>
                </a:lnTo>
                <a:lnTo>
                  <a:pt x="611" y="0"/>
                </a:lnTo>
                <a:lnTo>
                  <a:pt x="593" y="10"/>
                </a:lnTo>
                <a:lnTo>
                  <a:pt x="576" y="34"/>
                </a:lnTo>
                <a:lnTo>
                  <a:pt x="562" y="57"/>
                </a:lnTo>
                <a:lnTo>
                  <a:pt x="534" y="65"/>
                </a:lnTo>
                <a:lnTo>
                  <a:pt x="509" y="61"/>
                </a:lnTo>
                <a:lnTo>
                  <a:pt x="485" y="53"/>
                </a:lnTo>
                <a:lnTo>
                  <a:pt x="464" y="46"/>
                </a:lnTo>
                <a:lnTo>
                  <a:pt x="452" y="42"/>
                </a:lnTo>
                <a:lnTo>
                  <a:pt x="450" y="61"/>
                </a:lnTo>
                <a:lnTo>
                  <a:pt x="434" y="65"/>
                </a:lnTo>
                <a:lnTo>
                  <a:pt x="430" y="77"/>
                </a:lnTo>
                <a:lnTo>
                  <a:pt x="417" y="83"/>
                </a:lnTo>
                <a:lnTo>
                  <a:pt x="413" y="93"/>
                </a:lnTo>
                <a:lnTo>
                  <a:pt x="411" y="108"/>
                </a:lnTo>
                <a:lnTo>
                  <a:pt x="399" y="114"/>
                </a:lnTo>
                <a:lnTo>
                  <a:pt x="383" y="116"/>
                </a:lnTo>
                <a:lnTo>
                  <a:pt x="371" y="122"/>
                </a:lnTo>
                <a:lnTo>
                  <a:pt x="358" y="132"/>
                </a:lnTo>
                <a:lnTo>
                  <a:pt x="354" y="165"/>
                </a:lnTo>
                <a:lnTo>
                  <a:pt x="363" y="203"/>
                </a:lnTo>
                <a:lnTo>
                  <a:pt x="369" y="213"/>
                </a:lnTo>
                <a:lnTo>
                  <a:pt x="363" y="232"/>
                </a:lnTo>
                <a:lnTo>
                  <a:pt x="348" y="236"/>
                </a:lnTo>
                <a:lnTo>
                  <a:pt x="340" y="216"/>
                </a:lnTo>
                <a:lnTo>
                  <a:pt x="301" y="214"/>
                </a:lnTo>
                <a:lnTo>
                  <a:pt x="291" y="205"/>
                </a:lnTo>
                <a:lnTo>
                  <a:pt x="289" y="216"/>
                </a:lnTo>
                <a:lnTo>
                  <a:pt x="248" y="222"/>
                </a:lnTo>
                <a:lnTo>
                  <a:pt x="220" y="216"/>
                </a:lnTo>
                <a:lnTo>
                  <a:pt x="214" y="230"/>
                </a:lnTo>
                <a:lnTo>
                  <a:pt x="200" y="230"/>
                </a:lnTo>
                <a:lnTo>
                  <a:pt x="183" y="240"/>
                </a:lnTo>
                <a:lnTo>
                  <a:pt x="181" y="250"/>
                </a:lnTo>
                <a:lnTo>
                  <a:pt x="149" y="250"/>
                </a:lnTo>
                <a:lnTo>
                  <a:pt x="137" y="236"/>
                </a:lnTo>
                <a:lnTo>
                  <a:pt x="126" y="230"/>
                </a:lnTo>
                <a:lnTo>
                  <a:pt x="100" y="230"/>
                </a:lnTo>
                <a:lnTo>
                  <a:pt x="90" y="238"/>
                </a:lnTo>
                <a:lnTo>
                  <a:pt x="79" y="248"/>
                </a:lnTo>
                <a:lnTo>
                  <a:pt x="67" y="258"/>
                </a:lnTo>
                <a:lnTo>
                  <a:pt x="41" y="230"/>
                </a:lnTo>
                <a:lnTo>
                  <a:pt x="25" y="224"/>
                </a:lnTo>
                <a:lnTo>
                  <a:pt x="0" y="228"/>
                </a:lnTo>
                <a:lnTo>
                  <a:pt x="4" y="262"/>
                </a:lnTo>
                <a:lnTo>
                  <a:pt x="2" y="291"/>
                </a:lnTo>
                <a:lnTo>
                  <a:pt x="14" y="309"/>
                </a:lnTo>
                <a:lnTo>
                  <a:pt x="18" y="321"/>
                </a:lnTo>
                <a:lnTo>
                  <a:pt x="25" y="323"/>
                </a:lnTo>
                <a:lnTo>
                  <a:pt x="37" y="323"/>
                </a:lnTo>
                <a:lnTo>
                  <a:pt x="47" y="336"/>
                </a:lnTo>
                <a:lnTo>
                  <a:pt x="63" y="325"/>
                </a:lnTo>
                <a:lnTo>
                  <a:pt x="84" y="334"/>
                </a:lnTo>
                <a:lnTo>
                  <a:pt x="118" y="344"/>
                </a:lnTo>
                <a:lnTo>
                  <a:pt x="137" y="346"/>
                </a:lnTo>
                <a:lnTo>
                  <a:pt x="173" y="334"/>
                </a:lnTo>
                <a:lnTo>
                  <a:pt x="212" y="325"/>
                </a:lnTo>
                <a:lnTo>
                  <a:pt x="240" y="323"/>
                </a:lnTo>
                <a:lnTo>
                  <a:pt x="261" y="311"/>
                </a:lnTo>
                <a:lnTo>
                  <a:pt x="273" y="332"/>
                </a:lnTo>
                <a:lnTo>
                  <a:pt x="285" y="352"/>
                </a:lnTo>
                <a:lnTo>
                  <a:pt x="299" y="368"/>
                </a:lnTo>
                <a:lnTo>
                  <a:pt x="328" y="387"/>
                </a:lnTo>
                <a:lnTo>
                  <a:pt x="344" y="387"/>
                </a:lnTo>
                <a:lnTo>
                  <a:pt x="403" y="393"/>
                </a:lnTo>
                <a:lnTo>
                  <a:pt x="436" y="407"/>
                </a:lnTo>
                <a:lnTo>
                  <a:pt x="493" y="413"/>
                </a:lnTo>
                <a:lnTo>
                  <a:pt x="546" y="421"/>
                </a:lnTo>
                <a:lnTo>
                  <a:pt x="570" y="383"/>
                </a:lnTo>
                <a:lnTo>
                  <a:pt x="640" y="385"/>
                </a:lnTo>
                <a:lnTo>
                  <a:pt x="662" y="372"/>
                </a:lnTo>
                <a:lnTo>
                  <a:pt x="690" y="376"/>
                </a:lnTo>
                <a:lnTo>
                  <a:pt x="713" y="350"/>
                </a:lnTo>
                <a:lnTo>
                  <a:pt x="735" y="323"/>
                </a:lnTo>
                <a:lnTo>
                  <a:pt x="754" y="315"/>
                </a:lnTo>
                <a:lnTo>
                  <a:pt x="754" y="270"/>
                </a:lnTo>
                <a:lnTo>
                  <a:pt x="764" y="260"/>
                </a:lnTo>
                <a:lnTo>
                  <a:pt x="764" y="246"/>
                </a:lnTo>
                <a:lnTo>
                  <a:pt x="754" y="222"/>
                </a:lnTo>
                <a:lnTo>
                  <a:pt x="760" y="207"/>
                </a:lnTo>
                <a:close/>
              </a:path>
            </a:pathLst>
          </a:custGeom>
          <a:solidFill>
            <a:srgbClr val="FA0000"/>
          </a:solidFill>
          <a:ln w="9525">
            <a:solidFill>
              <a:srgbClr val="000000"/>
            </a:solidFill>
            <a:prstDash val="solid"/>
            <a:round/>
            <a:headEnd/>
            <a:tailEnd/>
          </a:ln>
        </p:spPr>
        <p:txBody>
          <a:bodyPr/>
          <a:lstStyle/>
          <a:p>
            <a:endParaRPr lang="cs-CZ"/>
          </a:p>
        </p:txBody>
      </p:sp>
      <p:sp>
        <p:nvSpPr>
          <p:cNvPr id="274" name="Freeform 282"/>
          <p:cNvSpPr>
            <a:spLocks/>
          </p:cNvSpPr>
          <p:nvPr/>
        </p:nvSpPr>
        <p:spPr bwMode="auto">
          <a:xfrm>
            <a:off x="3213100" y="4495378"/>
            <a:ext cx="387350" cy="225425"/>
          </a:xfrm>
          <a:custGeom>
            <a:avLst/>
            <a:gdLst>
              <a:gd name="T0" fmla="*/ 486 w 488"/>
              <a:gd name="T1" fmla="*/ 139 h 285"/>
              <a:gd name="T2" fmla="*/ 476 w 488"/>
              <a:gd name="T3" fmla="*/ 133 h 285"/>
              <a:gd name="T4" fmla="*/ 460 w 488"/>
              <a:gd name="T5" fmla="*/ 141 h 285"/>
              <a:gd name="T6" fmla="*/ 444 w 488"/>
              <a:gd name="T7" fmla="*/ 126 h 285"/>
              <a:gd name="T8" fmla="*/ 425 w 488"/>
              <a:gd name="T9" fmla="*/ 126 h 285"/>
              <a:gd name="T10" fmla="*/ 409 w 488"/>
              <a:gd name="T11" fmla="*/ 98 h 285"/>
              <a:gd name="T12" fmla="*/ 409 w 488"/>
              <a:gd name="T13" fmla="*/ 59 h 285"/>
              <a:gd name="T14" fmla="*/ 409 w 488"/>
              <a:gd name="T15" fmla="*/ 33 h 285"/>
              <a:gd name="T16" fmla="*/ 379 w 488"/>
              <a:gd name="T17" fmla="*/ 25 h 285"/>
              <a:gd name="T18" fmla="*/ 352 w 488"/>
              <a:gd name="T19" fmla="*/ 8 h 285"/>
              <a:gd name="T20" fmla="*/ 326 w 488"/>
              <a:gd name="T21" fmla="*/ 4 h 285"/>
              <a:gd name="T22" fmla="*/ 199 w 488"/>
              <a:gd name="T23" fmla="*/ 16 h 285"/>
              <a:gd name="T24" fmla="*/ 187 w 488"/>
              <a:gd name="T25" fmla="*/ 0 h 285"/>
              <a:gd name="T26" fmla="*/ 173 w 488"/>
              <a:gd name="T27" fmla="*/ 8 h 285"/>
              <a:gd name="T28" fmla="*/ 159 w 488"/>
              <a:gd name="T29" fmla="*/ 16 h 285"/>
              <a:gd name="T30" fmla="*/ 132 w 488"/>
              <a:gd name="T31" fmla="*/ 8 h 285"/>
              <a:gd name="T32" fmla="*/ 116 w 488"/>
              <a:gd name="T33" fmla="*/ 14 h 285"/>
              <a:gd name="T34" fmla="*/ 118 w 488"/>
              <a:gd name="T35" fmla="*/ 41 h 285"/>
              <a:gd name="T36" fmla="*/ 57 w 488"/>
              <a:gd name="T37" fmla="*/ 84 h 285"/>
              <a:gd name="T38" fmla="*/ 57 w 488"/>
              <a:gd name="T39" fmla="*/ 110 h 285"/>
              <a:gd name="T40" fmla="*/ 4 w 488"/>
              <a:gd name="T41" fmla="*/ 157 h 285"/>
              <a:gd name="T42" fmla="*/ 0 w 488"/>
              <a:gd name="T43" fmla="*/ 202 h 285"/>
              <a:gd name="T44" fmla="*/ 10 w 488"/>
              <a:gd name="T45" fmla="*/ 226 h 285"/>
              <a:gd name="T46" fmla="*/ 24 w 488"/>
              <a:gd name="T47" fmla="*/ 200 h 285"/>
              <a:gd name="T48" fmla="*/ 38 w 488"/>
              <a:gd name="T49" fmla="*/ 177 h 285"/>
              <a:gd name="T50" fmla="*/ 81 w 488"/>
              <a:gd name="T51" fmla="*/ 177 h 285"/>
              <a:gd name="T52" fmla="*/ 83 w 488"/>
              <a:gd name="T53" fmla="*/ 206 h 285"/>
              <a:gd name="T54" fmla="*/ 73 w 488"/>
              <a:gd name="T55" fmla="*/ 236 h 285"/>
              <a:gd name="T56" fmla="*/ 87 w 488"/>
              <a:gd name="T57" fmla="*/ 249 h 285"/>
              <a:gd name="T58" fmla="*/ 100 w 488"/>
              <a:gd name="T59" fmla="*/ 249 h 285"/>
              <a:gd name="T60" fmla="*/ 118 w 488"/>
              <a:gd name="T61" fmla="*/ 259 h 285"/>
              <a:gd name="T62" fmla="*/ 152 w 488"/>
              <a:gd name="T63" fmla="*/ 263 h 285"/>
              <a:gd name="T64" fmla="*/ 179 w 488"/>
              <a:gd name="T65" fmla="*/ 267 h 285"/>
              <a:gd name="T66" fmla="*/ 197 w 488"/>
              <a:gd name="T67" fmla="*/ 269 h 285"/>
              <a:gd name="T68" fmla="*/ 212 w 488"/>
              <a:gd name="T69" fmla="*/ 251 h 285"/>
              <a:gd name="T70" fmla="*/ 226 w 488"/>
              <a:gd name="T71" fmla="*/ 238 h 285"/>
              <a:gd name="T72" fmla="*/ 228 w 488"/>
              <a:gd name="T73" fmla="*/ 216 h 285"/>
              <a:gd name="T74" fmla="*/ 246 w 488"/>
              <a:gd name="T75" fmla="*/ 208 h 285"/>
              <a:gd name="T76" fmla="*/ 264 w 488"/>
              <a:gd name="T77" fmla="*/ 200 h 285"/>
              <a:gd name="T78" fmla="*/ 275 w 488"/>
              <a:gd name="T79" fmla="*/ 224 h 285"/>
              <a:gd name="T80" fmla="*/ 275 w 488"/>
              <a:gd name="T81" fmla="*/ 242 h 285"/>
              <a:gd name="T82" fmla="*/ 317 w 488"/>
              <a:gd name="T83" fmla="*/ 285 h 285"/>
              <a:gd name="T84" fmla="*/ 330 w 488"/>
              <a:gd name="T85" fmla="*/ 271 h 285"/>
              <a:gd name="T86" fmla="*/ 340 w 488"/>
              <a:gd name="T87" fmla="*/ 251 h 285"/>
              <a:gd name="T88" fmla="*/ 350 w 488"/>
              <a:gd name="T89" fmla="*/ 222 h 285"/>
              <a:gd name="T90" fmla="*/ 368 w 488"/>
              <a:gd name="T91" fmla="*/ 202 h 285"/>
              <a:gd name="T92" fmla="*/ 387 w 488"/>
              <a:gd name="T93" fmla="*/ 214 h 285"/>
              <a:gd name="T94" fmla="*/ 403 w 488"/>
              <a:gd name="T95" fmla="*/ 220 h 285"/>
              <a:gd name="T96" fmla="*/ 425 w 488"/>
              <a:gd name="T97" fmla="*/ 224 h 285"/>
              <a:gd name="T98" fmla="*/ 450 w 488"/>
              <a:gd name="T99" fmla="*/ 232 h 285"/>
              <a:gd name="T100" fmla="*/ 458 w 488"/>
              <a:gd name="T101" fmla="*/ 220 h 285"/>
              <a:gd name="T102" fmla="*/ 448 w 488"/>
              <a:gd name="T103" fmla="*/ 200 h 285"/>
              <a:gd name="T104" fmla="*/ 450 w 488"/>
              <a:gd name="T105" fmla="*/ 186 h 285"/>
              <a:gd name="T106" fmla="*/ 470 w 488"/>
              <a:gd name="T107" fmla="*/ 179 h 285"/>
              <a:gd name="T108" fmla="*/ 488 w 488"/>
              <a:gd name="T109" fmla="*/ 181 h 285"/>
              <a:gd name="T110" fmla="*/ 486 w 488"/>
              <a:gd name="T111" fmla="*/ 13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8" h="285">
                <a:moveTo>
                  <a:pt x="486" y="139"/>
                </a:moveTo>
                <a:lnTo>
                  <a:pt x="476" y="133"/>
                </a:lnTo>
                <a:lnTo>
                  <a:pt x="460" y="141"/>
                </a:lnTo>
                <a:lnTo>
                  <a:pt x="444" y="126"/>
                </a:lnTo>
                <a:lnTo>
                  <a:pt x="425" y="126"/>
                </a:lnTo>
                <a:lnTo>
                  <a:pt x="409" y="98"/>
                </a:lnTo>
                <a:lnTo>
                  <a:pt x="409" y="59"/>
                </a:lnTo>
                <a:lnTo>
                  <a:pt x="409" y="33"/>
                </a:lnTo>
                <a:lnTo>
                  <a:pt x="379" y="25"/>
                </a:lnTo>
                <a:lnTo>
                  <a:pt x="352" y="8"/>
                </a:lnTo>
                <a:lnTo>
                  <a:pt x="326" y="4"/>
                </a:lnTo>
                <a:lnTo>
                  <a:pt x="199" y="16"/>
                </a:lnTo>
                <a:lnTo>
                  <a:pt x="187" y="0"/>
                </a:lnTo>
                <a:lnTo>
                  <a:pt x="173" y="8"/>
                </a:lnTo>
                <a:lnTo>
                  <a:pt x="159" y="16"/>
                </a:lnTo>
                <a:lnTo>
                  <a:pt x="132" y="8"/>
                </a:lnTo>
                <a:lnTo>
                  <a:pt x="116" y="14"/>
                </a:lnTo>
                <a:lnTo>
                  <a:pt x="118" y="41"/>
                </a:lnTo>
                <a:lnTo>
                  <a:pt x="57" y="84"/>
                </a:lnTo>
                <a:lnTo>
                  <a:pt x="57" y="110"/>
                </a:lnTo>
                <a:lnTo>
                  <a:pt x="4" y="157"/>
                </a:lnTo>
                <a:lnTo>
                  <a:pt x="0" y="202"/>
                </a:lnTo>
                <a:lnTo>
                  <a:pt x="10" y="226"/>
                </a:lnTo>
                <a:lnTo>
                  <a:pt x="24" y="200"/>
                </a:lnTo>
                <a:lnTo>
                  <a:pt x="38" y="177"/>
                </a:lnTo>
                <a:lnTo>
                  <a:pt x="81" y="177"/>
                </a:lnTo>
                <a:lnTo>
                  <a:pt x="83" y="206"/>
                </a:lnTo>
                <a:lnTo>
                  <a:pt x="73" y="236"/>
                </a:lnTo>
                <a:lnTo>
                  <a:pt x="87" y="249"/>
                </a:lnTo>
                <a:lnTo>
                  <a:pt x="100" y="249"/>
                </a:lnTo>
                <a:lnTo>
                  <a:pt x="118" y="259"/>
                </a:lnTo>
                <a:lnTo>
                  <a:pt x="152" y="263"/>
                </a:lnTo>
                <a:lnTo>
                  <a:pt x="179" y="267"/>
                </a:lnTo>
                <a:lnTo>
                  <a:pt x="197" y="269"/>
                </a:lnTo>
                <a:lnTo>
                  <a:pt x="212" y="251"/>
                </a:lnTo>
                <a:lnTo>
                  <a:pt x="226" y="238"/>
                </a:lnTo>
                <a:lnTo>
                  <a:pt x="228" y="216"/>
                </a:lnTo>
                <a:lnTo>
                  <a:pt x="246" y="208"/>
                </a:lnTo>
                <a:lnTo>
                  <a:pt x="264" y="200"/>
                </a:lnTo>
                <a:lnTo>
                  <a:pt x="275" y="224"/>
                </a:lnTo>
                <a:lnTo>
                  <a:pt x="275" y="242"/>
                </a:lnTo>
                <a:lnTo>
                  <a:pt x="317" y="285"/>
                </a:lnTo>
                <a:lnTo>
                  <a:pt x="330" y="271"/>
                </a:lnTo>
                <a:lnTo>
                  <a:pt x="340" y="251"/>
                </a:lnTo>
                <a:lnTo>
                  <a:pt x="350" y="222"/>
                </a:lnTo>
                <a:lnTo>
                  <a:pt x="368" y="202"/>
                </a:lnTo>
                <a:lnTo>
                  <a:pt x="387" y="214"/>
                </a:lnTo>
                <a:lnTo>
                  <a:pt x="403" y="220"/>
                </a:lnTo>
                <a:lnTo>
                  <a:pt x="425" y="224"/>
                </a:lnTo>
                <a:lnTo>
                  <a:pt x="450" y="232"/>
                </a:lnTo>
                <a:lnTo>
                  <a:pt x="458" y="220"/>
                </a:lnTo>
                <a:lnTo>
                  <a:pt x="448" y="200"/>
                </a:lnTo>
                <a:lnTo>
                  <a:pt x="450" y="186"/>
                </a:lnTo>
                <a:lnTo>
                  <a:pt x="470" y="179"/>
                </a:lnTo>
                <a:lnTo>
                  <a:pt x="488" y="181"/>
                </a:lnTo>
                <a:lnTo>
                  <a:pt x="486" y="139"/>
                </a:lnTo>
                <a:close/>
              </a:path>
            </a:pathLst>
          </a:custGeom>
          <a:solidFill>
            <a:srgbClr val="D0D0D0"/>
          </a:solidFill>
          <a:ln w="9525">
            <a:solidFill>
              <a:srgbClr val="000000"/>
            </a:solidFill>
            <a:prstDash val="solid"/>
            <a:round/>
            <a:headEnd/>
            <a:tailEnd/>
          </a:ln>
        </p:spPr>
        <p:txBody>
          <a:bodyPr/>
          <a:lstStyle/>
          <a:p>
            <a:endParaRPr lang="cs-CZ"/>
          </a:p>
        </p:txBody>
      </p:sp>
      <p:sp>
        <p:nvSpPr>
          <p:cNvPr id="275" name="Freeform 283"/>
          <p:cNvSpPr>
            <a:spLocks/>
          </p:cNvSpPr>
          <p:nvPr/>
        </p:nvSpPr>
        <p:spPr bwMode="auto">
          <a:xfrm>
            <a:off x="4468813" y="5512965"/>
            <a:ext cx="39687" cy="53975"/>
          </a:xfrm>
          <a:custGeom>
            <a:avLst/>
            <a:gdLst>
              <a:gd name="T0" fmla="*/ 31 w 49"/>
              <a:gd name="T1" fmla="*/ 67 h 67"/>
              <a:gd name="T2" fmla="*/ 49 w 49"/>
              <a:gd name="T3" fmla="*/ 61 h 67"/>
              <a:gd name="T4" fmla="*/ 45 w 49"/>
              <a:gd name="T5" fmla="*/ 39 h 67"/>
              <a:gd name="T6" fmla="*/ 27 w 49"/>
              <a:gd name="T7" fmla="*/ 10 h 67"/>
              <a:gd name="T8" fmla="*/ 14 w 49"/>
              <a:gd name="T9" fmla="*/ 0 h 67"/>
              <a:gd name="T10" fmla="*/ 0 w 49"/>
              <a:gd name="T11" fmla="*/ 10 h 67"/>
              <a:gd name="T12" fmla="*/ 12 w 49"/>
              <a:gd name="T13" fmla="*/ 39 h 67"/>
              <a:gd name="T14" fmla="*/ 31 w 49"/>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7">
                <a:moveTo>
                  <a:pt x="31" y="67"/>
                </a:moveTo>
                <a:lnTo>
                  <a:pt x="49" y="61"/>
                </a:lnTo>
                <a:lnTo>
                  <a:pt x="45" y="39"/>
                </a:lnTo>
                <a:lnTo>
                  <a:pt x="27" y="10"/>
                </a:lnTo>
                <a:lnTo>
                  <a:pt x="14" y="0"/>
                </a:lnTo>
                <a:lnTo>
                  <a:pt x="0" y="10"/>
                </a:lnTo>
                <a:lnTo>
                  <a:pt x="12" y="39"/>
                </a:lnTo>
                <a:lnTo>
                  <a:pt x="31" y="67"/>
                </a:lnTo>
                <a:close/>
              </a:path>
            </a:pathLst>
          </a:custGeom>
          <a:solidFill>
            <a:srgbClr val="FFFFFF"/>
          </a:solidFill>
          <a:ln w="9525">
            <a:solidFill>
              <a:srgbClr val="000000"/>
            </a:solidFill>
            <a:prstDash val="solid"/>
            <a:round/>
            <a:headEnd/>
            <a:tailEnd/>
          </a:ln>
        </p:spPr>
        <p:txBody>
          <a:bodyPr/>
          <a:lstStyle/>
          <a:p>
            <a:endParaRPr lang="cs-CZ"/>
          </a:p>
        </p:txBody>
      </p:sp>
      <p:sp>
        <p:nvSpPr>
          <p:cNvPr id="276" name="Freeform 284"/>
          <p:cNvSpPr>
            <a:spLocks/>
          </p:cNvSpPr>
          <p:nvPr/>
        </p:nvSpPr>
        <p:spPr bwMode="auto">
          <a:xfrm>
            <a:off x="4548188" y="5686003"/>
            <a:ext cx="42862" cy="36512"/>
          </a:xfrm>
          <a:custGeom>
            <a:avLst/>
            <a:gdLst>
              <a:gd name="T0" fmla="*/ 18 w 53"/>
              <a:gd name="T1" fmla="*/ 45 h 45"/>
              <a:gd name="T2" fmla="*/ 43 w 53"/>
              <a:gd name="T3" fmla="*/ 43 h 45"/>
              <a:gd name="T4" fmla="*/ 53 w 53"/>
              <a:gd name="T5" fmla="*/ 33 h 45"/>
              <a:gd name="T6" fmla="*/ 41 w 53"/>
              <a:gd name="T7" fmla="*/ 22 h 45"/>
              <a:gd name="T8" fmla="*/ 34 w 53"/>
              <a:gd name="T9" fmla="*/ 2 h 45"/>
              <a:gd name="T10" fmla="*/ 22 w 53"/>
              <a:gd name="T11" fmla="*/ 0 h 45"/>
              <a:gd name="T12" fmla="*/ 8 w 53"/>
              <a:gd name="T13" fmla="*/ 12 h 45"/>
              <a:gd name="T14" fmla="*/ 0 w 53"/>
              <a:gd name="T15" fmla="*/ 31 h 45"/>
              <a:gd name="T16" fmla="*/ 18 w 53"/>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5">
                <a:moveTo>
                  <a:pt x="18" y="45"/>
                </a:moveTo>
                <a:lnTo>
                  <a:pt x="43" y="43"/>
                </a:lnTo>
                <a:lnTo>
                  <a:pt x="53" y="33"/>
                </a:lnTo>
                <a:lnTo>
                  <a:pt x="41" y="22"/>
                </a:lnTo>
                <a:lnTo>
                  <a:pt x="34" y="2"/>
                </a:lnTo>
                <a:lnTo>
                  <a:pt x="22" y="0"/>
                </a:lnTo>
                <a:lnTo>
                  <a:pt x="8" y="12"/>
                </a:lnTo>
                <a:lnTo>
                  <a:pt x="0" y="31"/>
                </a:lnTo>
                <a:lnTo>
                  <a:pt x="18" y="45"/>
                </a:lnTo>
                <a:close/>
              </a:path>
            </a:pathLst>
          </a:custGeom>
          <a:solidFill>
            <a:srgbClr val="FFFFFF"/>
          </a:solidFill>
          <a:ln w="9525">
            <a:solidFill>
              <a:srgbClr val="000000"/>
            </a:solidFill>
            <a:prstDash val="solid"/>
            <a:round/>
            <a:headEnd/>
            <a:tailEnd/>
          </a:ln>
        </p:spPr>
        <p:txBody>
          <a:bodyPr/>
          <a:lstStyle/>
          <a:p>
            <a:endParaRPr lang="cs-CZ"/>
          </a:p>
        </p:txBody>
      </p:sp>
      <p:sp>
        <p:nvSpPr>
          <p:cNvPr id="277" name="Freeform 285"/>
          <p:cNvSpPr>
            <a:spLocks/>
          </p:cNvSpPr>
          <p:nvPr/>
        </p:nvSpPr>
        <p:spPr bwMode="auto">
          <a:xfrm>
            <a:off x="4522788" y="5200228"/>
            <a:ext cx="593725" cy="555625"/>
          </a:xfrm>
          <a:custGeom>
            <a:avLst/>
            <a:gdLst>
              <a:gd name="T0" fmla="*/ 727 w 746"/>
              <a:gd name="T1" fmla="*/ 0 h 699"/>
              <a:gd name="T2" fmla="*/ 746 w 746"/>
              <a:gd name="T3" fmla="*/ 23 h 699"/>
              <a:gd name="T4" fmla="*/ 725 w 746"/>
              <a:gd name="T5" fmla="*/ 77 h 699"/>
              <a:gd name="T6" fmla="*/ 721 w 746"/>
              <a:gd name="T7" fmla="*/ 134 h 699"/>
              <a:gd name="T8" fmla="*/ 705 w 746"/>
              <a:gd name="T9" fmla="*/ 179 h 699"/>
              <a:gd name="T10" fmla="*/ 668 w 746"/>
              <a:gd name="T11" fmla="*/ 159 h 699"/>
              <a:gd name="T12" fmla="*/ 619 w 746"/>
              <a:gd name="T13" fmla="*/ 159 h 699"/>
              <a:gd name="T14" fmla="*/ 577 w 746"/>
              <a:gd name="T15" fmla="*/ 141 h 699"/>
              <a:gd name="T16" fmla="*/ 540 w 746"/>
              <a:gd name="T17" fmla="*/ 171 h 699"/>
              <a:gd name="T18" fmla="*/ 495 w 746"/>
              <a:gd name="T19" fmla="*/ 167 h 699"/>
              <a:gd name="T20" fmla="*/ 458 w 746"/>
              <a:gd name="T21" fmla="*/ 196 h 699"/>
              <a:gd name="T22" fmla="*/ 420 w 746"/>
              <a:gd name="T23" fmla="*/ 228 h 699"/>
              <a:gd name="T24" fmla="*/ 456 w 746"/>
              <a:gd name="T25" fmla="*/ 247 h 699"/>
              <a:gd name="T26" fmla="*/ 497 w 746"/>
              <a:gd name="T27" fmla="*/ 283 h 699"/>
              <a:gd name="T28" fmla="*/ 450 w 746"/>
              <a:gd name="T29" fmla="*/ 271 h 699"/>
              <a:gd name="T30" fmla="*/ 440 w 746"/>
              <a:gd name="T31" fmla="*/ 283 h 699"/>
              <a:gd name="T32" fmla="*/ 461 w 746"/>
              <a:gd name="T33" fmla="*/ 312 h 699"/>
              <a:gd name="T34" fmla="*/ 438 w 746"/>
              <a:gd name="T35" fmla="*/ 312 h 699"/>
              <a:gd name="T36" fmla="*/ 405 w 746"/>
              <a:gd name="T37" fmla="*/ 287 h 699"/>
              <a:gd name="T38" fmla="*/ 416 w 746"/>
              <a:gd name="T39" fmla="*/ 316 h 699"/>
              <a:gd name="T40" fmla="*/ 401 w 746"/>
              <a:gd name="T41" fmla="*/ 336 h 699"/>
              <a:gd name="T42" fmla="*/ 363 w 746"/>
              <a:gd name="T43" fmla="*/ 295 h 699"/>
              <a:gd name="T44" fmla="*/ 322 w 746"/>
              <a:gd name="T45" fmla="*/ 263 h 699"/>
              <a:gd name="T46" fmla="*/ 289 w 746"/>
              <a:gd name="T47" fmla="*/ 269 h 699"/>
              <a:gd name="T48" fmla="*/ 300 w 746"/>
              <a:gd name="T49" fmla="*/ 346 h 699"/>
              <a:gd name="T50" fmla="*/ 330 w 746"/>
              <a:gd name="T51" fmla="*/ 397 h 699"/>
              <a:gd name="T52" fmla="*/ 391 w 746"/>
              <a:gd name="T53" fmla="*/ 454 h 699"/>
              <a:gd name="T54" fmla="*/ 361 w 746"/>
              <a:gd name="T55" fmla="*/ 464 h 699"/>
              <a:gd name="T56" fmla="*/ 334 w 746"/>
              <a:gd name="T57" fmla="*/ 454 h 699"/>
              <a:gd name="T58" fmla="*/ 349 w 746"/>
              <a:gd name="T59" fmla="*/ 499 h 699"/>
              <a:gd name="T60" fmla="*/ 302 w 746"/>
              <a:gd name="T61" fmla="*/ 503 h 699"/>
              <a:gd name="T62" fmla="*/ 336 w 746"/>
              <a:gd name="T63" fmla="*/ 536 h 699"/>
              <a:gd name="T64" fmla="*/ 397 w 746"/>
              <a:gd name="T65" fmla="*/ 558 h 699"/>
              <a:gd name="T66" fmla="*/ 436 w 746"/>
              <a:gd name="T67" fmla="*/ 583 h 699"/>
              <a:gd name="T68" fmla="*/ 475 w 746"/>
              <a:gd name="T69" fmla="*/ 603 h 699"/>
              <a:gd name="T70" fmla="*/ 499 w 746"/>
              <a:gd name="T71" fmla="*/ 638 h 699"/>
              <a:gd name="T72" fmla="*/ 503 w 746"/>
              <a:gd name="T73" fmla="*/ 699 h 699"/>
              <a:gd name="T74" fmla="*/ 442 w 746"/>
              <a:gd name="T75" fmla="*/ 678 h 699"/>
              <a:gd name="T76" fmla="*/ 395 w 746"/>
              <a:gd name="T77" fmla="*/ 658 h 699"/>
              <a:gd name="T78" fmla="*/ 369 w 746"/>
              <a:gd name="T79" fmla="*/ 617 h 699"/>
              <a:gd name="T80" fmla="*/ 340 w 746"/>
              <a:gd name="T81" fmla="*/ 607 h 699"/>
              <a:gd name="T82" fmla="*/ 279 w 746"/>
              <a:gd name="T83" fmla="*/ 607 h 699"/>
              <a:gd name="T84" fmla="*/ 196 w 746"/>
              <a:gd name="T85" fmla="*/ 609 h 699"/>
              <a:gd name="T86" fmla="*/ 153 w 746"/>
              <a:gd name="T87" fmla="*/ 601 h 699"/>
              <a:gd name="T88" fmla="*/ 118 w 746"/>
              <a:gd name="T89" fmla="*/ 599 h 699"/>
              <a:gd name="T90" fmla="*/ 76 w 746"/>
              <a:gd name="T91" fmla="*/ 538 h 699"/>
              <a:gd name="T92" fmla="*/ 116 w 746"/>
              <a:gd name="T93" fmla="*/ 524 h 699"/>
              <a:gd name="T94" fmla="*/ 76 w 746"/>
              <a:gd name="T95" fmla="*/ 503 h 699"/>
              <a:gd name="T96" fmla="*/ 51 w 746"/>
              <a:gd name="T97" fmla="*/ 477 h 699"/>
              <a:gd name="T98" fmla="*/ 12 w 746"/>
              <a:gd name="T99" fmla="*/ 446 h 699"/>
              <a:gd name="T100" fmla="*/ 0 w 746"/>
              <a:gd name="T101" fmla="*/ 401 h 699"/>
              <a:gd name="T102" fmla="*/ 33 w 746"/>
              <a:gd name="T103" fmla="*/ 344 h 699"/>
              <a:gd name="T104" fmla="*/ 90 w 746"/>
              <a:gd name="T105" fmla="*/ 263 h 699"/>
              <a:gd name="T106" fmla="*/ 88 w 746"/>
              <a:gd name="T107" fmla="*/ 224 h 699"/>
              <a:gd name="T108" fmla="*/ 90 w 746"/>
              <a:gd name="T109" fmla="*/ 212 h 699"/>
              <a:gd name="T110" fmla="*/ 147 w 746"/>
              <a:gd name="T111" fmla="*/ 200 h 699"/>
              <a:gd name="T112" fmla="*/ 275 w 746"/>
              <a:gd name="T113" fmla="*/ 149 h 699"/>
              <a:gd name="T114" fmla="*/ 348 w 746"/>
              <a:gd name="T115" fmla="*/ 108 h 699"/>
              <a:gd name="T116" fmla="*/ 442 w 746"/>
              <a:gd name="T117" fmla="*/ 88 h 699"/>
              <a:gd name="T118" fmla="*/ 520 w 746"/>
              <a:gd name="T119" fmla="*/ 57 h 699"/>
              <a:gd name="T120" fmla="*/ 587 w 746"/>
              <a:gd name="T121" fmla="*/ 84 h 699"/>
              <a:gd name="T122" fmla="*/ 680 w 746"/>
              <a:gd name="T123" fmla="*/ 71 h 699"/>
              <a:gd name="T124" fmla="*/ 695 w 746"/>
              <a:gd name="T125" fmla="*/ 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99">
                <a:moveTo>
                  <a:pt x="695" y="2"/>
                </a:moveTo>
                <a:lnTo>
                  <a:pt x="727" y="0"/>
                </a:lnTo>
                <a:lnTo>
                  <a:pt x="729" y="16"/>
                </a:lnTo>
                <a:lnTo>
                  <a:pt x="746" y="23"/>
                </a:lnTo>
                <a:lnTo>
                  <a:pt x="742" y="53"/>
                </a:lnTo>
                <a:lnTo>
                  <a:pt x="725" y="77"/>
                </a:lnTo>
                <a:lnTo>
                  <a:pt x="725" y="108"/>
                </a:lnTo>
                <a:lnTo>
                  <a:pt x="721" y="134"/>
                </a:lnTo>
                <a:lnTo>
                  <a:pt x="719" y="151"/>
                </a:lnTo>
                <a:lnTo>
                  <a:pt x="705" y="179"/>
                </a:lnTo>
                <a:lnTo>
                  <a:pt x="689" y="167"/>
                </a:lnTo>
                <a:lnTo>
                  <a:pt x="668" y="159"/>
                </a:lnTo>
                <a:lnTo>
                  <a:pt x="650" y="157"/>
                </a:lnTo>
                <a:lnTo>
                  <a:pt x="619" y="159"/>
                </a:lnTo>
                <a:lnTo>
                  <a:pt x="591" y="149"/>
                </a:lnTo>
                <a:lnTo>
                  <a:pt x="577" y="141"/>
                </a:lnTo>
                <a:lnTo>
                  <a:pt x="550" y="159"/>
                </a:lnTo>
                <a:lnTo>
                  <a:pt x="540" y="171"/>
                </a:lnTo>
                <a:lnTo>
                  <a:pt x="511" y="171"/>
                </a:lnTo>
                <a:lnTo>
                  <a:pt x="495" y="167"/>
                </a:lnTo>
                <a:lnTo>
                  <a:pt x="479" y="189"/>
                </a:lnTo>
                <a:lnTo>
                  <a:pt x="458" y="196"/>
                </a:lnTo>
                <a:lnTo>
                  <a:pt x="434" y="206"/>
                </a:lnTo>
                <a:lnTo>
                  <a:pt x="420" y="228"/>
                </a:lnTo>
                <a:lnTo>
                  <a:pt x="432" y="244"/>
                </a:lnTo>
                <a:lnTo>
                  <a:pt x="456" y="247"/>
                </a:lnTo>
                <a:lnTo>
                  <a:pt x="479" y="259"/>
                </a:lnTo>
                <a:lnTo>
                  <a:pt x="497" y="283"/>
                </a:lnTo>
                <a:lnTo>
                  <a:pt x="477" y="279"/>
                </a:lnTo>
                <a:lnTo>
                  <a:pt x="450" y="271"/>
                </a:lnTo>
                <a:lnTo>
                  <a:pt x="436" y="271"/>
                </a:lnTo>
                <a:lnTo>
                  <a:pt x="440" y="283"/>
                </a:lnTo>
                <a:lnTo>
                  <a:pt x="456" y="293"/>
                </a:lnTo>
                <a:lnTo>
                  <a:pt x="461" y="312"/>
                </a:lnTo>
                <a:lnTo>
                  <a:pt x="461" y="328"/>
                </a:lnTo>
                <a:lnTo>
                  <a:pt x="438" y="312"/>
                </a:lnTo>
                <a:lnTo>
                  <a:pt x="424" y="297"/>
                </a:lnTo>
                <a:lnTo>
                  <a:pt x="405" y="287"/>
                </a:lnTo>
                <a:lnTo>
                  <a:pt x="397" y="299"/>
                </a:lnTo>
                <a:lnTo>
                  <a:pt x="416" y="316"/>
                </a:lnTo>
                <a:lnTo>
                  <a:pt x="424" y="334"/>
                </a:lnTo>
                <a:lnTo>
                  <a:pt x="401" y="336"/>
                </a:lnTo>
                <a:lnTo>
                  <a:pt x="379" y="312"/>
                </a:lnTo>
                <a:lnTo>
                  <a:pt x="363" y="295"/>
                </a:lnTo>
                <a:lnTo>
                  <a:pt x="344" y="279"/>
                </a:lnTo>
                <a:lnTo>
                  <a:pt x="322" y="263"/>
                </a:lnTo>
                <a:lnTo>
                  <a:pt x="310" y="247"/>
                </a:lnTo>
                <a:lnTo>
                  <a:pt x="289" y="269"/>
                </a:lnTo>
                <a:lnTo>
                  <a:pt x="289" y="306"/>
                </a:lnTo>
                <a:lnTo>
                  <a:pt x="300" y="346"/>
                </a:lnTo>
                <a:lnTo>
                  <a:pt x="322" y="369"/>
                </a:lnTo>
                <a:lnTo>
                  <a:pt x="330" y="397"/>
                </a:lnTo>
                <a:lnTo>
                  <a:pt x="375" y="422"/>
                </a:lnTo>
                <a:lnTo>
                  <a:pt x="391" y="454"/>
                </a:lnTo>
                <a:lnTo>
                  <a:pt x="381" y="468"/>
                </a:lnTo>
                <a:lnTo>
                  <a:pt x="361" y="464"/>
                </a:lnTo>
                <a:lnTo>
                  <a:pt x="344" y="440"/>
                </a:lnTo>
                <a:lnTo>
                  <a:pt x="334" y="454"/>
                </a:lnTo>
                <a:lnTo>
                  <a:pt x="346" y="477"/>
                </a:lnTo>
                <a:lnTo>
                  <a:pt x="349" y="499"/>
                </a:lnTo>
                <a:lnTo>
                  <a:pt x="326" y="505"/>
                </a:lnTo>
                <a:lnTo>
                  <a:pt x="302" y="503"/>
                </a:lnTo>
                <a:lnTo>
                  <a:pt x="310" y="526"/>
                </a:lnTo>
                <a:lnTo>
                  <a:pt x="336" y="536"/>
                </a:lnTo>
                <a:lnTo>
                  <a:pt x="369" y="548"/>
                </a:lnTo>
                <a:lnTo>
                  <a:pt x="397" y="558"/>
                </a:lnTo>
                <a:lnTo>
                  <a:pt x="412" y="570"/>
                </a:lnTo>
                <a:lnTo>
                  <a:pt x="436" y="583"/>
                </a:lnTo>
                <a:lnTo>
                  <a:pt x="456" y="595"/>
                </a:lnTo>
                <a:lnTo>
                  <a:pt x="475" y="603"/>
                </a:lnTo>
                <a:lnTo>
                  <a:pt x="495" y="609"/>
                </a:lnTo>
                <a:lnTo>
                  <a:pt x="499" y="638"/>
                </a:lnTo>
                <a:lnTo>
                  <a:pt x="505" y="674"/>
                </a:lnTo>
                <a:lnTo>
                  <a:pt x="503" y="699"/>
                </a:lnTo>
                <a:lnTo>
                  <a:pt x="475" y="680"/>
                </a:lnTo>
                <a:lnTo>
                  <a:pt x="442" y="678"/>
                </a:lnTo>
                <a:lnTo>
                  <a:pt x="412" y="658"/>
                </a:lnTo>
                <a:lnTo>
                  <a:pt x="395" y="658"/>
                </a:lnTo>
                <a:lnTo>
                  <a:pt x="381" y="638"/>
                </a:lnTo>
                <a:lnTo>
                  <a:pt x="369" y="617"/>
                </a:lnTo>
                <a:lnTo>
                  <a:pt x="351" y="623"/>
                </a:lnTo>
                <a:lnTo>
                  <a:pt x="340" y="607"/>
                </a:lnTo>
                <a:lnTo>
                  <a:pt x="308" y="601"/>
                </a:lnTo>
                <a:lnTo>
                  <a:pt x="279" y="607"/>
                </a:lnTo>
                <a:lnTo>
                  <a:pt x="241" y="605"/>
                </a:lnTo>
                <a:lnTo>
                  <a:pt x="196" y="609"/>
                </a:lnTo>
                <a:lnTo>
                  <a:pt x="173" y="607"/>
                </a:lnTo>
                <a:lnTo>
                  <a:pt x="153" y="601"/>
                </a:lnTo>
                <a:lnTo>
                  <a:pt x="133" y="615"/>
                </a:lnTo>
                <a:lnTo>
                  <a:pt x="118" y="599"/>
                </a:lnTo>
                <a:lnTo>
                  <a:pt x="98" y="562"/>
                </a:lnTo>
                <a:lnTo>
                  <a:pt x="76" y="538"/>
                </a:lnTo>
                <a:lnTo>
                  <a:pt x="108" y="534"/>
                </a:lnTo>
                <a:lnTo>
                  <a:pt x="116" y="524"/>
                </a:lnTo>
                <a:lnTo>
                  <a:pt x="98" y="505"/>
                </a:lnTo>
                <a:lnTo>
                  <a:pt x="76" y="503"/>
                </a:lnTo>
                <a:lnTo>
                  <a:pt x="67" y="521"/>
                </a:lnTo>
                <a:lnTo>
                  <a:pt x="51" y="477"/>
                </a:lnTo>
                <a:lnTo>
                  <a:pt x="23" y="458"/>
                </a:lnTo>
                <a:lnTo>
                  <a:pt x="12" y="446"/>
                </a:lnTo>
                <a:lnTo>
                  <a:pt x="10" y="414"/>
                </a:lnTo>
                <a:lnTo>
                  <a:pt x="0" y="401"/>
                </a:lnTo>
                <a:lnTo>
                  <a:pt x="25" y="369"/>
                </a:lnTo>
                <a:lnTo>
                  <a:pt x="33" y="344"/>
                </a:lnTo>
                <a:lnTo>
                  <a:pt x="53" y="326"/>
                </a:lnTo>
                <a:lnTo>
                  <a:pt x="90" y="263"/>
                </a:lnTo>
                <a:lnTo>
                  <a:pt x="92" y="238"/>
                </a:lnTo>
                <a:lnTo>
                  <a:pt x="88" y="224"/>
                </a:lnTo>
                <a:lnTo>
                  <a:pt x="76" y="206"/>
                </a:lnTo>
                <a:lnTo>
                  <a:pt x="90" y="212"/>
                </a:lnTo>
                <a:lnTo>
                  <a:pt x="120" y="196"/>
                </a:lnTo>
                <a:lnTo>
                  <a:pt x="147" y="200"/>
                </a:lnTo>
                <a:lnTo>
                  <a:pt x="230" y="145"/>
                </a:lnTo>
                <a:lnTo>
                  <a:pt x="275" y="149"/>
                </a:lnTo>
                <a:lnTo>
                  <a:pt x="312" y="108"/>
                </a:lnTo>
                <a:lnTo>
                  <a:pt x="348" y="108"/>
                </a:lnTo>
                <a:lnTo>
                  <a:pt x="377" y="94"/>
                </a:lnTo>
                <a:lnTo>
                  <a:pt x="442" y="88"/>
                </a:lnTo>
                <a:lnTo>
                  <a:pt x="461" y="71"/>
                </a:lnTo>
                <a:lnTo>
                  <a:pt x="520" y="57"/>
                </a:lnTo>
                <a:lnTo>
                  <a:pt x="542" y="75"/>
                </a:lnTo>
                <a:lnTo>
                  <a:pt x="587" y="84"/>
                </a:lnTo>
                <a:lnTo>
                  <a:pt x="627" y="92"/>
                </a:lnTo>
                <a:lnTo>
                  <a:pt x="680" y="71"/>
                </a:lnTo>
                <a:lnTo>
                  <a:pt x="695" y="33"/>
                </a:lnTo>
                <a:lnTo>
                  <a:pt x="695" y="2"/>
                </a:lnTo>
                <a:close/>
              </a:path>
            </a:pathLst>
          </a:custGeom>
          <a:solidFill>
            <a:srgbClr val="FA0000"/>
          </a:solidFill>
          <a:ln w="9525">
            <a:solidFill>
              <a:srgbClr val="000000"/>
            </a:solidFill>
            <a:prstDash val="solid"/>
            <a:round/>
            <a:headEnd/>
            <a:tailEnd/>
          </a:ln>
        </p:spPr>
        <p:txBody>
          <a:bodyPr/>
          <a:lstStyle/>
          <a:p>
            <a:endParaRPr lang="cs-CZ"/>
          </a:p>
        </p:txBody>
      </p:sp>
      <p:sp>
        <p:nvSpPr>
          <p:cNvPr id="278" name="Oval 286"/>
          <p:cNvSpPr>
            <a:spLocks noChangeArrowheads="1"/>
          </p:cNvSpPr>
          <p:nvPr/>
        </p:nvSpPr>
        <p:spPr bwMode="auto">
          <a:xfrm>
            <a:off x="4865688" y="5714578"/>
            <a:ext cx="25400" cy="25400"/>
          </a:xfrm>
          <a:prstGeom prst="ellipse">
            <a:avLst/>
          </a:prstGeom>
          <a:solidFill>
            <a:srgbClr val="FFFFFF"/>
          </a:solidFill>
          <a:ln w="9525">
            <a:solidFill>
              <a:srgbClr val="000000"/>
            </a:solidFill>
            <a:round/>
            <a:headEnd/>
            <a:tailEnd/>
          </a:ln>
        </p:spPr>
        <p:txBody>
          <a:bodyPr/>
          <a:lstStyle/>
          <a:p>
            <a:endParaRPr lang="cs-CZ"/>
          </a:p>
        </p:txBody>
      </p:sp>
      <p:sp>
        <p:nvSpPr>
          <p:cNvPr id="279" name="Freeform 287"/>
          <p:cNvSpPr>
            <a:spLocks/>
          </p:cNvSpPr>
          <p:nvPr/>
        </p:nvSpPr>
        <p:spPr bwMode="auto">
          <a:xfrm>
            <a:off x="4803775" y="5592340"/>
            <a:ext cx="176213" cy="125413"/>
          </a:xfrm>
          <a:custGeom>
            <a:avLst/>
            <a:gdLst>
              <a:gd name="T0" fmla="*/ 0 w 222"/>
              <a:gd name="T1" fmla="*/ 24 h 159"/>
              <a:gd name="T2" fmla="*/ 36 w 222"/>
              <a:gd name="T3" fmla="*/ 37 h 159"/>
              <a:gd name="T4" fmla="*/ 48 w 222"/>
              <a:gd name="T5" fmla="*/ 51 h 159"/>
              <a:gd name="T6" fmla="*/ 52 w 222"/>
              <a:gd name="T7" fmla="*/ 65 h 159"/>
              <a:gd name="T8" fmla="*/ 77 w 222"/>
              <a:gd name="T9" fmla="*/ 63 h 159"/>
              <a:gd name="T10" fmla="*/ 91 w 222"/>
              <a:gd name="T11" fmla="*/ 81 h 159"/>
              <a:gd name="T12" fmla="*/ 103 w 222"/>
              <a:gd name="T13" fmla="*/ 96 h 159"/>
              <a:gd name="T14" fmla="*/ 132 w 222"/>
              <a:gd name="T15" fmla="*/ 100 h 159"/>
              <a:gd name="T16" fmla="*/ 150 w 222"/>
              <a:gd name="T17" fmla="*/ 98 h 159"/>
              <a:gd name="T18" fmla="*/ 164 w 222"/>
              <a:gd name="T19" fmla="*/ 112 h 159"/>
              <a:gd name="T20" fmla="*/ 185 w 222"/>
              <a:gd name="T21" fmla="*/ 153 h 159"/>
              <a:gd name="T22" fmla="*/ 205 w 222"/>
              <a:gd name="T23" fmla="*/ 159 h 159"/>
              <a:gd name="T24" fmla="*/ 217 w 222"/>
              <a:gd name="T25" fmla="*/ 149 h 159"/>
              <a:gd name="T26" fmla="*/ 222 w 222"/>
              <a:gd name="T27" fmla="*/ 124 h 159"/>
              <a:gd name="T28" fmla="*/ 199 w 222"/>
              <a:gd name="T29" fmla="*/ 108 h 159"/>
              <a:gd name="T30" fmla="*/ 173 w 222"/>
              <a:gd name="T31" fmla="*/ 96 h 159"/>
              <a:gd name="T32" fmla="*/ 160 w 222"/>
              <a:gd name="T33" fmla="*/ 77 h 159"/>
              <a:gd name="T34" fmla="*/ 150 w 222"/>
              <a:gd name="T35" fmla="*/ 47 h 159"/>
              <a:gd name="T36" fmla="*/ 105 w 222"/>
              <a:gd name="T37" fmla="*/ 39 h 159"/>
              <a:gd name="T38" fmla="*/ 79 w 222"/>
              <a:gd name="T39" fmla="*/ 30 h 159"/>
              <a:gd name="T40" fmla="*/ 50 w 222"/>
              <a:gd name="T41" fmla="*/ 6 h 159"/>
              <a:gd name="T42" fmla="*/ 24 w 222"/>
              <a:gd name="T43" fmla="*/ 0 h 159"/>
              <a:gd name="T44" fmla="*/ 0 w 222"/>
              <a:gd name="T45" fmla="*/ 2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2" h="159">
                <a:moveTo>
                  <a:pt x="0" y="24"/>
                </a:moveTo>
                <a:lnTo>
                  <a:pt x="36" y="37"/>
                </a:lnTo>
                <a:lnTo>
                  <a:pt x="48" y="51"/>
                </a:lnTo>
                <a:lnTo>
                  <a:pt x="52" y="65"/>
                </a:lnTo>
                <a:lnTo>
                  <a:pt x="77" y="63"/>
                </a:lnTo>
                <a:lnTo>
                  <a:pt x="91" y="81"/>
                </a:lnTo>
                <a:lnTo>
                  <a:pt x="103" y="96"/>
                </a:lnTo>
                <a:lnTo>
                  <a:pt x="132" y="100"/>
                </a:lnTo>
                <a:lnTo>
                  <a:pt x="150" y="98"/>
                </a:lnTo>
                <a:lnTo>
                  <a:pt x="164" y="112"/>
                </a:lnTo>
                <a:lnTo>
                  <a:pt x="185" y="153"/>
                </a:lnTo>
                <a:lnTo>
                  <a:pt x="205" y="159"/>
                </a:lnTo>
                <a:lnTo>
                  <a:pt x="217" y="149"/>
                </a:lnTo>
                <a:lnTo>
                  <a:pt x="222" y="124"/>
                </a:lnTo>
                <a:lnTo>
                  <a:pt x="199" y="108"/>
                </a:lnTo>
                <a:lnTo>
                  <a:pt x="173" y="96"/>
                </a:lnTo>
                <a:lnTo>
                  <a:pt x="160" y="77"/>
                </a:lnTo>
                <a:lnTo>
                  <a:pt x="150" y="47"/>
                </a:lnTo>
                <a:lnTo>
                  <a:pt x="105" y="39"/>
                </a:lnTo>
                <a:lnTo>
                  <a:pt x="79" y="30"/>
                </a:lnTo>
                <a:lnTo>
                  <a:pt x="50" y="6"/>
                </a:lnTo>
                <a:lnTo>
                  <a:pt x="24" y="0"/>
                </a:lnTo>
                <a:lnTo>
                  <a:pt x="0" y="24"/>
                </a:lnTo>
                <a:close/>
              </a:path>
            </a:pathLst>
          </a:custGeom>
          <a:solidFill>
            <a:srgbClr val="FFFFFF"/>
          </a:solidFill>
          <a:ln w="9525">
            <a:solidFill>
              <a:srgbClr val="000000"/>
            </a:solidFill>
            <a:prstDash val="solid"/>
            <a:round/>
            <a:headEnd/>
            <a:tailEnd/>
          </a:ln>
        </p:spPr>
        <p:txBody>
          <a:bodyPr/>
          <a:lstStyle/>
          <a:p>
            <a:endParaRPr lang="cs-CZ"/>
          </a:p>
        </p:txBody>
      </p:sp>
      <p:sp>
        <p:nvSpPr>
          <p:cNvPr id="280" name="Freeform 288"/>
          <p:cNvSpPr>
            <a:spLocks/>
          </p:cNvSpPr>
          <p:nvPr/>
        </p:nvSpPr>
        <p:spPr bwMode="auto">
          <a:xfrm>
            <a:off x="4987925" y="5708228"/>
            <a:ext cx="38100" cy="38100"/>
          </a:xfrm>
          <a:custGeom>
            <a:avLst/>
            <a:gdLst>
              <a:gd name="T0" fmla="*/ 0 w 47"/>
              <a:gd name="T1" fmla="*/ 6 h 48"/>
              <a:gd name="T2" fmla="*/ 18 w 47"/>
              <a:gd name="T3" fmla="*/ 32 h 48"/>
              <a:gd name="T4" fmla="*/ 24 w 47"/>
              <a:gd name="T5" fmla="*/ 48 h 48"/>
              <a:gd name="T6" fmla="*/ 40 w 47"/>
              <a:gd name="T7" fmla="*/ 48 h 48"/>
              <a:gd name="T8" fmla="*/ 47 w 47"/>
              <a:gd name="T9" fmla="*/ 34 h 48"/>
              <a:gd name="T10" fmla="*/ 32 w 47"/>
              <a:gd name="T11" fmla="*/ 12 h 48"/>
              <a:gd name="T12" fmla="*/ 16 w 47"/>
              <a:gd name="T13" fmla="*/ 0 h 48"/>
              <a:gd name="T14" fmla="*/ 0 w 47"/>
              <a:gd name="T15" fmla="*/ 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8">
                <a:moveTo>
                  <a:pt x="0" y="6"/>
                </a:moveTo>
                <a:lnTo>
                  <a:pt x="18" y="32"/>
                </a:lnTo>
                <a:lnTo>
                  <a:pt x="24" y="48"/>
                </a:lnTo>
                <a:lnTo>
                  <a:pt x="40" y="48"/>
                </a:lnTo>
                <a:lnTo>
                  <a:pt x="47" y="34"/>
                </a:lnTo>
                <a:lnTo>
                  <a:pt x="32" y="12"/>
                </a:lnTo>
                <a:lnTo>
                  <a:pt x="16" y="0"/>
                </a:lnTo>
                <a:lnTo>
                  <a:pt x="0" y="6"/>
                </a:lnTo>
                <a:close/>
              </a:path>
            </a:pathLst>
          </a:custGeom>
          <a:solidFill>
            <a:srgbClr val="FFFFFF"/>
          </a:solidFill>
          <a:ln w="9525">
            <a:solidFill>
              <a:srgbClr val="000000"/>
            </a:solidFill>
            <a:prstDash val="solid"/>
            <a:round/>
            <a:headEnd/>
            <a:tailEnd/>
          </a:ln>
        </p:spPr>
        <p:txBody>
          <a:bodyPr/>
          <a:lstStyle/>
          <a:p>
            <a:endParaRPr lang="cs-CZ"/>
          </a:p>
        </p:txBody>
      </p:sp>
      <p:sp>
        <p:nvSpPr>
          <p:cNvPr id="281" name="Freeform 289"/>
          <p:cNvSpPr>
            <a:spLocks/>
          </p:cNvSpPr>
          <p:nvPr/>
        </p:nvSpPr>
        <p:spPr bwMode="auto">
          <a:xfrm>
            <a:off x="4929188" y="5346278"/>
            <a:ext cx="31750" cy="31750"/>
          </a:xfrm>
          <a:custGeom>
            <a:avLst/>
            <a:gdLst>
              <a:gd name="T0" fmla="*/ 6 w 41"/>
              <a:gd name="T1" fmla="*/ 29 h 39"/>
              <a:gd name="T2" fmla="*/ 23 w 41"/>
              <a:gd name="T3" fmla="*/ 39 h 39"/>
              <a:gd name="T4" fmla="*/ 33 w 41"/>
              <a:gd name="T5" fmla="*/ 29 h 39"/>
              <a:gd name="T6" fmla="*/ 41 w 41"/>
              <a:gd name="T7" fmla="*/ 13 h 39"/>
              <a:gd name="T8" fmla="*/ 27 w 41"/>
              <a:gd name="T9" fmla="*/ 0 h 39"/>
              <a:gd name="T10" fmla="*/ 6 w 41"/>
              <a:gd name="T11" fmla="*/ 5 h 39"/>
              <a:gd name="T12" fmla="*/ 0 w 41"/>
              <a:gd name="T13" fmla="*/ 17 h 39"/>
              <a:gd name="T14" fmla="*/ 6 w 41"/>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9">
                <a:moveTo>
                  <a:pt x="6" y="29"/>
                </a:moveTo>
                <a:lnTo>
                  <a:pt x="23" y="39"/>
                </a:lnTo>
                <a:lnTo>
                  <a:pt x="33" y="29"/>
                </a:lnTo>
                <a:lnTo>
                  <a:pt x="41" y="13"/>
                </a:lnTo>
                <a:lnTo>
                  <a:pt x="27" y="0"/>
                </a:lnTo>
                <a:lnTo>
                  <a:pt x="6" y="5"/>
                </a:lnTo>
                <a:lnTo>
                  <a:pt x="0" y="17"/>
                </a:lnTo>
                <a:lnTo>
                  <a:pt x="6" y="29"/>
                </a:lnTo>
                <a:close/>
              </a:path>
            </a:pathLst>
          </a:custGeom>
          <a:solidFill>
            <a:srgbClr val="FFFFFF"/>
          </a:solidFill>
          <a:ln w="9525">
            <a:solidFill>
              <a:srgbClr val="000000"/>
            </a:solidFill>
            <a:prstDash val="solid"/>
            <a:round/>
            <a:headEnd/>
            <a:tailEnd/>
          </a:ln>
        </p:spPr>
        <p:txBody>
          <a:bodyPr/>
          <a:lstStyle/>
          <a:p>
            <a:endParaRPr lang="cs-CZ"/>
          </a:p>
        </p:txBody>
      </p:sp>
      <p:sp>
        <p:nvSpPr>
          <p:cNvPr id="282" name="Freeform 290"/>
          <p:cNvSpPr>
            <a:spLocks/>
          </p:cNvSpPr>
          <p:nvPr/>
        </p:nvSpPr>
        <p:spPr bwMode="auto">
          <a:xfrm>
            <a:off x="4994275" y="5439940"/>
            <a:ext cx="31750" cy="34925"/>
          </a:xfrm>
          <a:custGeom>
            <a:avLst/>
            <a:gdLst>
              <a:gd name="T0" fmla="*/ 4 w 39"/>
              <a:gd name="T1" fmla="*/ 18 h 44"/>
              <a:gd name="T2" fmla="*/ 0 w 39"/>
              <a:gd name="T3" fmla="*/ 30 h 44"/>
              <a:gd name="T4" fmla="*/ 8 w 39"/>
              <a:gd name="T5" fmla="*/ 44 h 44"/>
              <a:gd name="T6" fmla="*/ 34 w 39"/>
              <a:gd name="T7" fmla="*/ 32 h 44"/>
              <a:gd name="T8" fmla="*/ 39 w 39"/>
              <a:gd name="T9" fmla="*/ 18 h 44"/>
              <a:gd name="T10" fmla="*/ 34 w 39"/>
              <a:gd name="T11" fmla="*/ 2 h 44"/>
              <a:gd name="T12" fmla="*/ 20 w 39"/>
              <a:gd name="T13" fmla="*/ 0 h 44"/>
              <a:gd name="T14" fmla="*/ 4 w 39"/>
              <a:gd name="T15" fmla="*/ 18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4">
                <a:moveTo>
                  <a:pt x="4" y="18"/>
                </a:moveTo>
                <a:lnTo>
                  <a:pt x="0" y="30"/>
                </a:lnTo>
                <a:lnTo>
                  <a:pt x="8" y="44"/>
                </a:lnTo>
                <a:lnTo>
                  <a:pt x="34" y="32"/>
                </a:lnTo>
                <a:lnTo>
                  <a:pt x="39" y="18"/>
                </a:lnTo>
                <a:lnTo>
                  <a:pt x="34" y="2"/>
                </a:lnTo>
                <a:lnTo>
                  <a:pt x="20" y="0"/>
                </a:lnTo>
                <a:lnTo>
                  <a:pt x="4" y="18"/>
                </a:lnTo>
                <a:close/>
              </a:path>
            </a:pathLst>
          </a:custGeom>
          <a:solidFill>
            <a:srgbClr val="FFFFFF"/>
          </a:solidFill>
          <a:ln w="9525">
            <a:solidFill>
              <a:srgbClr val="000000"/>
            </a:solidFill>
            <a:prstDash val="solid"/>
            <a:round/>
            <a:headEnd/>
            <a:tailEnd/>
          </a:ln>
        </p:spPr>
        <p:txBody>
          <a:bodyPr/>
          <a:lstStyle/>
          <a:p>
            <a:endParaRPr lang="cs-CZ"/>
          </a:p>
        </p:txBody>
      </p:sp>
      <p:sp>
        <p:nvSpPr>
          <p:cNvPr id="283" name="Freeform 291"/>
          <p:cNvSpPr>
            <a:spLocks/>
          </p:cNvSpPr>
          <p:nvPr/>
        </p:nvSpPr>
        <p:spPr bwMode="auto">
          <a:xfrm>
            <a:off x="4905375" y="6019378"/>
            <a:ext cx="290513" cy="90487"/>
          </a:xfrm>
          <a:custGeom>
            <a:avLst/>
            <a:gdLst>
              <a:gd name="T0" fmla="*/ 0 w 366"/>
              <a:gd name="T1" fmla="*/ 75 h 114"/>
              <a:gd name="T2" fmla="*/ 73 w 366"/>
              <a:gd name="T3" fmla="*/ 67 h 114"/>
              <a:gd name="T4" fmla="*/ 126 w 366"/>
              <a:gd name="T5" fmla="*/ 73 h 114"/>
              <a:gd name="T6" fmla="*/ 138 w 366"/>
              <a:gd name="T7" fmla="*/ 85 h 114"/>
              <a:gd name="T8" fmla="*/ 157 w 366"/>
              <a:gd name="T9" fmla="*/ 85 h 114"/>
              <a:gd name="T10" fmla="*/ 177 w 366"/>
              <a:gd name="T11" fmla="*/ 114 h 114"/>
              <a:gd name="T12" fmla="*/ 216 w 366"/>
              <a:gd name="T13" fmla="*/ 101 h 114"/>
              <a:gd name="T14" fmla="*/ 244 w 366"/>
              <a:gd name="T15" fmla="*/ 89 h 114"/>
              <a:gd name="T16" fmla="*/ 261 w 366"/>
              <a:gd name="T17" fmla="*/ 91 h 114"/>
              <a:gd name="T18" fmla="*/ 289 w 366"/>
              <a:gd name="T19" fmla="*/ 77 h 114"/>
              <a:gd name="T20" fmla="*/ 299 w 366"/>
              <a:gd name="T21" fmla="*/ 81 h 114"/>
              <a:gd name="T22" fmla="*/ 320 w 366"/>
              <a:gd name="T23" fmla="*/ 67 h 114"/>
              <a:gd name="T24" fmla="*/ 340 w 366"/>
              <a:gd name="T25" fmla="*/ 77 h 114"/>
              <a:gd name="T26" fmla="*/ 352 w 366"/>
              <a:gd name="T27" fmla="*/ 73 h 114"/>
              <a:gd name="T28" fmla="*/ 352 w 366"/>
              <a:gd name="T29" fmla="*/ 51 h 114"/>
              <a:gd name="T30" fmla="*/ 366 w 366"/>
              <a:gd name="T31" fmla="*/ 36 h 114"/>
              <a:gd name="T32" fmla="*/ 346 w 366"/>
              <a:gd name="T33" fmla="*/ 36 h 114"/>
              <a:gd name="T34" fmla="*/ 324 w 366"/>
              <a:gd name="T35" fmla="*/ 42 h 114"/>
              <a:gd name="T36" fmla="*/ 307 w 366"/>
              <a:gd name="T37" fmla="*/ 53 h 114"/>
              <a:gd name="T38" fmla="*/ 289 w 366"/>
              <a:gd name="T39" fmla="*/ 40 h 114"/>
              <a:gd name="T40" fmla="*/ 269 w 366"/>
              <a:gd name="T41" fmla="*/ 24 h 114"/>
              <a:gd name="T42" fmla="*/ 224 w 366"/>
              <a:gd name="T43" fmla="*/ 40 h 114"/>
              <a:gd name="T44" fmla="*/ 197 w 366"/>
              <a:gd name="T45" fmla="*/ 28 h 114"/>
              <a:gd name="T46" fmla="*/ 171 w 366"/>
              <a:gd name="T47" fmla="*/ 14 h 114"/>
              <a:gd name="T48" fmla="*/ 146 w 366"/>
              <a:gd name="T49" fmla="*/ 24 h 114"/>
              <a:gd name="T50" fmla="*/ 132 w 366"/>
              <a:gd name="T51" fmla="*/ 36 h 114"/>
              <a:gd name="T52" fmla="*/ 98 w 366"/>
              <a:gd name="T53" fmla="*/ 34 h 114"/>
              <a:gd name="T54" fmla="*/ 81 w 366"/>
              <a:gd name="T55" fmla="*/ 22 h 114"/>
              <a:gd name="T56" fmla="*/ 75 w 366"/>
              <a:gd name="T57" fmla="*/ 8 h 114"/>
              <a:gd name="T58" fmla="*/ 49 w 366"/>
              <a:gd name="T59" fmla="*/ 6 h 114"/>
              <a:gd name="T60" fmla="*/ 26 w 366"/>
              <a:gd name="T61" fmla="*/ 0 h 114"/>
              <a:gd name="T62" fmla="*/ 14 w 366"/>
              <a:gd name="T63" fmla="*/ 4 h 114"/>
              <a:gd name="T64" fmla="*/ 10 w 366"/>
              <a:gd name="T65" fmla="*/ 14 h 114"/>
              <a:gd name="T66" fmla="*/ 2 w 366"/>
              <a:gd name="T67" fmla="*/ 26 h 114"/>
              <a:gd name="T68" fmla="*/ 6 w 366"/>
              <a:gd name="T69" fmla="*/ 50 h 114"/>
              <a:gd name="T70" fmla="*/ 0 w 366"/>
              <a:gd name="T71" fmla="*/ 7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114">
                <a:moveTo>
                  <a:pt x="0" y="75"/>
                </a:moveTo>
                <a:lnTo>
                  <a:pt x="73" y="67"/>
                </a:lnTo>
                <a:lnTo>
                  <a:pt x="126" y="73"/>
                </a:lnTo>
                <a:lnTo>
                  <a:pt x="138" y="85"/>
                </a:lnTo>
                <a:lnTo>
                  <a:pt x="157" y="85"/>
                </a:lnTo>
                <a:lnTo>
                  <a:pt x="177" y="114"/>
                </a:lnTo>
                <a:lnTo>
                  <a:pt x="216" y="101"/>
                </a:lnTo>
                <a:lnTo>
                  <a:pt x="244" y="89"/>
                </a:lnTo>
                <a:lnTo>
                  <a:pt x="261" y="91"/>
                </a:lnTo>
                <a:lnTo>
                  <a:pt x="289" y="77"/>
                </a:lnTo>
                <a:lnTo>
                  <a:pt x="299" y="81"/>
                </a:lnTo>
                <a:lnTo>
                  <a:pt x="320" y="67"/>
                </a:lnTo>
                <a:lnTo>
                  <a:pt x="340" y="77"/>
                </a:lnTo>
                <a:lnTo>
                  <a:pt x="352" y="73"/>
                </a:lnTo>
                <a:lnTo>
                  <a:pt x="352" y="51"/>
                </a:lnTo>
                <a:lnTo>
                  <a:pt x="366" y="36"/>
                </a:lnTo>
                <a:lnTo>
                  <a:pt x="346" y="36"/>
                </a:lnTo>
                <a:lnTo>
                  <a:pt x="324" y="42"/>
                </a:lnTo>
                <a:lnTo>
                  <a:pt x="307" y="53"/>
                </a:lnTo>
                <a:lnTo>
                  <a:pt x="289" y="40"/>
                </a:lnTo>
                <a:lnTo>
                  <a:pt x="269" y="24"/>
                </a:lnTo>
                <a:lnTo>
                  <a:pt x="224" y="40"/>
                </a:lnTo>
                <a:lnTo>
                  <a:pt x="197" y="28"/>
                </a:lnTo>
                <a:lnTo>
                  <a:pt x="171" y="14"/>
                </a:lnTo>
                <a:lnTo>
                  <a:pt x="146" y="24"/>
                </a:lnTo>
                <a:lnTo>
                  <a:pt x="132" y="36"/>
                </a:lnTo>
                <a:lnTo>
                  <a:pt x="98" y="34"/>
                </a:lnTo>
                <a:lnTo>
                  <a:pt x="81" y="22"/>
                </a:lnTo>
                <a:lnTo>
                  <a:pt x="75" y="8"/>
                </a:lnTo>
                <a:lnTo>
                  <a:pt x="49" y="6"/>
                </a:lnTo>
                <a:lnTo>
                  <a:pt x="26" y="0"/>
                </a:lnTo>
                <a:lnTo>
                  <a:pt x="14" y="4"/>
                </a:lnTo>
                <a:lnTo>
                  <a:pt x="10" y="14"/>
                </a:lnTo>
                <a:lnTo>
                  <a:pt x="2" y="26"/>
                </a:lnTo>
                <a:lnTo>
                  <a:pt x="6" y="50"/>
                </a:lnTo>
                <a:lnTo>
                  <a:pt x="0" y="75"/>
                </a:lnTo>
                <a:close/>
              </a:path>
            </a:pathLst>
          </a:custGeom>
          <a:solidFill>
            <a:srgbClr val="FFFFFF"/>
          </a:solidFill>
          <a:ln w="9525">
            <a:solidFill>
              <a:srgbClr val="000000"/>
            </a:solidFill>
            <a:prstDash val="solid"/>
            <a:round/>
            <a:headEnd/>
            <a:tailEnd/>
          </a:ln>
        </p:spPr>
        <p:txBody>
          <a:bodyPr/>
          <a:lstStyle/>
          <a:p>
            <a:endParaRPr lang="cs-CZ"/>
          </a:p>
        </p:txBody>
      </p:sp>
      <p:sp>
        <p:nvSpPr>
          <p:cNvPr id="284" name="Freeform 292"/>
          <p:cNvSpPr>
            <a:spLocks/>
          </p:cNvSpPr>
          <p:nvPr/>
        </p:nvSpPr>
        <p:spPr bwMode="auto">
          <a:xfrm>
            <a:off x="4630738" y="5684415"/>
            <a:ext cx="242887" cy="244475"/>
          </a:xfrm>
          <a:custGeom>
            <a:avLst/>
            <a:gdLst>
              <a:gd name="T0" fmla="*/ 67 w 307"/>
              <a:gd name="T1" fmla="*/ 169 h 306"/>
              <a:gd name="T2" fmla="*/ 61 w 307"/>
              <a:gd name="T3" fmla="*/ 220 h 306"/>
              <a:gd name="T4" fmla="*/ 75 w 307"/>
              <a:gd name="T5" fmla="*/ 249 h 306"/>
              <a:gd name="T6" fmla="*/ 101 w 307"/>
              <a:gd name="T7" fmla="*/ 267 h 306"/>
              <a:gd name="T8" fmla="*/ 116 w 307"/>
              <a:gd name="T9" fmla="*/ 222 h 306"/>
              <a:gd name="T10" fmla="*/ 146 w 307"/>
              <a:gd name="T11" fmla="*/ 246 h 306"/>
              <a:gd name="T12" fmla="*/ 156 w 307"/>
              <a:gd name="T13" fmla="*/ 259 h 306"/>
              <a:gd name="T14" fmla="*/ 165 w 307"/>
              <a:gd name="T15" fmla="*/ 273 h 306"/>
              <a:gd name="T16" fmla="*/ 171 w 307"/>
              <a:gd name="T17" fmla="*/ 287 h 306"/>
              <a:gd name="T18" fmla="*/ 173 w 307"/>
              <a:gd name="T19" fmla="*/ 306 h 306"/>
              <a:gd name="T20" fmla="*/ 191 w 307"/>
              <a:gd name="T21" fmla="*/ 301 h 306"/>
              <a:gd name="T22" fmla="*/ 199 w 307"/>
              <a:gd name="T23" fmla="*/ 259 h 306"/>
              <a:gd name="T24" fmla="*/ 228 w 307"/>
              <a:gd name="T25" fmla="*/ 285 h 306"/>
              <a:gd name="T26" fmla="*/ 238 w 307"/>
              <a:gd name="T27" fmla="*/ 287 h 306"/>
              <a:gd name="T28" fmla="*/ 262 w 307"/>
              <a:gd name="T29" fmla="*/ 301 h 306"/>
              <a:gd name="T30" fmla="*/ 268 w 307"/>
              <a:gd name="T31" fmla="*/ 269 h 306"/>
              <a:gd name="T32" fmla="*/ 260 w 307"/>
              <a:gd name="T33" fmla="*/ 226 h 306"/>
              <a:gd name="T34" fmla="*/ 236 w 307"/>
              <a:gd name="T35" fmla="*/ 183 h 306"/>
              <a:gd name="T36" fmla="*/ 214 w 307"/>
              <a:gd name="T37" fmla="*/ 143 h 306"/>
              <a:gd name="T38" fmla="*/ 211 w 307"/>
              <a:gd name="T39" fmla="*/ 126 h 306"/>
              <a:gd name="T40" fmla="*/ 240 w 307"/>
              <a:gd name="T41" fmla="*/ 145 h 306"/>
              <a:gd name="T42" fmla="*/ 264 w 307"/>
              <a:gd name="T43" fmla="*/ 163 h 306"/>
              <a:gd name="T44" fmla="*/ 279 w 307"/>
              <a:gd name="T45" fmla="*/ 151 h 306"/>
              <a:gd name="T46" fmla="*/ 301 w 307"/>
              <a:gd name="T47" fmla="*/ 143 h 306"/>
              <a:gd name="T48" fmla="*/ 307 w 307"/>
              <a:gd name="T49" fmla="*/ 130 h 306"/>
              <a:gd name="T50" fmla="*/ 289 w 307"/>
              <a:gd name="T51" fmla="*/ 114 h 306"/>
              <a:gd name="T52" fmla="*/ 268 w 307"/>
              <a:gd name="T53" fmla="*/ 106 h 306"/>
              <a:gd name="T54" fmla="*/ 248 w 307"/>
              <a:gd name="T55" fmla="*/ 80 h 306"/>
              <a:gd name="T56" fmla="*/ 248 w 307"/>
              <a:gd name="T57" fmla="*/ 65 h 306"/>
              <a:gd name="T58" fmla="*/ 279 w 307"/>
              <a:gd name="T59" fmla="*/ 57 h 306"/>
              <a:gd name="T60" fmla="*/ 270 w 307"/>
              <a:gd name="T61" fmla="*/ 47 h 306"/>
              <a:gd name="T62" fmla="*/ 250 w 307"/>
              <a:gd name="T63" fmla="*/ 47 h 306"/>
              <a:gd name="T64" fmla="*/ 216 w 307"/>
              <a:gd name="T65" fmla="*/ 39 h 306"/>
              <a:gd name="T66" fmla="*/ 193 w 307"/>
              <a:gd name="T67" fmla="*/ 35 h 306"/>
              <a:gd name="T68" fmla="*/ 169 w 307"/>
              <a:gd name="T69" fmla="*/ 25 h 306"/>
              <a:gd name="T70" fmla="*/ 134 w 307"/>
              <a:gd name="T71" fmla="*/ 31 h 306"/>
              <a:gd name="T72" fmla="*/ 89 w 307"/>
              <a:gd name="T73" fmla="*/ 2 h 306"/>
              <a:gd name="T74" fmla="*/ 77 w 307"/>
              <a:gd name="T75" fmla="*/ 0 h 306"/>
              <a:gd name="T76" fmla="*/ 59 w 307"/>
              <a:gd name="T77" fmla="*/ 24 h 306"/>
              <a:gd name="T78" fmla="*/ 42 w 307"/>
              <a:gd name="T79" fmla="*/ 39 h 306"/>
              <a:gd name="T80" fmla="*/ 28 w 307"/>
              <a:gd name="T81" fmla="*/ 31 h 306"/>
              <a:gd name="T82" fmla="*/ 14 w 307"/>
              <a:gd name="T83" fmla="*/ 53 h 306"/>
              <a:gd name="T84" fmla="*/ 6 w 307"/>
              <a:gd name="T85" fmla="*/ 75 h 306"/>
              <a:gd name="T86" fmla="*/ 0 w 307"/>
              <a:gd name="T87" fmla="*/ 100 h 306"/>
              <a:gd name="T88" fmla="*/ 8 w 307"/>
              <a:gd name="T89" fmla="*/ 128 h 306"/>
              <a:gd name="T90" fmla="*/ 32 w 307"/>
              <a:gd name="T91" fmla="*/ 139 h 306"/>
              <a:gd name="T92" fmla="*/ 59 w 307"/>
              <a:gd name="T93" fmla="*/ 155 h 306"/>
              <a:gd name="T94" fmla="*/ 67 w 307"/>
              <a:gd name="T95" fmla="*/ 1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 h="306">
                <a:moveTo>
                  <a:pt x="67" y="169"/>
                </a:moveTo>
                <a:lnTo>
                  <a:pt x="61" y="220"/>
                </a:lnTo>
                <a:lnTo>
                  <a:pt x="75" y="249"/>
                </a:lnTo>
                <a:lnTo>
                  <a:pt x="101" y="267"/>
                </a:lnTo>
                <a:lnTo>
                  <a:pt x="116" y="222"/>
                </a:lnTo>
                <a:lnTo>
                  <a:pt x="146" y="246"/>
                </a:lnTo>
                <a:lnTo>
                  <a:pt x="156" y="259"/>
                </a:lnTo>
                <a:lnTo>
                  <a:pt x="165" y="273"/>
                </a:lnTo>
                <a:lnTo>
                  <a:pt x="171" y="287"/>
                </a:lnTo>
                <a:lnTo>
                  <a:pt x="173" y="306"/>
                </a:lnTo>
                <a:lnTo>
                  <a:pt x="191" y="301"/>
                </a:lnTo>
                <a:lnTo>
                  <a:pt x="199" y="259"/>
                </a:lnTo>
                <a:lnTo>
                  <a:pt x="228" y="285"/>
                </a:lnTo>
                <a:lnTo>
                  <a:pt x="238" y="287"/>
                </a:lnTo>
                <a:lnTo>
                  <a:pt x="262" y="301"/>
                </a:lnTo>
                <a:lnTo>
                  <a:pt x="268" y="269"/>
                </a:lnTo>
                <a:lnTo>
                  <a:pt x="260" y="226"/>
                </a:lnTo>
                <a:lnTo>
                  <a:pt x="236" y="183"/>
                </a:lnTo>
                <a:lnTo>
                  <a:pt x="214" y="143"/>
                </a:lnTo>
                <a:lnTo>
                  <a:pt x="211" y="126"/>
                </a:lnTo>
                <a:lnTo>
                  <a:pt x="240" y="145"/>
                </a:lnTo>
                <a:lnTo>
                  <a:pt x="264" y="163"/>
                </a:lnTo>
                <a:lnTo>
                  <a:pt x="279" y="151"/>
                </a:lnTo>
                <a:lnTo>
                  <a:pt x="301" y="143"/>
                </a:lnTo>
                <a:lnTo>
                  <a:pt x="307" y="130"/>
                </a:lnTo>
                <a:lnTo>
                  <a:pt x="289" y="114"/>
                </a:lnTo>
                <a:lnTo>
                  <a:pt x="268" y="106"/>
                </a:lnTo>
                <a:lnTo>
                  <a:pt x="248" y="80"/>
                </a:lnTo>
                <a:lnTo>
                  <a:pt x="248" y="65"/>
                </a:lnTo>
                <a:lnTo>
                  <a:pt x="279" y="57"/>
                </a:lnTo>
                <a:lnTo>
                  <a:pt x="270" y="47"/>
                </a:lnTo>
                <a:lnTo>
                  <a:pt x="250" y="47"/>
                </a:lnTo>
                <a:lnTo>
                  <a:pt x="216" y="39"/>
                </a:lnTo>
                <a:lnTo>
                  <a:pt x="193" y="35"/>
                </a:lnTo>
                <a:lnTo>
                  <a:pt x="169" y="25"/>
                </a:lnTo>
                <a:lnTo>
                  <a:pt x="134" y="31"/>
                </a:lnTo>
                <a:lnTo>
                  <a:pt x="89" y="2"/>
                </a:lnTo>
                <a:lnTo>
                  <a:pt x="77" y="0"/>
                </a:lnTo>
                <a:lnTo>
                  <a:pt x="59" y="24"/>
                </a:lnTo>
                <a:lnTo>
                  <a:pt x="42" y="39"/>
                </a:lnTo>
                <a:lnTo>
                  <a:pt x="28" y="31"/>
                </a:lnTo>
                <a:lnTo>
                  <a:pt x="14" y="53"/>
                </a:lnTo>
                <a:lnTo>
                  <a:pt x="6" y="75"/>
                </a:lnTo>
                <a:lnTo>
                  <a:pt x="0" y="100"/>
                </a:lnTo>
                <a:lnTo>
                  <a:pt x="8" y="128"/>
                </a:lnTo>
                <a:lnTo>
                  <a:pt x="32" y="139"/>
                </a:lnTo>
                <a:lnTo>
                  <a:pt x="59" y="155"/>
                </a:lnTo>
                <a:lnTo>
                  <a:pt x="67" y="169"/>
                </a:lnTo>
                <a:close/>
              </a:path>
            </a:pathLst>
          </a:custGeom>
          <a:solidFill>
            <a:srgbClr val="FFFFFF"/>
          </a:solidFill>
          <a:ln w="9525">
            <a:solidFill>
              <a:srgbClr val="000000"/>
            </a:solidFill>
            <a:prstDash val="solid"/>
            <a:round/>
            <a:headEnd/>
            <a:tailEnd/>
          </a:ln>
        </p:spPr>
        <p:txBody>
          <a:bodyPr/>
          <a:lstStyle/>
          <a:p>
            <a:endParaRPr lang="cs-CZ"/>
          </a:p>
        </p:txBody>
      </p:sp>
      <p:sp>
        <p:nvSpPr>
          <p:cNvPr id="285" name="Freeform 293"/>
          <p:cNvSpPr>
            <a:spLocks/>
          </p:cNvSpPr>
          <p:nvPr/>
        </p:nvSpPr>
        <p:spPr bwMode="auto">
          <a:xfrm>
            <a:off x="5068888" y="5800303"/>
            <a:ext cx="20637" cy="41275"/>
          </a:xfrm>
          <a:custGeom>
            <a:avLst/>
            <a:gdLst>
              <a:gd name="T0" fmla="*/ 4 w 26"/>
              <a:gd name="T1" fmla="*/ 16 h 51"/>
              <a:gd name="T2" fmla="*/ 0 w 26"/>
              <a:gd name="T3" fmla="*/ 46 h 51"/>
              <a:gd name="T4" fmla="*/ 16 w 26"/>
              <a:gd name="T5" fmla="*/ 51 h 51"/>
              <a:gd name="T6" fmla="*/ 24 w 26"/>
              <a:gd name="T7" fmla="*/ 38 h 51"/>
              <a:gd name="T8" fmla="*/ 26 w 26"/>
              <a:gd name="T9" fmla="*/ 14 h 51"/>
              <a:gd name="T10" fmla="*/ 20 w 26"/>
              <a:gd name="T11" fmla="*/ 0 h 51"/>
              <a:gd name="T12" fmla="*/ 4 w 26"/>
              <a:gd name="T13" fmla="*/ 16 h 51"/>
            </a:gdLst>
            <a:ahLst/>
            <a:cxnLst>
              <a:cxn ang="0">
                <a:pos x="T0" y="T1"/>
              </a:cxn>
              <a:cxn ang="0">
                <a:pos x="T2" y="T3"/>
              </a:cxn>
              <a:cxn ang="0">
                <a:pos x="T4" y="T5"/>
              </a:cxn>
              <a:cxn ang="0">
                <a:pos x="T6" y="T7"/>
              </a:cxn>
              <a:cxn ang="0">
                <a:pos x="T8" y="T9"/>
              </a:cxn>
              <a:cxn ang="0">
                <a:pos x="T10" y="T11"/>
              </a:cxn>
              <a:cxn ang="0">
                <a:pos x="T12" y="T13"/>
              </a:cxn>
            </a:cxnLst>
            <a:rect l="0" t="0" r="r" b="b"/>
            <a:pathLst>
              <a:path w="26" h="51">
                <a:moveTo>
                  <a:pt x="4" y="16"/>
                </a:moveTo>
                <a:lnTo>
                  <a:pt x="0" y="46"/>
                </a:lnTo>
                <a:lnTo>
                  <a:pt x="16" y="51"/>
                </a:lnTo>
                <a:lnTo>
                  <a:pt x="24" y="38"/>
                </a:lnTo>
                <a:lnTo>
                  <a:pt x="26" y="14"/>
                </a:lnTo>
                <a:lnTo>
                  <a:pt x="20" y="0"/>
                </a:lnTo>
                <a:lnTo>
                  <a:pt x="4" y="16"/>
                </a:lnTo>
                <a:close/>
              </a:path>
            </a:pathLst>
          </a:custGeom>
          <a:solidFill>
            <a:srgbClr val="FFFFFF"/>
          </a:solidFill>
          <a:ln w="9525">
            <a:solidFill>
              <a:srgbClr val="000000"/>
            </a:solidFill>
            <a:prstDash val="solid"/>
            <a:round/>
            <a:headEnd/>
            <a:tailEnd/>
          </a:ln>
        </p:spPr>
        <p:txBody>
          <a:bodyPr/>
          <a:lstStyle/>
          <a:p>
            <a:endParaRPr lang="cs-CZ"/>
          </a:p>
        </p:txBody>
      </p:sp>
      <p:sp>
        <p:nvSpPr>
          <p:cNvPr id="286" name="Freeform 294"/>
          <p:cNvSpPr>
            <a:spLocks/>
          </p:cNvSpPr>
          <p:nvPr/>
        </p:nvSpPr>
        <p:spPr bwMode="auto">
          <a:xfrm>
            <a:off x="5092700" y="5605040"/>
            <a:ext cx="41275" cy="58738"/>
          </a:xfrm>
          <a:custGeom>
            <a:avLst/>
            <a:gdLst>
              <a:gd name="T0" fmla="*/ 6 w 51"/>
              <a:gd name="T1" fmla="*/ 0 h 72"/>
              <a:gd name="T2" fmla="*/ 37 w 51"/>
              <a:gd name="T3" fmla="*/ 0 h 72"/>
              <a:gd name="T4" fmla="*/ 45 w 51"/>
              <a:gd name="T5" fmla="*/ 17 h 72"/>
              <a:gd name="T6" fmla="*/ 51 w 51"/>
              <a:gd name="T7" fmla="*/ 33 h 72"/>
              <a:gd name="T8" fmla="*/ 41 w 51"/>
              <a:gd name="T9" fmla="*/ 49 h 72"/>
              <a:gd name="T10" fmla="*/ 35 w 51"/>
              <a:gd name="T11" fmla="*/ 65 h 72"/>
              <a:gd name="T12" fmla="*/ 24 w 51"/>
              <a:gd name="T13" fmla="*/ 72 h 72"/>
              <a:gd name="T14" fmla="*/ 14 w 51"/>
              <a:gd name="T15" fmla="*/ 57 h 72"/>
              <a:gd name="T16" fmla="*/ 16 w 51"/>
              <a:gd name="T17" fmla="*/ 35 h 72"/>
              <a:gd name="T18" fmla="*/ 0 w 51"/>
              <a:gd name="T19" fmla="*/ 15 h 72"/>
              <a:gd name="T20" fmla="*/ 6 w 51"/>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72">
                <a:moveTo>
                  <a:pt x="6" y="0"/>
                </a:moveTo>
                <a:lnTo>
                  <a:pt x="37" y="0"/>
                </a:lnTo>
                <a:lnTo>
                  <a:pt x="45" y="17"/>
                </a:lnTo>
                <a:lnTo>
                  <a:pt x="51" y="33"/>
                </a:lnTo>
                <a:lnTo>
                  <a:pt x="41" y="49"/>
                </a:lnTo>
                <a:lnTo>
                  <a:pt x="35" y="65"/>
                </a:lnTo>
                <a:lnTo>
                  <a:pt x="24" y="72"/>
                </a:lnTo>
                <a:lnTo>
                  <a:pt x="14" y="57"/>
                </a:lnTo>
                <a:lnTo>
                  <a:pt x="16" y="35"/>
                </a:lnTo>
                <a:lnTo>
                  <a:pt x="0" y="15"/>
                </a:lnTo>
                <a:lnTo>
                  <a:pt x="6" y="0"/>
                </a:lnTo>
                <a:close/>
              </a:path>
            </a:pathLst>
          </a:custGeom>
          <a:solidFill>
            <a:srgbClr val="FFFFFF"/>
          </a:solidFill>
          <a:ln w="9525">
            <a:solidFill>
              <a:srgbClr val="000000"/>
            </a:solidFill>
            <a:prstDash val="solid"/>
            <a:round/>
            <a:headEnd/>
            <a:tailEnd/>
          </a:ln>
        </p:spPr>
        <p:txBody>
          <a:bodyPr/>
          <a:lstStyle/>
          <a:p>
            <a:endParaRPr lang="cs-CZ"/>
          </a:p>
        </p:txBody>
      </p:sp>
      <p:sp>
        <p:nvSpPr>
          <p:cNvPr id="287" name="Freeform 295"/>
          <p:cNvSpPr>
            <a:spLocks/>
          </p:cNvSpPr>
          <p:nvPr/>
        </p:nvSpPr>
        <p:spPr bwMode="auto">
          <a:xfrm>
            <a:off x="5330825" y="5857453"/>
            <a:ext cx="49213" cy="76200"/>
          </a:xfrm>
          <a:custGeom>
            <a:avLst/>
            <a:gdLst>
              <a:gd name="T0" fmla="*/ 55 w 60"/>
              <a:gd name="T1" fmla="*/ 43 h 96"/>
              <a:gd name="T2" fmla="*/ 60 w 60"/>
              <a:gd name="T3" fmla="*/ 33 h 96"/>
              <a:gd name="T4" fmla="*/ 57 w 60"/>
              <a:gd name="T5" fmla="*/ 0 h 96"/>
              <a:gd name="T6" fmla="*/ 27 w 60"/>
              <a:gd name="T7" fmla="*/ 20 h 96"/>
              <a:gd name="T8" fmla="*/ 5 w 60"/>
              <a:gd name="T9" fmla="*/ 51 h 96"/>
              <a:gd name="T10" fmla="*/ 0 w 60"/>
              <a:gd name="T11" fmla="*/ 71 h 96"/>
              <a:gd name="T12" fmla="*/ 5 w 60"/>
              <a:gd name="T13" fmla="*/ 96 h 96"/>
              <a:gd name="T14" fmla="*/ 39 w 60"/>
              <a:gd name="T15" fmla="*/ 73 h 96"/>
              <a:gd name="T16" fmla="*/ 51 w 60"/>
              <a:gd name="T17" fmla="*/ 57 h 96"/>
              <a:gd name="T18" fmla="*/ 55 w 60"/>
              <a:gd name="T19"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5" y="43"/>
                </a:moveTo>
                <a:lnTo>
                  <a:pt x="60" y="33"/>
                </a:lnTo>
                <a:lnTo>
                  <a:pt x="57" y="0"/>
                </a:lnTo>
                <a:lnTo>
                  <a:pt x="27" y="20"/>
                </a:lnTo>
                <a:lnTo>
                  <a:pt x="5" y="51"/>
                </a:lnTo>
                <a:lnTo>
                  <a:pt x="0" y="71"/>
                </a:lnTo>
                <a:lnTo>
                  <a:pt x="5" y="96"/>
                </a:lnTo>
                <a:lnTo>
                  <a:pt x="39" y="73"/>
                </a:lnTo>
                <a:lnTo>
                  <a:pt x="51" y="57"/>
                </a:lnTo>
                <a:lnTo>
                  <a:pt x="55" y="43"/>
                </a:lnTo>
                <a:close/>
              </a:path>
            </a:pathLst>
          </a:custGeom>
          <a:solidFill>
            <a:srgbClr val="FFFFFF"/>
          </a:solidFill>
          <a:ln w="9525">
            <a:solidFill>
              <a:srgbClr val="000000"/>
            </a:solidFill>
            <a:prstDash val="solid"/>
            <a:round/>
            <a:headEnd/>
            <a:tailEnd/>
          </a:ln>
        </p:spPr>
        <p:txBody>
          <a:bodyPr/>
          <a:lstStyle/>
          <a:p>
            <a:endParaRPr lang="cs-CZ"/>
          </a:p>
        </p:txBody>
      </p:sp>
      <p:sp>
        <p:nvSpPr>
          <p:cNvPr id="288" name="Freeform 296"/>
          <p:cNvSpPr>
            <a:spLocks/>
          </p:cNvSpPr>
          <p:nvPr/>
        </p:nvSpPr>
        <p:spPr bwMode="auto">
          <a:xfrm>
            <a:off x="5086350" y="5500265"/>
            <a:ext cx="79375" cy="52388"/>
          </a:xfrm>
          <a:custGeom>
            <a:avLst/>
            <a:gdLst>
              <a:gd name="T0" fmla="*/ 16 w 100"/>
              <a:gd name="T1" fmla="*/ 53 h 67"/>
              <a:gd name="T2" fmla="*/ 41 w 100"/>
              <a:gd name="T3" fmla="*/ 39 h 67"/>
              <a:gd name="T4" fmla="*/ 49 w 100"/>
              <a:gd name="T5" fmla="*/ 51 h 67"/>
              <a:gd name="T6" fmla="*/ 45 w 100"/>
              <a:gd name="T7" fmla="*/ 67 h 67"/>
              <a:gd name="T8" fmla="*/ 71 w 100"/>
              <a:gd name="T9" fmla="*/ 65 h 67"/>
              <a:gd name="T10" fmla="*/ 83 w 100"/>
              <a:gd name="T11" fmla="*/ 55 h 67"/>
              <a:gd name="T12" fmla="*/ 100 w 100"/>
              <a:gd name="T13" fmla="*/ 55 h 67"/>
              <a:gd name="T14" fmla="*/ 83 w 100"/>
              <a:gd name="T15" fmla="*/ 20 h 67"/>
              <a:gd name="T16" fmla="*/ 59 w 100"/>
              <a:gd name="T17" fmla="*/ 0 h 67"/>
              <a:gd name="T18" fmla="*/ 32 w 100"/>
              <a:gd name="T19" fmla="*/ 16 h 67"/>
              <a:gd name="T20" fmla="*/ 6 w 100"/>
              <a:gd name="T21" fmla="*/ 32 h 67"/>
              <a:gd name="T22" fmla="*/ 0 w 100"/>
              <a:gd name="T23" fmla="*/ 51 h 67"/>
              <a:gd name="T24" fmla="*/ 16 w 100"/>
              <a:gd name="T25" fmla="*/ 5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67">
                <a:moveTo>
                  <a:pt x="16" y="53"/>
                </a:moveTo>
                <a:lnTo>
                  <a:pt x="41" y="39"/>
                </a:lnTo>
                <a:lnTo>
                  <a:pt x="49" y="51"/>
                </a:lnTo>
                <a:lnTo>
                  <a:pt x="45" y="67"/>
                </a:lnTo>
                <a:lnTo>
                  <a:pt x="71" y="65"/>
                </a:lnTo>
                <a:lnTo>
                  <a:pt x="83" y="55"/>
                </a:lnTo>
                <a:lnTo>
                  <a:pt x="100" y="55"/>
                </a:lnTo>
                <a:lnTo>
                  <a:pt x="83" y="20"/>
                </a:lnTo>
                <a:lnTo>
                  <a:pt x="59" y="0"/>
                </a:lnTo>
                <a:lnTo>
                  <a:pt x="32" y="16"/>
                </a:lnTo>
                <a:lnTo>
                  <a:pt x="6" y="32"/>
                </a:lnTo>
                <a:lnTo>
                  <a:pt x="0" y="51"/>
                </a:lnTo>
                <a:lnTo>
                  <a:pt x="16" y="53"/>
                </a:lnTo>
                <a:close/>
              </a:path>
            </a:pathLst>
          </a:custGeom>
          <a:solidFill>
            <a:srgbClr val="FFFFFF"/>
          </a:solidFill>
          <a:ln w="9525">
            <a:solidFill>
              <a:srgbClr val="000000"/>
            </a:solidFill>
            <a:prstDash val="solid"/>
            <a:round/>
            <a:headEnd/>
            <a:tailEnd/>
          </a:ln>
        </p:spPr>
        <p:txBody>
          <a:bodyPr/>
          <a:lstStyle/>
          <a:p>
            <a:endParaRPr lang="cs-CZ"/>
          </a:p>
        </p:txBody>
      </p:sp>
      <p:sp>
        <p:nvSpPr>
          <p:cNvPr id="289" name="Freeform 297"/>
          <p:cNvSpPr>
            <a:spLocks/>
          </p:cNvSpPr>
          <p:nvPr/>
        </p:nvSpPr>
        <p:spPr bwMode="auto">
          <a:xfrm>
            <a:off x="4344988" y="3517478"/>
            <a:ext cx="244475" cy="133350"/>
          </a:xfrm>
          <a:custGeom>
            <a:avLst/>
            <a:gdLst>
              <a:gd name="T0" fmla="*/ 0 w 306"/>
              <a:gd name="T1" fmla="*/ 139 h 169"/>
              <a:gd name="T2" fmla="*/ 27 w 306"/>
              <a:gd name="T3" fmla="*/ 110 h 169"/>
              <a:gd name="T4" fmla="*/ 23 w 306"/>
              <a:gd name="T5" fmla="*/ 75 h 169"/>
              <a:gd name="T6" fmla="*/ 47 w 306"/>
              <a:gd name="T7" fmla="*/ 57 h 169"/>
              <a:gd name="T8" fmla="*/ 94 w 306"/>
              <a:gd name="T9" fmla="*/ 61 h 169"/>
              <a:gd name="T10" fmla="*/ 139 w 306"/>
              <a:gd name="T11" fmla="*/ 59 h 169"/>
              <a:gd name="T12" fmla="*/ 145 w 306"/>
              <a:gd name="T13" fmla="*/ 26 h 169"/>
              <a:gd name="T14" fmla="*/ 153 w 306"/>
              <a:gd name="T15" fmla="*/ 0 h 169"/>
              <a:gd name="T16" fmla="*/ 182 w 306"/>
              <a:gd name="T17" fmla="*/ 10 h 169"/>
              <a:gd name="T18" fmla="*/ 210 w 306"/>
              <a:gd name="T19" fmla="*/ 20 h 169"/>
              <a:gd name="T20" fmla="*/ 285 w 306"/>
              <a:gd name="T21" fmla="*/ 22 h 169"/>
              <a:gd name="T22" fmla="*/ 302 w 306"/>
              <a:gd name="T23" fmla="*/ 61 h 169"/>
              <a:gd name="T24" fmla="*/ 304 w 306"/>
              <a:gd name="T25" fmla="*/ 106 h 169"/>
              <a:gd name="T26" fmla="*/ 306 w 306"/>
              <a:gd name="T27" fmla="*/ 132 h 169"/>
              <a:gd name="T28" fmla="*/ 167 w 306"/>
              <a:gd name="T29" fmla="*/ 169 h 169"/>
              <a:gd name="T30" fmla="*/ 61 w 306"/>
              <a:gd name="T31" fmla="*/ 159 h 169"/>
              <a:gd name="T32" fmla="*/ 0 w 306"/>
              <a:gd name="T33" fmla="*/ 13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 h="169">
                <a:moveTo>
                  <a:pt x="0" y="139"/>
                </a:moveTo>
                <a:lnTo>
                  <a:pt x="27" y="110"/>
                </a:lnTo>
                <a:lnTo>
                  <a:pt x="23" y="75"/>
                </a:lnTo>
                <a:lnTo>
                  <a:pt x="47" y="57"/>
                </a:lnTo>
                <a:lnTo>
                  <a:pt x="94" y="61"/>
                </a:lnTo>
                <a:lnTo>
                  <a:pt x="139" y="59"/>
                </a:lnTo>
                <a:lnTo>
                  <a:pt x="145" y="26"/>
                </a:lnTo>
                <a:lnTo>
                  <a:pt x="153" y="0"/>
                </a:lnTo>
                <a:lnTo>
                  <a:pt x="182" y="10"/>
                </a:lnTo>
                <a:lnTo>
                  <a:pt x="210" y="20"/>
                </a:lnTo>
                <a:lnTo>
                  <a:pt x="285" y="22"/>
                </a:lnTo>
                <a:lnTo>
                  <a:pt x="302" y="61"/>
                </a:lnTo>
                <a:lnTo>
                  <a:pt x="304" y="106"/>
                </a:lnTo>
                <a:lnTo>
                  <a:pt x="306" y="132"/>
                </a:lnTo>
                <a:lnTo>
                  <a:pt x="167" y="169"/>
                </a:lnTo>
                <a:lnTo>
                  <a:pt x="61" y="159"/>
                </a:lnTo>
                <a:lnTo>
                  <a:pt x="0" y="139"/>
                </a:lnTo>
                <a:close/>
              </a:path>
            </a:pathLst>
          </a:custGeom>
          <a:solidFill>
            <a:srgbClr val="FFFFFF"/>
          </a:solidFill>
          <a:ln w="9525">
            <a:solidFill>
              <a:srgbClr val="000000"/>
            </a:solidFill>
            <a:prstDash val="solid"/>
            <a:round/>
            <a:headEnd/>
            <a:tailEnd/>
          </a:ln>
        </p:spPr>
        <p:txBody>
          <a:bodyPr/>
          <a:lstStyle/>
          <a:p>
            <a:endParaRPr lang="cs-CZ"/>
          </a:p>
        </p:txBody>
      </p:sp>
      <p:sp>
        <p:nvSpPr>
          <p:cNvPr id="290" name="Freeform 298"/>
          <p:cNvSpPr>
            <a:spLocks/>
          </p:cNvSpPr>
          <p:nvPr/>
        </p:nvSpPr>
        <p:spPr bwMode="auto">
          <a:xfrm>
            <a:off x="4433888" y="3338090"/>
            <a:ext cx="431800" cy="331788"/>
          </a:xfrm>
          <a:custGeom>
            <a:avLst/>
            <a:gdLst>
              <a:gd name="T0" fmla="*/ 43 w 542"/>
              <a:gd name="T1" fmla="*/ 222 h 419"/>
              <a:gd name="T2" fmla="*/ 100 w 542"/>
              <a:gd name="T3" fmla="*/ 248 h 419"/>
              <a:gd name="T4" fmla="*/ 169 w 542"/>
              <a:gd name="T5" fmla="*/ 248 h 419"/>
              <a:gd name="T6" fmla="*/ 188 w 542"/>
              <a:gd name="T7" fmla="*/ 287 h 419"/>
              <a:gd name="T8" fmla="*/ 192 w 542"/>
              <a:gd name="T9" fmla="*/ 350 h 419"/>
              <a:gd name="T10" fmla="*/ 234 w 542"/>
              <a:gd name="T11" fmla="*/ 371 h 419"/>
              <a:gd name="T12" fmla="*/ 261 w 542"/>
              <a:gd name="T13" fmla="*/ 407 h 419"/>
              <a:gd name="T14" fmla="*/ 273 w 542"/>
              <a:gd name="T15" fmla="*/ 419 h 419"/>
              <a:gd name="T16" fmla="*/ 322 w 542"/>
              <a:gd name="T17" fmla="*/ 407 h 419"/>
              <a:gd name="T18" fmla="*/ 355 w 542"/>
              <a:gd name="T19" fmla="*/ 405 h 419"/>
              <a:gd name="T20" fmla="*/ 365 w 542"/>
              <a:gd name="T21" fmla="*/ 397 h 419"/>
              <a:gd name="T22" fmla="*/ 379 w 542"/>
              <a:gd name="T23" fmla="*/ 397 h 419"/>
              <a:gd name="T24" fmla="*/ 387 w 542"/>
              <a:gd name="T25" fmla="*/ 363 h 419"/>
              <a:gd name="T26" fmla="*/ 424 w 542"/>
              <a:gd name="T27" fmla="*/ 340 h 419"/>
              <a:gd name="T28" fmla="*/ 452 w 542"/>
              <a:gd name="T29" fmla="*/ 348 h 419"/>
              <a:gd name="T30" fmla="*/ 467 w 542"/>
              <a:gd name="T31" fmla="*/ 360 h 419"/>
              <a:gd name="T32" fmla="*/ 469 w 542"/>
              <a:gd name="T33" fmla="*/ 336 h 419"/>
              <a:gd name="T34" fmla="*/ 450 w 542"/>
              <a:gd name="T35" fmla="*/ 310 h 419"/>
              <a:gd name="T36" fmla="*/ 460 w 542"/>
              <a:gd name="T37" fmla="*/ 281 h 419"/>
              <a:gd name="T38" fmla="*/ 469 w 542"/>
              <a:gd name="T39" fmla="*/ 253 h 419"/>
              <a:gd name="T40" fmla="*/ 473 w 542"/>
              <a:gd name="T41" fmla="*/ 210 h 419"/>
              <a:gd name="T42" fmla="*/ 511 w 542"/>
              <a:gd name="T43" fmla="*/ 185 h 419"/>
              <a:gd name="T44" fmla="*/ 536 w 542"/>
              <a:gd name="T45" fmla="*/ 181 h 419"/>
              <a:gd name="T46" fmla="*/ 542 w 542"/>
              <a:gd name="T47" fmla="*/ 163 h 419"/>
              <a:gd name="T48" fmla="*/ 507 w 542"/>
              <a:gd name="T49" fmla="*/ 153 h 419"/>
              <a:gd name="T50" fmla="*/ 499 w 542"/>
              <a:gd name="T51" fmla="*/ 126 h 419"/>
              <a:gd name="T52" fmla="*/ 520 w 542"/>
              <a:gd name="T53" fmla="*/ 108 h 419"/>
              <a:gd name="T54" fmla="*/ 520 w 542"/>
              <a:gd name="T55" fmla="*/ 96 h 419"/>
              <a:gd name="T56" fmla="*/ 499 w 542"/>
              <a:gd name="T57" fmla="*/ 90 h 419"/>
              <a:gd name="T58" fmla="*/ 442 w 542"/>
              <a:gd name="T59" fmla="*/ 57 h 419"/>
              <a:gd name="T60" fmla="*/ 397 w 542"/>
              <a:gd name="T61" fmla="*/ 35 h 419"/>
              <a:gd name="T62" fmla="*/ 367 w 542"/>
              <a:gd name="T63" fmla="*/ 22 h 419"/>
              <a:gd name="T64" fmla="*/ 334 w 542"/>
              <a:gd name="T65" fmla="*/ 0 h 419"/>
              <a:gd name="T66" fmla="*/ 310 w 542"/>
              <a:gd name="T67" fmla="*/ 24 h 419"/>
              <a:gd name="T68" fmla="*/ 293 w 542"/>
              <a:gd name="T69" fmla="*/ 37 h 419"/>
              <a:gd name="T70" fmla="*/ 257 w 542"/>
              <a:gd name="T71" fmla="*/ 28 h 419"/>
              <a:gd name="T72" fmla="*/ 218 w 542"/>
              <a:gd name="T73" fmla="*/ 24 h 419"/>
              <a:gd name="T74" fmla="*/ 161 w 542"/>
              <a:gd name="T75" fmla="*/ 31 h 419"/>
              <a:gd name="T76" fmla="*/ 155 w 542"/>
              <a:gd name="T77" fmla="*/ 41 h 419"/>
              <a:gd name="T78" fmla="*/ 133 w 542"/>
              <a:gd name="T79" fmla="*/ 31 h 419"/>
              <a:gd name="T80" fmla="*/ 86 w 542"/>
              <a:gd name="T81" fmla="*/ 49 h 419"/>
              <a:gd name="T82" fmla="*/ 41 w 542"/>
              <a:gd name="T83" fmla="*/ 73 h 419"/>
              <a:gd name="T84" fmla="*/ 19 w 542"/>
              <a:gd name="T85" fmla="*/ 100 h 419"/>
              <a:gd name="T86" fmla="*/ 0 w 542"/>
              <a:gd name="T87" fmla="*/ 106 h 419"/>
              <a:gd name="T88" fmla="*/ 10 w 542"/>
              <a:gd name="T89" fmla="*/ 143 h 419"/>
              <a:gd name="T90" fmla="*/ 19 w 542"/>
              <a:gd name="T91" fmla="*/ 185 h 419"/>
              <a:gd name="T92" fmla="*/ 25 w 542"/>
              <a:gd name="T93" fmla="*/ 210 h 419"/>
              <a:gd name="T94" fmla="*/ 43 w 542"/>
              <a:gd name="T95" fmla="*/ 22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2" h="419">
                <a:moveTo>
                  <a:pt x="43" y="222"/>
                </a:moveTo>
                <a:lnTo>
                  <a:pt x="100" y="248"/>
                </a:lnTo>
                <a:lnTo>
                  <a:pt x="169" y="248"/>
                </a:lnTo>
                <a:lnTo>
                  <a:pt x="188" y="287"/>
                </a:lnTo>
                <a:lnTo>
                  <a:pt x="192" y="350"/>
                </a:lnTo>
                <a:lnTo>
                  <a:pt x="234" y="371"/>
                </a:lnTo>
                <a:lnTo>
                  <a:pt x="261" y="407"/>
                </a:lnTo>
                <a:lnTo>
                  <a:pt x="273" y="419"/>
                </a:lnTo>
                <a:lnTo>
                  <a:pt x="322" y="407"/>
                </a:lnTo>
                <a:lnTo>
                  <a:pt x="355" y="405"/>
                </a:lnTo>
                <a:lnTo>
                  <a:pt x="365" y="397"/>
                </a:lnTo>
                <a:lnTo>
                  <a:pt x="379" y="397"/>
                </a:lnTo>
                <a:lnTo>
                  <a:pt x="387" y="363"/>
                </a:lnTo>
                <a:lnTo>
                  <a:pt x="424" y="340"/>
                </a:lnTo>
                <a:lnTo>
                  <a:pt x="452" y="348"/>
                </a:lnTo>
                <a:lnTo>
                  <a:pt x="467" y="360"/>
                </a:lnTo>
                <a:lnTo>
                  <a:pt x="469" y="336"/>
                </a:lnTo>
                <a:lnTo>
                  <a:pt x="450" y="310"/>
                </a:lnTo>
                <a:lnTo>
                  <a:pt x="460" y="281"/>
                </a:lnTo>
                <a:lnTo>
                  <a:pt x="469" y="253"/>
                </a:lnTo>
                <a:lnTo>
                  <a:pt x="473" y="210"/>
                </a:lnTo>
                <a:lnTo>
                  <a:pt x="511" y="185"/>
                </a:lnTo>
                <a:lnTo>
                  <a:pt x="536" y="181"/>
                </a:lnTo>
                <a:lnTo>
                  <a:pt x="542" y="163"/>
                </a:lnTo>
                <a:lnTo>
                  <a:pt x="507" y="153"/>
                </a:lnTo>
                <a:lnTo>
                  <a:pt x="499" y="126"/>
                </a:lnTo>
                <a:lnTo>
                  <a:pt x="520" y="108"/>
                </a:lnTo>
                <a:lnTo>
                  <a:pt x="520" y="96"/>
                </a:lnTo>
                <a:lnTo>
                  <a:pt x="499" y="90"/>
                </a:lnTo>
                <a:lnTo>
                  <a:pt x="442" y="57"/>
                </a:lnTo>
                <a:lnTo>
                  <a:pt x="397" y="35"/>
                </a:lnTo>
                <a:lnTo>
                  <a:pt x="367" y="22"/>
                </a:lnTo>
                <a:lnTo>
                  <a:pt x="334" y="0"/>
                </a:lnTo>
                <a:lnTo>
                  <a:pt x="310" y="24"/>
                </a:lnTo>
                <a:lnTo>
                  <a:pt x="293" y="37"/>
                </a:lnTo>
                <a:lnTo>
                  <a:pt x="257" y="28"/>
                </a:lnTo>
                <a:lnTo>
                  <a:pt x="218" y="24"/>
                </a:lnTo>
                <a:lnTo>
                  <a:pt x="161" y="31"/>
                </a:lnTo>
                <a:lnTo>
                  <a:pt x="155" y="41"/>
                </a:lnTo>
                <a:lnTo>
                  <a:pt x="133" y="31"/>
                </a:lnTo>
                <a:lnTo>
                  <a:pt x="86" y="49"/>
                </a:lnTo>
                <a:lnTo>
                  <a:pt x="41" y="73"/>
                </a:lnTo>
                <a:lnTo>
                  <a:pt x="19" y="100"/>
                </a:lnTo>
                <a:lnTo>
                  <a:pt x="0" y="106"/>
                </a:lnTo>
                <a:lnTo>
                  <a:pt x="10" y="143"/>
                </a:lnTo>
                <a:lnTo>
                  <a:pt x="19" y="185"/>
                </a:lnTo>
                <a:lnTo>
                  <a:pt x="25" y="210"/>
                </a:lnTo>
                <a:lnTo>
                  <a:pt x="43" y="222"/>
                </a:lnTo>
                <a:close/>
              </a:path>
            </a:pathLst>
          </a:custGeom>
          <a:solidFill>
            <a:srgbClr val="D0D0D0"/>
          </a:solidFill>
          <a:ln w="9525">
            <a:solidFill>
              <a:srgbClr val="000000"/>
            </a:solidFill>
            <a:prstDash val="solid"/>
            <a:round/>
            <a:headEnd/>
            <a:tailEnd/>
          </a:ln>
        </p:spPr>
        <p:txBody>
          <a:bodyPr/>
          <a:lstStyle/>
          <a:p>
            <a:endParaRPr lang="cs-CZ"/>
          </a:p>
        </p:txBody>
      </p:sp>
      <p:grpSp>
        <p:nvGrpSpPr>
          <p:cNvPr id="291" name="Group 299"/>
          <p:cNvGrpSpPr>
            <a:grpSpLocks/>
          </p:cNvGrpSpPr>
          <p:nvPr/>
        </p:nvGrpSpPr>
        <p:grpSpPr bwMode="auto">
          <a:xfrm>
            <a:off x="4408488" y="3476203"/>
            <a:ext cx="33337" cy="85725"/>
            <a:chOff x="2769" y="2254"/>
            <a:chExt cx="21" cy="54"/>
          </a:xfrm>
        </p:grpSpPr>
        <p:sp>
          <p:nvSpPr>
            <p:cNvPr id="292" name="Freeform 300"/>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 name="T10" fmla="*/ 0 w 44"/>
                <a:gd name="T11" fmla="*/ 108 h 108"/>
              </a:gdLst>
              <a:ahLst/>
              <a:cxnLst>
                <a:cxn ang="0">
                  <a:pos x="T0" y="T1"/>
                </a:cxn>
                <a:cxn ang="0">
                  <a:pos x="T2" y="T3"/>
                </a:cxn>
                <a:cxn ang="0">
                  <a:pos x="T4" y="T5"/>
                </a:cxn>
                <a:cxn ang="0">
                  <a:pos x="T6" y="T7"/>
                </a:cxn>
                <a:cxn ang="0">
                  <a:pos x="T8" y="T9"/>
                </a:cxn>
                <a:cxn ang="0">
                  <a:pos x="T10" y="T11"/>
                </a:cxn>
              </a:cxnLst>
              <a:rect l="0" t="0" r="r" b="b"/>
              <a:pathLst>
                <a:path w="44" h="108">
                  <a:moveTo>
                    <a:pt x="0" y="108"/>
                  </a:moveTo>
                  <a:lnTo>
                    <a:pt x="24" y="80"/>
                  </a:lnTo>
                  <a:lnTo>
                    <a:pt x="36" y="61"/>
                  </a:lnTo>
                  <a:lnTo>
                    <a:pt x="44" y="14"/>
                  </a:lnTo>
                  <a:lnTo>
                    <a:pt x="44"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293" name="Freeform 301"/>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Lst>
              <a:ahLst/>
              <a:cxnLst>
                <a:cxn ang="0">
                  <a:pos x="T0" y="T1"/>
                </a:cxn>
                <a:cxn ang="0">
                  <a:pos x="T2" y="T3"/>
                </a:cxn>
                <a:cxn ang="0">
                  <a:pos x="T4" y="T5"/>
                </a:cxn>
                <a:cxn ang="0">
                  <a:pos x="T6" y="T7"/>
                </a:cxn>
                <a:cxn ang="0">
                  <a:pos x="T8" y="T9"/>
                </a:cxn>
              </a:cxnLst>
              <a:rect l="0" t="0" r="r" b="b"/>
              <a:pathLst>
                <a:path w="44" h="108">
                  <a:moveTo>
                    <a:pt x="0" y="108"/>
                  </a:moveTo>
                  <a:lnTo>
                    <a:pt x="24" y="80"/>
                  </a:lnTo>
                  <a:lnTo>
                    <a:pt x="36" y="61"/>
                  </a:lnTo>
                  <a:lnTo>
                    <a:pt x="44" y="14"/>
                  </a:lnTo>
                  <a:lnTo>
                    <a:pt x="44"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294" name="Freeform 302"/>
          <p:cNvSpPr>
            <a:spLocks/>
          </p:cNvSpPr>
          <p:nvPr/>
        </p:nvSpPr>
        <p:spPr bwMode="auto">
          <a:xfrm>
            <a:off x="4557713" y="2917403"/>
            <a:ext cx="339725" cy="265112"/>
          </a:xfrm>
          <a:custGeom>
            <a:avLst/>
            <a:gdLst>
              <a:gd name="T0" fmla="*/ 108 w 428"/>
              <a:gd name="T1" fmla="*/ 312 h 334"/>
              <a:gd name="T2" fmla="*/ 139 w 428"/>
              <a:gd name="T3" fmla="*/ 288 h 334"/>
              <a:gd name="T4" fmla="*/ 177 w 428"/>
              <a:gd name="T5" fmla="*/ 277 h 334"/>
              <a:gd name="T6" fmla="*/ 202 w 428"/>
              <a:gd name="T7" fmla="*/ 275 h 334"/>
              <a:gd name="T8" fmla="*/ 224 w 428"/>
              <a:gd name="T9" fmla="*/ 288 h 334"/>
              <a:gd name="T10" fmla="*/ 248 w 428"/>
              <a:gd name="T11" fmla="*/ 288 h 334"/>
              <a:gd name="T12" fmla="*/ 275 w 428"/>
              <a:gd name="T13" fmla="*/ 314 h 334"/>
              <a:gd name="T14" fmla="*/ 310 w 428"/>
              <a:gd name="T15" fmla="*/ 334 h 334"/>
              <a:gd name="T16" fmla="*/ 367 w 428"/>
              <a:gd name="T17" fmla="*/ 308 h 334"/>
              <a:gd name="T18" fmla="*/ 379 w 428"/>
              <a:gd name="T19" fmla="*/ 306 h 334"/>
              <a:gd name="T20" fmla="*/ 383 w 428"/>
              <a:gd name="T21" fmla="*/ 249 h 334"/>
              <a:gd name="T22" fmla="*/ 399 w 428"/>
              <a:gd name="T23" fmla="*/ 255 h 334"/>
              <a:gd name="T24" fmla="*/ 415 w 428"/>
              <a:gd name="T25" fmla="*/ 269 h 334"/>
              <a:gd name="T26" fmla="*/ 428 w 428"/>
              <a:gd name="T27" fmla="*/ 261 h 334"/>
              <a:gd name="T28" fmla="*/ 428 w 428"/>
              <a:gd name="T29" fmla="*/ 235 h 334"/>
              <a:gd name="T30" fmla="*/ 413 w 428"/>
              <a:gd name="T31" fmla="*/ 222 h 334"/>
              <a:gd name="T32" fmla="*/ 395 w 428"/>
              <a:gd name="T33" fmla="*/ 216 h 334"/>
              <a:gd name="T34" fmla="*/ 362 w 428"/>
              <a:gd name="T35" fmla="*/ 220 h 334"/>
              <a:gd name="T36" fmla="*/ 360 w 428"/>
              <a:gd name="T37" fmla="*/ 200 h 334"/>
              <a:gd name="T38" fmla="*/ 377 w 428"/>
              <a:gd name="T39" fmla="*/ 184 h 334"/>
              <a:gd name="T40" fmla="*/ 385 w 428"/>
              <a:gd name="T41" fmla="*/ 161 h 334"/>
              <a:gd name="T42" fmla="*/ 385 w 428"/>
              <a:gd name="T43" fmla="*/ 149 h 334"/>
              <a:gd name="T44" fmla="*/ 371 w 428"/>
              <a:gd name="T45" fmla="*/ 137 h 334"/>
              <a:gd name="T46" fmla="*/ 371 w 428"/>
              <a:gd name="T47" fmla="*/ 114 h 334"/>
              <a:gd name="T48" fmla="*/ 360 w 428"/>
              <a:gd name="T49" fmla="*/ 84 h 334"/>
              <a:gd name="T50" fmla="*/ 367 w 428"/>
              <a:gd name="T51" fmla="*/ 68 h 334"/>
              <a:gd name="T52" fmla="*/ 371 w 428"/>
              <a:gd name="T53" fmla="*/ 55 h 334"/>
              <a:gd name="T54" fmla="*/ 391 w 428"/>
              <a:gd name="T55" fmla="*/ 27 h 334"/>
              <a:gd name="T56" fmla="*/ 393 w 428"/>
              <a:gd name="T57" fmla="*/ 7 h 334"/>
              <a:gd name="T58" fmla="*/ 379 w 428"/>
              <a:gd name="T59" fmla="*/ 0 h 334"/>
              <a:gd name="T60" fmla="*/ 358 w 428"/>
              <a:gd name="T61" fmla="*/ 0 h 334"/>
              <a:gd name="T62" fmla="*/ 344 w 428"/>
              <a:gd name="T63" fmla="*/ 19 h 334"/>
              <a:gd name="T64" fmla="*/ 308 w 428"/>
              <a:gd name="T65" fmla="*/ 21 h 334"/>
              <a:gd name="T66" fmla="*/ 271 w 428"/>
              <a:gd name="T67" fmla="*/ 31 h 334"/>
              <a:gd name="T68" fmla="*/ 253 w 428"/>
              <a:gd name="T69" fmla="*/ 21 h 334"/>
              <a:gd name="T70" fmla="*/ 224 w 428"/>
              <a:gd name="T71" fmla="*/ 19 h 334"/>
              <a:gd name="T72" fmla="*/ 214 w 428"/>
              <a:gd name="T73" fmla="*/ 19 h 334"/>
              <a:gd name="T74" fmla="*/ 193 w 428"/>
              <a:gd name="T75" fmla="*/ 11 h 334"/>
              <a:gd name="T76" fmla="*/ 171 w 428"/>
              <a:gd name="T77" fmla="*/ 17 h 334"/>
              <a:gd name="T78" fmla="*/ 155 w 428"/>
              <a:gd name="T79" fmla="*/ 27 h 334"/>
              <a:gd name="T80" fmla="*/ 145 w 428"/>
              <a:gd name="T81" fmla="*/ 41 h 334"/>
              <a:gd name="T82" fmla="*/ 120 w 428"/>
              <a:gd name="T83" fmla="*/ 41 h 334"/>
              <a:gd name="T84" fmla="*/ 98 w 428"/>
              <a:gd name="T85" fmla="*/ 41 h 334"/>
              <a:gd name="T86" fmla="*/ 82 w 428"/>
              <a:gd name="T87" fmla="*/ 53 h 334"/>
              <a:gd name="T88" fmla="*/ 65 w 428"/>
              <a:gd name="T89" fmla="*/ 62 h 334"/>
              <a:gd name="T90" fmla="*/ 55 w 428"/>
              <a:gd name="T91" fmla="*/ 72 h 334"/>
              <a:gd name="T92" fmla="*/ 43 w 428"/>
              <a:gd name="T93" fmla="*/ 84 h 334"/>
              <a:gd name="T94" fmla="*/ 33 w 428"/>
              <a:gd name="T95" fmla="*/ 96 h 334"/>
              <a:gd name="T96" fmla="*/ 20 w 428"/>
              <a:gd name="T97" fmla="*/ 102 h 334"/>
              <a:gd name="T98" fmla="*/ 6 w 428"/>
              <a:gd name="T99" fmla="*/ 114 h 334"/>
              <a:gd name="T100" fmla="*/ 0 w 428"/>
              <a:gd name="T101" fmla="*/ 129 h 334"/>
              <a:gd name="T102" fmla="*/ 12 w 428"/>
              <a:gd name="T103" fmla="*/ 163 h 334"/>
              <a:gd name="T104" fmla="*/ 27 w 428"/>
              <a:gd name="T105" fmla="*/ 180 h 334"/>
              <a:gd name="T106" fmla="*/ 14 w 428"/>
              <a:gd name="T107" fmla="*/ 200 h 334"/>
              <a:gd name="T108" fmla="*/ 26 w 428"/>
              <a:gd name="T109" fmla="*/ 212 h 334"/>
              <a:gd name="T110" fmla="*/ 31 w 428"/>
              <a:gd name="T111" fmla="*/ 227 h 334"/>
              <a:gd name="T112" fmla="*/ 35 w 428"/>
              <a:gd name="T113" fmla="*/ 241 h 334"/>
              <a:gd name="T114" fmla="*/ 65 w 428"/>
              <a:gd name="T115" fmla="*/ 247 h 334"/>
              <a:gd name="T116" fmla="*/ 86 w 428"/>
              <a:gd name="T117" fmla="*/ 247 h 334"/>
              <a:gd name="T118" fmla="*/ 104 w 428"/>
              <a:gd name="T119" fmla="*/ 235 h 334"/>
              <a:gd name="T120" fmla="*/ 108 w 428"/>
              <a:gd name="T121" fmla="*/ 249 h 334"/>
              <a:gd name="T122" fmla="*/ 108 w 428"/>
              <a:gd name="T123" fmla="*/ 290 h 334"/>
              <a:gd name="T124" fmla="*/ 108 w 428"/>
              <a:gd name="T1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8" h="334">
                <a:moveTo>
                  <a:pt x="108" y="312"/>
                </a:moveTo>
                <a:lnTo>
                  <a:pt x="139" y="288"/>
                </a:lnTo>
                <a:lnTo>
                  <a:pt x="177" y="277"/>
                </a:lnTo>
                <a:lnTo>
                  <a:pt x="202" y="275"/>
                </a:lnTo>
                <a:lnTo>
                  <a:pt x="224" y="288"/>
                </a:lnTo>
                <a:lnTo>
                  <a:pt x="248" y="288"/>
                </a:lnTo>
                <a:lnTo>
                  <a:pt x="275" y="314"/>
                </a:lnTo>
                <a:lnTo>
                  <a:pt x="310" y="334"/>
                </a:lnTo>
                <a:lnTo>
                  <a:pt x="367" y="308"/>
                </a:lnTo>
                <a:lnTo>
                  <a:pt x="379" y="306"/>
                </a:lnTo>
                <a:lnTo>
                  <a:pt x="383" y="249"/>
                </a:lnTo>
                <a:lnTo>
                  <a:pt x="399" y="255"/>
                </a:lnTo>
                <a:lnTo>
                  <a:pt x="415" y="269"/>
                </a:lnTo>
                <a:lnTo>
                  <a:pt x="428" y="261"/>
                </a:lnTo>
                <a:lnTo>
                  <a:pt x="428" y="235"/>
                </a:lnTo>
                <a:lnTo>
                  <a:pt x="413" y="222"/>
                </a:lnTo>
                <a:lnTo>
                  <a:pt x="395" y="216"/>
                </a:lnTo>
                <a:lnTo>
                  <a:pt x="362" y="220"/>
                </a:lnTo>
                <a:lnTo>
                  <a:pt x="360" y="200"/>
                </a:lnTo>
                <a:lnTo>
                  <a:pt x="377" y="184"/>
                </a:lnTo>
                <a:lnTo>
                  <a:pt x="385" y="161"/>
                </a:lnTo>
                <a:lnTo>
                  <a:pt x="385" y="149"/>
                </a:lnTo>
                <a:lnTo>
                  <a:pt x="371" y="137"/>
                </a:lnTo>
                <a:lnTo>
                  <a:pt x="371" y="114"/>
                </a:lnTo>
                <a:lnTo>
                  <a:pt x="360" y="84"/>
                </a:lnTo>
                <a:lnTo>
                  <a:pt x="367" y="68"/>
                </a:lnTo>
                <a:lnTo>
                  <a:pt x="371" y="55"/>
                </a:lnTo>
                <a:lnTo>
                  <a:pt x="391" y="27"/>
                </a:lnTo>
                <a:lnTo>
                  <a:pt x="393" y="7"/>
                </a:lnTo>
                <a:lnTo>
                  <a:pt x="379" y="0"/>
                </a:lnTo>
                <a:lnTo>
                  <a:pt x="358" y="0"/>
                </a:lnTo>
                <a:lnTo>
                  <a:pt x="344" y="19"/>
                </a:lnTo>
                <a:lnTo>
                  <a:pt x="308" y="21"/>
                </a:lnTo>
                <a:lnTo>
                  <a:pt x="271" y="31"/>
                </a:lnTo>
                <a:lnTo>
                  <a:pt x="253" y="21"/>
                </a:lnTo>
                <a:lnTo>
                  <a:pt x="224" y="19"/>
                </a:lnTo>
                <a:lnTo>
                  <a:pt x="214" y="19"/>
                </a:lnTo>
                <a:lnTo>
                  <a:pt x="193" y="11"/>
                </a:lnTo>
                <a:lnTo>
                  <a:pt x="171" y="17"/>
                </a:lnTo>
                <a:lnTo>
                  <a:pt x="155" y="27"/>
                </a:lnTo>
                <a:lnTo>
                  <a:pt x="145" y="41"/>
                </a:lnTo>
                <a:lnTo>
                  <a:pt x="120" y="41"/>
                </a:lnTo>
                <a:lnTo>
                  <a:pt x="98" y="41"/>
                </a:lnTo>
                <a:lnTo>
                  <a:pt x="82" y="53"/>
                </a:lnTo>
                <a:lnTo>
                  <a:pt x="65" y="62"/>
                </a:lnTo>
                <a:lnTo>
                  <a:pt x="55" y="72"/>
                </a:lnTo>
                <a:lnTo>
                  <a:pt x="43" y="84"/>
                </a:lnTo>
                <a:lnTo>
                  <a:pt x="33" y="96"/>
                </a:lnTo>
                <a:lnTo>
                  <a:pt x="20" y="102"/>
                </a:lnTo>
                <a:lnTo>
                  <a:pt x="6" y="114"/>
                </a:lnTo>
                <a:lnTo>
                  <a:pt x="0" y="129"/>
                </a:lnTo>
                <a:lnTo>
                  <a:pt x="12" y="163"/>
                </a:lnTo>
                <a:lnTo>
                  <a:pt x="27" y="180"/>
                </a:lnTo>
                <a:lnTo>
                  <a:pt x="14" y="200"/>
                </a:lnTo>
                <a:lnTo>
                  <a:pt x="26" y="212"/>
                </a:lnTo>
                <a:lnTo>
                  <a:pt x="31" y="227"/>
                </a:lnTo>
                <a:lnTo>
                  <a:pt x="35" y="241"/>
                </a:lnTo>
                <a:lnTo>
                  <a:pt x="65" y="247"/>
                </a:lnTo>
                <a:lnTo>
                  <a:pt x="86" y="247"/>
                </a:lnTo>
                <a:lnTo>
                  <a:pt x="104" y="235"/>
                </a:lnTo>
                <a:lnTo>
                  <a:pt x="108" y="249"/>
                </a:lnTo>
                <a:lnTo>
                  <a:pt x="108" y="290"/>
                </a:lnTo>
                <a:lnTo>
                  <a:pt x="108" y="312"/>
                </a:lnTo>
                <a:close/>
              </a:path>
            </a:pathLst>
          </a:custGeom>
          <a:solidFill>
            <a:srgbClr val="E93011"/>
          </a:solidFill>
          <a:ln w="9525">
            <a:solidFill>
              <a:srgbClr val="000000"/>
            </a:solidFill>
            <a:prstDash val="solid"/>
            <a:round/>
            <a:headEnd/>
            <a:tailEnd/>
          </a:ln>
        </p:spPr>
        <p:txBody>
          <a:bodyPr/>
          <a:lstStyle/>
          <a:p>
            <a:endParaRPr lang="cs-CZ"/>
          </a:p>
        </p:txBody>
      </p:sp>
      <p:sp>
        <p:nvSpPr>
          <p:cNvPr id="295" name="Freeform 303"/>
          <p:cNvSpPr>
            <a:spLocks/>
          </p:cNvSpPr>
          <p:nvPr/>
        </p:nvSpPr>
        <p:spPr bwMode="auto">
          <a:xfrm>
            <a:off x="2006600" y="1525165"/>
            <a:ext cx="539750" cy="487363"/>
          </a:xfrm>
          <a:custGeom>
            <a:avLst/>
            <a:gdLst>
              <a:gd name="T0" fmla="*/ 162 w 680"/>
              <a:gd name="T1" fmla="*/ 560 h 615"/>
              <a:gd name="T2" fmla="*/ 234 w 680"/>
              <a:gd name="T3" fmla="*/ 601 h 615"/>
              <a:gd name="T4" fmla="*/ 287 w 680"/>
              <a:gd name="T5" fmla="*/ 599 h 615"/>
              <a:gd name="T6" fmla="*/ 327 w 680"/>
              <a:gd name="T7" fmla="*/ 584 h 615"/>
              <a:gd name="T8" fmla="*/ 380 w 680"/>
              <a:gd name="T9" fmla="*/ 605 h 615"/>
              <a:gd name="T10" fmla="*/ 460 w 680"/>
              <a:gd name="T11" fmla="*/ 591 h 615"/>
              <a:gd name="T12" fmla="*/ 503 w 680"/>
              <a:gd name="T13" fmla="*/ 595 h 615"/>
              <a:gd name="T14" fmla="*/ 543 w 680"/>
              <a:gd name="T15" fmla="*/ 597 h 615"/>
              <a:gd name="T16" fmla="*/ 574 w 680"/>
              <a:gd name="T17" fmla="*/ 550 h 615"/>
              <a:gd name="T18" fmla="*/ 639 w 680"/>
              <a:gd name="T19" fmla="*/ 534 h 615"/>
              <a:gd name="T20" fmla="*/ 649 w 680"/>
              <a:gd name="T21" fmla="*/ 489 h 615"/>
              <a:gd name="T22" fmla="*/ 657 w 680"/>
              <a:gd name="T23" fmla="*/ 477 h 615"/>
              <a:gd name="T24" fmla="*/ 665 w 680"/>
              <a:gd name="T25" fmla="*/ 462 h 615"/>
              <a:gd name="T26" fmla="*/ 647 w 680"/>
              <a:gd name="T27" fmla="*/ 424 h 615"/>
              <a:gd name="T28" fmla="*/ 643 w 680"/>
              <a:gd name="T29" fmla="*/ 358 h 615"/>
              <a:gd name="T30" fmla="*/ 649 w 680"/>
              <a:gd name="T31" fmla="*/ 309 h 615"/>
              <a:gd name="T32" fmla="*/ 610 w 680"/>
              <a:gd name="T33" fmla="*/ 301 h 615"/>
              <a:gd name="T34" fmla="*/ 604 w 680"/>
              <a:gd name="T35" fmla="*/ 232 h 615"/>
              <a:gd name="T36" fmla="*/ 545 w 680"/>
              <a:gd name="T37" fmla="*/ 279 h 615"/>
              <a:gd name="T38" fmla="*/ 490 w 680"/>
              <a:gd name="T39" fmla="*/ 259 h 615"/>
              <a:gd name="T40" fmla="*/ 450 w 680"/>
              <a:gd name="T41" fmla="*/ 228 h 615"/>
              <a:gd name="T42" fmla="*/ 433 w 680"/>
              <a:gd name="T43" fmla="*/ 226 h 615"/>
              <a:gd name="T44" fmla="*/ 362 w 680"/>
              <a:gd name="T45" fmla="*/ 224 h 615"/>
              <a:gd name="T46" fmla="*/ 340 w 680"/>
              <a:gd name="T47" fmla="*/ 145 h 615"/>
              <a:gd name="T48" fmla="*/ 293 w 680"/>
              <a:gd name="T49" fmla="*/ 218 h 615"/>
              <a:gd name="T50" fmla="*/ 258 w 680"/>
              <a:gd name="T51" fmla="*/ 206 h 615"/>
              <a:gd name="T52" fmla="*/ 224 w 680"/>
              <a:gd name="T53" fmla="*/ 240 h 615"/>
              <a:gd name="T54" fmla="*/ 236 w 680"/>
              <a:gd name="T55" fmla="*/ 191 h 615"/>
              <a:gd name="T56" fmla="*/ 254 w 680"/>
              <a:gd name="T57" fmla="*/ 140 h 615"/>
              <a:gd name="T58" fmla="*/ 250 w 680"/>
              <a:gd name="T59" fmla="*/ 51 h 615"/>
              <a:gd name="T60" fmla="*/ 213 w 680"/>
              <a:gd name="T61" fmla="*/ 0 h 615"/>
              <a:gd name="T62" fmla="*/ 224 w 680"/>
              <a:gd name="T63" fmla="*/ 35 h 615"/>
              <a:gd name="T64" fmla="*/ 221 w 680"/>
              <a:gd name="T65" fmla="*/ 90 h 615"/>
              <a:gd name="T66" fmla="*/ 183 w 680"/>
              <a:gd name="T67" fmla="*/ 73 h 615"/>
              <a:gd name="T68" fmla="*/ 173 w 680"/>
              <a:gd name="T69" fmla="*/ 31 h 615"/>
              <a:gd name="T70" fmla="*/ 144 w 680"/>
              <a:gd name="T71" fmla="*/ 51 h 615"/>
              <a:gd name="T72" fmla="*/ 138 w 680"/>
              <a:gd name="T73" fmla="*/ 92 h 615"/>
              <a:gd name="T74" fmla="*/ 103 w 680"/>
              <a:gd name="T75" fmla="*/ 57 h 615"/>
              <a:gd name="T76" fmla="*/ 75 w 680"/>
              <a:gd name="T77" fmla="*/ 77 h 615"/>
              <a:gd name="T78" fmla="*/ 65 w 680"/>
              <a:gd name="T79" fmla="*/ 88 h 615"/>
              <a:gd name="T80" fmla="*/ 118 w 680"/>
              <a:gd name="T81" fmla="*/ 124 h 615"/>
              <a:gd name="T82" fmla="*/ 171 w 680"/>
              <a:gd name="T83" fmla="*/ 138 h 615"/>
              <a:gd name="T84" fmla="*/ 199 w 680"/>
              <a:gd name="T85" fmla="*/ 183 h 615"/>
              <a:gd name="T86" fmla="*/ 136 w 680"/>
              <a:gd name="T87" fmla="*/ 202 h 615"/>
              <a:gd name="T88" fmla="*/ 175 w 680"/>
              <a:gd name="T89" fmla="*/ 230 h 615"/>
              <a:gd name="T90" fmla="*/ 87 w 680"/>
              <a:gd name="T91" fmla="*/ 200 h 615"/>
              <a:gd name="T92" fmla="*/ 8 w 680"/>
              <a:gd name="T93" fmla="*/ 197 h 615"/>
              <a:gd name="T94" fmla="*/ 75 w 680"/>
              <a:gd name="T95" fmla="*/ 238 h 615"/>
              <a:gd name="T96" fmla="*/ 93 w 680"/>
              <a:gd name="T97" fmla="*/ 289 h 615"/>
              <a:gd name="T98" fmla="*/ 87 w 680"/>
              <a:gd name="T99" fmla="*/ 334 h 615"/>
              <a:gd name="T100" fmla="*/ 53 w 680"/>
              <a:gd name="T101" fmla="*/ 362 h 615"/>
              <a:gd name="T102" fmla="*/ 0 w 680"/>
              <a:gd name="T103" fmla="*/ 364 h 615"/>
              <a:gd name="T104" fmla="*/ 83 w 680"/>
              <a:gd name="T105" fmla="*/ 438 h 615"/>
              <a:gd name="T106" fmla="*/ 128 w 680"/>
              <a:gd name="T107" fmla="*/ 52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0" h="615">
                <a:moveTo>
                  <a:pt x="128" y="529"/>
                </a:moveTo>
                <a:lnTo>
                  <a:pt x="148" y="536"/>
                </a:lnTo>
                <a:lnTo>
                  <a:pt x="162" y="560"/>
                </a:lnTo>
                <a:lnTo>
                  <a:pt x="177" y="582"/>
                </a:lnTo>
                <a:lnTo>
                  <a:pt x="199" y="597"/>
                </a:lnTo>
                <a:lnTo>
                  <a:pt x="234" y="601"/>
                </a:lnTo>
                <a:lnTo>
                  <a:pt x="248" y="615"/>
                </a:lnTo>
                <a:lnTo>
                  <a:pt x="266" y="595"/>
                </a:lnTo>
                <a:lnTo>
                  <a:pt x="287" y="599"/>
                </a:lnTo>
                <a:lnTo>
                  <a:pt x="307" y="589"/>
                </a:lnTo>
                <a:lnTo>
                  <a:pt x="319" y="595"/>
                </a:lnTo>
                <a:lnTo>
                  <a:pt x="327" y="584"/>
                </a:lnTo>
                <a:lnTo>
                  <a:pt x="338" y="582"/>
                </a:lnTo>
                <a:lnTo>
                  <a:pt x="364" y="603"/>
                </a:lnTo>
                <a:lnTo>
                  <a:pt x="380" y="605"/>
                </a:lnTo>
                <a:lnTo>
                  <a:pt x="405" y="601"/>
                </a:lnTo>
                <a:lnTo>
                  <a:pt x="433" y="591"/>
                </a:lnTo>
                <a:lnTo>
                  <a:pt x="460" y="591"/>
                </a:lnTo>
                <a:lnTo>
                  <a:pt x="480" y="578"/>
                </a:lnTo>
                <a:lnTo>
                  <a:pt x="492" y="568"/>
                </a:lnTo>
                <a:lnTo>
                  <a:pt x="503" y="595"/>
                </a:lnTo>
                <a:lnTo>
                  <a:pt x="500" y="615"/>
                </a:lnTo>
                <a:lnTo>
                  <a:pt x="519" y="601"/>
                </a:lnTo>
                <a:lnTo>
                  <a:pt x="543" y="597"/>
                </a:lnTo>
                <a:lnTo>
                  <a:pt x="557" y="582"/>
                </a:lnTo>
                <a:lnTo>
                  <a:pt x="566" y="566"/>
                </a:lnTo>
                <a:lnTo>
                  <a:pt x="574" y="550"/>
                </a:lnTo>
                <a:lnTo>
                  <a:pt x="594" y="550"/>
                </a:lnTo>
                <a:lnTo>
                  <a:pt x="623" y="552"/>
                </a:lnTo>
                <a:lnTo>
                  <a:pt x="639" y="534"/>
                </a:lnTo>
                <a:lnTo>
                  <a:pt x="663" y="513"/>
                </a:lnTo>
                <a:lnTo>
                  <a:pt x="649" y="499"/>
                </a:lnTo>
                <a:lnTo>
                  <a:pt x="649" y="489"/>
                </a:lnTo>
                <a:lnTo>
                  <a:pt x="651" y="479"/>
                </a:lnTo>
                <a:lnTo>
                  <a:pt x="653" y="477"/>
                </a:lnTo>
                <a:lnTo>
                  <a:pt x="657" y="477"/>
                </a:lnTo>
                <a:lnTo>
                  <a:pt x="663" y="468"/>
                </a:lnTo>
                <a:lnTo>
                  <a:pt x="665" y="464"/>
                </a:lnTo>
                <a:lnTo>
                  <a:pt x="665" y="462"/>
                </a:lnTo>
                <a:lnTo>
                  <a:pt x="669" y="440"/>
                </a:lnTo>
                <a:lnTo>
                  <a:pt x="661" y="424"/>
                </a:lnTo>
                <a:lnTo>
                  <a:pt x="647" y="424"/>
                </a:lnTo>
                <a:lnTo>
                  <a:pt x="635" y="399"/>
                </a:lnTo>
                <a:lnTo>
                  <a:pt x="615" y="381"/>
                </a:lnTo>
                <a:lnTo>
                  <a:pt x="643" y="358"/>
                </a:lnTo>
                <a:lnTo>
                  <a:pt x="633" y="344"/>
                </a:lnTo>
                <a:lnTo>
                  <a:pt x="623" y="328"/>
                </a:lnTo>
                <a:lnTo>
                  <a:pt x="649" y="309"/>
                </a:lnTo>
                <a:lnTo>
                  <a:pt x="680" y="301"/>
                </a:lnTo>
                <a:lnTo>
                  <a:pt x="661" y="295"/>
                </a:lnTo>
                <a:lnTo>
                  <a:pt x="610" y="301"/>
                </a:lnTo>
                <a:lnTo>
                  <a:pt x="604" y="283"/>
                </a:lnTo>
                <a:lnTo>
                  <a:pt x="610" y="255"/>
                </a:lnTo>
                <a:lnTo>
                  <a:pt x="604" y="232"/>
                </a:lnTo>
                <a:lnTo>
                  <a:pt x="574" y="228"/>
                </a:lnTo>
                <a:lnTo>
                  <a:pt x="566" y="255"/>
                </a:lnTo>
                <a:lnTo>
                  <a:pt x="545" y="279"/>
                </a:lnTo>
                <a:lnTo>
                  <a:pt x="525" y="265"/>
                </a:lnTo>
                <a:lnTo>
                  <a:pt x="507" y="250"/>
                </a:lnTo>
                <a:lnTo>
                  <a:pt x="490" y="259"/>
                </a:lnTo>
                <a:lnTo>
                  <a:pt x="474" y="242"/>
                </a:lnTo>
                <a:lnTo>
                  <a:pt x="462" y="216"/>
                </a:lnTo>
                <a:lnTo>
                  <a:pt x="450" y="228"/>
                </a:lnTo>
                <a:lnTo>
                  <a:pt x="439" y="269"/>
                </a:lnTo>
                <a:lnTo>
                  <a:pt x="423" y="281"/>
                </a:lnTo>
                <a:lnTo>
                  <a:pt x="433" y="226"/>
                </a:lnTo>
                <a:lnTo>
                  <a:pt x="403" y="197"/>
                </a:lnTo>
                <a:lnTo>
                  <a:pt x="380" y="198"/>
                </a:lnTo>
                <a:lnTo>
                  <a:pt x="362" y="224"/>
                </a:lnTo>
                <a:lnTo>
                  <a:pt x="350" y="216"/>
                </a:lnTo>
                <a:lnTo>
                  <a:pt x="354" y="171"/>
                </a:lnTo>
                <a:lnTo>
                  <a:pt x="340" y="145"/>
                </a:lnTo>
                <a:lnTo>
                  <a:pt x="321" y="159"/>
                </a:lnTo>
                <a:lnTo>
                  <a:pt x="307" y="193"/>
                </a:lnTo>
                <a:lnTo>
                  <a:pt x="293" y="218"/>
                </a:lnTo>
                <a:lnTo>
                  <a:pt x="281" y="228"/>
                </a:lnTo>
                <a:lnTo>
                  <a:pt x="277" y="200"/>
                </a:lnTo>
                <a:lnTo>
                  <a:pt x="258" y="206"/>
                </a:lnTo>
                <a:lnTo>
                  <a:pt x="250" y="224"/>
                </a:lnTo>
                <a:lnTo>
                  <a:pt x="244" y="234"/>
                </a:lnTo>
                <a:lnTo>
                  <a:pt x="224" y="240"/>
                </a:lnTo>
                <a:lnTo>
                  <a:pt x="207" y="242"/>
                </a:lnTo>
                <a:lnTo>
                  <a:pt x="222" y="208"/>
                </a:lnTo>
                <a:lnTo>
                  <a:pt x="236" y="191"/>
                </a:lnTo>
                <a:lnTo>
                  <a:pt x="226" y="163"/>
                </a:lnTo>
                <a:lnTo>
                  <a:pt x="242" y="153"/>
                </a:lnTo>
                <a:lnTo>
                  <a:pt x="254" y="140"/>
                </a:lnTo>
                <a:lnTo>
                  <a:pt x="266" y="124"/>
                </a:lnTo>
                <a:lnTo>
                  <a:pt x="258" y="104"/>
                </a:lnTo>
                <a:lnTo>
                  <a:pt x="250" y="51"/>
                </a:lnTo>
                <a:lnTo>
                  <a:pt x="246" y="20"/>
                </a:lnTo>
                <a:lnTo>
                  <a:pt x="230" y="6"/>
                </a:lnTo>
                <a:lnTo>
                  <a:pt x="213" y="0"/>
                </a:lnTo>
                <a:lnTo>
                  <a:pt x="205" y="12"/>
                </a:lnTo>
                <a:lnTo>
                  <a:pt x="215" y="22"/>
                </a:lnTo>
                <a:lnTo>
                  <a:pt x="224" y="35"/>
                </a:lnTo>
                <a:lnTo>
                  <a:pt x="211" y="41"/>
                </a:lnTo>
                <a:lnTo>
                  <a:pt x="217" y="63"/>
                </a:lnTo>
                <a:lnTo>
                  <a:pt x="221" y="90"/>
                </a:lnTo>
                <a:lnTo>
                  <a:pt x="199" y="102"/>
                </a:lnTo>
                <a:lnTo>
                  <a:pt x="189" y="88"/>
                </a:lnTo>
                <a:lnTo>
                  <a:pt x="183" y="73"/>
                </a:lnTo>
                <a:lnTo>
                  <a:pt x="175" y="57"/>
                </a:lnTo>
                <a:lnTo>
                  <a:pt x="187" y="47"/>
                </a:lnTo>
                <a:lnTo>
                  <a:pt x="173" y="31"/>
                </a:lnTo>
                <a:lnTo>
                  <a:pt x="165" y="20"/>
                </a:lnTo>
                <a:lnTo>
                  <a:pt x="146" y="33"/>
                </a:lnTo>
                <a:lnTo>
                  <a:pt x="144" y="51"/>
                </a:lnTo>
                <a:lnTo>
                  <a:pt x="118" y="57"/>
                </a:lnTo>
                <a:lnTo>
                  <a:pt x="146" y="73"/>
                </a:lnTo>
                <a:lnTo>
                  <a:pt x="138" y="92"/>
                </a:lnTo>
                <a:lnTo>
                  <a:pt x="114" y="98"/>
                </a:lnTo>
                <a:lnTo>
                  <a:pt x="110" y="75"/>
                </a:lnTo>
                <a:lnTo>
                  <a:pt x="103" y="57"/>
                </a:lnTo>
                <a:lnTo>
                  <a:pt x="97" y="73"/>
                </a:lnTo>
                <a:lnTo>
                  <a:pt x="81" y="94"/>
                </a:lnTo>
                <a:lnTo>
                  <a:pt x="75" y="77"/>
                </a:lnTo>
                <a:lnTo>
                  <a:pt x="65" y="63"/>
                </a:lnTo>
                <a:lnTo>
                  <a:pt x="46" y="73"/>
                </a:lnTo>
                <a:lnTo>
                  <a:pt x="65" y="88"/>
                </a:lnTo>
                <a:lnTo>
                  <a:pt x="79" y="102"/>
                </a:lnTo>
                <a:lnTo>
                  <a:pt x="89" y="118"/>
                </a:lnTo>
                <a:lnTo>
                  <a:pt x="118" y="124"/>
                </a:lnTo>
                <a:lnTo>
                  <a:pt x="130" y="132"/>
                </a:lnTo>
                <a:lnTo>
                  <a:pt x="156" y="120"/>
                </a:lnTo>
                <a:lnTo>
                  <a:pt x="171" y="138"/>
                </a:lnTo>
                <a:lnTo>
                  <a:pt x="175" y="153"/>
                </a:lnTo>
                <a:lnTo>
                  <a:pt x="183" y="171"/>
                </a:lnTo>
                <a:lnTo>
                  <a:pt x="199" y="183"/>
                </a:lnTo>
                <a:lnTo>
                  <a:pt x="173" y="193"/>
                </a:lnTo>
                <a:lnTo>
                  <a:pt x="136" y="189"/>
                </a:lnTo>
                <a:lnTo>
                  <a:pt x="136" y="202"/>
                </a:lnTo>
                <a:lnTo>
                  <a:pt x="148" y="218"/>
                </a:lnTo>
                <a:lnTo>
                  <a:pt x="162" y="226"/>
                </a:lnTo>
                <a:lnTo>
                  <a:pt x="175" y="230"/>
                </a:lnTo>
                <a:lnTo>
                  <a:pt x="154" y="242"/>
                </a:lnTo>
                <a:lnTo>
                  <a:pt x="124" y="230"/>
                </a:lnTo>
                <a:lnTo>
                  <a:pt x="87" y="200"/>
                </a:lnTo>
                <a:lnTo>
                  <a:pt x="59" y="198"/>
                </a:lnTo>
                <a:lnTo>
                  <a:pt x="32" y="183"/>
                </a:lnTo>
                <a:lnTo>
                  <a:pt x="8" y="197"/>
                </a:lnTo>
                <a:lnTo>
                  <a:pt x="32" y="216"/>
                </a:lnTo>
                <a:lnTo>
                  <a:pt x="67" y="220"/>
                </a:lnTo>
                <a:lnTo>
                  <a:pt x="75" y="238"/>
                </a:lnTo>
                <a:lnTo>
                  <a:pt x="99" y="246"/>
                </a:lnTo>
                <a:lnTo>
                  <a:pt x="99" y="269"/>
                </a:lnTo>
                <a:lnTo>
                  <a:pt x="93" y="289"/>
                </a:lnTo>
                <a:lnTo>
                  <a:pt x="103" y="307"/>
                </a:lnTo>
                <a:lnTo>
                  <a:pt x="109" y="320"/>
                </a:lnTo>
                <a:lnTo>
                  <a:pt x="87" y="334"/>
                </a:lnTo>
                <a:lnTo>
                  <a:pt x="75" y="336"/>
                </a:lnTo>
                <a:lnTo>
                  <a:pt x="87" y="358"/>
                </a:lnTo>
                <a:lnTo>
                  <a:pt x="53" y="362"/>
                </a:lnTo>
                <a:lnTo>
                  <a:pt x="28" y="362"/>
                </a:lnTo>
                <a:lnTo>
                  <a:pt x="8" y="346"/>
                </a:lnTo>
                <a:lnTo>
                  <a:pt x="0" y="364"/>
                </a:lnTo>
                <a:lnTo>
                  <a:pt x="4" y="387"/>
                </a:lnTo>
                <a:lnTo>
                  <a:pt x="42" y="407"/>
                </a:lnTo>
                <a:lnTo>
                  <a:pt x="83" y="438"/>
                </a:lnTo>
                <a:lnTo>
                  <a:pt x="107" y="460"/>
                </a:lnTo>
                <a:lnTo>
                  <a:pt x="116" y="495"/>
                </a:lnTo>
                <a:lnTo>
                  <a:pt x="128" y="529"/>
                </a:lnTo>
                <a:close/>
              </a:path>
            </a:pathLst>
          </a:custGeom>
          <a:solidFill>
            <a:srgbClr val="FFFFFF"/>
          </a:solidFill>
          <a:ln w="9525">
            <a:solidFill>
              <a:srgbClr val="000000"/>
            </a:solidFill>
            <a:prstDash val="solid"/>
            <a:round/>
            <a:headEnd/>
            <a:tailEnd/>
          </a:ln>
        </p:spPr>
        <p:txBody>
          <a:bodyPr/>
          <a:lstStyle/>
          <a:p>
            <a:endParaRPr lang="cs-CZ"/>
          </a:p>
        </p:txBody>
      </p:sp>
      <p:sp>
        <p:nvSpPr>
          <p:cNvPr id="296" name="Oval 304"/>
          <p:cNvSpPr>
            <a:spLocks noChangeArrowheads="1"/>
          </p:cNvSpPr>
          <p:nvPr/>
        </p:nvSpPr>
        <p:spPr bwMode="auto">
          <a:xfrm>
            <a:off x="2044700" y="1822028"/>
            <a:ext cx="25400" cy="26987"/>
          </a:xfrm>
          <a:prstGeom prst="ellipse">
            <a:avLst/>
          </a:prstGeom>
          <a:solidFill>
            <a:srgbClr val="FFFFFF"/>
          </a:solidFill>
          <a:ln w="9525">
            <a:solidFill>
              <a:srgbClr val="000000"/>
            </a:solidFill>
            <a:round/>
            <a:headEnd/>
            <a:tailEnd/>
          </a:ln>
        </p:spPr>
        <p:txBody>
          <a:bodyPr/>
          <a:lstStyle/>
          <a:p>
            <a:endParaRPr lang="cs-CZ"/>
          </a:p>
        </p:txBody>
      </p:sp>
      <p:sp>
        <p:nvSpPr>
          <p:cNvPr id="297" name="Oval 305"/>
          <p:cNvSpPr>
            <a:spLocks noChangeArrowheads="1"/>
          </p:cNvSpPr>
          <p:nvPr/>
        </p:nvSpPr>
        <p:spPr bwMode="auto">
          <a:xfrm>
            <a:off x="1604963" y="5322465"/>
            <a:ext cx="25400" cy="23813"/>
          </a:xfrm>
          <a:prstGeom prst="ellipse">
            <a:avLst/>
          </a:prstGeom>
          <a:solidFill>
            <a:srgbClr val="FFFFFF"/>
          </a:solidFill>
          <a:ln w="9525">
            <a:solidFill>
              <a:srgbClr val="000000"/>
            </a:solidFill>
            <a:round/>
            <a:headEnd/>
            <a:tailEnd/>
          </a:ln>
        </p:spPr>
        <p:txBody>
          <a:bodyPr/>
          <a:lstStyle/>
          <a:p>
            <a:endParaRPr lang="cs-CZ"/>
          </a:p>
        </p:txBody>
      </p:sp>
      <p:sp>
        <p:nvSpPr>
          <p:cNvPr id="298" name="Freeform 306"/>
          <p:cNvSpPr>
            <a:spLocks/>
          </p:cNvSpPr>
          <p:nvPr/>
        </p:nvSpPr>
        <p:spPr bwMode="auto">
          <a:xfrm>
            <a:off x="3228975" y="4149303"/>
            <a:ext cx="61913" cy="92075"/>
          </a:xfrm>
          <a:custGeom>
            <a:avLst/>
            <a:gdLst>
              <a:gd name="T0" fmla="*/ 0 w 78"/>
              <a:gd name="T1" fmla="*/ 96 h 116"/>
              <a:gd name="T2" fmla="*/ 45 w 78"/>
              <a:gd name="T3" fmla="*/ 94 h 116"/>
              <a:gd name="T4" fmla="*/ 73 w 78"/>
              <a:gd name="T5" fmla="*/ 116 h 116"/>
              <a:gd name="T6" fmla="*/ 75 w 78"/>
              <a:gd name="T7" fmla="*/ 94 h 116"/>
              <a:gd name="T8" fmla="*/ 78 w 78"/>
              <a:gd name="T9" fmla="*/ 53 h 116"/>
              <a:gd name="T10" fmla="*/ 59 w 78"/>
              <a:gd name="T11" fmla="*/ 37 h 116"/>
              <a:gd name="T12" fmla="*/ 73 w 78"/>
              <a:gd name="T13" fmla="*/ 11 h 116"/>
              <a:gd name="T14" fmla="*/ 37 w 78"/>
              <a:gd name="T15" fmla="*/ 0 h 116"/>
              <a:gd name="T16" fmla="*/ 12 w 78"/>
              <a:gd name="T17" fmla="*/ 19 h 116"/>
              <a:gd name="T18" fmla="*/ 6 w 78"/>
              <a:gd name="T19" fmla="*/ 49 h 116"/>
              <a:gd name="T20" fmla="*/ 0 w 78"/>
              <a:gd name="T21" fmla="*/ 76 h 116"/>
              <a:gd name="T22" fmla="*/ 0 w 78"/>
              <a:gd name="T23"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16">
                <a:moveTo>
                  <a:pt x="0" y="96"/>
                </a:moveTo>
                <a:lnTo>
                  <a:pt x="45" y="94"/>
                </a:lnTo>
                <a:lnTo>
                  <a:pt x="73" y="116"/>
                </a:lnTo>
                <a:lnTo>
                  <a:pt x="75" y="94"/>
                </a:lnTo>
                <a:lnTo>
                  <a:pt x="78" y="53"/>
                </a:lnTo>
                <a:lnTo>
                  <a:pt x="59" y="37"/>
                </a:lnTo>
                <a:lnTo>
                  <a:pt x="73" y="11"/>
                </a:lnTo>
                <a:lnTo>
                  <a:pt x="37" y="0"/>
                </a:lnTo>
                <a:lnTo>
                  <a:pt x="12" y="19"/>
                </a:lnTo>
                <a:lnTo>
                  <a:pt x="6" y="49"/>
                </a:lnTo>
                <a:lnTo>
                  <a:pt x="0" y="76"/>
                </a:lnTo>
                <a:lnTo>
                  <a:pt x="0" y="96"/>
                </a:lnTo>
                <a:close/>
              </a:path>
            </a:pathLst>
          </a:custGeom>
          <a:solidFill>
            <a:srgbClr val="FFFFFF"/>
          </a:solidFill>
          <a:ln w="9525">
            <a:solidFill>
              <a:srgbClr val="000000"/>
            </a:solidFill>
            <a:prstDash val="solid"/>
            <a:round/>
            <a:headEnd/>
            <a:tailEnd/>
          </a:ln>
        </p:spPr>
        <p:txBody>
          <a:bodyPr/>
          <a:lstStyle/>
          <a:p>
            <a:endParaRPr lang="cs-CZ"/>
          </a:p>
        </p:txBody>
      </p:sp>
      <p:sp>
        <p:nvSpPr>
          <p:cNvPr id="299" name="Oval 307"/>
          <p:cNvSpPr>
            <a:spLocks noChangeArrowheads="1"/>
          </p:cNvSpPr>
          <p:nvPr/>
        </p:nvSpPr>
        <p:spPr bwMode="auto">
          <a:xfrm>
            <a:off x="3257550" y="4203278"/>
            <a:ext cx="22225" cy="25400"/>
          </a:xfrm>
          <a:prstGeom prst="ellipse">
            <a:avLst/>
          </a:prstGeom>
          <a:solidFill>
            <a:srgbClr val="FFFFFF"/>
          </a:solidFill>
          <a:ln w="9525">
            <a:solidFill>
              <a:srgbClr val="000000"/>
            </a:solidFill>
            <a:round/>
            <a:headEnd/>
            <a:tailEnd/>
          </a:ln>
        </p:spPr>
        <p:txBody>
          <a:bodyPr/>
          <a:lstStyle/>
          <a:p>
            <a:endParaRPr lang="cs-CZ"/>
          </a:p>
        </p:txBody>
      </p:sp>
      <p:sp>
        <p:nvSpPr>
          <p:cNvPr id="300" name="Oval 308"/>
          <p:cNvSpPr>
            <a:spLocks noChangeArrowheads="1"/>
          </p:cNvSpPr>
          <p:nvPr/>
        </p:nvSpPr>
        <p:spPr bwMode="auto">
          <a:xfrm>
            <a:off x="3176588" y="3900065"/>
            <a:ext cx="23812" cy="23813"/>
          </a:xfrm>
          <a:prstGeom prst="ellipse">
            <a:avLst/>
          </a:prstGeom>
          <a:solidFill>
            <a:srgbClr val="FFFFFF"/>
          </a:solidFill>
          <a:ln w="9525">
            <a:solidFill>
              <a:srgbClr val="000000"/>
            </a:solidFill>
            <a:round/>
            <a:headEnd/>
            <a:tailEnd/>
          </a:ln>
        </p:spPr>
        <p:txBody>
          <a:bodyPr/>
          <a:lstStyle/>
          <a:p>
            <a:endParaRPr lang="cs-CZ"/>
          </a:p>
        </p:txBody>
      </p:sp>
      <p:sp>
        <p:nvSpPr>
          <p:cNvPr id="301" name="Freeform 309"/>
          <p:cNvSpPr>
            <a:spLocks/>
          </p:cNvSpPr>
          <p:nvPr/>
        </p:nvSpPr>
        <p:spPr bwMode="auto">
          <a:xfrm>
            <a:off x="2921000" y="5420890"/>
            <a:ext cx="39688" cy="31750"/>
          </a:xfrm>
          <a:custGeom>
            <a:avLst/>
            <a:gdLst>
              <a:gd name="T0" fmla="*/ 18 w 49"/>
              <a:gd name="T1" fmla="*/ 27 h 39"/>
              <a:gd name="T2" fmla="*/ 37 w 49"/>
              <a:gd name="T3" fmla="*/ 39 h 39"/>
              <a:gd name="T4" fmla="*/ 49 w 49"/>
              <a:gd name="T5" fmla="*/ 20 h 39"/>
              <a:gd name="T6" fmla="*/ 25 w 49"/>
              <a:gd name="T7" fmla="*/ 0 h 39"/>
              <a:gd name="T8" fmla="*/ 0 w 49"/>
              <a:gd name="T9" fmla="*/ 10 h 39"/>
              <a:gd name="T10" fmla="*/ 18 w 49"/>
              <a:gd name="T11" fmla="*/ 27 h 39"/>
            </a:gdLst>
            <a:ahLst/>
            <a:cxnLst>
              <a:cxn ang="0">
                <a:pos x="T0" y="T1"/>
              </a:cxn>
              <a:cxn ang="0">
                <a:pos x="T2" y="T3"/>
              </a:cxn>
              <a:cxn ang="0">
                <a:pos x="T4" y="T5"/>
              </a:cxn>
              <a:cxn ang="0">
                <a:pos x="T6" y="T7"/>
              </a:cxn>
              <a:cxn ang="0">
                <a:pos x="T8" y="T9"/>
              </a:cxn>
              <a:cxn ang="0">
                <a:pos x="T10" y="T11"/>
              </a:cxn>
            </a:cxnLst>
            <a:rect l="0" t="0" r="r" b="b"/>
            <a:pathLst>
              <a:path w="49" h="39">
                <a:moveTo>
                  <a:pt x="18" y="27"/>
                </a:moveTo>
                <a:lnTo>
                  <a:pt x="37" y="39"/>
                </a:lnTo>
                <a:lnTo>
                  <a:pt x="49" y="20"/>
                </a:lnTo>
                <a:lnTo>
                  <a:pt x="25" y="0"/>
                </a:lnTo>
                <a:lnTo>
                  <a:pt x="0" y="10"/>
                </a:lnTo>
                <a:lnTo>
                  <a:pt x="18" y="27"/>
                </a:lnTo>
                <a:close/>
              </a:path>
            </a:pathLst>
          </a:custGeom>
          <a:solidFill>
            <a:srgbClr val="FFFFFF"/>
          </a:solidFill>
          <a:ln w="9525">
            <a:solidFill>
              <a:srgbClr val="000000"/>
            </a:solidFill>
            <a:prstDash val="solid"/>
            <a:round/>
            <a:headEnd/>
            <a:tailEnd/>
          </a:ln>
        </p:spPr>
        <p:txBody>
          <a:bodyPr/>
          <a:lstStyle/>
          <a:p>
            <a:endParaRPr lang="cs-CZ"/>
          </a:p>
        </p:txBody>
      </p:sp>
      <p:sp>
        <p:nvSpPr>
          <p:cNvPr id="302" name="Freeform 310"/>
          <p:cNvSpPr>
            <a:spLocks/>
          </p:cNvSpPr>
          <p:nvPr/>
        </p:nvSpPr>
        <p:spPr bwMode="auto">
          <a:xfrm>
            <a:off x="2651125" y="5508203"/>
            <a:ext cx="34925" cy="41275"/>
          </a:xfrm>
          <a:custGeom>
            <a:avLst/>
            <a:gdLst>
              <a:gd name="T0" fmla="*/ 0 w 43"/>
              <a:gd name="T1" fmla="*/ 39 h 51"/>
              <a:gd name="T2" fmla="*/ 18 w 43"/>
              <a:gd name="T3" fmla="*/ 51 h 51"/>
              <a:gd name="T4" fmla="*/ 31 w 43"/>
              <a:gd name="T5" fmla="*/ 31 h 51"/>
              <a:gd name="T6" fmla="*/ 43 w 43"/>
              <a:gd name="T7" fmla="*/ 12 h 51"/>
              <a:gd name="T8" fmla="*/ 27 w 43"/>
              <a:gd name="T9" fmla="*/ 0 h 51"/>
              <a:gd name="T10" fmla="*/ 8 w 43"/>
              <a:gd name="T11" fmla="*/ 14 h 51"/>
              <a:gd name="T12" fmla="*/ 0 w 43"/>
              <a:gd name="T13" fmla="*/ 39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0" y="39"/>
                </a:moveTo>
                <a:lnTo>
                  <a:pt x="18" y="51"/>
                </a:lnTo>
                <a:lnTo>
                  <a:pt x="31" y="31"/>
                </a:lnTo>
                <a:lnTo>
                  <a:pt x="43" y="12"/>
                </a:lnTo>
                <a:lnTo>
                  <a:pt x="27" y="0"/>
                </a:lnTo>
                <a:lnTo>
                  <a:pt x="8" y="14"/>
                </a:lnTo>
                <a:lnTo>
                  <a:pt x="0" y="39"/>
                </a:lnTo>
                <a:close/>
              </a:path>
            </a:pathLst>
          </a:custGeom>
          <a:solidFill>
            <a:srgbClr val="FFFFFF"/>
          </a:solidFill>
          <a:ln w="9525">
            <a:solidFill>
              <a:srgbClr val="000000"/>
            </a:solidFill>
            <a:prstDash val="solid"/>
            <a:round/>
            <a:headEnd/>
            <a:tailEnd/>
          </a:ln>
        </p:spPr>
        <p:txBody>
          <a:bodyPr/>
          <a:lstStyle/>
          <a:p>
            <a:endParaRPr lang="cs-CZ"/>
          </a:p>
        </p:txBody>
      </p:sp>
      <p:sp>
        <p:nvSpPr>
          <p:cNvPr id="303" name="Freeform 311"/>
          <p:cNvSpPr>
            <a:spLocks/>
          </p:cNvSpPr>
          <p:nvPr/>
        </p:nvSpPr>
        <p:spPr bwMode="auto">
          <a:xfrm>
            <a:off x="2774950" y="5420890"/>
            <a:ext cx="101600" cy="90488"/>
          </a:xfrm>
          <a:custGeom>
            <a:avLst/>
            <a:gdLst>
              <a:gd name="T0" fmla="*/ 8 w 128"/>
              <a:gd name="T1" fmla="*/ 69 h 114"/>
              <a:gd name="T2" fmla="*/ 49 w 128"/>
              <a:gd name="T3" fmla="*/ 75 h 114"/>
              <a:gd name="T4" fmla="*/ 87 w 128"/>
              <a:gd name="T5" fmla="*/ 114 h 114"/>
              <a:gd name="T6" fmla="*/ 124 w 128"/>
              <a:gd name="T7" fmla="*/ 69 h 114"/>
              <a:gd name="T8" fmla="*/ 128 w 128"/>
              <a:gd name="T9" fmla="*/ 55 h 114"/>
              <a:gd name="T10" fmla="*/ 106 w 128"/>
              <a:gd name="T11" fmla="*/ 39 h 114"/>
              <a:gd name="T12" fmla="*/ 98 w 128"/>
              <a:gd name="T13" fmla="*/ 23 h 114"/>
              <a:gd name="T14" fmla="*/ 96 w 128"/>
              <a:gd name="T15" fmla="*/ 0 h 114"/>
              <a:gd name="T16" fmla="*/ 30 w 128"/>
              <a:gd name="T17" fmla="*/ 31 h 114"/>
              <a:gd name="T18" fmla="*/ 0 w 128"/>
              <a:gd name="T19" fmla="*/ 53 h 114"/>
              <a:gd name="T20" fmla="*/ 8 w 128"/>
              <a:gd name="T21" fmla="*/ 6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14">
                <a:moveTo>
                  <a:pt x="8" y="69"/>
                </a:moveTo>
                <a:lnTo>
                  <a:pt x="49" y="75"/>
                </a:lnTo>
                <a:lnTo>
                  <a:pt x="87" y="114"/>
                </a:lnTo>
                <a:lnTo>
                  <a:pt x="124" y="69"/>
                </a:lnTo>
                <a:lnTo>
                  <a:pt x="128" y="55"/>
                </a:lnTo>
                <a:lnTo>
                  <a:pt x="106" y="39"/>
                </a:lnTo>
                <a:lnTo>
                  <a:pt x="98" y="23"/>
                </a:lnTo>
                <a:lnTo>
                  <a:pt x="96" y="0"/>
                </a:lnTo>
                <a:lnTo>
                  <a:pt x="30" y="31"/>
                </a:lnTo>
                <a:lnTo>
                  <a:pt x="0" y="53"/>
                </a:lnTo>
                <a:lnTo>
                  <a:pt x="8" y="69"/>
                </a:lnTo>
                <a:close/>
              </a:path>
            </a:pathLst>
          </a:custGeom>
          <a:solidFill>
            <a:srgbClr val="FFFFFF"/>
          </a:solidFill>
          <a:ln w="9525">
            <a:solidFill>
              <a:srgbClr val="000000"/>
            </a:solidFill>
            <a:prstDash val="solid"/>
            <a:round/>
            <a:headEnd/>
            <a:tailEnd/>
          </a:ln>
        </p:spPr>
        <p:txBody>
          <a:bodyPr/>
          <a:lstStyle/>
          <a:p>
            <a:endParaRPr lang="cs-CZ"/>
          </a:p>
        </p:txBody>
      </p:sp>
      <p:sp>
        <p:nvSpPr>
          <p:cNvPr id="304" name="Freeform 312"/>
          <p:cNvSpPr>
            <a:spLocks/>
          </p:cNvSpPr>
          <p:nvPr/>
        </p:nvSpPr>
        <p:spPr bwMode="auto">
          <a:xfrm>
            <a:off x="3402013" y="5131965"/>
            <a:ext cx="95250" cy="203200"/>
          </a:xfrm>
          <a:custGeom>
            <a:avLst/>
            <a:gdLst>
              <a:gd name="T0" fmla="*/ 102 w 120"/>
              <a:gd name="T1" fmla="*/ 0 h 258"/>
              <a:gd name="T2" fmla="*/ 75 w 120"/>
              <a:gd name="T3" fmla="*/ 34 h 258"/>
              <a:gd name="T4" fmla="*/ 55 w 120"/>
              <a:gd name="T5" fmla="*/ 44 h 258"/>
              <a:gd name="T6" fmla="*/ 37 w 120"/>
              <a:gd name="T7" fmla="*/ 59 h 258"/>
              <a:gd name="T8" fmla="*/ 18 w 120"/>
              <a:gd name="T9" fmla="*/ 59 h 258"/>
              <a:gd name="T10" fmla="*/ 4 w 120"/>
              <a:gd name="T11" fmla="*/ 83 h 258"/>
              <a:gd name="T12" fmla="*/ 0 w 120"/>
              <a:gd name="T13" fmla="*/ 124 h 258"/>
              <a:gd name="T14" fmla="*/ 10 w 120"/>
              <a:gd name="T15" fmla="*/ 148 h 258"/>
              <a:gd name="T16" fmla="*/ 14 w 120"/>
              <a:gd name="T17" fmla="*/ 203 h 258"/>
              <a:gd name="T18" fmla="*/ 37 w 120"/>
              <a:gd name="T19" fmla="*/ 234 h 258"/>
              <a:gd name="T20" fmla="*/ 69 w 120"/>
              <a:gd name="T21" fmla="*/ 258 h 258"/>
              <a:gd name="T22" fmla="*/ 65 w 120"/>
              <a:gd name="T23" fmla="*/ 258 h 258"/>
              <a:gd name="T24" fmla="*/ 88 w 120"/>
              <a:gd name="T25" fmla="*/ 213 h 258"/>
              <a:gd name="T26" fmla="*/ 110 w 120"/>
              <a:gd name="T27" fmla="*/ 152 h 258"/>
              <a:gd name="T28" fmla="*/ 120 w 120"/>
              <a:gd name="T29" fmla="*/ 116 h 258"/>
              <a:gd name="T30" fmla="*/ 100 w 120"/>
              <a:gd name="T31" fmla="*/ 61 h 258"/>
              <a:gd name="T32" fmla="*/ 102 w 120"/>
              <a:gd name="T3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258">
                <a:moveTo>
                  <a:pt x="102" y="0"/>
                </a:moveTo>
                <a:lnTo>
                  <a:pt x="75" y="34"/>
                </a:lnTo>
                <a:lnTo>
                  <a:pt x="55" y="44"/>
                </a:lnTo>
                <a:lnTo>
                  <a:pt x="37" y="59"/>
                </a:lnTo>
                <a:lnTo>
                  <a:pt x="18" y="59"/>
                </a:lnTo>
                <a:lnTo>
                  <a:pt x="4" y="83"/>
                </a:lnTo>
                <a:lnTo>
                  <a:pt x="0" y="124"/>
                </a:lnTo>
                <a:lnTo>
                  <a:pt x="10" y="148"/>
                </a:lnTo>
                <a:lnTo>
                  <a:pt x="14" y="203"/>
                </a:lnTo>
                <a:lnTo>
                  <a:pt x="37" y="234"/>
                </a:lnTo>
                <a:lnTo>
                  <a:pt x="69" y="258"/>
                </a:lnTo>
                <a:lnTo>
                  <a:pt x="65" y="258"/>
                </a:lnTo>
                <a:lnTo>
                  <a:pt x="88" y="213"/>
                </a:lnTo>
                <a:lnTo>
                  <a:pt x="110" y="152"/>
                </a:lnTo>
                <a:lnTo>
                  <a:pt x="120" y="116"/>
                </a:lnTo>
                <a:lnTo>
                  <a:pt x="100" y="61"/>
                </a:lnTo>
                <a:lnTo>
                  <a:pt x="102" y="0"/>
                </a:lnTo>
                <a:close/>
              </a:path>
            </a:pathLst>
          </a:custGeom>
          <a:solidFill>
            <a:srgbClr val="FFFFFF"/>
          </a:solidFill>
          <a:ln w="9525">
            <a:solidFill>
              <a:srgbClr val="000000"/>
            </a:solidFill>
            <a:prstDash val="solid"/>
            <a:round/>
            <a:headEnd/>
            <a:tailEnd/>
          </a:ln>
        </p:spPr>
        <p:txBody>
          <a:bodyPr/>
          <a:lstStyle/>
          <a:p>
            <a:endParaRPr lang="cs-CZ"/>
          </a:p>
        </p:txBody>
      </p:sp>
      <p:sp>
        <p:nvSpPr>
          <p:cNvPr id="305" name="Freeform 313"/>
          <p:cNvSpPr>
            <a:spLocks/>
          </p:cNvSpPr>
          <p:nvPr/>
        </p:nvSpPr>
        <p:spPr bwMode="auto">
          <a:xfrm>
            <a:off x="3343275" y="5352628"/>
            <a:ext cx="153988" cy="303212"/>
          </a:xfrm>
          <a:custGeom>
            <a:avLst/>
            <a:gdLst>
              <a:gd name="T0" fmla="*/ 12 w 195"/>
              <a:gd name="T1" fmla="*/ 40 h 382"/>
              <a:gd name="T2" fmla="*/ 46 w 195"/>
              <a:gd name="T3" fmla="*/ 59 h 382"/>
              <a:gd name="T4" fmla="*/ 89 w 195"/>
              <a:gd name="T5" fmla="*/ 28 h 382"/>
              <a:gd name="T6" fmla="*/ 120 w 195"/>
              <a:gd name="T7" fmla="*/ 6 h 382"/>
              <a:gd name="T8" fmla="*/ 144 w 195"/>
              <a:gd name="T9" fmla="*/ 0 h 382"/>
              <a:gd name="T10" fmla="*/ 181 w 195"/>
              <a:gd name="T11" fmla="*/ 44 h 382"/>
              <a:gd name="T12" fmla="*/ 185 w 195"/>
              <a:gd name="T13" fmla="*/ 81 h 382"/>
              <a:gd name="T14" fmla="*/ 195 w 195"/>
              <a:gd name="T15" fmla="*/ 120 h 382"/>
              <a:gd name="T16" fmla="*/ 175 w 195"/>
              <a:gd name="T17" fmla="*/ 152 h 382"/>
              <a:gd name="T18" fmla="*/ 181 w 195"/>
              <a:gd name="T19" fmla="*/ 185 h 382"/>
              <a:gd name="T20" fmla="*/ 177 w 195"/>
              <a:gd name="T21" fmla="*/ 274 h 382"/>
              <a:gd name="T22" fmla="*/ 169 w 195"/>
              <a:gd name="T23" fmla="*/ 311 h 382"/>
              <a:gd name="T24" fmla="*/ 150 w 195"/>
              <a:gd name="T25" fmla="*/ 340 h 382"/>
              <a:gd name="T26" fmla="*/ 116 w 195"/>
              <a:gd name="T27" fmla="*/ 334 h 382"/>
              <a:gd name="T28" fmla="*/ 85 w 195"/>
              <a:gd name="T29" fmla="*/ 362 h 382"/>
              <a:gd name="T30" fmla="*/ 53 w 195"/>
              <a:gd name="T31" fmla="*/ 382 h 382"/>
              <a:gd name="T32" fmla="*/ 28 w 195"/>
              <a:gd name="T33" fmla="*/ 338 h 382"/>
              <a:gd name="T34" fmla="*/ 20 w 195"/>
              <a:gd name="T35" fmla="*/ 313 h 382"/>
              <a:gd name="T36" fmla="*/ 18 w 195"/>
              <a:gd name="T37" fmla="*/ 274 h 382"/>
              <a:gd name="T38" fmla="*/ 18 w 195"/>
              <a:gd name="T39" fmla="*/ 246 h 382"/>
              <a:gd name="T40" fmla="*/ 32 w 195"/>
              <a:gd name="T41" fmla="*/ 211 h 382"/>
              <a:gd name="T42" fmla="*/ 38 w 195"/>
              <a:gd name="T43" fmla="*/ 160 h 382"/>
              <a:gd name="T44" fmla="*/ 32 w 195"/>
              <a:gd name="T45" fmla="*/ 116 h 382"/>
              <a:gd name="T46" fmla="*/ 20 w 195"/>
              <a:gd name="T47" fmla="*/ 95 h 382"/>
              <a:gd name="T48" fmla="*/ 0 w 195"/>
              <a:gd name="T49" fmla="*/ 77 h 382"/>
              <a:gd name="T50" fmla="*/ 12 w 195"/>
              <a:gd name="T51" fmla="*/ 4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5" h="382">
                <a:moveTo>
                  <a:pt x="12" y="40"/>
                </a:moveTo>
                <a:lnTo>
                  <a:pt x="46" y="59"/>
                </a:lnTo>
                <a:lnTo>
                  <a:pt x="89" y="28"/>
                </a:lnTo>
                <a:lnTo>
                  <a:pt x="120" y="6"/>
                </a:lnTo>
                <a:lnTo>
                  <a:pt x="144" y="0"/>
                </a:lnTo>
                <a:lnTo>
                  <a:pt x="181" y="44"/>
                </a:lnTo>
                <a:lnTo>
                  <a:pt x="185" y="81"/>
                </a:lnTo>
                <a:lnTo>
                  <a:pt x="195" y="120"/>
                </a:lnTo>
                <a:lnTo>
                  <a:pt x="175" y="152"/>
                </a:lnTo>
                <a:lnTo>
                  <a:pt x="181" y="185"/>
                </a:lnTo>
                <a:lnTo>
                  <a:pt x="177" y="274"/>
                </a:lnTo>
                <a:lnTo>
                  <a:pt x="169" y="311"/>
                </a:lnTo>
                <a:lnTo>
                  <a:pt x="150" y="340"/>
                </a:lnTo>
                <a:lnTo>
                  <a:pt x="116" y="334"/>
                </a:lnTo>
                <a:lnTo>
                  <a:pt x="85" y="362"/>
                </a:lnTo>
                <a:lnTo>
                  <a:pt x="53" y="382"/>
                </a:lnTo>
                <a:lnTo>
                  <a:pt x="28" y="338"/>
                </a:lnTo>
                <a:lnTo>
                  <a:pt x="20" y="313"/>
                </a:lnTo>
                <a:lnTo>
                  <a:pt x="18" y="274"/>
                </a:lnTo>
                <a:lnTo>
                  <a:pt x="18" y="246"/>
                </a:lnTo>
                <a:lnTo>
                  <a:pt x="32" y="211"/>
                </a:lnTo>
                <a:lnTo>
                  <a:pt x="38" y="160"/>
                </a:lnTo>
                <a:lnTo>
                  <a:pt x="32" y="116"/>
                </a:lnTo>
                <a:lnTo>
                  <a:pt x="20" y="95"/>
                </a:lnTo>
                <a:lnTo>
                  <a:pt x="0" y="77"/>
                </a:lnTo>
                <a:lnTo>
                  <a:pt x="12" y="40"/>
                </a:lnTo>
                <a:close/>
              </a:path>
            </a:pathLst>
          </a:custGeom>
          <a:solidFill>
            <a:srgbClr val="FFFFFF"/>
          </a:solidFill>
          <a:ln w="9525">
            <a:solidFill>
              <a:srgbClr val="000000"/>
            </a:solidFill>
            <a:prstDash val="solid"/>
            <a:round/>
            <a:headEnd/>
            <a:tailEnd/>
          </a:ln>
        </p:spPr>
        <p:txBody>
          <a:bodyPr/>
          <a:lstStyle/>
          <a:p>
            <a:endParaRPr lang="cs-CZ"/>
          </a:p>
        </p:txBody>
      </p:sp>
      <p:sp>
        <p:nvSpPr>
          <p:cNvPr id="306" name="Freeform 314"/>
          <p:cNvSpPr>
            <a:spLocks/>
          </p:cNvSpPr>
          <p:nvPr/>
        </p:nvSpPr>
        <p:spPr bwMode="auto">
          <a:xfrm>
            <a:off x="2327275" y="3277765"/>
            <a:ext cx="185738" cy="201613"/>
          </a:xfrm>
          <a:custGeom>
            <a:avLst/>
            <a:gdLst>
              <a:gd name="T0" fmla="*/ 0 w 234"/>
              <a:gd name="T1" fmla="*/ 106 h 256"/>
              <a:gd name="T2" fmla="*/ 20 w 234"/>
              <a:gd name="T3" fmla="*/ 126 h 256"/>
              <a:gd name="T4" fmla="*/ 30 w 234"/>
              <a:gd name="T5" fmla="*/ 152 h 256"/>
              <a:gd name="T6" fmla="*/ 34 w 234"/>
              <a:gd name="T7" fmla="*/ 175 h 256"/>
              <a:gd name="T8" fmla="*/ 45 w 234"/>
              <a:gd name="T9" fmla="*/ 189 h 256"/>
              <a:gd name="T10" fmla="*/ 63 w 234"/>
              <a:gd name="T11" fmla="*/ 179 h 256"/>
              <a:gd name="T12" fmla="*/ 85 w 234"/>
              <a:gd name="T13" fmla="*/ 165 h 256"/>
              <a:gd name="T14" fmla="*/ 108 w 234"/>
              <a:gd name="T15" fmla="*/ 162 h 256"/>
              <a:gd name="T16" fmla="*/ 138 w 234"/>
              <a:gd name="T17" fmla="*/ 169 h 256"/>
              <a:gd name="T18" fmla="*/ 157 w 234"/>
              <a:gd name="T19" fmla="*/ 187 h 256"/>
              <a:gd name="T20" fmla="*/ 153 w 234"/>
              <a:gd name="T21" fmla="*/ 207 h 256"/>
              <a:gd name="T22" fmla="*/ 146 w 234"/>
              <a:gd name="T23" fmla="*/ 230 h 256"/>
              <a:gd name="T24" fmla="*/ 136 w 234"/>
              <a:gd name="T25" fmla="*/ 248 h 256"/>
              <a:gd name="T26" fmla="*/ 150 w 234"/>
              <a:gd name="T27" fmla="*/ 256 h 256"/>
              <a:gd name="T28" fmla="*/ 163 w 234"/>
              <a:gd name="T29" fmla="*/ 242 h 256"/>
              <a:gd name="T30" fmla="*/ 177 w 234"/>
              <a:gd name="T31" fmla="*/ 248 h 256"/>
              <a:gd name="T32" fmla="*/ 185 w 234"/>
              <a:gd name="T33" fmla="*/ 220 h 256"/>
              <a:gd name="T34" fmla="*/ 210 w 234"/>
              <a:gd name="T35" fmla="*/ 232 h 256"/>
              <a:gd name="T36" fmla="*/ 216 w 234"/>
              <a:gd name="T37" fmla="*/ 220 h 256"/>
              <a:gd name="T38" fmla="*/ 214 w 234"/>
              <a:gd name="T39" fmla="*/ 195 h 256"/>
              <a:gd name="T40" fmla="*/ 232 w 234"/>
              <a:gd name="T41" fmla="*/ 189 h 256"/>
              <a:gd name="T42" fmla="*/ 234 w 234"/>
              <a:gd name="T43" fmla="*/ 167 h 256"/>
              <a:gd name="T44" fmla="*/ 201 w 234"/>
              <a:gd name="T45" fmla="*/ 150 h 256"/>
              <a:gd name="T46" fmla="*/ 205 w 234"/>
              <a:gd name="T47" fmla="*/ 134 h 256"/>
              <a:gd name="T48" fmla="*/ 220 w 234"/>
              <a:gd name="T49" fmla="*/ 134 h 256"/>
              <a:gd name="T50" fmla="*/ 222 w 234"/>
              <a:gd name="T51" fmla="*/ 101 h 256"/>
              <a:gd name="T52" fmla="*/ 210 w 234"/>
              <a:gd name="T53" fmla="*/ 79 h 256"/>
              <a:gd name="T54" fmla="*/ 203 w 234"/>
              <a:gd name="T55" fmla="*/ 55 h 256"/>
              <a:gd name="T56" fmla="*/ 175 w 234"/>
              <a:gd name="T57" fmla="*/ 46 h 256"/>
              <a:gd name="T58" fmla="*/ 138 w 234"/>
              <a:gd name="T59" fmla="*/ 50 h 256"/>
              <a:gd name="T60" fmla="*/ 120 w 234"/>
              <a:gd name="T61" fmla="*/ 50 h 256"/>
              <a:gd name="T62" fmla="*/ 110 w 234"/>
              <a:gd name="T63" fmla="*/ 36 h 256"/>
              <a:gd name="T64" fmla="*/ 122 w 234"/>
              <a:gd name="T65" fmla="*/ 22 h 256"/>
              <a:gd name="T66" fmla="*/ 116 w 234"/>
              <a:gd name="T67" fmla="*/ 0 h 256"/>
              <a:gd name="T68" fmla="*/ 104 w 234"/>
              <a:gd name="T69" fmla="*/ 8 h 256"/>
              <a:gd name="T70" fmla="*/ 87 w 234"/>
              <a:gd name="T71" fmla="*/ 28 h 256"/>
              <a:gd name="T72" fmla="*/ 79 w 234"/>
              <a:gd name="T73" fmla="*/ 51 h 256"/>
              <a:gd name="T74" fmla="*/ 65 w 234"/>
              <a:gd name="T75" fmla="*/ 75 h 256"/>
              <a:gd name="T76" fmla="*/ 49 w 234"/>
              <a:gd name="T77" fmla="*/ 87 h 256"/>
              <a:gd name="T78" fmla="*/ 40 w 234"/>
              <a:gd name="T79" fmla="*/ 85 h 256"/>
              <a:gd name="T80" fmla="*/ 20 w 234"/>
              <a:gd name="T81" fmla="*/ 103 h 256"/>
              <a:gd name="T82" fmla="*/ 0 w 234"/>
              <a:gd name="T83" fmla="*/ 10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256">
                <a:moveTo>
                  <a:pt x="0" y="106"/>
                </a:moveTo>
                <a:lnTo>
                  <a:pt x="20" y="126"/>
                </a:lnTo>
                <a:lnTo>
                  <a:pt x="30" y="152"/>
                </a:lnTo>
                <a:lnTo>
                  <a:pt x="34" y="175"/>
                </a:lnTo>
                <a:lnTo>
                  <a:pt x="45" y="189"/>
                </a:lnTo>
                <a:lnTo>
                  <a:pt x="63" y="179"/>
                </a:lnTo>
                <a:lnTo>
                  <a:pt x="85" y="165"/>
                </a:lnTo>
                <a:lnTo>
                  <a:pt x="108" y="162"/>
                </a:lnTo>
                <a:lnTo>
                  <a:pt x="138" y="169"/>
                </a:lnTo>
                <a:lnTo>
                  <a:pt x="157" y="187"/>
                </a:lnTo>
                <a:lnTo>
                  <a:pt x="153" y="207"/>
                </a:lnTo>
                <a:lnTo>
                  <a:pt x="146" y="230"/>
                </a:lnTo>
                <a:lnTo>
                  <a:pt x="136" y="248"/>
                </a:lnTo>
                <a:lnTo>
                  <a:pt x="150" y="256"/>
                </a:lnTo>
                <a:lnTo>
                  <a:pt x="163" y="242"/>
                </a:lnTo>
                <a:lnTo>
                  <a:pt x="177" y="248"/>
                </a:lnTo>
                <a:lnTo>
                  <a:pt x="185" y="220"/>
                </a:lnTo>
                <a:lnTo>
                  <a:pt x="210" y="232"/>
                </a:lnTo>
                <a:lnTo>
                  <a:pt x="216" y="220"/>
                </a:lnTo>
                <a:lnTo>
                  <a:pt x="214" y="195"/>
                </a:lnTo>
                <a:lnTo>
                  <a:pt x="232" y="189"/>
                </a:lnTo>
                <a:lnTo>
                  <a:pt x="234" y="167"/>
                </a:lnTo>
                <a:lnTo>
                  <a:pt x="201" y="150"/>
                </a:lnTo>
                <a:lnTo>
                  <a:pt x="205" y="134"/>
                </a:lnTo>
                <a:lnTo>
                  <a:pt x="220" y="134"/>
                </a:lnTo>
                <a:lnTo>
                  <a:pt x="222" y="101"/>
                </a:lnTo>
                <a:lnTo>
                  <a:pt x="210" y="79"/>
                </a:lnTo>
                <a:lnTo>
                  <a:pt x="203" y="55"/>
                </a:lnTo>
                <a:lnTo>
                  <a:pt x="175" y="46"/>
                </a:lnTo>
                <a:lnTo>
                  <a:pt x="138" y="50"/>
                </a:lnTo>
                <a:lnTo>
                  <a:pt x="120" y="50"/>
                </a:lnTo>
                <a:lnTo>
                  <a:pt x="110" y="36"/>
                </a:lnTo>
                <a:lnTo>
                  <a:pt x="122" y="22"/>
                </a:lnTo>
                <a:lnTo>
                  <a:pt x="116" y="0"/>
                </a:lnTo>
                <a:lnTo>
                  <a:pt x="104" y="8"/>
                </a:lnTo>
                <a:lnTo>
                  <a:pt x="87" y="28"/>
                </a:lnTo>
                <a:lnTo>
                  <a:pt x="79" y="51"/>
                </a:lnTo>
                <a:lnTo>
                  <a:pt x="65" y="75"/>
                </a:lnTo>
                <a:lnTo>
                  <a:pt x="49" y="87"/>
                </a:lnTo>
                <a:lnTo>
                  <a:pt x="40" y="85"/>
                </a:lnTo>
                <a:lnTo>
                  <a:pt x="20" y="103"/>
                </a:lnTo>
                <a:lnTo>
                  <a:pt x="0" y="106"/>
                </a:lnTo>
                <a:close/>
              </a:path>
            </a:pathLst>
          </a:custGeom>
          <a:solidFill>
            <a:srgbClr val="D0D0D0"/>
          </a:solidFill>
          <a:ln w="9525">
            <a:solidFill>
              <a:srgbClr val="000000"/>
            </a:solidFill>
            <a:prstDash val="solid"/>
            <a:round/>
            <a:headEnd/>
            <a:tailEnd/>
          </a:ln>
        </p:spPr>
        <p:txBody>
          <a:bodyPr/>
          <a:lstStyle/>
          <a:p>
            <a:endParaRPr lang="cs-CZ"/>
          </a:p>
        </p:txBody>
      </p:sp>
      <p:grpSp>
        <p:nvGrpSpPr>
          <p:cNvPr id="307" name="Group 315"/>
          <p:cNvGrpSpPr>
            <a:grpSpLocks/>
          </p:cNvGrpSpPr>
          <p:nvPr/>
        </p:nvGrpSpPr>
        <p:grpSpPr bwMode="auto">
          <a:xfrm>
            <a:off x="2686050" y="2422103"/>
            <a:ext cx="65088" cy="82550"/>
            <a:chOff x="1684" y="1590"/>
            <a:chExt cx="41" cy="52"/>
          </a:xfrm>
        </p:grpSpPr>
        <p:sp>
          <p:nvSpPr>
            <p:cNvPr id="308" name="Freeform 316"/>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 name="T36" fmla="*/ 39 w 83"/>
                <a:gd name="T3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lnTo>
                    <a:pt x="39"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09" name="Freeform 317"/>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10" name="Freeform 318"/>
          <p:cNvSpPr>
            <a:spLocks/>
          </p:cNvSpPr>
          <p:nvPr/>
        </p:nvSpPr>
        <p:spPr bwMode="auto">
          <a:xfrm>
            <a:off x="2690813" y="2503065"/>
            <a:ext cx="17462" cy="34925"/>
          </a:xfrm>
          <a:custGeom>
            <a:avLst/>
            <a:gdLst>
              <a:gd name="T0" fmla="*/ 2 w 22"/>
              <a:gd name="T1" fmla="*/ 2 h 43"/>
              <a:gd name="T2" fmla="*/ 0 w 22"/>
              <a:gd name="T3" fmla="*/ 22 h 43"/>
              <a:gd name="T4" fmla="*/ 0 w 22"/>
              <a:gd name="T5" fmla="*/ 43 h 43"/>
              <a:gd name="T6" fmla="*/ 20 w 22"/>
              <a:gd name="T7" fmla="*/ 35 h 43"/>
              <a:gd name="T8" fmla="*/ 22 w 22"/>
              <a:gd name="T9" fmla="*/ 20 h 43"/>
              <a:gd name="T10" fmla="*/ 16 w 22"/>
              <a:gd name="T11" fmla="*/ 0 h 43"/>
              <a:gd name="T12" fmla="*/ 2 w 22"/>
              <a:gd name="T13" fmla="*/ 2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 y="2"/>
                </a:moveTo>
                <a:lnTo>
                  <a:pt x="0" y="22"/>
                </a:lnTo>
                <a:lnTo>
                  <a:pt x="0" y="43"/>
                </a:lnTo>
                <a:lnTo>
                  <a:pt x="20" y="35"/>
                </a:lnTo>
                <a:lnTo>
                  <a:pt x="22" y="20"/>
                </a:lnTo>
                <a:lnTo>
                  <a:pt x="16" y="0"/>
                </a:lnTo>
                <a:lnTo>
                  <a:pt x="2" y="2"/>
                </a:lnTo>
                <a:close/>
              </a:path>
            </a:pathLst>
          </a:custGeom>
          <a:solidFill>
            <a:srgbClr val="FFFFFF"/>
          </a:solidFill>
          <a:ln w="9525">
            <a:solidFill>
              <a:srgbClr val="000000"/>
            </a:solidFill>
            <a:prstDash val="solid"/>
            <a:round/>
            <a:headEnd/>
            <a:tailEnd/>
          </a:ln>
        </p:spPr>
        <p:txBody>
          <a:bodyPr/>
          <a:lstStyle/>
          <a:p>
            <a:endParaRPr lang="cs-CZ"/>
          </a:p>
        </p:txBody>
      </p:sp>
      <p:grpSp>
        <p:nvGrpSpPr>
          <p:cNvPr id="311" name="Group 319"/>
          <p:cNvGrpSpPr>
            <a:grpSpLocks/>
          </p:cNvGrpSpPr>
          <p:nvPr/>
        </p:nvGrpSpPr>
        <p:grpSpPr bwMode="auto">
          <a:xfrm>
            <a:off x="2963863" y="2730078"/>
            <a:ext cx="38100" cy="98425"/>
            <a:chOff x="1859" y="1784"/>
            <a:chExt cx="24" cy="62"/>
          </a:xfrm>
        </p:grpSpPr>
        <p:sp>
          <p:nvSpPr>
            <p:cNvPr id="312" name="Freeform 320"/>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 name="T36" fmla="*/ 0 w 49"/>
                <a:gd name="T3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13" name="Freeform 321"/>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14" name="Freeform 322"/>
          <p:cNvSpPr>
            <a:spLocks/>
          </p:cNvSpPr>
          <p:nvPr/>
        </p:nvSpPr>
        <p:spPr bwMode="auto">
          <a:xfrm>
            <a:off x="2803525" y="2882478"/>
            <a:ext cx="53975" cy="52387"/>
          </a:xfrm>
          <a:custGeom>
            <a:avLst/>
            <a:gdLst>
              <a:gd name="T0" fmla="*/ 14 w 69"/>
              <a:gd name="T1" fmla="*/ 65 h 65"/>
              <a:gd name="T2" fmla="*/ 24 w 69"/>
              <a:gd name="T3" fmla="*/ 57 h 65"/>
              <a:gd name="T4" fmla="*/ 34 w 69"/>
              <a:gd name="T5" fmla="*/ 44 h 65"/>
              <a:gd name="T6" fmla="*/ 44 w 69"/>
              <a:gd name="T7" fmla="*/ 46 h 65"/>
              <a:gd name="T8" fmla="*/ 52 w 69"/>
              <a:gd name="T9" fmla="*/ 59 h 65"/>
              <a:gd name="T10" fmla="*/ 63 w 69"/>
              <a:gd name="T11" fmla="*/ 59 h 65"/>
              <a:gd name="T12" fmla="*/ 69 w 69"/>
              <a:gd name="T13" fmla="*/ 47 h 65"/>
              <a:gd name="T14" fmla="*/ 56 w 69"/>
              <a:gd name="T15" fmla="*/ 32 h 65"/>
              <a:gd name="T16" fmla="*/ 44 w 69"/>
              <a:gd name="T17" fmla="*/ 10 h 65"/>
              <a:gd name="T18" fmla="*/ 32 w 69"/>
              <a:gd name="T19" fmla="*/ 0 h 65"/>
              <a:gd name="T20" fmla="*/ 20 w 69"/>
              <a:gd name="T21" fmla="*/ 10 h 65"/>
              <a:gd name="T22" fmla="*/ 16 w 69"/>
              <a:gd name="T23" fmla="*/ 22 h 65"/>
              <a:gd name="T24" fmla="*/ 18 w 69"/>
              <a:gd name="T25" fmla="*/ 36 h 65"/>
              <a:gd name="T26" fmla="*/ 0 w 69"/>
              <a:gd name="T27" fmla="*/ 51 h 65"/>
              <a:gd name="T28" fmla="*/ 14 w 69"/>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5">
                <a:moveTo>
                  <a:pt x="14" y="65"/>
                </a:moveTo>
                <a:lnTo>
                  <a:pt x="24" y="57"/>
                </a:lnTo>
                <a:lnTo>
                  <a:pt x="34" y="44"/>
                </a:lnTo>
                <a:lnTo>
                  <a:pt x="44" y="46"/>
                </a:lnTo>
                <a:lnTo>
                  <a:pt x="52" y="59"/>
                </a:lnTo>
                <a:lnTo>
                  <a:pt x="63" y="59"/>
                </a:lnTo>
                <a:lnTo>
                  <a:pt x="69" y="47"/>
                </a:lnTo>
                <a:lnTo>
                  <a:pt x="56" y="32"/>
                </a:lnTo>
                <a:lnTo>
                  <a:pt x="44" y="10"/>
                </a:lnTo>
                <a:lnTo>
                  <a:pt x="32" y="0"/>
                </a:lnTo>
                <a:lnTo>
                  <a:pt x="20" y="10"/>
                </a:lnTo>
                <a:lnTo>
                  <a:pt x="16" y="22"/>
                </a:lnTo>
                <a:lnTo>
                  <a:pt x="18" y="36"/>
                </a:lnTo>
                <a:lnTo>
                  <a:pt x="0" y="51"/>
                </a:lnTo>
                <a:lnTo>
                  <a:pt x="14" y="65"/>
                </a:lnTo>
                <a:close/>
              </a:path>
            </a:pathLst>
          </a:custGeom>
          <a:solidFill>
            <a:srgbClr val="FFFFFF"/>
          </a:solidFill>
          <a:ln w="9525">
            <a:solidFill>
              <a:srgbClr val="000000"/>
            </a:solidFill>
            <a:prstDash val="solid"/>
            <a:round/>
            <a:headEnd/>
            <a:tailEnd/>
          </a:ln>
        </p:spPr>
        <p:txBody>
          <a:bodyPr/>
          <a:lstStyle/>
          <a:p>
            <a:endParaRPr lang="cs-CZ"/>
          </a:p>
        </p:txBody>
      </p:sp>
      <p:sp>
        <p:nvSpPr>
          <p:cNvPr id="315" name="Freeform 323"/>
          <p:cNvSpPr>
            <a:spLocks/>
          </p:cNvSpPr>
          <p:nvPr/>
        </p:nvSpPr>
        <p:spPr bwMode="auto">
          <a:xfrm>
            <a:off x="2500313" y="2987253"/>
            <a:ext cx="23812" cy="31750"/>
          </a:xfrm>
          <a:custGeom>
            <a:avLst/>
            <a:gdLst>
              <a:gd name="T0" fmla="*/ 22 w 30"/>
              <a:gd name="T1" fmla="*/ 39 h 39"/>
              <a:gd name="T2" fmla="*/ 28 w 30"/>
              <a:gd name="T3" fmla="*/ 27 h 39"/>
              <a:gd name="T4" fmla="*/ 30 w 30"/>
              <a:gd name="T5" fmla="*/ 8 h 39"/>
              <a:gd name="T6" fmla="*/ 16 w 30"/>
              <a:gd name="T7" fmla="*/ 0 h 39"/>
              <a:gd name="T8" fmla="*/ 2 w 30"/>
              <a:gd name="T9" fmla="*/ 2 h 39"/>
              <a:gd name="T10" fmla="*/ 0 w 30"/>
              <a:gd name="T11" fmla="*/ 14 h 39"/>
              <a:gd name="T12" fmla="*/ 8 w 30"/>
              <a:gd name="T13" fmla="*/ 24 h 39"/>
              <a:gd name="T14" fmla="*/ 22 w 30"/>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9">
                <a:moveTo>
                  <a:pt x="22" y="39"/>
                </a:moveTo>
                <a:lnTo>
                  <a:pt x="28" y="27"/>
                </a:lnTo>
                <a:lnTo>
                  <a:pt x="30" y="8"/>
                </a:lnTo>
                <a:lnTo>
                  <a:pt x="16" y="0"/>
                </a:lnTo>
                <a:lnTo>
                  <a:pt x="2" y="2"/>
                </a:lnTo>
                <a:lnTo>
                  <a:pt x="0" y="14"/>
                </a:lnTo>
                <a:lnTo>
                  <a:pt x="8" y="24"/>
                </a:lnTo>
                <a:lnTo>
                  <a:pt x="22" y="39"/>
                </a:lnTo>
                <a:close/>
              </a:path>
            </a:pathLst>
          </a:custGeom>
          <a:solidFill>
            <a:srgbClr val="FFFFFF"/>
          </a:solidFill>
          <a:ln w="9525">
            <a:solidFill>
              <a:srgbClr val="000000"/>
            </a:solidFill>
            <a:prstDash val="solid"/>
            <a:round/>
            <a:headEnd/>
            <a:tailEnd/>
          </a:ln>
        </p:spPr>
        <p:txBody>
          <a:bodyPr/>
          <a:lstStyle/>
          <a:p>
            <a:endParaRPr lang="cs-CZ"/>
          </a:p>
        </p:txBody>
      </p:sp>
      <p:sp>
        <p:nvSpPr>
          <p:cNvPr id="316" name="Freeform 324"/>
          <p:cNvSpPr>
            <a:spLocks/>
          </p:cNvSpPr>
          <p:nvPr/>
        </p:nvSpPr>
        <p:spPr bwMode="auto">
          <a:xfrm>
            <a:off x="2536825" y="2917403"/>
            <a:ext cx="84138" cy="74612"/>
          </a:xfrm>
          <a:custGeom>
            <a:avLst/>
            <a:gdLst>
              <a:gd name="T0" fmla="*/ 7 w 106"/>
              <a:gd name="T1" fmla="*/ 94 h 94"/>
              <a:gd name="T2" fmla="*/ 27 w 106"/>
              <a:gd name="T3" fmla="*/ 82 h 94"/>
              <a:gd name="T4" fmla="*/ 37 w 106"/>
              <a:gd name="T5" fmla="*/ 64 h 94"/>
              <a:gd name="T6" fmla="*/ 62 w 106"/>
              <a:gd name="T7" fmla="*/ 70 h 94"/>
              <a:gd name="T8" fmla="*/ 70 w 106"/>
              <a:gd name="T9" fmla="*/ 57 h 94"/>
              <a:gd name="T10" fmla="*/ 74 w 106"/>
              <a:gd name="T11" fmla="*/ 37 h 94"/>
              <a:gd name="T12" fmla="*/ 96 w 106"/>
              <a:gd name="T13" fmla="*/ 35 h 94"/>
              <a:gd name="T14" fmla="*/ 90 w 106"/>
              <a:gd name="T15" fmla="*/ 11 h 94"/>
              <a:gd name="T16" fmla="*/ 106 w 106"/>
              <a:gd name="T17" fmla="*/ 5 h 94"/>
              <a:gd name="T18" fmla="*/ 70 w 106"/>
              <a:gd name="T19" fmla="*/ 0 h 94"/>
              <a:gd name="T20" fmla="*/ 60 w 106"/>
              <a:gd name="T21" fmla="*/ 7 h 94"/>
              <a:gd name="T22" fmla="*/ 49 w 106"/>
              <a:gd name="T23" fmla="*/ 7 h 94"/>
              <a:gd name="T24" fmla="*/ 37 w 106"/>
              <a:gd name="T25" fmla="*/ 29 h 94"/>
              <a:gd name="T26" fmla="*/ 21 w 106"/>
              <a:gd name="T27" fmla="*/ 17 h 94"/>
              <a:gd name="T28" fmla="*/ 17 w 106"/>
              <a:gd name="T29" fmla="*/ 33 h 94"/>
              <a:gd name="T30" fmla="*/ 7 w 106"/>
              <a:gd name="T31" fmla="*/ 49 h 94"/>
              <a:gd name="T32" fmla="*/ 13 w 106"/>
              <a:gd name="T33" fmla="*/ 66 h 94"/>
              <a:gd name="T34" fmla="*/ 0 w 106"/>
              <a:gd name="T35" fmla="*/ 78 h 94"/>
              <a:gd name="T36" fmla="*/ 7 w 106"/>
              <a:gd name="T3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94">
                <a:moveTo>
                  <a:pt x="7" y="94"/>
                </a:moveTo>
                <a:lnTo>
                  <a:pt x="27" y="82"/>
                </a:lnTo>
                <a:lnTo>
                  <a:pt x="37" y="64"/>
                </a:lnTo>
                <a:lnTo>
                  <a:pt x="62" y="70"/>
                </a:lnTo>
                <a:lnTo>
                  <a:pt x="70" y="57"/>
                </a:lnTo>
                <a:lnTo>
                  <a:pt x="74" y="37"/>
                </a:lnTo>
                <a:lnTo>
                  <a:pt x="96" y="35"/>
                </a:lnTo>
                <a:lnTo>
                  <a:pt x="90" y="11"/>
                </a:lnTo>
                <a:lnTo>
                  <a:pt x="106" y="5"/>
                </a:lnTo>
                <a:lnTo>
                  <a:pt x="70" y="0"/>
                </a:lnTo>
                <a:lnTo>
                  <a:pt x="60" y="7"/>
                </a:lnTo>
                <a:lnTo>
                  <a:pt x="49" y="7"/>
                </a:lnTo>
                <a:lnTo>
                  <a:pt x="37" y="29"/>
                </a:lnTo>
                <a:lnTo>
                  <a:pt x="21" y="17"/>
                </a:lnTo>
                <a:lnTo>
                  <a:pt x="17" y="33"/>
                </a:lnTo>
                <a:lnTo>
                  <a:pt x="7" y="49"/>
                </a:lnTo>
                <a:lnTo>
                  <a:pt x="13" y="66"/>
                </a:lnTo>
                <a:lnTo>
                  <a:pt x="0" y="78"/>
                </a:lnTo>
                <a:lnTo>
                  <a:pt x="7" y="94"/>
                </a:lnTo>
                <a:close/>
              </a:path>
            </a:pathLst>
          </a:custGeom>
          <a:solidFill>
            <a:srgbClr val="FFFFFF"/>
          </a:solidFill>
          <a:ln w="9525">
            <a:solidFill>
              <a:srgbClr val="000000"/>
            </a:solidFill>
            <a:prstDash val="solid"/>
            <a:round/>
            <a:headEnd/>
            <a:tailEnd/>
          </a:ln>
        </p:spPr>
        <p:txBody>
          <a:bodyPr/>
          <a:lstStyle/>
          <a:p>
            <a:endParaRPr lang="cs-CZ"/>
          </a:p>
        </p:txBody>
      </p:sp>
      <p:sp>
        <p:nvSpPr>
          <p:cNvPr id="317" name="Freeform 325"/>
          <p:cNvSpPr>
            <a:spLocks/>
          </p:cNvSpPr>
          <p:nvPr/>
        </p:nvSpPr>
        <p:spPr bwMode="auto">
          <a:xfrm>
            <a:off x="2540000" y="3007890"/>
            <a:ext cx="46038" cy="76200"/>
          </a:xfrm>
          <a:custGeom>
            <a:avLst/>
            <a:gdLst>
              <a:gd name="T0" fmla="*/ 26 w 59"/>
              <a:gd name="T1" fmla="*/ 96 h 96"/>
              <a:gd name="T2" fmla="*/ 59 w 59"/>
              <a:gd name="T3" fmla="*/ 96 h 96"/>
              <a:gd name="T4" fmla="*/ 57 w 59"/>
              <a:gd name="T5" fmla="*/ 21 h 96"/>
              <a:gd name="T6" fmla="*/ 40 w 59"/>
              <a:gd name="T7" fmla="*/ 0 h 96"/>
              <a:gd name="T8" fmla="*/ 28 w 59"/>
              <a:gd name="T9" fmla="*/ 21 h 96"/>
              <a:gd name="T10" fmla="*/ 10 w 59"/>
              <a:gd name="T11" fmla="*/ 15 h 96"/>
              <a:gd name="T12" fmla="*/ 0 w 59"/>
              <a:gd name="T13" fmla="*/ 29 h 96"/>
              <a:gd name="T14" fmla="*/ 8 w 59"/>
              <a:gd name="T15" fmla="*/ 43 h 96"/>
              <a:gd name="T16" fmla="*/ 20 w 59"/>
              <a:gd name="T17" fmla="*/ 55 h 96"/>
              <a:gd name="T18" fmla="*/ 26 w 59"/>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96">
                <a:moveTo>
                  <a:pt x="26" y="96"/>
                </a:moveTo>
                <a:lnTo>
                  <a:pt x="59" y="96"/>
                </a:lnTo>
                <a:lnTo>
                  <a:pt x="57" y="21"/>
                </a:lnTo>
                <a:lnTo>
                  <a:pt x="40" y="0"/>
                </a:lnTo>
                <a:lnTo>
                  <a:pt x="28" y="21"/>
                </a:lnTo>
                <a:lnTo>
                  <a:pt x="10" y="15"/>
                </a:lnTo>
                <a:lnTo>
                  <a:pt x="0" y="29"/>
                </a:lnTo>
                <a:lnTo>
                  <a:pt x="8" y="43"/>
                </a:lnTo>
                <a:lnTo>
                  <a:pt x="20" y="55"/>
                </a:lnTo>
                <a:lnTo>
                  <a:pt x="26" y="96"/>
                </a:lnTo>
                <a:close/>
              </a:path>
            </a:pathLst>
          </a:custGeom>
          <a:solidFill>
            <a:srgbClr val="FFFFFF"/>
          </a:solidFill>
          <a:ln w="9525">
            <a:solidFill>
              <a:srgbClr val="000000"/>
            </a:solidFill>
            <a:prstDash val="solid"/>
            <a:round/>
            <a:headEnd/>
            <a:tailEnd/>
          </a:ln>
        </p:spPr>
        <p:txBody>
          <a:bodyPr/>
          <a:lstStyle/>
          <a:p>
            <a:endParaRPr lang="cs-CZ"/>
          </a:p>
        </p:txBody>
      </p:sp>
      <p:sp>
        <p:nvSpPr>
          <p:cNvPr id="318" name="Freeform 326"/>
          <p:cNvSpPr>
            <a:spLocks/>
          </p:cNvSpPr>
          <p:nvPr/>
        </p:nvSpPr>
        <p:spPr bwMode="auto">
          <a:xfrm>
            <a:off x="2506663" y="3149178"/>
            <a:ext cx="49212" cy="46037"/>
          </a:xfrm>
          <a:custGeom>
            <a:avLst/>
            <a:gdLst>
              <a:gd name="T0" fmla="*/ 39 w 61"/>
              <a:gd name="T1" fmla="*/ 0 h 57"/>
              <a:gd name="T2" fmla="*/ 61 w 61"/>
              <a:gd name="T3" fmla="*/ 26 h 57"/>
              <a:gd name="T4" fmla="*/ 61 w 61"/>
              <a:gd name="T5" fmla="*/ 44 h 57"/>
              <a:gd name="T6" fmla="*/ 39 w 61"/>
              <a:gd name="T7" fmla="*/ 57 h 57"/>
              <a:gd name="T8" fmla="*/ 10 w 61"/>
              <a:gd name="T9" fmla="*/ 53 h 57"/>
              <a:gd name="T10" fmla="*/ 0 w 61"/>
              <a:gd name="T11" fmla="*/ 44 h 57"/>
              <a:gd name="T12" fmla="*/ 28 w 61"/>
              <a:gd name="T13" fmla="*/ 44 h 57"/>
              <a:gd name="T14" fmla="*/ 38 w 61"/>
              <a:gd name="T15" fmla="*/ 30 h 57"/>
              <a:gd name="T16" fmla="*/ 30 w 61"/>
              <a:gd name="T17" fmla="*/ 14 h 57"/>
              <a:gd name="T18" fmla="*/ 39 w 61"/>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7">
                <a:moveTo>
                  <a:pt x="39" y="0"/>
                </a:moveTo>
                <a:lnTo>
                  <a:pt x="61" y="26"/>
                </a:lnTo>
                <a:lnTo>
                  <a:pt x="61" y="44"/>
                </a:lnTo>
                <a:lnTo>
                  <a:pt x="39" y="57"/>
                </a:lnTo>
                <a:lnTo>
                  <a:pt x="10" y="53"/>
                </a:lnTo>
                <a:lnTo>
                  <a:pt x="0" y="44"/>
                </a:lnTo>
                <a:lnTo>
                  <a:pt x="28" y="44"/>
                </a:lnTo>
                <a:lnTo>
                  <a:pt x="38" y="30"/>
                </a:lnTo>
                <a:lnTo>
                  <a:pt x="30" y="14"/>
                </a:lnTo>
                <a:lnTo>
                  <a:pt x="39" y="0"/>
                </a:lnTo>
                <a:close/>
              </a:path>
            </a:pathLst>
          </a:custGeom>
          <a:solidFill>
            <a:srgbClr val="FFFFFF"/>
          </a:solidFill>
          <a:ln w="9525">
            <a:solidFill>
              <a:srgbClr val="000000"/>
            </a:solidFill>
            <a:prstDash val="solid"/>
            <a:round/>
            <a:headEnd/>
            <a:tailEnd/>
          </a:ln>
        </p:spPr>
        <p:txBody>
          <a:bodyPr/>
          <a:lstStyle/>
          <a:p>
            <a:endParaRPr lang="cs-CZ"/>
          </a:p>
        </p:txBody>
      </p:sp>
      <p:grpSp>
        <p:nvGrpSpPr>
          <p:cNvPr id="319" name="Group 327"/>
          <p:cNvGrpSpPr>
            <a:grpSpLocks/>
          </p:cNvGrpSpPr>
          <p:nvPr/>
        </p:nvGrpSpPr>
        <p:grpSpPr bwMode="auto">
          <a:xfrm>
            <a:off x="2517775" y="3249190"/>
            <a:ext cx="65088" cy="76200"/>
            <a:chOff x="1578" y="2111"/>
            <a:chExt cx="41" cy="48"/>
          </a:xfrm>
        </p:grpSpPr>
        <p:sp>
          <p:nvSpPr>
            <p:cNvPr id="320" name="Freeform 328"/>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 name="T30" fmla="*/ 51 w 82"/>
                <a:gd name="T3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lnTo>
                    <a:pt x="5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21" name="Freeform 329"/>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22" name="Freeform 330"/>
          <p:cNvSpPr>
            <a:spLocks/>
          </p:cNvSpPr>
          <p:nvPr/>
        </p:nvSpPr>
        <p:spPr bwMode="auto">
          <a:xfrm>
            <a:off x="2478088" y="3220615"/>
            <a:ext cx="71437" cy="53975"/>
          </a:xfrm>
          <a:custGeom>
            <a:avLst/>
            <a:gdLst>
              <a:gd name="T0" fmla="*/ 23 w 88"/>
              <a:gd name="T1" fmla="*/ 66 h 66"/>
              <a:gd name="T2" fmla="*/ 29 w 88"/>
              <a:gd name="T3" fmla="*/ 57 h 66"/>
              <a:gd name="T4" fmla="*/ 43 w 88"/>
              <a:gd name="T5" fmla="*/ 57 h 66"/>
              <a:gd name="T6" fmla="*/ 49 w 88"/>
              <a:gd name="T7" fmla="*/ 37 h 66"/>
              <a:gd name="T8" fmla="*/ 67 w 88"/>
              <a:gd name="T9" fmla="*/ 37 h 66"/>
              <a:gd name="T10" fmla="*/ 82 w 88"/>
              <a:gd name="T11" fmla="*/ 13 h 66"/>
              <a:gd name="T12" fmla="*/ 88 w 88"/>
              <a:gd name="T13" fmla="*/ 0 h 66"/>
              <a:gd name="T14" fmla="*/ 71 w 88"/>
              <a:gd name="T15" fmla="*/ 6 h 66"/>
              <a:gd name="T16" fmla="*/ 47 w 88"/>
              <a:gd name="T17" fmla="*/ 27 h 66"/>
              <a:gd name="T18" fmla="*/ 41 w 88"/>
              <a:gd name="T19" fmla="*/ 13 h 66"/>
              <a:gd name="T20" fmla="*/ 27 w 88"/>
              <a:gd name="T21" fmla="*/ 21 h 66"/>
              <a:gd name="T22" fmla="*/ 8 w 88"/>
              <a:gd name="T23" fmla="*/ 19 h 66"/>
              <a:gd name="T24" fmla="*/ 0 w 88"/>
              <a:gd name="T25" fmla="*/ 33 h 66"/>
              <a:gd name="T26" fmla="*/ 4 w 88"/>
              <a:gd name="T27" fmla="*/ 45 h 66"/>
              <a:gd name="T28" fmla="*/ 14 w 88"/>
              <a:gd name="T29" fmla="*/ 49 h 66"/>
              <a:gd name="T30" fmla="*/ 23 w 88"/>
              <a:gd name="T3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6">
                <a:moveTo>
                  <a:pt x="23" y="66"/>
                </a:moveTo>
                <a:lnTo>
                  <a:pt x="29" y="57"/>
                </a:lnTo>
                <a:lnTo>
                  <a:pt x="43" y="57"/>
                </a:lnTo>
                <a:lnTo>
                  <a:pt x="49" y="37"/>
                </a:lnTo>
                <a:lnTo>
                  <a:pt x="67" y="37"/>
                </a:lnTo>
                <a:lnTo>
                  <a:pt x="82" y="13"/>
                </a:lnTo>
                <a:lnTo>
                  <a:pt x="88" y="0"/>
                </a:lnTo>
                <a:lnTo>
                  <a:pt x="71" y="6"/>
                </a:lnTo>
                <a:lnTo>
                  <a:pt x="47" y="27"/>
                </a:lnTo>
                <a:lnTo>
                  <a:pt x="41" y="13"/>
                </a:lnTo>
                <a:lnTo>
                  <a:pt x="27" y="21"/>
                </a:lnTo>
                <a:lnTo>
                  <a:pt x="8" y="19"/>
                </a:lnTo>
                <a:lnTo>
                  <a:pt x="0" y="33"/>
                </a:lnTo>
                <a:lnTo>
                  <a:pt x="4" y="45"/>
                </a:lnTo>
                <a:lnTo>
                  <a:pt x="14" y="49"/>
                </a:lnTo>
                <a:lnTo>
                  <a:pt x="23" y="66"/>
                </a:lnTo>
                <a:close/>
              </a:path>
            </a:pathLst>
          </a:custGeom>
          <a:solidFill>
            <a:srgbClr val="FFFFFF"/>
          </a:solidFill>
          <a:ln w="9525">
            <a:solidFill>
              <a:srgbClr val="000000"/>
            </a:solidFill>
            <a:prstDash val="solid"/>
            <a:round/>
            <a:headEnd/>
            <a:tailEnd/>
          </a:ln>
        </p:spPr>
        <p:txBody>
          <a:bodyPr/>
          <a:lstStyle/>
          <a:p>
            <a:endParaRPr lang="cs-CZ"/>
          </a:p>
        </p:txBody>
      </p:sp>
      <p:sp>
        <p:nvSpPr>
          <p:cNvPr id="323" name="Freeform 331"/>
          <p:cNvSpPr>
            <a:spLocks/>
          </p:cNvSpPr>
          <p:nvPr/>
        </p:nvSpPr>
        <p:spPr bwMode="auto">
          <a:xfrm>
            <a:off x="2546350" y="3463503"/>
            <a:ext cx="39688" cy="39687"/>
          </a:xfrm>
          <a:custGeom>
            <a:avLst/>
            <a:gdLst>
              <a:gd name="T0" fmla="*/ 4 w 51"/>
              <a:gd name="T1" fmla="*/ 51 h 51"/>
              <a:gd name="T2" fmla="*/ 20 w 51"/>
              <a:gd name="T3" fmla="*/ 36 h 51"/>
              <a:gd name="T4" fmla="*/ 38 w 51"/>
              <a:gd name="T5" fmla="*/ 39 h 51"/>
              <a:gd name="T6" fmla="*/ 49 w 51"/>
              <a:gd name="T7" fmla="*/ 26 h 51"/>
              <a:gd name="T8" fmla="*/ 51 w 51"/>
              <a:gd name="T9" fmla="*/ 0 h 51"/>
              <a:gd name="T10" fmla="*/ 26 w 51"/>
              <a:gd name="T11" fmla="*/ 6 h 51"/>
              <a:gd name="T12" fmla="*/ 8 w 51"/>
              <a:gd name="T13" fmla="*/ 20 h 51"/>
              <a:gd name="T14" fmla="*/ 0 w 51"/>
              <a:gd name="T15" fmla="*/ 32 h 51"/>
              <a:gd name="T16" fmla="*/ 4 w 5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4" y="51"/>
                </a:moveTo>
                <a:lnTo>
                  <a:pt x="20" y="36"/>
                </a:lnTo>
                <a:lnTo>
                  <a:pt x="38" y="39"/>
                </a:lnTo>
                <a:lnTo>
                  <a:pt x="49" y="26"/>
                </a:lnTo>
                <a:lnTo>
                  <a:pt x="51" y="0"/>
                </a:lnTo>
                <a:lnTo>
                  <a:pt x="26" y="6"/>
                </a:lnTo>
                <a:lnTo>
                  <a:pt x="8" y="20"/>
                </a:lnTo>
                <a:lnTo>
                  <a:pt x="0" y="32"/>
                </a:lnTo>
                <a:lnTo>
                  <a:pt x="4" y="51"/>
                </a:lnTo>
                <a:close/>
              </a:path>
            </a:pathLst>
          </a:custGeom>
          <a:solidFill>
            <a:srgbClr val="FFFFFF"/>
          </a:solidFill>
          <a:ln w="9525">
            <a:solidFill>
              <a:srgbClr val="000000"/>
            </a:solidFill>
            <a:prstDash val="solid"/>
            <a:round/>
            <a:headEnd/>
            <a:tailEnd/>
          </a:ln>
        </p:spPr>
        <p:txBody>
          <a:bodyPr/>
          <a:lstStyle/>
          <a:p>
            <a:endParaRPr lang="cs-CZ"/>
          </a:p>
        </p:txBody>
      </p:sp>
      <p:sp>
        <p:nvSpPr>
          <p:cNvPr id="324" name="Freeform 332"/>
          <p:cNvSpPr>
            <a:spLocks/>
          </p:cNvSpPr>
          <p:nvPr/>
        </p:nvSpPr>
        <p:spPr bwMode="auto">
          <a:xfrm>
            <a:off x="4213225" y="3203153"/>
            <a:ext cx="55563" cy="123825"/>
          </a:xfrm>
          <a:custGeom>
            <a:avLst/>
            <a:gdLst>
              <a:gd name="T0" fmla="*/ 10 w 70"/>
              <a:gd name="T1" fmla="*/ 157 h 157"/>
              <a:gd name="T2" fmla="*/ 67 w 70"/>
              <a:gd name="T3" fmla="*/ 69 h 157"/>
              <a:gd name="T4" fmla="*/ 61 w 70"/>
              <a:gd name="T5" fmla="*/ 32 h 157"/>
              <a:gd name="T6" fmla="*/ 70 w 70"/>
              <a:gd name="T7" fmla="*/ 4 h 157"/>
              <a:gd name="T8" fmla="*/ 37 w 70"/>
              <a:gd name="T9" fmla="*/ 0 h 157"/>
              <a:gd name="T10" fmla="*/ 6 w 70"/>
              <a:gd name="T11" fmla="*/ 41 h 157"/>
              <a:gd name="T12" fmla="*/ 0 w 70"/>
              <a:gd name="T13" fmla="*/ 89 h 157"/>
              <a:gd name="T14" fmla="*/ 0 w 70"/>
              <a:gd name="T15" fmla="*/ 116 h 157"/>
              <a:gd name="T16" fmla="*/ 10 w 70"/>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57">
                <a:moveTo>
                  <a:pt x="10" y="157"/>
                </a:moveTo>
                <a:lnTo>
                  <a:pt x="67" y="69"/>
                </a:lnTo>
                <a:lnTo>
                  <a:pt x="61" y="32"/>
                </a:lnTo>
                <a:lnTo>
                  <a:pt x="70" y="4"/>
                </a:lnTo>
                <a:lnTo>
                  <a:pt x="37" y="0"/>
                </a:lnTo>
                <a:lnTo>
                  <a:pt x="6" y="41"/>
                </a:lnTo>
                <a:lnTo>
                  <a:pt x="0" y="89"/>
                </a:lnTo>
                <a:lnTo>
                  <a:pt x="0" y="116"/>
                </a:lnTo>
                <a:lnTo>
                  <a:pt x="10" y="157"/>
                </a:lnTo>
                <a:close/>
              </a:path>
            </a:pathLst>
          </a:custGeom>
          <a:solidFill>
            <a:srgbClr val="FFFFFF"/>
          </a:solidFill>
          <a:ln w="9525">
            <a:solidFill>
              <a:srgbClr val="000000"/>
            </a:solidFill>
            <a:prstDash val="solid"/>
            <a:round/>
            <a:headEnd/>
            <a:tailEnd/>
          </a:ln>
        </p:spPr>
        <p:txBody>
          <a:bodyPr/>
          <a:lstStyle/>
          <a:p>
            <a:endParaRPr lang="cs-CZ"/>
          </a:p>
        </p:txBody>
      </p:sp>
      <p:sp>
        <p:nvSpPr>
          <p:cNvPr id="325" name="Freeform 333"/>
          <p:cNvSpPr>
            <a:spLocks/>
          </p:cNvSpPr>
          <p:nvPr/>
        </p:nvSpPr>
        <p:spPr bwMode="auto">
          <a:xfrm>
            <a:off x="4462463" y="3087265"/>
            <a:ext cx="90487" cy="84138"/>
          </a:xfrm>
          <a:custGeom>
            <a:avLst/>
            <a:gdLst>
              <a:gd name="T0" fmla="*/ 24 w 114"/>
              <a:gd name="T1" fmla="*/ 106 h 106"/>
              <a:gd name="T2" fmla="*/ 49 w 114"/>
              <a:gd name="T3" fmla="*/ 49 h 106"/>
              <a:gd name="T4" fmla="*/ 79 w 114"/>
              <a:gd name="T5" fmla="*/ 59 h 106"/>
              <a:gd name="T6" fmla="*/ 114 w 114"/>
              <a:gd name="T7" fmla="*/ 15 h 106"/>
              <a:gd name="T8" fmla="*/ 92 w 114"/>
              <a:gd name="T9" fmla="*/ 0 h 106"/>
              <a:gd name="T10" fmla="*/ 65 w 114"/>
              <a:gd name="T11" fmla="*/ 0 h 106"/>
              <a:gd name="T12" fmla="*/ 37 w 114"/>
              <a:gd name="T13" fmla="*/ 0 h 106"/>
              <a:gd name="T14" fmla="*/ 24 w 114"/>
              <a:gd name="T15" fmla="*/ 15 h 106"/>
              <a:gd name="T16" fmla="*/ 0 w 114"/>
              <a:gd name="T17" fmla="*/ 25 h 106"/>
              <a:gd name="T18" fmla="*/ 8 w 114"/>
              <a:gd name="T19" fmla="*/ 59 h 106"/>
              <a:gd name="T20" fmla="*/ 32 w 114"/>
              <a:gd name="T21" fmla="*/ 82 h 106"/>
              <a:gd name="T22" fmla="*/ 24 w 114"/>
              <a:gd name="T2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06">
                <a:moveTo>
                  <a:pt x="24" y="106"/>
                </a:moveTo>
                <a:lnTo>
                  <a:pt x="49" y="49"/>
                </a:lnTo>
                <a:lnTo>
                  <a:pt x="79" y="59"/>
                </a:lnTo>
                <a:lnTo>
                  <a:pt x="114" y="15"/>
                </a:lnTo>
                <a:lnTo>
                  <a:pt x="92" y="0"/>
                </a:lnTo>
                <a:lnTo>
                  <a:pt x="65" y="0"/>
                </a:lnTo>
                <a:lnTo>
                  <a:pt x="37" y="0"/>
                </a:lnTo>
                <a:lnTo>
                  <a:pt x="24" y="15"/>
                </a:lnTo>
                <a:lnTo>
                  <a:pt x="0" y="25"/>
                </a:lnTo>
                <a:lnTo>
                  <a:pt x="8" y="59"/>
                </a:lnTo>
                <a:lnTo>
                  <a:pt x="32" y="82"/>
                </a:lnTo>
                <a:lnTo>
                  <a:pt x="24" y="106"/>
                </a:lnTo>
                <a:close/>
              </a:path>
            </a:pathLst>
          </a:custGeom>
          <a:solidFill>
            <a:srgbClr val="FFFFFF"/>
          </a:solidFill>
          <a:ln w="9525">
            <a:solidFill>
              <a:srgbClr val="000000"/>
            </a:solidFill>
            <a:prstDash val="solid"/>
            <a:round/>
            <a:headEnd/>
            <a:tailEnd/>
          </a:ln>
        </p:spPr>
        <p:txBody>
          <a:bodyPr/>
          <a:lstStyle/>
          <a:p>
            <a:endParaRPr lang="cs-CZ"/>
          </a:p>
        </p:txBody>
      </p:sp>
      <p:sp>
        <p:nvSpPr>
          <p:cNvPr id="326" name="Freeform 334"/>
          <p:cNvSpPr>
            <a:spLocks/>
          </p:cNvSpPr>
          <p:nvPr/>
        </p:nvSpPr>
        <p:spPr bwMode="auto">
          <a:xfrm>
            <a:off x="4470400" y="3025353"/>
            <a:ext cx="57150" cy="55562"/>
          </a:xfrm>
          <a:custGeom>
            <a:avLst/>
            <a:gdLst>
              <a:gd name="T0" fmla="*/ 0 w 73"/>
              <a:gd name="T1" fmla="*/ 37 h 71"/>
              <a:gd name="T2" fmla="*/ 31 w 73"/>
              <a:gd name="T3" fmla="*/ 51 h 71"/>
              <a:gd name="T4" fmla="*/ 41 w 73"/>
              <a:gd name="T5" fmla="*/ 71 h 71"/>
              <a:gd name="T6" fmla="*/ 69 w 73"/>
              <a:gd name="T7" fmla="*/ 39 h 71"/>
              <a:gd name="T8" fmla="*/ 73 w 73"/>
              <a:gd name="T9" fmla="*/ 16 h 71"/>
              <a:gd name="T10" fmla="*/ 35 w 73"/>
              <a:gd name="T11" fmla="*/ 0 h 71"/>
              <a:gd name="T12" fmla="*/ 22 w 73"/>
              <a:gd name="T13" fmla="*/ 20 h 71"/>
              <a:gd name="T14" fmla="*/ 0 w 73"/>
              <a:gd name="T15" fmla="*/ 37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1">
                <a:moveTo>
                  <a:pt x="0" y="37"/>
                </a:moveTo>
                <a:lnTo>
                  <a:pt x="31" y="51"/>
                </a:lnTo>
                <a:lnTo>
                  <a:pt x="41" y="71"/>
                </a:lnTo>
                <a:lnTo>
                  <a:pt x="69" y="39"/>
                </a:lnTo>
                <a:lnTo>
                  <a:pt x="73" y="16"/>
                </a:lnTo>
                <a:lnTo>
                  <a:pt x="35" y="0"/>
                </a:lnTo>
                <a:lnTo>
                  <a:pt x="22" y="20"/>
                </a:lnTo>
                <a:lnTo>
                  <a:pt x="0" y="37"/>
                </a:lnTo>
                <a:close/>
              </a:path>
            </a:pathLst>
          </a:custGeom>
          <a:solidFill>
            <a:srgbClr val="FFFFFF"/>
          </a:solidFill>
          <a:ln w="9525">
            <a:solidFill>
              <a:srgbClr val="000000"/>
            </a:solidFill>
            <a:prstDash val="solid"/>
            <a:round/>
            <a:headEnd/>
            <a:tailEnd/>
          </a:ln>
        </p:spPr>
        <p:txBody>
          <a:bodyPr/>
          <a:lstStyle/>
          <a:p>
            <a:endParaRPr lang="cs-CZ"/>
          </a:p>
        </p:txBody>
      </p:sp>
      <p:sp>
        <p:nvSpPr>
          <p:cNvPr id="327" name="Freeform 335"/>
          <p:cNvSpPr>
            <a:spLocks/>
          </p:cNvSpPr>
          <p:nvPr/>
        </p:nvSpPr>
        <p:spPr bwMode="auto">
          <a:xfrm>
            <a:off x="4300538" y="2874540"/>
            <a:ext cx="30162" cy="46038"/>
          </a:xfrm>
          <a:custGeom>
            <a:avLst/>
            <a:gdLst>
              <a:gd name="T0" fmla="*/ 37 w 37"/>
              <a:gd name="T1" fmla="*/ 56 h 56"/>
              <a:gd name="T2" fmla="*/ 19 w 37"/>
              <a:gd name="T3" fmla="*/ 39 h 56"/>
              <a:gd name="T4" fmla="*/ 31 w 37"/>
              <a:gd name="T5" fmla="*/ 19 h 56"/>
              <a:gd name="T6" fmla="*/ 19 w 37"/>
              <a:gd name="T7" fmla="*/ 0 h 56"/>
              <a:gd name="T8" fmla="*/ 4 w 37"/>
              <a:gd name="T9" fmla="*/ 19 h 56"/>
              <a:gd name="T10" fmla="*/ 0 w 37"/>
              <a:gd name="T11" fmla="*/ 47 h 56"/>
              <a:gd name="T12" fmla="*/ 37 w 37"/>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37" h="56">
                <a:moveTo>
                  <a:pt x="37" y="56"/>
                </a:moveTo>
                <a:lnTo>
                  <a:pt x="19" y="39"/>
                </a:lnTo>
                <a:lnTo>
                  <a:pt x="31" y="19"/>
                </a:lnTo>
                <a:lnTo>
                  <a:pt x="19" y="0"/>
                </a:lnTo>
                <a:lnTo>
                  <a:pt x="4" y="19"/>
                </a:lnTo>
                <a:lnTo>
                  <a:pt x="0" y="47"/>
                </a:lnTo>
                <a:lnTo>
                  <a:pt x="37" y="56"/>
                </a:lnTo>
                <a:close/>
              </a:path>
            </a:pathLst>
          </a:custGeom>
          <a:solidFill>
            <a:srgbClr val="FFFFFF"/>
          </a:solidFill>
          <a:ln w="9525">
            <a:solidFill>
              <a:srgbClr val="000000"/>
            </a:solidFill>
            <a:prstDash val="solid"/>
            <a:round/>
            <a:headEnd/>
            <a:tailEnd/>
          </a:ln>
        </p:spPr>
        <p:txBody>
          <a:bodyPr/>
          <a:lstStyle/>
          <a:p>
            <a:endParaRPr lang="cs-CZ"/>
          </a:p>
        </p:txBody>
      </p:sp>
      <p:sp>
        <p:nvSpPr>
          <p:cNvPr id="328" name="Freeform 336"/>
          <p:cNvSpPr>
            <a:spLocks/>
          </p:cNvSpPr>
          <p:nvPr/>
        </p:nvSpPr>
        <p:spPr bwMode="auto">
          <a:xfrm>
            <a:off x="3506788" y="3219028"/>
            <a:ext cx="204787" cy="358775"/>
          </a:xfrm>
          <a:custGeom>
            <a:avLst/>
            <a:gdLst>
              <a:gd name="T0" fmla="*/ 47 w 257"/>
              <a:gd name="T1" fmla="*/ 434 h 452"/>
              <a:gd name="T2" fmla="*/ 98 w 257"/>
              <a:gd name="T3" fmla="*/ 452 h 452"/>
              <a:gd name="T4" fmla="*/ 110 w 257"/>
              <a:gd name="T5" fmla="*/ 446 h 452"/>
              <a:gd name="T6" fmla="*/ 120 w 257"/>
              <a:gd name="T7" fmla="*/ 430 h 452"/>
              <a:gd name="T8" fmla="*/ 100 w 257"/>
              <a:gd name="T9" fmla="*/ 416 h 452"/>
              <a:gd name="T10" fmla="*/ 129 w 257"/>
              <a:gd name="T11" fmla="*/ 395 h 452"/>
              <a:gd name="T12" fmla="*/ 125 w 257"/>
              <a:gd name="T13" fmla="*/ 353 h 452"/>
              <a:gd name="T14" fmla="*/ 145 w 257"/>
              <a:gd name="T15" fmla="*/ 342 h 452"/>
              <a:gd name="T16" fmla="*/ 147 w 257"/>
              <a:gd name="T17" fmla="*/ 314 h 452"/>
              <a:gd name="T18" fmla="*/ 169 w 257"/>
              <a:gd name="T19" fmla="*/ 314 h 452"/>
              <a:gd name="T20" fmla="*/ 171 w 257"/>
              <a:gd name="T21" fmla="*/ 292 h 452"/>
              <a:gd name="T22" fmla="*/ 200 w 257"/>
              <a:gd name="T23" fmla="*/ 294 h 452"/>
              <a:gd name="T24" fmla="*/ 198 w 257"/>
              <a:gd name="T25" fmla="*/ 247 h 452"/>
              <a:gd name="T26" fmla="*/ 222 w 257"/>
              <a:gd name="T27" fmla="*/ 257 h 452"/>
              <a:gd name="T28" fmla="*/ 230 w 257"/>
              <a:gd name="T29" fmla="*/ 241 h 452"/>
              <a:gd name="T30" fmla="*/ 253 w 257"/>
              <a:gd name="T31" fmla="*/ 232 h 452"/>
              <a:gd name="T32" fmla="*/ 257 w 257"/>
              <a:gd name="T33" fmla="*/ 198 h 452"/>
              <a:gd name="T34" fmla="*/ 226 w 257"/>
              <a:gd name="T35" fmla="*/ 200 h 452"/>
              <a:gd name="T36" fmla="*/ 212 w 257"/>
              <a:gd name="T37" fmla="*/ 212 h 452"/>
              <a:gd name="T38" fmla="*/ 194 w 257"/>
              <a:gd name="T39" fmla="*/ 208 h 452"/>
              <a:gd name="T40" fmla="*/ 196 w 257"/>
              <a:gd name="T41" fmla="*/ 192 h 452"/>
              <a:gd name="T42" fmla="*/ 202 w 257"/>
              <a:gd name="T43" fmla="*/ 171 h 452"/>
              <a:gd name="T44" fmla="*/ 200 w 257"/>
              <a:gd name="T45" fmla="*/ 159 h 452"/>
              <a:gd name="T46" fmla="*/ 202 w 257"/>
              <a:gd name="T47" fmla="*/ 145 h 452"/>
              <a:gd name="T48" fmla="*/ 208 w 257"/>
              <a:gd name="T49" fmla="*/ 108 h 452"/>
              <a:gd name="T50" fmla="*/ 218 w 257"/>
              <a:gd name="T51" fmla="*/ 100 h 452"/>
              <a:gd name="T52" fmla="*/ 228 w 257"/>
              <a:gd name="T53" fmla="*/ 84 h 452"/>
              <a:gd name="T54" fmla="*/ 233 w 257"/>
              <a:gd name="T55" fmla="*/ 70 h 452"/>
              <a:gd name="T56" fmla="*/ 232 w 257"/>
              <a:gd name="T57" fmla="*/ 0 h 452"/>
              <a:gd name="T58" fmla="*/ 198 w 257"/>
              <a:gd name="T59" fmla="*/ 19 h 452"/>
              <a:gd name="T60" fmla="*/ 157 w 257"/>
              <a:gd name="T61" fmla="*/ 43 h 452"/>
              <a:gd name="T62" fmla="*/ 151 w 257"/>
              <a:gd name="T63" fmla="*/ 72 h 452"/>
              <a:gd name="T64" fmla="*/ 127 w 257"/>
              <a:gd name="T65" fmla="*/ 82 h 452"/>
              <a:gd name="T66" fmla="*/ 66 w 257"/>
              <a:gd name="T67" fmla="*/ 88 h 452"/>
              <a:gd name="T68" fmla="*/ 49 w 257"/>
              <a:gd name="T69" fmla="*/ 106 h 452"/>
              <a:gd name="T70" fmla="*/ 39 w 257"/>
              <a:gd name="T71" fmla="*/ 122 h 452"/>
              <a:gd name="T72" fmla="*/ 31 w 257"/>
              <a:gd name="T73" fmla="*/ 147 h 452"/>
              <a:gd name="T74" fmla="*/ 19 w 257"/>
              <a:gd name="T75" fmla="*/ 155 h 452"/>
              <a:gd name="T76" fmla="*/ 15 w 257"/>
              <a:gd name="T77" fmla="*/ 182 h 452"/>
              <a:gd name="T78" fmla="*/ 8 w 257"/>
              <a:gd name="T79" fmla="*/ 194 h 452"/>
              <a:gd name="T80" fmla="*/ 4 w 257"/>
              <a:gd name="T81" fmla="*/ 220 h 452"/>
              <a:gd name="T82" fmla="*/ 0 w 257"/>
              <a:gd name="T83" fmla="*/ 328 h 452"/>
              <a:gd name="T84" fmla="*/ 23 w 257"/>
              <a:gd name="T85" fmla="*/ 334 h 452"/>
              <a:gd name="T86" fmla="*/ 25 w 257"/>
              <a:gd name="T87" fmla="*/ 353 h 452"/>
              <a:gd name="T88" fmla="*/ 43 w 257"/>
              <a:gd name="T89" fmla="*/ 363 h 452"/>
              <a:gd name="T90" fmla="*/ 47 w 257"/>
              <a:gd name="T91" fmla="*/ 43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452">
                <a:moveTo>
                  <a:pt x="47" y="434"/>
                </a:moveTo>
                <a:lnTo>
                  <a:pt x="98" y="452"/>
                </a:lnTo>
                <a:lnTo>
                  <a:pt x="110" y="446"/>
                </a:lnTo>
                <a:lnTo>
                  <a:pt x="120" y="430"/>
                </a:lnTo>
                <a:lnTo>
                  <a:pt x="100" y="416"/>
                </a:lnTo>
                <a:lnTo>
                  <a:pt x="129" y="395"/>
                </a:lnTo>
                <a:lnTo>
                  <a:pt x="125" y="353"/>
                </a:lnTo>
                <a:lnTo>
                  <a:pt x="145" y="342"/>
                </a:lnTo>
                <a:lnTo>
                  <a:pt x="147" y="314"/>
                </a:lnTo>
                <a:lnTo>
                  <a:pt x="169" y="314"/>
                </a:lnTo>
                <a:lnTo>
                  <a:pt x="171" y="292"/>
                </a:lnTo>
                <a:lnTo>
                  <a:pt x="200" y="294"/>
                </a:lnTo>
                <a:lnTo>
                  <a:pt x="198" y="247"/>
                </a:lnTo>
                <a:lnTo>
                  <a:pt x="222" y="257"/>
                </a:lnTo>
                <a:lnTo>
                  <a:pt x="230" y="241"/>
                </a:lnTo>
                <a:lnTo>
                  <a:pt x="253" y="232"/>
                </a:lnTo>
                <a:lnTo>
                  <a:pt x="257" y="198"/>
                </a:lnTo>
                <a:lnTo>
                  <a:pt x="226" y="200"/>
                </a:lnTo>
                <a:lnTo>
                  <a:pt x="212" y="212"/>
                </a:lnTo>
                <a:lnTo>
                  <a:pt x="194" y="208"/>
                </a:lnTo>
                <a:lnTo>
                  <a:pt x="196" y="192"/>
                </a:lnTo>
                <a:lnTo>
                  <a:pt x="202" y="171"/>
                </a:lnTo>
                <a:lnTo>
                  <a:pt x="200" y="159"/>
                </a:lnTo>
                <a:lnTo>
                  <a:pt x="202" y="145"/>
                </a:lnTo>
                <a:lnTo>
                  <a:pt x="208" y="108"/>
                </a:lnTo>
                <a:lnTo>
                  <a:pt x="218" y="100"/>
                </a:lnTo>
                <a:lnTo>
                  <a:pt x="228" y="84"/>
                </a:lnTo>
                <a:lnTo>
                  <a:pt x="233" y="70"/>
                </a:lnTo>
                <a:lnTo>
                  <a:pt x="232" y="0"/>
                </a:lnTo>
                <a:lnTo>
                  <a:pt x="198" y="19"/>
                </a:lnTo>
                <a:lnTo>
                  <a:pt x="157" y="43"/>
                </a:lnTo>
                <a:lnTo>
                  <a:pt x="151" y="72"/>
                </a:lnTo>
                <a:lnTo>
                  <a:pt x="127" y="82"/>
                </a:lnTo>
                <a:lnTo>
                  <a:pt x="66" y="88"/>
                </a:lnTo>
                <a:lnTo>
                  <a:pt x="49" y="106"/>
                </a:lnTo>
                <a:lnTo>
                  <a:pt x="39" y="122"/>
                </a:lnTo>
                <a:lnTo>
                  <a:pt x="31" y="147"/>
                </a:lnTo>
                <a:lnTo>
                  <a:pt x="19" y="155"/>
                </a:lnTo>
                <a:lnTo>
                  <a:pt x="15" y="182"/>
                </a:lnTo>
                <a:lnTo>
                  <a:pt x="8" y="194"/>
                </a:lnTo>
                <a:lnTo>
                  <a:pt x="4" y="220"/>
                </a:lnTo>
                <a:lnTo>
                  <a:pt x="0" y="328"/>
                </a:lnTo>
                <a:lnTo>
                  <a:pt x="23" y="334"/>
                </a:lnTo>
                <a:lnTo>
                  <a:pt x="25" y="353"/>
                </a:lnTo>
                <a:lnTo>
                  <a:pt x="43" y="363"/>
                </a:lnTo>
                <a:lnTo>
                  <a:pt x="47" y="434"/>
                </a:lnTo>
                <a:close/>
              </a:path>
            </a:pathLst>
          </a:custGeom>
          <a:solidFill>
            <a:srgbClr val="FA0000"/>
          </a:solidFill>
          <a:ln w="9525">
            <a:solidFill>
              <a:srgbClr val="000000"/>
            </a:solidFill>
            <a:prstDash val="solid"/>
            <a:round/>
            <a:headEnd/>
            <a:tailEnd/>
          </a:ln>
        </p:spPr>
        <p:txBody>
          <a:bodyPr/>
          <a:lstStyle/>
          <a:p>
            <a:endParaRPr lang="cs-CZ"/>
          </a:p>
        </p:txBody>
      </p:sp>
      <p:sp>
        <p:nvSpPr>
          <p:cNvPr id="329" name="Freeform 337"/>
          <p:cNvSpPr>
            <a:spLocks/>
          </p:cNvSpPr>
          <p:nvPr/>
        </p:nvSpPr>
        <p:spPr bwMode="auto">
          <a:xfrm>
            <a:off x="3714750" y="3433340"/>
            <a:ext cx="133350" cy="141288"/>
          </a:xfrm>
          <a:custGeom>
            <a:avLst/>
            <a:gdLst>
              <a:gd name="T0" fmla="*/ 167 w 167"/>
              <a:gd name="T1" fmla="*/ 63 h 179"/>
              <a:gd name="T2" fmla="*/ 143 w 167"/>
              <a:gd name="T3" fmla="*/ 65 h 179"/>
              <a:gd name="T4" fmla="*/ 124 w 167"/>
              <a:gd name="T5" fmla="*/ 88 h 179"/>
              <a:gd name="T6" fmla="*/ 122 w 167"/>
              <a:gd name="T7" fmla="*/ 106 h 179"/>
              <a:gd name="T8" fmla="*/ 136 w 167"/>
              <a:gd name="T9" fmla="*/ 132 h 179"/>
              <a:gd name="T10" fmla="*/ 108 w 167"/>
              <a:gd name="T11" fmla="*/ 145 h 179"/>
              <a:gd name="T12" fmla="*/ 106 w 167"/>
              <a:gd name="T13" fmla="*/ 175 h 179"/>
              <a:gd name="T14" fmla="*/ 92 w 167"/>
              <a:gd name="T15" fmla="*/ 179 h 179"/>
              <a:gd name="T16" fmla="*/ 69 w 167"/>
              <a:gd name="T17" fmla="*/ 167 h 179"/>
              <a:gd name="T18" fmla="*/ 59 w 167"/>
              <a:gd name="T19" fmla="*/ 147 h 179"/>
              <a:gd name="T20" fmla="*/ 31 w 167"/>
              <a:gd name="T21" fmla="*/ 145 h 179"/>
              <a:gd name="T22" fmla="*/ 20 w 167"/>
              <a:gd name="T23" fmla="*/ 130 h 179"/>
              <a:gd name="T24" fmla="*/ 12 w 167"/>
              <a:gd name="T25" fmla="*/ 116 h 179"/>
              <a:gd name="T26" fmla="*/ 22 w 167"/>
              <a:gd name="T27" fmla="*/ 96 h 179"/>
              <a:gd name="T28" fmla="*/ 20 w 167"/>
              <a:gd name="T29" fmla="*/ 80 h 179"/>
              <a:gd name="T30" fmla="*/ 0 w 167"/>
              <a:gd name="T31" fmla="*/ 59 h 179"/>
              <a:gd name="T32" fmla="*/ 14 w 167"/>
              <a:gd name="T33" fmla="*/ 51 h 179"/>
              <a:gd name="T34" fmla="*/ 31 w 167"/>
              <a:gd name="T35" fmla="*/ 55 h 179"/>
              <a:gd name="T36" fmla="*/ 45 w 167"/>
              <a:gd name="T37" fmla="*/ 41 h 179"/>
              <a:gd name="T38" fmla="*/ 45 w 167"/>
              <a:gd name="T39" fmla="*/ 12 h 179"/>
              <a:gd name="T40" fmla="*/ 81 w 167"/>
              <a:gd name="T41" fmla="*/ 21 h 179"/>
              <a:gd name="T42" fmla="*/ 79 w 167"/>
              <a:gd name="T43" fmla="*/ 33 h 179"/>
              <a:gd name="T44" fmla="*/ 77 w 167"/>
              <a:gd name="T45" fmla="*/ 57 h 179"/>
              <a:gd name="T46" fmla="*/ 92 w 167"/>
              <a:gd name="T47" fmla="*/ 55 h 179"/>
              <a:gd name="T48" fmla="*/ 102 w 167"/>
              <a:gd name="T49" fmla="*/ 51 h 179"/>
              <a:gd name="T50" fmla="*/ 96 w 167"/>
              <a:gd name="T51" fmla="*/ 12 h 179"/>
              <a:gd name="T52" fmla="*/ 116 w 167"/>
              <a:gd name="T53" fmla="*/ 0 h 179"/>
              <a:gd name="T54" fmla="*/ 132 w 167"/>
              <a:gd name="T55" fmla="*/ 2 h 179"/>
              <a:gd name="T56" fmla="*/ 167 w 167"/>
              <a:gd name="T57" fmla="*/ 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179">
                <a:moveTo>
                  <a:pt x="167" y="63"/>
                </a:moveTo>
                <a:lnTo>
                  <a:pt x="143" y="65"/>
                </a:lnTo>
                <a:lnTo>
                  <a:pt x="124" y="88"/>
                </a:lnTo>
                <a:lnTo>
                  <a:pt x="122" y="106"/>
                </a:lnTo>
                <a:lnTo>
                  <a:pt x="136" y="132"/>
                </a:lnTo>
                <a:lnTo>
                  <a:pt x="108" y="145"/>
                </a:lnTo>
                <a:lnTo>
                  <a:pt x="106" y="175"/>
                </a:lnTo>
                <a:lnTo>
                  <a:pt x="92" y="179"/>
                </a:lnTo>
                <a:lnTo>
                  <a:pt x="69" y="167"/>
                </a:lnTo>
                <a:lnTo>
                  <a:pt x="59" y="147"/>
                </a:lnTo>
                <a:lnTo>
                  <a:pt x="31" y="145"/>
                </a:lnTo>
                <a:lnTo>
                  <a:pt x="20" y="130"/>
                </a:lnTo>
                <a:lnTo>
                  <a:pt x="12" y="116"/>
                </a:lnTo>
                <a:lnTo>
                  <a:pt x="22" y="96"/>
                </a:lnTo>
                <a:lnTo>
                  <a:pt x="20" y="80"/>
                </a:lnTo>
                <a:lnTo>
                  <a:pt x="0" y="59"/>
                </a:lnTo>
                <a:lnTo>
                  <a:pt x="14" y="51"/>
                </a:lnTo>
                <a:lnTo>
                  <a:pt x="31" y="55"/>
                </a:lnTo>
                <a:lnTo>
                  <a:pt x="45" y="41"/>
                </a:lnTo>
                <a:lnTo>
                  <a:pt x="45" y="12"/>
                </a:lnTo>
                <a:lnTo>
                  <a:pt x="81" y="21"/>
                </a:lnTo>
                <a:lnTo>
                  <a:pt x="79" y="33"/>
                </a:lnTo>
                <a:lnTo>
                  <a:pt x="77" y="57"/>
                </a:lnTo>
                <a:lnTo>
                  <a:pt x="92" y="55"/>
                </a:lnTo>
                <a:lnTo>
                  <a:pt x="102" y="51"/>
                </a:lnTo>
                <a:lnTo>
                  <a:pt x="96" y="12"/>
                </a:lnTo>
                <a:lnTo>
                  <a:pt x="116" y="0"/>
                </a:lnTo>
                <a:lnTo>
                  <a:pt x="132" y="2"/>
                </a:lnTo>
                <a:lnTo>
                  <a:pt x="167" y="63"/>
                </a:lnTo>
                <a:close/>
              </a:path>
            </a:pathLst>
          </a:custGeom>
          <a:solidFill>
            <a:srgbClr val="FFFFFF"/>
          </a:solidFill>
          <a:ln w="9525">
            <a:solidFill>
              <a:srgbClr val="000000"/>
            </a:solidFill>
            <a:prstDash val="solid"/>
            <a:round/>
            <a:headEnd/>
            <a:tailEnd/>
          </a:ln>
        </p:spPr>
        <p:txBody>
          <a:bodyPr/>
          <a:lstStyle/>
          <a:p>
            <a:endParaRPr lang="cs-CZ"/>
          </a:p>
        </p:txBody>
      </p:sp>
      <p:sp>
        <p:nvSpPr>
          <p:cNvPr id="330" name="Freeform 338"/>
          <p:cNvSpPr>
            <a:spLocks/>
          </p:cNvSpPr>
          <p:nvPr/>
        </p:nvSpPr>
        <p:spPr bwMode="auto">
          <a:xfrm>
            <a:off x="3770313" y="3574628"/>
            <a:ext cx="31750" cy="55562"/>
          </a:xfrm>
          <a:custGeom>
            <a:avLst/>
            <a:gdLst>
              <a:gd name="T0" fmla="*/ 17 w 39"/>
              <a:gd name="T1" fmla="*/ 68 h 68"/>
              <a:gd name="T2" fmla="*/ 23 w 39"/>
              <a:gd name="T3" fmla="*/ 35 h 68"/>
              <a:gd name="T4" fmla="*/ 39 w 39"/>
              <a:gd name="T5" fmla="*/ 31 h 68"/>
              <a:gd name="T6" fmla="*/ 29 w 39"/>
              <a:gd name="T7" fmla="*/ 13 h 68"/>
              <a:gd name="T8" fmla="*/ 17 w 39"/>
              <a:gd name="T9" fmla="*/ 0 h 68"/>
              <a:gd name="T10" fmla="*/ 0 w 39"/>
              <a:gd name="T11" fmla="*/ 6 h 68"/>
              <a:gd name="T12" fmla="*/ 6 w 39"/>
              <a:gd name="T13" fmla="*/ 23 h 68"/>
              <a:gd name="T14" fmla="*/ 2 w 39"/>
              <a:gd name="T15" fmla="*/ 37 h 68"/>
              <a:gd name="T16" fmla="*/ 17 w 3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68">
                <a:moveTo>
                  <a:pt x="17" y="68"/>
                </a:moveTo>
                <a:lnTo>
                  <a:pt x="23" y="35"/>
                </a:lnTo>
                <a:lnTo>
                  <a:pt x="39" y="31"/>
                </a:lnTo>
                <a:lnTo>
                  <a:pt x="29" y="13"/>
                </a:lnTo>
                <a:lnTo>
                  <a:pt x="17" y="0"/>
                </a:lnTo>
                <a:lnTo>
                  <a:pt x="0" y="6"/>
                </a:lnTo>
                <a:lnTo>
                  <a:pt x="6" y="23"/>
                </a:lnTo>
                <a:lnTo>
                  <a:pt x="2" y="37"/>
                </a:lnTo>
                <a:lnTo>
                  <a:pt x="17" y="68"/>
                </a:lnTo>
                <a:close/>
              </a:path>
            </a:pathLst>
          </a:custGeom>
          <a:solidFill>
            <a:srgbClr val="FFFFFF"/>
          </a:solidFill>
          <a:ln w="9525">
            <a:solidFill>
              <a:srgbClr val="000000"/>
            </a:solidFill>
            <a:prstDash val="solid"/>
            <a:round/>
            <a:headEnd/>
            <a:tailEnd/>
          </a:ln>
        </p:spPr>
        <p:txBody>
          <a:bodyPr/>
          <a:lstStyle/>
          <a:p>
            <a:endParaRPr lang="cs-CZ"/>
          </a:p>
        </p:txBody>
      </p:sp>
      <p:sp>
        <p:nvSpPr>
          <p:cNvPr id="331" name="Freeform 339"/>
          <p:cNvSpPr>
            <a:spLocks/>
          </p:cNvSpPr>
          <p:nvPr/>
        </p:nvSpPr>
        <p:spPr bwMode="auto">
          <a:xfrm>
            <a:off x="3719513" y="3576215"/>
            <a:ext cx="52387" cy="50800"/>
          </a:xfrm>
          <a:custGeom>
            <a:avLst/>
            <a:gdLst>
              <a:gd name="T0" fmla="*/ 65 w 65"/>
              <a:gd name="T1" fmla="*/ 47 h 62"/>
              <a:gd name="T2" fmla="*/ 49 w 65"/>
              <a:gd name="T3" fmla="*/ 51 h 62"/>
              <a:gd name="T4" fmla="*/ 31 w 65"/>
              <a:gd name="T5" fmla="*/ 62 h 62"/>
              <a:gd name="T6" fmla="*/ 19 w 65"/>
              <a:gd name="T7" fmla="*/ 47 h 62"/>
              <a:gd name="T8" fmla="*/ 0 w 65"/>
              <a:gd name="T9" fmla="*/ 37 h 62"/>
              <a:gd name="T10" fmla="*/ 0 w 65"/>
              <a:gd name="T11" fmla="*/ 11 h 62"/>
              <a:gd name="T12" fmla="*/ 21 w 65"/>
              <a:gd name="T13" fmla="*/ 0 h 62"/>
              <a:gd name="T14" fmla="*/ 33 w 65"/>
              <a:gd name="T15" fmla="*/ 15 h 62"/>
              <a:gd name="T16" fmla="*/ 53 w 65"/>
              <a:gd name="T17" fmla="*/ 15 h 62"/>
              <a:gd name="T18" fmla="*/ 65 w 65"/>
              <a:gd name="T19" fmla="*/ 29 h 62"/>
              <a:gd name="T20" fmla="*/ 65 w 65"/>
              <a:gd name="T2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2">
                <a:moveTo>
                  <a:pt x="65" y="47"/>
                </a:moveTo>
                <a:lnTo>
                  <a:pt x="49" y="51"/>
                </a:lnTo>
                <a:lnTo>
                  <a:pt x="31" y="62"/>
                </a:lnTo>
                <a:lnTo>
                  <a:pt x="19" y="47"/>
                </a:lnTo>
                <a:lnTo>
                  <a:pt x="0" y="37"/>
                </a:lnTo>
                <a:lnTo>
                  <a:pt x="0" y="11"/>
                </a:lnTo>
                <a:lnTo>
                  <a:pt x="21" y="0"/>
                </a:lnTo>
                <a:lnTo>
                  <a:pt x="33" y="15"/>
                </a:lnTo>
                <a:lnTo>
                  <a:pt x="53" y="15"/>
                </a:lnTo>
                <a:lnTo>
                  <a:pt x="65" y="29"/>
                </a:lnTo>
                <a:lnTo>
                  <a:pt x="65" y="47"/>
                </a:lnTo>
                <a:close/>
              </a:path>
            </a:pathLst>
          </a:custGeom>
          <a:solidFill>
            <a:srgbClr val="FFFFFF"/>
          </a:solidFill>
          <a:ln w="9525">
            <a:solidFill>
              <a:srgbClr val="000000"/>
            </a:solidFill>
            <a:prstDash val="solid"/>
            <a:round/>
            <a:headEnd/>
            <a:tailEnd/>
          </a:ln>
        </p:spPr>
        <p:txBody>
          <a:bodyPr/>
          <a:lstStyle/>
          <a:p>
            <a:endParaRPr lang="cs-CZ"/>
          </a:p>
        </p:txBody>
      </p:sp>
      <p:sp>
        <p:nvSpPr>
          <p:cNvPr id="332" name="Freeform 340"/>
          <p:cNvSpPr>
            <a:spLocks/>
          </p:cNvSpPr>
          <p:nvPr/>
        </p:nvSpPr>
        <p:spPr bwMode="auto">
          <a:xfrm>
            <a:off x="3625850" y="3492078"/>
            <a:ext cx="85725" cy="115887"/>
          </a:xfrm>
          <a:custGeom>
            <a:avLst/>
            <a:gdLst>
              <a:gd name="T0" fmla="*/ 86 w 106"/>
              <a:gd name="T1" fmla="*/ 145 h 145"/>
              <a:gd name="T2" fmla="*/ 96 w 106"/>
              <a:gd name="T3" fmla="*/ 119 h 145"/>
              <a:gd name="T4" fmla="*/ 96 w 106"/>
              <a:gd name="T5" fmla="*/ 102 h 145"/>
              <a:gd name="T6" fmla="*/ 106 w 106"/>
              <a:gd name="T7" fmla="*/ 100 h 145"/>
              <a:gd name="T8" fmla="*/ 100 w 106"/>
              <a:gd name="T9" fmla="*/ 62 h 145"/>
              <a:gd name="T10" fmla="*/ 92 w 106"/>
              <a:gd name="T11" fmla="*/ 51 h 145"/>
              <a:gd name="T12" fmla="*/ 84 w 106"/>
              <a:gd name="T13" fmla="*/ 25 h 145"/>
              <a:gd name="T14" fmla="*/ 88 w 106"/>
              <a:gd name="T15" fmla="*/ 11 h 145"/>
              <a:gd name="T16" fmla="*/ 75 w 106"/>
              <a:gd name="T17" fmla="*/ 1 h 145"/>
              <a:gd name="T18" fmla="*/ 59 w 106"/>
              <a:gd name="T19" fmla="*/ 5 h 145"/>
              <a:gd name="T20" fmla="*/ 33 w 106"/>
              <a:gd name="T21" fmla="*/ 0 h 145"/>
              <a:gd name="T22" fmla="*/ 22 w 106"/>
              <a:gd name="T23" fmla="*/ 9 h 145"/>
              <a:gd name="T24" fmla="*/ 2 w 106"/>
              <a:gd name="T25" fmla="*/ 7 h 145"/>
              <a:gd name="T26" fmla="*/ 0 w 106"/>
              <a:gd name="T27" fmla="*/ 37 h 145"/>
              <a:gd name="T28" fmla="*/ 8 w 106"/>
              <a:gd name="T29" fmla="*/ 49 h 145"/>
              <a:gd name="T30" fmla="*/ 12 w 106"/>
              <a:gd name="T31" fmla="*/ 58 h 145"/>
              <a:gd name="T32" fmla="*/ 31 w 106"/>
              <a:gd name="T33" fmla="*/ 70 h 145"/>
              <a:gd name="T34" fmla="*/ 31 w 106"/>
              <a:gd name="T35" fmla="*/ 86 h 145"/>
              <a:gd name="T36" fmla="*/ 59 w 106"/>
              <a:gd name="T37" fmla="*/ 84 h 145"/>
              <a:gd name="T38" fmla="*/ 77 w 106"/>
              <a:gd name="T39" fmla="*/ 90 h 145"/>
              <a:gd name="T40" fmla="*/ 88 w 106"/>
              <a:gd name="T41" fmla="*/ 92 h 145"/>
              <a:gd name="T42" fmla="*/ 77 w 106"/>
              <a:gd name="T43" fmla="*/ 117 h 145"/>
              <a:gd name="T44" fmla="*/ 86 w 106"/>
              <a:gd name="T45"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45">
                <a:moveTo>
                  <a:pt x="86" y="145"/>
                </a:moveTo>
                <a:lnTo>
                  <a:pt x="96" y="119"/>
                </a:lnTo>
                <a:lnTo>
                  <a:pt x="96" y="102"/>
                </a:lnTo>
                <a:lnTo>
                  <a:pt x="106" y="100"/>
                </a:lnTo>
                <a:lnTo>
                  <a:pt x="100" y="62"/>
                </a:lnTo>
                <a:lnTo>
                  <a:pt x="92" y="51"/>
                </a:lnTo>
                <a:lnTo>
                  <a:pt x="84" y="25"/>
                </a:lnTo>
                <a:lnTo>
                  <a:pt x="88" y="11"/>
                </a:lnTo>
                <a:lnTo>
                  <a:pt x="75" y="1"/>
                </a:lnTo>
                <a:lnTo>
                  <a:pt x="59" y="5"/>
                </a:lnTo>
                <a:lnTo>
                  <a:pt x="33" y="0"/>
                </a:lnTo>
                <a:lnTo>
                  <a:pt x="22" y="9"/>
                </a:lnTo>
                <a:lnTo>
                  <a:pt x="2" y="7"/>
                </a:lnTo>
                <a:lnTo>
                  <a:pt x="0" y="37"/>
                </a:lnTo>
                <a:lnTo>
                  <a:pt x="8" y="49"/>
                </a:lnTo>
                <a:lnTo>
                  <a:pt x="12" y="58"/>
                </a:lnTo>
                <a:lnTo>
                  <a:pt x="31" y="70"/>
                </a:lnTo>
                <a:lnTo>
                  <a:pt x="31" y="86"/>
                </a:lnTo>
                <a:lnTo>
                  <a:pt x="59" y="84"/>
                </a:lnTo>
                <a:lnTo>
                  <a:pt x="77" y="90"/>
                </a:lnTo>
                <a:lnTo>
                  <a:pt x="88" y="92"/>
                </a:lnTo>
                <a:lnTo>
                  <a:pt x="77" y="117"/>
                </a:lnTo>
                <a:lnTo>
                  <a:pt x="86" y="145"/>
                </a:lnTo>
                <a:close/>
              </a:path>
            </a:pathLst>
          </a:custGeom>
          <a:solidFill>
            <a:srgbClr val="FFFFFF"/>
          </a:solidFill>
          <a:ln w="9525">
            <a:solidFill>
              <a:srgbClr val="000000"/>
            </a:solidFill>
            <a:prstDash val="solid"/>
            <a:round/>
            <a:headEnd/>
            <a:tailEnd/>
          </a:ln>
        </p:spPr>
        <p:txBody>
          <a:bodyPr/>
          <a:lstStyle/>
          <a:p>
            <a:endParaRPr lang="cs-CZ"/>
          </a:p>
        </p:txBody>
      </p:sp>
      <p:sp>
        <p:nvSpPr>
          <p:cNvPr id="333" name="Oval 341"/>
          <p:cNvSpPr>
            <a:spLocks noChangeArrowheads="1"/>
          </p:cNvSpPr>
          <p:nvPr/>
        </p:nvSpPr>
        <p:spPr bwMode="auto">
          <a:xfrm>
            <a:off x="3821113" y="3488903"/>
            <a:ext cx="23812" cy="23812"/>
          </a:xfrm>
          <a:prstGeom prst="ellipse">
            <a:avLst/>
          </a:prstGeom>
          <a:solidFill>
            <a:srgbClr val="FFFFFF"/>
          </a:solidFill>
          <a:ln w="9525">
            <a:solidFill>
              <a:srgbClr val="000000"/>
            </a:solidFill>
            <a:round/>
            <a:headEnd/>
            <a:tailEnd/>
          </a:ln>
        </p:spPr>
        <p:txBody>
          <a:bodyPr/>
          <a:lstStyle/>
          <a:p>
            <a:endParaRPr lang="cs-CZ"/>
          </a:p>
        </p:txBody>
      </p:sp>
      <p:grpSp>
        <p:nvGrpSpPr>
          <p:cNvPr id="334" name="Group 342"/>
          <p:cNvGrpSpPr>
            <a:grpSpLocks/>
          </p:cNvGrpSpPr>
          <p:nvPr/>
        </p:nvGrpSpPr>
        <p:grpSpPr bwMode="auto">
          <a:xfrm>
            <a:off x="4089400" y="3271415"/>
            <a:ext cx="57150" cy="138113"/>
            <a:chOff x="2568" y="2125"/>
            <a:chExt cx="36" cy="87"/>
          </a:xfrm>
        </p:grpSpPr>
        <p:sp>
          <p:nvSpPr>
            <p:cNvPr id="335" name="Freeform 343"/>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 name="T24" fmla="*/ 0 w 70"/>
                <a:gd name="T25"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lnTo>
                    <a:pt x="0"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36" name="Freeform 344"/>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337" name="Group 345"/>
          <p:cNvGrpSpPr>
            <a:grpSpLocks/>
          </p:cNvGrpSpPr>
          <p:nvPr/>
        </p:nvGrpSpPr>
        <p:grpSpPr bwMode="auto">
          <a:xfrm>
            <a:off x="3963988" y="1756940"/>
            <a:ext cx="133350" cy="139700"/>
            <a:chOff x="2489" y="1171"/>
            <a:chExt cx="84" cy="88"/>
          </a:xfrm>
        </p:grpSpPr>
        <p:sp>
          <p:nvSpPr>
            <p:cNvPr id="338" name="Freeform 346"/>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 name="T60" fmla="*/ 134 w 169"/>
                <a:gd name="T61" fmla="*/ 11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lnTo>
                    <a:pt x="13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39" name="Freeform 347"/>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40" name="Freeform 348"/>
          <p:cNvSpPr>
            <a:spLocks/>
          </p:cNvSpPr>
          <p:nvPr/>
        </p:nvSpPr>
        <p:spPr bwMode="auto">
          <a:xfrm>
            <a:off x="4311650" y="1545803"/>
            <a:ext cx="39688" cy="34925"/>
          </a:xfrm>
          <a:custGeom>
            <a:avLst/>
            <a:gdLst>
              <a:gd name="T0" fmla="*/ 11 w 51"/>
              <a:gd name="T1" fmla="*/ 43 h 43"/>
              <a:gd name="T2" fmla="*/ 47 w 51"/>
              <a:gd name="T3" fmla="*/ 31 h 43"/>
              <a:gd name="T4" fmla="*/ 51 w 51"/>
              <a:gd name="T5" fmla="*/ 2 h 43"/>
              <a:gd name="T6" fmla="*/ 25 w 51"/>
              <a:gd name="T7" fmla="*/ 0 h 43"/>
              <a:gd name="T8" fmla="*/ 0 w 51"/>
              <a:gd name="T9" fmla="*/ 17 h 43"/>
              <a:gd name="T10" fmla="*/ 11 w 51"/>
              <a:gd name="T11" fmla="*/ 43 h 43"/>
            </a:gdLst>
            <a:ahLst/>
            <a:cxnLst>
              <a:cxn ang="0">
                <a:pos x="T0" y="T1"/>
              </a:cxn>
              <a:cxn ang="0">
                <a:pos x="T2" y="T3"/>
              </a:cxn>
              <a:cxn ang="0">
                <a:pos x="T4" y="T5"/>
              </a:cxn>
              <a:cxn ang="0">
                <a:pos x="T6" y="T7"/>
              </a:cxn>
              <a:cxn ang="0">
                <a:pos x="T8" y="T9"/>
              </a:cxn>
              <a:cxn ang="0">
                <a:pos x="T10" y="T11"/>
              </a:cxn>
            </a:cxnLst>
            <a:rect l="0" t="0" r="r" b="b"/>
            <a:pathLst>
              <a:path w="51" h="43">
                <a:moveTo>
                  <a:pt x="11" y="43"/>
                </a:moveTo>
                <a:lnTo>
                  <a:pt x="47" y="31"/>
                </a:lnTo>
                <a:lnTo>
                  <a:pt x="51" y="2"/>
                </a:lnTo>
                <a:lnTo>
                  <a:pt x="25" y="0"/>
                </a:lnTo>
                <a:lnTo>
                  <a:pt x="0" y="17"/>
                </a:lnTo>
                <a:lnTo>
                  <a:pt x="11" y="43"/>
                </a:lnTo>
                <a:close/>
              </a:path>
            </a:pathLst>
          </a:custGeom>
          <a:solidFill>
            <a:srgbClr val="FFFFFF"/>
          </a:solidFill>
          <a:ln w="9525">
            <a:solidFill>
              <a:srgbClr val="000000"/>
            </a:solidFill>
            <a:prstDash val="solid"/>
            <a:round/>
            <a:headEnd/>
            <a:tailEnd/>
          </a:ln>
        </p:spPr>
        <p:txBody>
          <a:bodyPr/>
          <a:lstStyle/>
          <a:p>
            <a:endParaRPr lang="cs-CZ"/>
          </a:p>
        </p:txBody>
      </p:sp>
      <p:sp>
        <p:nvSpPr>
          <p:cNvPr id="341" name="Freeform 349"/>
          <p:cNvSpPr>
            <a:spLocks/>
          </p:cNvSpPr>
          <p:nvPr/>
        </p:nvSpPr>
        <p:spPr bwMode="auto">
          <a:xfrm>
            <a:off x="4432300" y="1479128"/>
            <a:ext cx="30163" cy="34925"/>
          </a:xfrm>
          <a:custGeom>
            <a:avLst/>
            <a:gdLst>
              <a:gd name="T0" fmla="*/ 31 w 37"/>
              <a:gd name="T1" fmla="*/ 43 h 43"/>
              <a:gd name="T2" fmla="*/ 37 w 37"/>
              <a:gd name="T3" fmla="*/ 22 h 43"/>
              <a:gd name="T4" fmla="*/ 19 w 37"/>
              <a:gd name="T5" fmla="*/ 0 h 43"/>
              <a:gd name="T6" fmla="*/ 0 w 37"/>
              <a:gd name="T7" fmla="*/ 16 h 43"/>
              <a:gd name="T8" fmla="*/ 31 w 37"/>
              <a:gd name="T9" fmla="*/ 43 h 43"/>
            </a:gdLst>
            <a:ahLst/>
            <a:cxnLst>
              <a:cxn ang="0">
                <a:pos x="T0" y="T1"/>
              </a:cxn>
              <a:cxn ang="0">
                <a:pos x="T2" y="T3"/>
              </a:cxn>
              <a:cxn ang="0">
                <a:pos x="T4" y="T5"/>
              </a:cxn>
              <a:cxn ang="0">
                <a:pos x="T6" y="T7"/>
              </a:cxn>
              <a:cxn ang="0">
                <a:pos x="T8" y="T9"/>
              </a:cxn>
            </a:cxnLst>
            <a:rect l="0" t="0" r="r" b="b"/>
            <a:pathLst>
              <a:path w="37" h="43">
                <a:moveTo>
                  <a:pt x="31" y="43"/>
                </a:moveTo>
                <a:lnTo>
                  <a:pt x="37" y="22"/>
                </a:lnTo>
                <a:lnTo>
                  <a:pt x="19" y="0"/>
                </a:lnTo>
                <a:lnTo>
                  <a:pt x="0" y="16"/>
                </a:lnTo>
                <a:lnTo>
                  <a:pt x="31" y="43"/>
                </a:lnTo>
                <a:close/>
              </a:path>
            </a:pathLst>
          </a:custGeom>
          <a:solidFill>
            <a:srgbClr val="FFFFFF"/>
          </a:solidFill>
          <a:ln w="9525">
            <a:solidFill>
              <a:srgbClr val="000000"/>
            </a:solidFill>
            <a:prstDash val="solid"/>
            <a:round/>
            <a:headEnd/>
            <a:tailEnd/>
          </a:ln>
        </p:spPr>
        <p:txBody>
          <a:bodyPr/>
          <a:lstStyle/>
          <a:p>
            <a:endParaRPr lang="cs-CZ"/>
          </a:p>
        </p:txBody>
      </p:sp>
      <p:grpSp>
        <p:nvGrpSpPr>
          <p:cNvPr id="342" name="Group 350"/>
          <p:cNvGrpSpPr>
            <a:grpSpLocks/>
          </p:cNvGrpSpPr>
          <p:nvPr/>
        </p:nvGrpSpPr>
        <p:grpSpPr bwMode="auto">
          <a:xfrm>
            <a:off x="4287838" y="1614065"/>
            <a:ext cx="31750" cy="41275"/>
            <a:chOff x="2693" y="1081"/>
            <a:chExt cx="20" cy="26"/>
          </a:xfrm>
        </p:grpSpPr>
        <p:sp>
          <p:nvSpPr>
            <p:cNvPr id="343" name="Freeform 351"/>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 name="T10" fmla="*/ 39 w 39"/>
                <a:gd name="T11" fmla="*/ 2 h 53"/>
              </a:gdLst>
              <a:ahLst/>
              <a:cxnLst>
                <a:cxn ang="0">
                  <a:pos x="T0" y="T1"/>
                </a:cxn>
                <a:cxn ang="0">
                  <a:pos x="T2" y="T3"/>
                </a:cxn>
                <a:cxn ang="0">
                  <a:pos x="T4" y="T5"/>
                </a:cxn>
                <a:cxn ang="0">
                  <a:pos x="T6" y="T7"/>
                </a:cxn>
                <a:cxn ang="0">
                  <a:pos x="T8" y="T9"/>
                </a:cxn>
                <a:cxn ang="0">
                  <a:pos x="T10" y="T11"/>
                </a:cxn>
              </a:cxnLst>
              <a:rect l="0" t="0" r="r" b="b"/>
              <a:pathLst>
                <a:path w="39" h="53">
                  <a:moveTo>
                    <a:pt x="39" y="2"/>
                  </a:moveTo>
                  <a:lnTo>
                    <a:pt x="0" y="0"/>
                  </a:lnTo>
                  <a:lnTo>
                    <a:pt x="10" y="26"/>
                  </a:lnTo>
                  <a:lnTo>
                    <a:pt x="24" y="37"/>
                  </a:lnTo>
                  <a:lnTo>
                    <a:pt x="31" y="53"/>
                  </a:lnTo>
                  <a:lnTo>
                    <a:pt x="3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44" name="Freeform 352"/>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Lst>
              <a:ahLst/>
              <a:cxnLst>
                <a:cxn ang="0">
                  <a:pos x="T0" y="T1"/>
                </a:cxn>
                <a:cxn ang="0">
                  <a:pos x="T2" y="T3"/>
                </a:cxn>
                <a:cxn ang="0">
                  <a:pos x="T4" y="T5"/>
                </a:cxn>
                <a:cxn ang="0">
                  <a:pos x="T6" y="T7"/>
                </a:cxn>
                <a:cxn ang="0">
                  <a:pos x="T8" y="T9"/>
                </a:cxn>
              </a:cxnLst>
              <a:rect l="0" t="0" r="r" b="b"/>
              <a:pathLst>
                <a:path w="39" h="53">
                  <a:moveTo>
                    <a:pt x="39" y="2"/>
                  </a:moveTo>
                  <a:lnTo>
                    <a:pt x="0" y="0"/>
                  </a:lnTo>
                  <a:lnTo>
                    <a:pt x="10" y="26"/>
                  </a:lnTo>
                  <a:lnTo>
                    <a:pt x="24" y="37"/>
                  </a:lnTo>
                  <a:lnTo>
                    <a:pt x="31" y="5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45" name="Freeform 353"/>
          <p:cNvSpPr>
            <a:spLocks/>
          </p:cNvSpPr>
          <p:nvPr/>
        </p:nvSpPr>
        <p:spPr bwMode="auto">
          <a:xfrm>
            <a:off x="4244975" y="1617240"/>
            <a:ext cx="15875" cy="26988"/>
          </a:xfrm>
          <a:custGeom>
            <a:avLst/>
            <a:gdLst>
              <a:gd name="T0" fmla="*/ 8 w 20"/>
              <a:gd name="T1" fmla="*/ 33 h 33"/>
              <a:gd name="T2" fmla="*/ 20 w 20"/>
              <a:gd name="T3" fmla="*/ 12 h 33"/>
              <a:gd name="T4" fmla="*/ 0 w 20"/>
              <a:gd name="T5" fmla="*/ 0 h 33"/>
              <a:gd name="T6" fmla="*/ 8 w 20"/>
              <a:gd name="T7" fmla="*/ 33 h 33"/>
            </a:gdLst>
            <a:ahLst/>
            <a:cxnLst>
              <a:cxn ang="0">
                <a:pos x="T0" y="T1"/>
              </a:cxn>
              <a:cxn ang="0">
                <a:pos x="T2" y="T3"/>
              </a:cxn>
              <a:cxn ang="0">
                <a:pos x="T4" y="T5"/>
              </a:cxn>
              <a:cxn ang="0">
                <a:pos x="T6" y="T7"/>
              </a:cxn>
            </a:cxnLst>
            <a:rect l="0" t="0" r="r" b="b"/>
            <a:pathLst>
              <a:path w="20" h="33">
                <a:moveTo>
                  <a:pt x="8" y="33"/>
                </a:moveTo>
                <a:lnTo>
                  <a:pt x="20" y="12"/>
                </a:lnTo>
                <a:lnTo>
                  <a:pt x="0" y="0"/>
                </a:lnTo>
                <a:lnTo>
                  <a:pt x="8" y="33"/>
                </a:lnTo>
                <a:close/>
              </a:path>
            </a:pathLst>
          </a:custGeom>
          <a:solidFill>
            <a:srgbClr val="FFFFFF"/>
          </a:solidFill>
          <a:ln w="9525">
            <a:solidFill>
              <a:srgbClr val="000000"/>
            </a:solidFill>
            <a:prstDash val="solid"/>
            <a:round/>
            <a:headEnd/>
            <a:tailEnd/>
          </a:ln>
        </p:spPr>
        <p:txBody>
          <a:bodyPr/>
          <a:lstStyle/>
          <a:p>
            <a:endParaRPr lang="cs-CZ"/>
          </a:p>
        </p:txBody>
      </p:sp>
      <p:sp>
        <p:nvSpPr>
          <p:cNvPr id="346" name="Freeform 354"/>
          <p:cNvSpPr>
            <a:spLocks/>
          </p:cNvSpPr>
          <p:nvPr/>
        </p:nvSpPr>
        <p:spPr bwMode="auto">
          <a:xfrm>
            <a:off x="4206875" y="1622003"/>
            <a:ext cx="23813" cy="28575"/>
          </a:xfrm>
          <a:custGeom>
            <a:avLst/>
            <a:gdLst>
              <a:gd name="T0" fmla="*/ 29 w 29"/>
              <a:gd name="T1" fmla="*/ 31 h 35"/>
              <a:gd name="T2" fmla="*/ 0 w 29"/>
              <a:gd name="T3" fmla="*/ 0 h 35"/>
              <a:gd name="T4" fmla="*/ 4 w 29"/>
              <a:gd name="T5" fmla="*/ 35 h 35"/>
              <a:gd name="T6" fmla="*/ 29 w 29"/>
              <a:gd name="T7" fmla="*/ 31 h 35"/>
            </a:gdLst>
            <a:ahLst/>
            <a:cxnLst>
              <a:cxn ang="0">
                <a:pos x="T0" y="T1"/>
              </a:cxn>
              <a:cxn ang="0">
                <a:pos x="T2" y="T3"/>
              </a:cxn>
              <a:cxn ang="0">
                <a:pos x="T4" y="T5"/>
              </a:cxn>
              <a:cxn ang="0">
                <a:pos x="T6" y="T7"/>
              </a:cxn>
            </a:cxnLst>
            <a:rect l="0" t="0" r="r" b="b"/>
            <a:pathLst>
              <a:path w="29" h="35">
                <a:moveTo>
                  <a:pt x="29" y="31"/>
                </a:moveTo>
                <a:lnTo>
                  <a:pt x="0" y="0"/>
                </a:lnTo>
                <a:lnTo>
                  <a:pt x="4" y="35"/>
                </a:lnTo>
                <a:lnTo>
                  <a:pt x="29" y="31"/>
                </a:lnTo>
                <a:close/>
              </a:path>
            </a:pathLst>
          </a:custGeom>
          <a:solidFill>
            <a:srgbClr val="FFFFFF"/>
          </a:solidFill>
          <a:ln w="9525">
            <a:solidFill>
              <a:srgbClr val="000000"/>
            </a:solidFill>
            <a:prstDash val="solid"/>
            <a:round/>
            <a:headEnd/>
            <a:tailEnd/>
          </a:ln>
        </p:spPr>
        <p:txBody>
          <a:bodyPr/>
          <a:lstStyle/>
          <a:p>
            <a:endParaRPr lang="cs-CZ"/>
          </a:p>
        </p:txBody>
      </p:sp>
      <p:grpSp>
        <p:nvGrpSpPr>
          <p:cNvPr id="347" name="Group 355"/>
          <p:cNvGrpSpPr>
            <a:grpSpLocks/>
          </p:cNvGrpSpPr>
          <p:nvPr/>
        </p:nvGrpSpPr>
        <p:grpSpPr bwMode="auto">
          <a:xfrm>
            <a:off x="3629025" y="2450678"/>
            <a:ext cx="65088" cy="42862"/>
            <a:chOff x="2278" y="1608"/>
            <a:chExt cx="41" cy="27"/>
          </a:xfrm>
        </p:grpSpPr>
        <p:sp>
          <p:nvSpPr>
            <p:cNvPr id="348" name="Freeform 356"/>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 name="T12" fmla="*/ 0 w 8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0" h="53">
                  <a:moveTo>
                    <a:pt x="0" y="53"/>
                  </a:moveTo>
                  <a:lnTo>
                    <a:pt x="6" y="24"/>
                  </a:lnTo>
                  <a:lnTo>
                    <a:pt x="31" y="0"/>
                  </a:lnTo>
                  <a:lnTo>
                    <a:pt x="49" y="4"/>
                  </a:lnTo>
                  <a:lnTo>
                    <a:pt x="61" y="18"/>
                  </a:lnTo>
                  <a:lnTo>
                    <a:pt x="80" y="37"/>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49" name="Freeform 357"/>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Lst>
              <a:ahLst/>
              <a:cxnLst>
                <a:cxn ang="0">
                  <a:pos x="T0" y="T1"/>
                </a:cxn>
                <a:cxn ang="0">
                  <a:pos x="T2" y="T3"/>
                </a:cxn>
                <a:cxn ang="0">
                  <a:pos x="T4" y="T5"/>
                </a:cxn>
                <a:cxn ang="0">
                  <a:pos x="T6" y="T7"/>
                </a:cxn>
                <a:cxn ang="0">
                  <a:pos x="T8" y="T9"/>
                </a:cxn>
                <a:cxn ang="0">
                  <a:pos x="T10" y="T11"/>
                </a:cxn>
              </a:cxnLst>
              <a:rect l="0" t="0" r="r" b="b"/>
              <a:pathLst>
                <a:path w="80" h="53">
                  <a:moveTo>
                    <a:pt x="0" y="53"/>
                  </a:moveTo>
                  <a:lnTo>
                    <a:pt x="6" y="24"/>
                  </a:lnTo>
                  <a:lnTo>
                    <a:pt x="31" y="0"/>
                  </a:lnTo>
                  <a:lnTo>
                    <a:pt x="49" y="4"/>
                  </a:lnTo>
                  <a:lnTo>
                    <a:pt x="61" y="18"/>
                  </a:lnTo>
                  <a:lnTo>
                    <a:pt x="80" y="37"/>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50" name="Freeform 358"/>
          <p:cNvSpPr>
            <a:spLocks/>
          </p:cNvSpPr>
          <p:nvPr/>
        </p:nvSpPr>
        <p:spPr bwMode="auto">
          <a:xfrm>
            <a:off x="5824538" y="5838403"/>
            <a:ext cx="217487" cy="179387"/>
          </a:xfrm>
          <a:custGeom>
            <a:avLst/>
            <a:gdLst>
              <a:gd name="T0" fmla="*/ 0 w 276"/>
              <a:gd name="T1" fmla="*/ 177 h 226"/>
              <a:gd name="T2" fmla="*/ 18 w 276"/>
              <a:gd name="T3" fmla="*/ 197 h 226"/>
              <a:gd name="T4" fmla="*/ 46 w 276"/>
              <a:gd name="T5" fmla="*/ 226 h 226"/>
              <a:gd name="T6" fmla="*/ 118 w 276"/>
              <a:gd name="T7" fmla="*/ 224 h 226"/>
              <a:gd name="T8" fmla="*/ 132 w 276"/>
              <a:gd name="T9" fmla="*/ 201 h 226"/>
              <a:gd name="T10" fmla="*/ 150 w 276"/>
              <a:gd name="T11" fmla="*/ 193 h 226"/>
              <a:gd name="T12" fmla="*/ 167 w 276"/>
              <a:gd name="T13" fmla="*/ 193 h 226"/>
              <a:gd name="T14" fmla="*/ 181 w 276"/>
              <a:gd name="T15" fmla="*/ 173 h 226"/>
              <a:gd name="T16" fmla="*/ 189 w 276"/>
              <a:gd name="T17" fmla="*/ 158 h 226"/>
              <a:gd name="T18" fmla="*/ 213 w 276"/>
              <a:gd name="T19" fmla="*/ 146 h 226"/>
              <a:gd name="T20" fmla="*/ 226 w 276"/>
              <a:gd name="T21" fmla="*/ 136 h 226"/>
              <a:gd name="T22" fmla="*/ 228 w 276"/>
              <a:gd name="T23" fmla="*/ 122 h 226"/>
              <a:gd name="T24" fmla="*/ 222 w 276"/>
              <a:gd name="T25" fmla="*/ 103 h 226"/>
              <a:gd name="T26" fmla="*/ 228 w 276"/>
              <a:gd name="T27" fmla="*/ 89 h 226"/>
              <a:gd name="T28" fmla="*/ 248 w 276"/>
              <a:gd name="T29" fmla="*/ 57 h 226"/>
              <a:gd name="T30" fmla="*/ 262 w 276"/>
              <a:gd name="T31" fmla="*/ 44 h 226"/>
              <a:gd name="T32" fmla="*/ 274 w 276"/>
              <a:gd name="T33" fmla="*/ 30 h 226"/>
              <a:gd name="T34" fmla="*/ 276 w 276"/>
              <a:gd name="T35" fmla="*/ 0 h 226"/>
              <a:gd name="T36" fmla="*/ 250 w 276"/>
              <a:gd name="T37" fmla="*/ 8 h 226"/>
              <a:gd name="T38" fmla="*/ 240 w 276"/>
              <a:gd name="T39" fmla="*/ 28 h 226"/>
              <a:gd name="T40" fmla="*/ 222 w 276"/>
              <a:gd name="T41" fmla="*/ 44 h 226"/>
              <a:gd name="T42" fmla="*/ 203 w 276"/>
              <a:gd name="T43" fmla="*/ 57 h 226"/>
              <a:gd name="T44" fmla="*/ 179 w 276"/>
              <a:gd name="T45" fmla="*/ 69 h 226"/>
              <a:gd name="T46" fmla="*/ 160 w 276"/>
              <a:gd name="T47" fmla="*/ 79 h 226"/>
              <a:gd name="T48" fmla="*/ 134 w 276"/>
              <a:gd name="T49" fmla="*/ 93 h 226"/>
              <a:gd name="T50" fmla="*/ 114 w 276"/>
              <a:gd name="T51" fmla="*/ 97 h 226"/>
              <a:gd name="T52" fmla="*/ 87 w 276"/>
              <a:gd name="T53" fmla="*/ 103 h 226"/>
              <a:gd name="T54" fmla="*/ 71 w 276"/>
              <a:gd name="T55" fmla="*/ 138 h 226"/>
              <a:gd name="T56" fmla="*/ 57 w 276"/>
              <a:gd name="T57" fmla="*/ 144 h 226"/>
              <a:gd name="T58" fmla="*/ 38 w 276"/>
              <a:gd name="T59" fmla="*/ 146 h 226"/>
              <a:gd name="T60" fmla="*/ 24 w 276"/>
              <a:gd name="T61" fmla="*/ 160 h 226"/>
              <a:gd name="T62" fmla="*/ 0 w 276"/>
              <a:gd name="T63" fmla="*/ 17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226">
                <a:moveTo>
                  <a:pt x="0" y="177"/>
                </a:moveTo>
                <a:lnTo>
                  <a:pt x="18" y="197"/>
                </a:lnTo>
                <a:lnTo>
                  <a:pt x="46" y="226"/>
                </a:lnTo>
                <a:lnTo>
                  <a:pt x="118" y="224"/>
                </a:lnTo>
                <a:lnTo>
                  <a:pt x="132" y="201"/>
                </a:lnTo>
                <a:lnTo>
                  <a:pt x="150" y="193"/>
                </a:lnTo>
                <a:lnTo>
                  <a:pt x="167" y="193"/>
                </a:lnTo>
                <a:lnTo>
                  <a:pt x="181" y="173"/>
                </a:lnTo>
                <a:lnTo>
                  <a:pt x="189" y="158"/>
                </a:lnTo>
                <a:lnTo>
                  <a:pt x="213" y="146"/>
                </a:lnTo>
                <a:lnTo>
                  <a:pt x="226" y="136"/>
                </a:lnTo>
                <a:lnTo>
                  <a:pt x="228" y="122"/>
                </a:lnTo>
                <a:lnTo>
                  <a:pt x="222" y="103"/>
                </a:lnTo>
                <a:lnTo>
                  <a:pt x="228" y="89"/>
                </a:lnTo>
                <a:lnTo>
                  <a:pt x="248" y="57"/>
                </a:lnTo>
                <a:lnTo>
                  <a:pt x="262" y="44"/>
                </a:lnTo>
                <a:lnTo>
                  <a:pt x="274" y="30"/>
                </a:lnTo>
                <a:lnTo>
                  <a:pt x="276" y="0"/>
                </a:lnTo>
                <a:lnTo>
                  <a:pt x="250" y="8"/>
                </a:lnTo>
                <a:lnTo>
                  <a:pt x="240" y="28"/>
                </a:lnTo>
                <a:lnTo>
                  <a:pt x="222" y="44"/>
                </a:lnTo>
                <a:lnTo>
                  <a:pt x="203" y="57"/>
                </a:lnTo>
                <a:lnTo>
                  <a:pt x="179" y="69"/>
                </a:lnTo>
                <a:lnTo>
                  <a:pt x="160" y="79"/>
                </a:lnTo>
                <a:lnTo>
                  <a:pt x="134" y="93"/>
                </a:lnTo>
                <a:lnTo>
                  <a:pt x="114" y="97"/>
                </a:lnTo>
                <a:lnTo>
                  <a:pt x="87" y="103"/>
                </a:lnTo>
                <a:lnTo>
                  <a:pt x="71" y="138"/>
                </a:lnTo>
                <a:lnTo>
                  <a:pt x="57" y="144"/>
                </a:lnTo>
                <a:lnTo>
                  <a:pt x="38" y="146"/>
                </a:lnTo>
                <a:lnTo>
                  <a:pt x="24" y="160"/>
                </a:lnTo>
                <a:lnTo>
                  <a:pt x="0" y="177"/>
                </a:lnTo>
                <a:close/>
              </a:path>
            </a:pathLst>
          </a:custGeom>
          <a:solidFill>
            <a:srgbClr val="FFFFFF"/>
          </a:solidFill>
          <a:ln w="9525">
            <a:solidFill>
              <a:srgbClr val="000000"/>
            </a:solidFill>
            <a:prstDash val="solid"/>
            <a:round/>
            <a:headEnd/>
            <a:tailEnd/>
          </a:ln>
        </p:spPr>
        <p:txBody>
          <a:bodyPr/>
          <a:lstStyle/>
          <a:p>
            <a:endParaRPr lang="cs-CZ"/>
          </a:p>
        </p:txBody>
      </p:sp>
      <p:sp>
        <p:nvSpPr>
          <p:cNvPr id="351" name="Oval 359"/>
          <p:cNvSpPr>
            <a:spLocks noChangeArrowheads="1"/>
          </p:cNvSpPr>
          <p:nvPr/>
        </p:nvSpPr>
        <p:spPr bwMode="auto">
          <a:xfrm>
            <a:off x="4602163" y="2834853"/>
            <a:ext cx="25400" cy="23812"/>
          </a:xfrm>
          <a:prstGeom prst="ellipse">
            <a:avLst/>
          </a:prstGeom>
          <a:solidFill>
            <a:srgbClr val="FFFFFF"/>
          </a:solidFill>
          <a:ln w="9525">
            <a:solidFill>
              <a:srgbClr val="000000"/>
            </a:solidFill>
            <a:round/>
            <a:headEnd/>
            <a:tailEnd/>
          </a:ln>
        </p:spPr>
        <p:txBody>
          <a:bodyPr/>
          <a:lstStyle/>
          <a:p>
            <a:endParaRPr lang="cs-CZ"/>
          </a:p>
        </p:txBody>
      </p:sp>
      <p:grpSp>
        <p:nvGrpSpPr>
          <p:cNvPr id="352" name="Group 360"/>
          <p:cNvGrpSpPr>
            <a:grpSpLocks/>
          </p:cNvGrpSpPr>
          <p:nvPr/>
        </p:nvGrpSpPr>
        <p:grpSpPr bwMode="auto">
          <a:xfrm>
            <a:off x="4254500" y="1595015"/>
            <a:ext cx="706438" cy="1339850"/>
            <a:chOff x="2672" y="1069"/>
            <a:chExt cx="445" cy="844"/>
          </a:xfrm>
        </p:grpSpPr>
        <p:sp>
          <p:nvSpPr>
            <p:cNvPr id="353" name="Freeform 361"/>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lnTo>
                    <a:pt x="283" y="708"/>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54" name="Freeform 362"/>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55" name="Freeform 363"/>
          <p:cNvSpPr>
            <a:spLocks/>
          </p:cNvSpPr>
          <p:nvPr/>
        </p:nvSpPr>
        <p:spPr bwMode="auto">
          <a:xfrm>
            <a:off x="5081588" y="5149428"/>
            <a:ext cx="290512" cy="268287"/>
          </a:xfrm>
          <a:custGeom>
            <a:avLst/>
            <a:gdLst>
              <a:gd name="T0" fmla="*/ 0 w 366"/>
              <a:gd name="T1" fmla="*/ 242 h 340"/>
              <a:gd name="T2" fmla="*/ 14 w 366"/>
              <a:gd name="T3" fmla="*/ 220 h 340"/>
              <a:gd name="T4" fmla="*/ 20 w 366"/>
              <a:gd name="T5" fmla="*/ 138 h 340"/>
              <a:gd name="T6" fmla="*/ 36 w 366"/>
              <a:gd name="T7" fmla="*/ 114 h 340"/>
              <a:gd name="T8" fmla="*/ 43 w 366"/>
              <a:gd name="T9" fmla="*/ 85 h 340"/>
              <a:gd name="T10" fmla="*/ 26 w 366"/>
              <a:gd name="T11" fmla="*/ 75 h 340"/>
              <a:gd name="T12" fmla="*/ 20 w 366"/>
              <a:gd name="T13" fmla="*/ 59 h 340"/>
              <a:gd name="T14" fmla="*/ 6 w 366"/>
              <a:gd name="T15" fmla="*/ 57 h 340"/>
              <a:gd name="T16" fmla="*/ 36 w 366"/>
              <a:gd name="T17" fmla="*/ 33 h 340"/>
              <a:gd name="T18" fmla="*/ 61 w 366"/>
              <a:gd name="T19" fmla="*/ 33 h 340"/>
              <a:gd name="T20" fmla="*/ 110 w 366"/>
              <a:gd name="T21" fmla="*/ 0 h 340"/>
              <a:gd name="T22" fmla="*/ 134 w 366"/>
              <a:gd name="T23" fmla="*/ 18 h 340"/>
              <a:gd name="T24" fmla="*/ 165 w 366"/>
              <a:gd name="T25" fmla="*/ 20 h 340"/>
              <a:gd name="T26" fmla="*/ 206 w 366"/>
              <a:gd name="T27" fmla="*/ 8 h 340"/>
              <a:gd name="T28" fmla="*/ 216 w 366"/>
              <a:gd name="T29" fmla="*/ 6 h 340"/>
              <a:gd name="T30" fmla="*/ 218 w 366"/>
              <a:gd name="T31" fmla="*/ 41 h 340"/>
              <a:gd name="T32" fmla="*/ 230 w 366"/>
              <a:gd name="T33" fmla="*/ 57 h 340"/>
              <a:gd name="T34" fmla="*/ 238 w 366"/>
              <a:gd name="T35" fmla="*/ 73 h 340"/>
              <a:gd name="T36" fmla="*/ 261 w 366"/>
              <a:gd name="T37" fmla="*/ 77 h 340"/>
              <a:gd name="T38" fmla="*/ 285 w 366"/>
              <a:gd name="T39" fmla="*/ 87 h 340"/>
              <a:gd name="T40" fmla="*/ 334 w 366"/>
              <a:gd name="T41" fmla="*/ 90 h 340"/>
              <a:gd name="T42" fmla="*/ 352 w 366"/>
              <a:gd name="T43" fmla="*/ 92 h 340"/>
              <a:gd name="T44" fmla="*/ 366 w 366"/>
              <a:gd name="T45" fmla="*/ 100 h 340"/>
              <a:gd name="T46" fmla="*/ 366 w 366"/>
              <a:gd name="T47" fmla="*/ 124 h 340"/>
              <a:gd name="T48" fmla="*/ 346 w 366"/>
              <a:gd name="T49" fmla="*/ 143 h 340"/>
              <a:gd name="T50" fmla="*/ 318 w 366"/>
              <a:gd name="T51" fmla="*/ 151 h 340"/>
              <a:gd name="T52" fmla="*/ 263 w 366"/>
              <a:gd name="T53" fmla="*/ 145 h 340"/>
              <a:gd name="T54" fmla="*/ 228 w 366"/>
              <a:gd name="T55" fmla="*/ 157 h 340"/>
              <a:gd name="T56" fmla="*/ 212 w 366"/>
              <a:gd name="T57" fmla="*/ 163 h 340"/>
              <a:gd name="T58" fmla="*/ 181 w 366"/>
              <a:gd name="T59" fmla="*/ 165 h 340"/>
              <a:gd name="T60" fmla="*/ 165 w 366"/>
              <a:gd name="T61" fmla="*/ 195 h 340"/>
              <a:gd name="T62" fmla="*/ 134 w 366"/>
              <a:gd name="T63" fmla="*/ 224 h 340"/>
              <a:gd name="T64" fmla="*/ 116 w 366"/>
              <a:gd name="T65" fmla="*/ 248 h 340"/>
              <a:gd name="T66" fmla="*/ 91 w 366"/>
              <a:gd name="T67" fmla="*/ 263 h 340"/>
              <a:gd name="T68" fmla="*/ 63 w 366"/>
              <a:gd name="T69" fmla="*/ 293 h 340"/>
              <a:gd name="T70" fmla="*/ 47 w 366"/>
              <a:gd name="T71" fmla="*/ 324 h 340"/>
              <a:gd name="T72" fmla="*/ 26 w 366"/>
              <a:gd name="T73" fmla="*/ 340 h 340"/>
              <a:gd name="T74" fmla="*/ 22 w 366"/>
              <a:gd name="T75" fmla="*/ 314 h 340"/>
              <a:gd name="T76" fmla="*/ 18 w 366"/>
              <a:gd name="T77" fmla="*/ 293 h 340"/>
              <a:gd name="T78" fmla="*/ 47 w 366"/>
              <a:gd name="T79" fmla="*/ 273 h 340"/>
              <a:gd name="T80" fmla="*/ 81 w 366"/>
              <a:gd name="T81" fmla="*/ 257 h 340"/>
              <a:gd name="T82" fmla="*/ 98 w 366"/>
              <a:gd name="T83" fmla="*/ 240 h 340"/>
              <a:gd name="T84" fmla="*/ 81 w 366"/>
              <a:gd name="T85" fmla="*/ 230 h 340"/>
              <a:gd name="T86" fmla="*/ 69 w 366"/>
              <a:gd name="T87" fmla="*/ 246 h 340"/>
              <a:gd name="T88" fmla="*/ 45 w 366"/>
              <a:gd name="T89" fmla="*/ 246 h 340"/>
              <a:gd name="T90" fmla="*/ 24 w 366"/>
              <a:gd name="T91" fmla="*/ 255 h 340"/>
              <a:gd name="T92" fmla="*/ 0 w 366"/>
              <a:gd name="T93" fmla="*/ 24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6" h="340">
                <a:moveTo>
                  <a:pt x="0" y="242"/>
                </a:moveTo>
                <a:lnTo>
                  <a:pt x="14" y="220"/>
                </a:lnTo>
                <a:lnTo>
                  <a:pt x="20" y="138"/>
                </a:lnTo>
                <a:lnTo>
                  <a:pt x="36" y="114"/>
                </a:lnTo>
                <a:lnTo>
                  <a:pt x="43" y="85"/>
                </a:lnTo>
                <a:lnTo>
                  <a:pt x="26" y="75"/>
                </a:lnTo>
                <a:lnTo>
                  <a:pt x="20" y="59"/>
                </a:lnTo>
                <a:lnTo>
                  <a:pt x="6" y="57"/>
                </a:lnTo>
                <a:lnTo>
                  <a:pt x="36" y="33"/>
                </a:lnTo>
                <a:lnTo>
                  <a:pt x="61" y="33"/>
                </a:lnTo>
                <a:lnTo>
                  <a:pt x="110" y="0"/>
                </a:lnTo>
                <a:lnTo>
                  <a:pt x="134" y="18"/>
                </a:lnTo>
                <a:lnTo>
                  <a:pt x="165" y="20"/>
                </a:lnTo>
                <a:lnTo>
                  <a:pt x="206" y="8"/>
                </a:lnTo>
                <a:lnTo>
                  <a:pt x="216" y="6"/>
                </a:lnTo>
                <a:lnTo>
                  <a:pt x="218" y="41"/>
                </a:lnTo>
                <a:lnTo>
                  <a:pt x="230" y="57"/>
                </a:lnTo>
                <a:lnTo>
                  <a:pt x="238" y="73"/>
                </a:lnTo>
                <a:lnTo>
                  <a:pt x="261" y="77"/>
                </a:lnTo>
                <a:lnTo>
                  <a:pt x="285" y="87"/>
                </a:lnTo>
                <a:lnTo>
                  <a:pt x="334" y="90"/>
                </a:lnTo>
                <a:lnTo>
                  <a:pt x="352" y="92"/>
                </a:lnTo>
                <a:lnTo>
                  <a:pt x="366" y="100"/>
                </a:lnTo>
                <a:lnTo>
                  <a:pt x="366" y="124"/>
                </a:lnTo>
                <a:lnTo>
                  <a:pt x="346" y="143"/>
                </a:lnTo>
                <a:lnTo>
                  <a:pt x="318" y="151"/>
                </a:lnTo>
                <a:lnTo>
                  <a:pt x="263" y="145"/>
                </a:lnTo>
                <a:lnTo>
                  <a:pt x="228" y="157"/>
                </a:lnTo>
                <a:lnTo>
                  <a:pt x="212" y="163"/>
                </a:lnTo>
                <a:lnTo>
                  <a:pt x="181" y="165"/>
                </a:lnTo>
                <a:lnTo>
                  <a:pt x="165" y="195"/>
                </a:lnTo>
                <a:lnTo>
                  <a:pt x="134" y="224"/>
                </a:lnTo>
                <a:lnTo>
                  <a:pt x="116" y="248"/>
                </a:lnTo>
                <a:lnTo>
                  <a:pt x="91" y="263"/>
                </a:lnTo>
                <a:lnTo>
                  <a:pt x="63" y="293"/>
                </a:lnTo>
                <a:lnTo>
                  <a:pt x="47" y="324"/>
                </a:lnTo>
                <a:lnTo>
                  <a:pt x="26" y="340"/>
                </a:lnTo>
                <a:lnTo>
                  <a:pt x="22" y="314"/>
                </a:lnTo>
                <a:lnTo>
                  <a:pt x="18" y="293"/>
                </a:lnTo>
                <a:lnTo>
                  <a:pt x="47" y="273"/>
                </a:lnTo>
                <a:lnTo>
                  <a:pt x="81" y="257"/>
                </a:lnTo>
                <a:lnTo>
                  <a:pt x="98" y="240"/>
                </a:lnTo>
                <a:lnTo>
                  <a:pt x="81" y="230"/>
                </a:lnTo>
                <a:lnTo>
                  <a:pt x="69" y="246"/>
                </a:lnTo>
                <a:lnTo>
                  <a:pt x="45" y="246"/>
                </a:lnTo>
                <a:lnTo>
                  <a:pt x="24" y="255"/>
                </a:lnTo>
                <a:lnTo>
                  <a:pt x="0" y="242"/>
                </a:lnTo>
                <a:close/>
              </a:path>
            </a:pathLst>
          </a:custGeom>
          <a:solidFill>
            <a:srgbClr val="FFFFFF"/>
          </a:solidFill>
          <a:ln w="9525">
            <a:solidFill>
              <a:srgbClr val="000000"/>
            </a:solidFill>
            <a:prstDash val="solid"/>
            <a:round/>
            <a:headEnd/>
            <a:tailEnd/>
          </a:ln>
        </p:spPr>
        <p:txBody>
          <a:bodyPr/>
          <a:lstStyle/>
          <a:p>
            <a:endParaRPr lang="cs-CZ"/>
          </a:p>
        </p:txBody>
      </p:sp>
      <p:grpSp>
        <p:nvGrpSpPr>
          <p:cNvPr id="356" name="Group 364"/>
          <p:cNvGrpSpPr>
            <a:grpSpLocks/>
          </p:cNvGrpSpPr>
          <p:nvPr/>
        </p:nvGrpSpPr>
        <p:grpSpPr bwMode="auto">
          <a:xfrm>
            <a:off x="5118100" y="4839865"/>
            <a:ext cx="1889125" cy="1038225"/>
            <a:chOff x="3216" y="3113"/>
            <a:chExt cx="1190" cy="654"/>
          </a:xfrm>
        </p:grpSpPr>
        <p:sp>
          <p:nvSpPr>
            <p:cNvPr id="357" name="Freeform 365"/>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 name="T120" fmla="*/ 328 w 2382"/>
                <a:gd name="T121" fmla="*/ 531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lnTo>
                    <a:pt x="328" y="5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58" name="Freeform 366"/>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59" name="Oval 367"/>
          <p:cNvSpPr>
            <a:spLocks noChangeArrowheads="1"/>
          </p:cNvSpPr>
          <p:nvPr/>
        </p:nvSpPr>
        <p:spPr bwMode="auto">
          <a:xfrm>
            <a:off x="3944938" y="6017790"/>
            <a:ext cx="25400" cy="25400"/>
          </a:xfrm>
          <a:prstGeom prst="ellipse">
            <a:avLst/>
          </a:prstGeom>
          <a:solidFill>
            <a:srgbClr val="FFFFFF"/>
          </a:solidFill>
          <a:ln w="9525">
            <a:solidFill>
              <a:srgbClr val="000000"/>
            </a:solidFill>
            <a:round/>
            <a:headEnd/>
            <a:tailEnd/>
          </a:ln>
        </p:spPr>
        <p:txBody>
          <a:bodyPr/>
          <a:lstStyle/>
          <a:p>
            <a:endParaRPr lang="cs-CZ"/>
          </a:p>
        </p:txBody>
      </p:sp>
      <p:sp>
        <p:nvSpPr>
          <p:cNvPr id="360" name="Freeform 368"/>
          <p:cNvSpPr>
            <a:spLocks/>
          </p:cNvSpPr>
          <p:nvPr/>
        </p:nvSpPr>
        <p:spPr bwMode="auto">
          <a:xfrm>
            <a:off x="3016250" y="1329903"/>
            <a:ext cx="63500" cy="36512"/>
          </a:xfrm>
          <a:custGeom>
            <a:avLst/>
            <a:gdLst>
              <a:gd name="T0" fmla="*/ 0 w 78"/>
              <a:gd name="T1" fmla="*/ 34 h 48"/>
              <a:gd name="T2" fmla="*/ 11 w 78"/>
              <a:gd name="T3" fmla="*/ 48 h 48"/>
              <a:gd name="T4" fmla="*/ 25 w 78"/>
              <a:gd name="T5" fmla="*/ 32 h 48"/>
              <a:gd name="T6" fmla="*/ 57 w 78"/>
              <a:gd name="T7" fmla="*/ 32 h 48"/>
              <a:gd name="T8" fmla="*/ 72 w 78"/>
              <a:gd name="T9" fmla="*/ 18 h 48"/>
              <a:gd name="T10" fmla="*/ 78 w 78"/>
              <a:gd name="T11" fmla="*/ 4 h 48"/>
              <a:gd name="T12" fmla="*/ 45 w 78"/>
              <a:gd name="T13" fmla="*/ 0 h 48"/>
              <a:gd name="T14" fmla="*/ 37 w 78"/>
              <a:gd name="T15" fmla="*/ 12 h 48"/>
              <a:gd name="T16" fmla="*/ 13 w 78"/>
              <a:gd name="T17" fmla="*/ 14 h 48"/>
              <a:gd name="T18" fmla="*/ 0 w 78"/>
              <a:gd name="T1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8">
                <a:moveTo>
                  <a:pt x="0" y="34"/>
                </a:moveTo>
                <a:lnTo>
                  <a:pt x="11" y="48"/>
                </a:lnTo>
                <a:lnTo>
                  <a:pt x="25" y="32"/>
                </a:lnTo>
                <a:lnTo>
                  <a:pt x="57" y="32"/>
                </a:lnTo>
                <a:lnTo>
                  <a:pt x="72" y="18"/>
                </a:lnTo>
                <a:lnTo>
                  <a:pt x="78" y="4"/>
                </a:lnTo>
                <a:lnTo>
                  <a:pt x="45" y="0"/>
                </a:lnTo>
                <a:lnTo>
                  <a:pt x="37" y="12"/>
                </a:lnTo>
                <a:lnTo>
                  <a:pt x="13" y="14"/>
                </a:lnTo>
                <a:lnTo>
                  <a:pt x="0" y="34"/>
                </a:lnTo>
                <a:close/>
              </a:path>
            </a:pathLst>
          </a:custGeom>
          <a:solidFill>
            <a:srgbClr val="FFFFFF"/>
          </a:solidFill>
          <a:ln w="9525">
            <a:solidFill>
              <a:srgbClr val="000000"/>
            </a:solidFill>
            <a:prstDash val="solid"/>
            <a:round/>
            <a:headEnd/>
            <a:tailEnd/>
          </a:ln>
        </p:spPr>
        <p:txBody>
          <a:bodyPr/>
          <a:lstStyle/>
          <a:p>
            <a:endParaRPr lang="cs-CZ"/>
          </a:p>
        </p:txBody>
      </p:sp>
      <p:grpSp>
        <p:nvGrpSpPr>
          <p:cNvPr id="361" name="Group 369"/>
          <p:cNvGrpSpPr>
            <a:grpSpLocks/>
          </p:cNvGrpSpPr>
          <p:nvPr/>
        </p:nvGrpSpPr>
        <p:grpSpPr bwMode="auto">
          <a:xfrm>
            <a:off x="4637088" y="1288628"/>
            <a:ext cx="2568575" cy="3425825"/>
            <a:chOff x="2913" y="876"/>
            <a:chExt cx="1618" cy="2158"/>
          </a:xfrm>
        </p:grpSpPr>
        <p:sp>
          <p:nvSpPr>
            <p:cNvPr id="362" name="Freeform 370"/>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 name="T106" fmla="*/ 1721 w 3236"/>
                <a:gd name="T107" fmla="*/ 3755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lnTo>
                    <a:pt x="1721" y="3755"/>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63" name="Freeform 371"/>
            <p:cNvSpPr>
              <a:spLocks/>
            </p:cNvSpPr>
            <p:nvPr/>
          </p:nvSpPr>
          <p:spPr bwMode="auto">
            <a:xfrm>
              <a:off x="2913" y="876"/>
              <a:ext cx="1618" cy="2158"/>
            </a:xfrm>
            <a:custGeom>
              <a:avLst/>
              <a:gdLst>
                <a:gd name="T0" fmla="*/ 1806 w 3236"/>
                <a:gd name="T1" fmla="*/ 3757 h 4317"/>
                <a:gd name="T2" fmla="*/ 1786 w 3236"/>
                <a:gd name="T3" fmla="*/ 3908 h 4317"/>
                <a:gd name="T4" fmla="*/ 1688 w 3236"/>
                <a:gd name="T5" fmla="*/ 4071 h 4317"/>
                <a:gd name="T6" fmla="*/ 1769 w 3236"/>
                <a:gd name="T7" fmla="*/ 4187 h 4317"/>
                <a:gd name="T8" fmla="*/ 2012 w 3236"/>
                <a:gd name="T9" fmla="*/ 4242 h 4317"/>
                <a:gd name="T10" fmla="*/ 2439 w 3236"/>
                <a:gd name="T11" fmla="*/ 4211 h 4317"/>
                <a:gd name="T12" fmla="*/ 2810 w 3236"/>
                <a:gd name="T13" fmla="*/ 4252 h 4317"/>
                <a:gd name="T14" fmla="*/ 3107 w 3236"/>
                <a:gd name="T15" fmla="*/ 4228 h 4317"/>
                <a:gd name="T16" fmla="*/ 2894 w 3236"/>
                <a:gd name="T17" fmla="*/ 3938 h 4317"/>
                <a:gd name="T18" fmla="*/ 2765 w 3236"/>
                <a:gd name="T19" fmla="*/ 3557 h 4317"/>
                <a:gd name="T20" fmla="*/ 2816 w 3236"/>
                <a:gd name="T21" fmla="*/ 3437 h 4317"/>
                <a:gd name="T22" fmla="*/ 2684 w 3236"/>
                <a:gd name="T23" fmla="*/ 3232 h 4317"/>
                <a:gd name="T24" fmla="*/ 2476 w 3236"/>
                <a:gd name="T25" fmla="*/ 3120 h 4317"/>
                <a:gd name="T26" fmla="*/ 2486 w 3236"/>
                <a:gd name="T27" fmla="*/ 2867 h 4317"/>
                <a:gd name="T28" fmla="*/ 2570 w 3236"/>
                <a:gd name="T29" fmla="*/ 2653 h 4317"/>
                <a:gd name="T30" fmla="*/ 2741 w 3236"/>
                <a:gd name="T31" fmla="*/ 2492 h 4317"/>
                <a:gd name="T32" fmla="*/ 3001 w 3236"/>
                <a:gd name="T33" fmla="*/ 2411 h 4317"/>
                <a:gd name="T34" fmla="*/ 3177 w 3236"/>
                <a:gd name="T35" fmla="*/ 2389 h 4317"/>
                <a:gd name="T36" fmla="*/ 1291 w 3236"/>
                <a:gd name="T37" fmla="*/ 63 h 4317"/>
                <a:gd name="T38" fmla="*/ 1169 w 3236"/>
                <a:gd name="T39" fmla="*/ 413 h 4317"/>
                <a:gd name="T40" fmla="*/ 1055 w 3236"/>
                <a:gd name="T41" fmla="*/ 328 h 4317"/>
                <a:gd name="T42" fmla="*/ 918 w 3236"/>
                <a:gd name="T43" fmla="*/ 389 h 4317"/>
                <a:gd name="T44" fmla="*/ 1006 w 3236"/>
                <a:gd name="T45" fmla="*/ 684 h 4317"/>
                <a:gd name="T46" fmla="*/ 820 w 3236"/>
                <a:gd name="T47" fmla="*/ 847 h 4317"/>
                <a:gd name="T48" fmla="*/ 774 w 3236"/>
                <a:gd name="T49" fmla="*/ 1012 h 4317"/>
                <a:gd name="T50" fmla="*/ 731 w 3236"/>
                <a:gd name="T51" fmla="*/ 1107 h 4317"/>
                <a:gd name="T52" fmla="*/ 629 w 3236"/>
                <a:gd name="T53" fmla="*/ 1140 h 4317"/>
                <a:gd name="T54" fmla="*/ 501 w 3236"/>
                <a:gd name="T55" fmla="*/ 941 h 4317"/>
                <a:gd name="T56" fmla="*/ 299 w 3236"/>
                <a:gd name="T57" fmla="*/ 774 h 4317"/>
                <a:gd name="T58" fmla="*/ 499 w 3236"/>
                <a:gd name="T59" fmla="*/ 816 h 4317"/>
                <a:gd name="T60" fmla="*/ 765 w 3236"/>
                <a:gd name="T61" fmla="*/ 519 h 4317"/>
                <a:gd name="T62" fmla="*/ 352 w 3236"/>
                <a:gd name="T63" fmla="*/ 407 h 4317"/>
                <a:gd name="T64" fmla="*/ 201 w 3236"/>
                <a:gd name="T65" fmla="*/ 356 h 4317"/>
                <a:gd name="T66" fmla="*/ 65 w 3236"/>
                <a:gd name="T67" fmla="*/ 431 h 4317"/>
                <a:gd name="T68" fmla="*/ 81 w 3236"/>
                <a:gd name="T69" fmla="*/ 682 h 4317"/>
                <a:gd name="T70" fmla="*/ 191 w 3236"/>
                <a:gd name="T71" fmla="*/ 1093 h 4317"/>
                <a:gd name="T72" fmla="*/ 291 w 3236"/>
                <a:gd name="T73" fmla="*/ 1350 h 4317"/>
                <a:gd name="T74" fmla="*/ 222 w 3236"/>
                <a:gd name="T75" fmla="*/ 1873 h 4317"/>
                <a:gd name="T76" fmla="*/ 387 w 3236"/>
                <a:gd name="T77" fmla="*/ 1920 h 4317"/>
                <a:gd name="T78" fmla="*/ 287 w 3236"/>
                <a:gd name="T79" fmla="*/ 2022 h 4317"/>
                <a:gd name="T80" fmla="*/ 273 w 3236"/>
                <a:gd name="T81" fmla="*/ 2191 h 4317"/>
                <a:gd name="T82" fmla="*/ 320 w 3236"/>
                <a:gd name="T83" fmla="*/ 2313 h 4317"/>
                <a:gd name="T84" fmla="*/ 401 w 3236"/>
                <a:gd name="T85" fmla="*/ 2547 h 4317"/>
                <a:gd name="T86" fmla="*/ 576 w 3236"/>
                <a:gd name="T87" fmla="*/ 2588 h 4317"/>
                <a:gd name="T88" fmla="*/ 694 w 3236"/>
                <a:gd name="T89" fmla="*/ 2747 h 4317"/>
                <a:gd name="T90" fmla="*/ 890 w 3236"/>
                <a:gd name="T91" fmla="*/ 2889 h 4317"/>
                <a:gd name="T92" fmla="*/ 867 w 3236"/>
                <a:gd name="T93" fmla="*/ 3150 h 4317"/>
                <a:gd name="T94" fmla="*/ 1120 w 3236"/>
                <a:gd name="T95" fmla="*/ 3124 h 4317"/>
                <a:gd name="T96" fmla="*/ 1260 w 3236"/>
                <a:gd name="T97" fmla="*/ 3250 h 4317"/>
                <a:gd name="T98" fmla="*/ 1405 w 3236"/>
                <a:gd name="T99" fmla="*/ 3295 h 4317"/>
                <a:gd name="T100" fmla="*/ 1600 w 3236"/>
                <a:gd name="T101" fmla="*/ 3295 h 4317"/>
                <a:gd name="T102" fmla="*/ 1778 w 3236"/>
                <a:gd name="T103" fmla="*/ 3397 h 4317"/>
                <a:gd name="T104" fmla="*/ 1792 w 3236"/>
                <a:gd name="T105" fmla="*/ 3614 h 4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36" h="4317">
                  <a:moveTo>
                    <a:pt x="1721" y="3755"/>
                  </a:moveTo>
                  <a:lnTo>
                    <a:pt x="1745" y="3733"/>
                  </a:lnTo>
                  <a:lnTo>
                    <a:pt x="1772" y="3733"/>
                  </a:lnTo>
                  <a:lnTo>
                    <a:pt x="1800" y="3710"/>
                  </a:lnTo>
                  <a:lnTo>
                    <a:pt x="1831" y="3716"/>
                  </a:lnTo>
                  <a:lnTo>
                    <a:pt x="1806" y="3757"/>
                  </a:lnTo>
                  <a:lnTo>
                    <a:pt x="1767" y="3798"/>
                  </a:lnTo>
                  <a:lnTo>
                    <a:pt x="1759" y="3826"/>
                  </a:lnTo>
                  <a:lnTo>
                    <a:pt x="1702" y="3836"/>
                  </a:lnTo>
                  <a:lnTo>
                    <a:pt x="1716" y="3871"/>
                  </a:lnTo>
                  <a:lnTo>
                    <a:pt x="1755" y="3885"/>
                  </a:lnTo>
                  <a:lnTo>
                    <a:pt x="1786" y="3908"/>
                  </a:lnTo>
                  <a:lnTo>
                    <a:pt x="1780" y="3928"/>
                  </a:lnTo>
                  <a:lnTo>
                    <a:pt x="1753" y="3961"/>
                  </a:lnTo>
                  <a:lnTo>
                    <a:pt x="1745" y="3997"/>
                  </a:lnTo>
                  <a:lnTo>
                    <a:pt x="1727" y="4044"/>
                  </a:lnTo>
                  <a:lnTo>
                    <a:pt x="1717" y="4061"/>
                  </a:lnTo>
                  <a:lnTo>
                    <a:pt x="1688" y="4071"/>
                  </a:lnTo>
                  <a:lnTo>
                    <a:pt x="1660" y="4085"/>
                  </a:lnTo>
                  <a:lnTo>
                    <a:pt x="1651" y="4122"/>
                  </a:lnTo>
                  <a:lnTo>
                    <a:pt x="1694" y="4136"/>
                  </a:lnTo>
                  <a:lnTo>
                    <a:pt x="1716" y="4156"/>
                  </a:lnTo>
                  <a:lnTo>
                    <a:pt x="1731" y="4177"/>
                  </a:lnTo>
                  <a:lnTo>
                    <a:pt x="1769" y="4187"/>
                  </a:lnTo>
                  <a:lnTo>
                    <a:pt x="1800" y="4181"/>
                  </a:lnTo>
                  <a:lnTo>
                    <a:pt x="1833" y="4195"/>
                  </a:lnTo>
                  <a:lnTo>
                    <a:pt x="1869" y="4205"/>
                  </a:lnTo>
                  <a:lnTo>
                    <a:pt x="1930" y="4201"/>
                  </a:lnTo>
                  <a:lnTo>
                    <a:pt x="1981" y="4219"/>
                  </a:lnTo>
                  <a:lnTo>
                    <a:pt x="2012" y="4242"/>
                  </a:lnTo>
                  <a:lnTo>
                    <a:pt x="2069" y="4280"/>
                  </a:lnTo>
                  <a:lnTo>
                    <a:pt x="2138" y="4256"/>
                  </a:lnTo>
                  <a:lnTo>
                    <a:pt x="2230" y="4242"/>
                  </a:lnTo>
                  <a:lnTo>
                    <a:pt x="2315" y="4252"/>
                  </a:lnTo>
                  <a:lnTo>
                    <a:pt x="2397" y="4219"/>
                  </a:lnTo>
                  <a:lnTo>
                    <a:pt x="2439" y="4211"/>
                  </a:lnTo>
                  <a:lnTo>
                    <a:pt x="2509" y="4232"/>
                  </a:lnTo>
                  <a:lnTo>
                    <a:pt x="2582" y="4256"/>
                  </a:lnTo>
                  <a:lnTo>
                    <a:pt x="2649" y="4201"/>
                  </a:lnTo>
                  <a:lnTo>
                    <a:pt x="2718" y="4191"/>
                  </a:lnTo>
                  <a:lnTo>
                    <a:pt x="2777" y="4191"/>
                  </a:lnTo>
                  <a:lnTo>
                    <a:pt x="2810" y="4252"/>
                  </a:lnTo>
                  <a:lnTo>
                    <a:pt x="2898" y="4252"/>
                  </a:lnTo>
                  <a:lnTo>
                    <a:pt x="2946" y="4256"/>
                  </a:lnTo>
                  <a:lnTo>
                    <a:pt x="2997" y="4280"/>
                  </a:lnTo>
                  <a:lnTo>
                    <a:pt x="3038" y="4317"/>
                  </a:lnTo>
                  <a:lnTo>
                    <a:pt x="3103" y="4297"/>
                  </a:lnTo>
                  <a:lnTo>
                    <a:pt x="3107" y="4228"/>
                  </a:lnTo>
                  <a:lnTo>
                    <a:pt x="3124" y="4156"/>
                  </a:lnTo>
                  <a:lnTo>
                    <a:pt x="3038" y="4085"/>
                  </a:lnTo>
                  <a:lnTo>
                    <a:pt x="2944" y="4003"/>
                  </a:lnTo>
                  <a:lnTo>
                    <a:pt x="2920" y="3885"/>
                  </a:lnTo>
                  <a:lnTo>
                    <a:pt x="2894" y="3873"/>
                  </a:lnTo>
                  <a:lnTo>
                    <a:pt x="2894" y="3938"/>
                  </a:lnTo>
                  <a:lnTo>
                    <a:pt x="2830" y="3836"/>
                  </a:lnTo>
                  <a:lnTo>
                    <a:pt x="2782" y="3839"/>
                  </a:lnTo>
                  <a:lnTo>
                    <a:pt x="2759" y="3779"/>
                  </a:lnTo>
                  <a:lnTo>
                    <a:pt x="2763" y="3714"/>
                  </a:lnTo>
                  <a:lnTo>
                    <a:pt x="2769" y="3612"/>
                  </a:lnTo>
                  <a:lnTo>
                    <a:pt x="2765" y="3557"/>
                  </a:lnTo>
                  <a:lnTo>
                    <a:pt x="2718" y="3515"/>
                  </a:lnTo>
                  <a:lnTo>
                    <a:pt x="2777" y="3484"/>
                  </a:lnTo>
                  <a:lnTo>
                    <a:pt x="2824" y="3553"/>
                  </a:lnTo>
                  <a:lnTo>
                    <a:pt x="2851" y="3519"/>
                  </a:lnTo>
                  <a:lnTo>
                    <a:pt x="2847" y="3454"/>
                  </a:lnTo>
                  <a:lnTo>
                    <a:pt x="2816" y="3437"/>
                  </a:lnTo>
                  <a:lnTo>
                    <a:pt x="2779" y="3431"/>
                  </a:lnTo>
                  <a:lnTo>
                    <a:pt x="2769" y="3390"/>
                  </a:lnTo>
                  <a:lnTo>
                    <a:pt x="2824" y="3368"/>
                  </a:lnTo>
                  <a:lnTo>
                    <a:pt x="2763" y="3274"/>
                  </a:lnTo>
                  <a:lnTo>
                    <a:pt x="2731" y="3280"/>
                  </a:lnTo>
                  <a:lnTo>
                    <a:pt x="2684" y="3232"/>
                  </a:lnTo>
                  <a:lnTo>
                    <a:pt x="2647" y="3260"/>
                  </a:lnTo>
                  <a:lnTo>
                    <a:pt x="2625" y="3287"/>
                  </a:lnTo>
                  <a:lnTo>
                    <a:pt x="2598" y="3274"/>
                  </a:lnTo>
                  <a:lnTo>
                    <a:pt x="2555" y="3209"/>
                  </a:lnTo>
                  <a:lnTo>
                    <a:pt x="2476" y="3215"/>
                  </a:lnTo>
                  <a:lnTo>
                    <a:pt x="2476" y="3120"/>
                  </a:lnTo>
                  <a:lnTo>
                    <a:pt x="2492" y="3075"/>
                  </a:lnTo>
                  <a:lnTo>
                    <a:pt x="2454" y="3056"/>
                  </a:lnTo>
                  <a:lnTo>
                    <a:pt x="2444" y="2993"/>
                  </a:lnTo>
                  <a:lnTo>
                    <a:pt x="2448" y="2926"/>
                  </a:lnTo>
                  <a:lnTo>
                    <a:pt x="2427" y="2849"/>
                  </a:lnTo>
                  <a:lnTo>
                    <a:pt x="2486" y="2867"/>
                  </a:lnTo>
                  <a:lnTo>
                    <a:pt x="2537" y="2894"/>
                  </a:lnTo>
                  <a:lnTo>
                    <a:pt x="2584" y="2926"/>
                  </a:lnTo>
                  <a:lnTo>
                    <a:pt x="2611" y="2861"/>
                  </a:lnTo>
                  <a:lnTo>
                    <a:pt x="2531" y="2786"/>
                  </a:lnTo>
                  <a:lnTo>
                    <a:pt x="2584" y="2690"/>
                  </a:lnTo>
                  <a:lnTo>
                    <a:pt x="2570" y="2653"/>
                  </a:lnTo>
                  <a:lnTo>
                    <a:pt x="2611" y="2625"/>
                  </a:lnTo>
                  <a:lnTo>
                    <a:pt x="2629" y="2570"/>
                  </a:lnTo>
                  <a:lnTo>
                    <a:pt x="2633" y="2523"/>
                  </a:lnTo>
                  <a:lnTo>
                    <a:pt x="2680" y="2478"/>
                  </a:lnTo>
                  <a:lnTo>
                    <a:pt x="2704" y="2492"/>
                  </a:lnTo>
                  <a:lnTo>
                    <a:pt x="2741" y="2492"/>
                  </a:lnTo>
                  <a:lnTo>
                    <a:pt x="2731" y="2437"/>
                  </a:lnTo>
                  <a:lnTo>
                    <a:pt x="2769" y="2411"/>
                  </a:lnTo>
                  <a:lnTo>
                    <a:pt x="2810" y="2427"/>
                  </a:lnTo>
                  <a:lnTo>
                    <a:pt x="2881" y="2384"/>
                  </a:lnTo>
                  <a:lnTo>
                    <a:pt x="2930" y="2407"/>
                  </a:lnTo>
                  <a:lnTo>
                    <a:pt x="3001" y="2411"/>
                  </a:lnTo>
                  <a:lnTo>
                    <a:pt x="3036" y="2437"/>
                  </a:lnTo>
                  <a:lnTo>
                    <a:pt x="3075" y="2462"/>
                  </a:lnTo>
                  <a:lnTo>
                    <a:pt x="3056" y="2403"/>
                  </a:lnTo>
                  <a:lnTo>
                    <a:pt x="3059" y="2380"/>
                  </a:lnTo>
                  <a:lnTo>
                    <a:pt x="3126" y="2407"/>
                  </a:lnTo>
                  <a:lnTo>
                    <a:pt x="3177" y="2389"/>
                  </a:lnTo>
                  <a:lnTo>
                    <a:pt x="3191" y="2329"/>
                  </a:lnTo>
                  <a:lnTo>
                    <a:pt x="3199" y="2281"/>
                  </a:lnTo>
                  <a:lnTo>
                    <a:pt x="3236" y="2236"/>
                  </a:lnTo>
                  <a:lnTo>
                    <a:pt x="3226" y="0"/>
                  </a:lnTo>
                  <a:lnTo>
                    <a:pt x="1283" y="4"/>
                  </a:lnTo>
                  <a:lnTo>
                    <a:pt x="1291" y="63"/>
                  </a:lnTo>
                  <a:lnTo>
                    <a:pt x="1228" y="110"/>
                  </a:lnTo>
                  <a:lnTo>
                    <a:pt x="1211" y="160"/>
                  </a:lnTo>
                  <a:lnTo>
                    <a:pt x="1165" y="268"/>
                  </a:lnTo>
                  <a:lnTo>
                    <a:pt x="1187" y="287"/>
                  </a:lnTo>
                  <a:lnTo>
                    <a:pt x="1138" y="328"/>
                  </a:lnTo>
                  <a:lnTo>
                    <a:pt x="1169" y="413"/>
                  </a:lnTo>
                  <a:lnTo>
                    <a:pt x="1165" y="454"/>
                  </a:lnTo>
                  <a:lnTo>
                    <a:pt x="1138" y="486"/>
                  </a:lnTo>
                  <a:lnTo>
                    <a:pt x="1083" y="478"/>
                  </a:lnTo>
                  <a:lnTo>
                    <a:pt x="1002" y="433"/>
                  </a:lnTo>
                  <a:lnTo>
                    <a:pt x="996" y="389"/>
                  </a:lnTo>
                  <a:lnTo>
                    <a:pt x="1055" y="328"/>
                  </a:lnTo>
                  <a:lnTo>
                    <a:pt x="992" y="283"/>
                  </a:lnTo>
                  <a:lnTo>
                    <a:pt x="928" y="256"/>
                  </a:lnTo>
                  <a:lnTo>
                    <a:pt x="845" y="305"/>
                  </a:lnTo>
                  <a:lnTo>
                    <a:pt x="810" y="307"/>
                  </a:lnTo>
                  <a:lnTo>
                    <a:pt x="884" y="330"/>
                  </a:lnTo>
                  <a:lnTo>
                    <a:pt x="918" y="389"/>
                  </a:lnTo>
                  <a:lnTo>
                    <a:pt x="947" y="507"/>
                  </a:lnTo>
                  <a:lnTo>
                    <a:pt x="1010" y="513"/>
                  </a:lnTo>
                  <a:lnTo>
                    <a:pt x="1030" y="598"/>
                  </a:lnTo>
                  <a:lnTo>
                    <a:pt x="1061" y="678"/>
                  </a:lnTo>
                  <a:lnTo>
                    <a:pt x="1030" y="668"/>
                  </a:lnTo>
                  <a:lnTo>
                    <a:pt x="1006" y="684"/>
                  </a:lnTo>
                  <a:lnTo>
                    <a:pt x="981" y="643"/>
                  </a:lnTo>
                  <a:lnTo>
                    <a:pt x="953" y="653"/>
                  </a:lnTo>
                  <a:lnTo>
                    <a:pt x="904" y="643"/>
                  </a:lnTo>
                  <a:lnTo>
                    <a:pt x="892" y="710"/>
                  </a:lnTo>
                  <a:lnTo>
                    <a:pt x="861" y="765"/>
                  </a:lnTo>
                  <a:lnTo>
                    <a:pt x="820" y="847"/>
                  </a:lnTo>
                  <a:lnTo>
                    <a:pt x="877" y="928"/>
                  </a:lnTo>
                  <a:lnTo>
                    <a:pt x="967" y="1000"/>
                  </a:lnTo>
                  <a:lnTo>
                    <a:pt x="898" y="998"/>
                  </a:lnTo>
                  <a:lnTo>
                    <a:pt x="880" y="1018"/>
                  </a:lnTo>
                  <a:lnTo>
                    <a:pt x="816" y="1004"/>
                  </a:lnTo>
                  <a:lnTo>
                    <a:pt x="774" y="1012"/>
                  </a:lnTo>
                  <a:lnTo>
                    <a:pt x="782" y="1048"/>
                  </a:lnTo>
                  <a:lnTo>
                    <a:pt x="715" y="991"/>
                  </a:lnTo>
                  <a:lnTo>
                    <a:pt x="666" y="987"/>
                  </a:lnTo>
                  <a:lnTo>
                    <a:pt x="660" y="1038"/>
                  </a:lnTo>
                  <a:lnTo>
                    <a:pt x="692" y="1079"/>
                  </a:lnTo>
                  <a:lnTo>
                    <a:pt x="731" y="1107"/>
                  </a:lnTo>
                  <a:lnTo>
                    <a:pt x="776" y="1081"/>
                  </a:lnTo>
                  <a:lnTo>
                    <a:pt x="821" y="1158"/>
                  </a:lnTo>
                  <a:lnTo>
                    <a:pt x="792" y="1167"/>
                  </a:lnTo>
                  <a:lnTo>
                    <a:pt x="788" y="1195"/>
                  </a:lnTo>
                  <a:lnTo>
                    <a:pt x="680" y="1183"/>
                  </a:lnTo>
                  <a:lnTo>
                    <a:pt x="629" y="1140"/>
                  </a:lnTo>
                  <a:lnTo>
                    <a:pt x="605" y="1160"/>
                  </a:lnTo>
                  <a:lnTo>
                    <a:pt x="564" y="1146"/>
                  </a:lnTo>
                  <a:lnTo>
                    <a:pt x="556" y="1085"/>
                  </a:lnTo>
                  <a:lnTo>
                    <a:pt x="495" y="1028"/>
                  </a:lnTo>
                  <a:lnTo>
                    <a:pt x="517" y="985"/>
                  </a:lnTo>
                  <a:lnTo>
                    <a:pt x="501" y="941"/>
                  </a:lnTo>
                  <a:lnTo>
                    <a:pt x="464" y="902"/>
                  </a:lnTo>
                  <a:lnTo>
                    <a:pt x="395" y="885"/>
                  </a:lnTo>
                  <a:lnTo>
                    <a:pt x="387" y="857"/>
                  </a:lnTo>
                  <a:lnTo>
                    <a:pt x="360" y="861"/>
                  </a:lnTo>
                  <a:lnTo>
                    <a:pt x="277" y="794"/>
                  </a:lnTo>
                  <a:lnTo>
                    <a:pt x="299" y="774"/>
                  </a:lnTo>
                  <a:lnTo>
                    <a:pt x="338" y="806"/>
                  </a:lnTo>
                  <a:lnTo>
                    <a:pt x="374" y="812"/>
                  </a:lnTo>
                  <a:lnTo>
                    <a:pt x="403" y="816"/>
                  </a:lnTo>
                  <a:lnTo>
                    <a:pt x="430" y="812"/>
                  </a:lnTo>
                  <a:lnTo>
                    <a:pt x="448" y="835"/>
                  </a:lnTo>
                  <a:lnTo>
                    <a:pt x="499" y="816"/>
                  </a:lnTo>
                  <a:lnTo>
                    <a:pt x="578" y="833"/>
                  </a:lnTo>
                  <a:lnTo>
                    <a:pt x="654" y="826"/>
                  </a:lnTo>
                  <a:lnTo>
                    <a:pt x="747" y="802"/>
                  </a:lnTo>
                  <a:lnTo>
                    <a:pt x="816" y="718"/>
                  </a:lnTo>
                  <a:lnTo>
                    <a:pt x="831" y="598"/>
                  </a:lnTo>
                  <a:lnTo>
                    <a:pt x="765" y="519"/>
                  </a:lnTo>
                  <a:lnTo>
                    <a:pt x="727" y="511"/>
                  </a:lnTo>
                  <a:lnTo>
                    <a:pt x="666" y="472"/>
                  </a:lnTo>
                  <a:lnTo>
                    <a:pt x="621" y="482"/>
                  </a:lnTo>
                  <a:lnTo>
                    <a:pt x="566" y="468"/>
                  </a:lnTo>
                  <a:lnTo>
                    <a:pt x="470" y="421"/>
                  </a:lnTo>
                  <a:lnTo>
                    <a:pt x="352" y="407"/>
                  </a:lnTo>
                  <a:lnTo>
                    <a:pt x="317" y="417"/>
                  </a:lnTo>
                  <a:lnTo>
                    <a:pt x="252" y="433"/>
                  </a:lnTo>
                  <a:lnTo>
                    <a:pt x="208" y="425"/>
                  </a:lnTo>
                  <a:lnTo>
                    <a:pt x="181" y="403"/>
                  </a:lnTo>
                  <a:lnTo>
                    <a:pt x="210" y="389"/>
                  </a:lnTo>
                  <a:lnTo>
                    <a:pt x="201" y="356"/>
                  </a:lnTo>
                  <a:lnTo>
                    <a:pt x="169" y="352"/>
                  </a:lnTo>
                  <a:lnTo>
                    <a:pt x="122" y="350"/>
                  </a:lnTo>
                  <a:lnTo>
                    <a:pt x="134" y="382"/>
                  </a:lnTo>
                  <a:lnTo>
                    <a:pt x="112" y="405"/>
                  </a:lnTo>
                  <a:lnTo>
                    <a:pt x="73" y="431"/>
                  </a:lnTo>
                  <a:lnTo>
                    <a:pt x="65" y="431"/>
                  </a:lnTo>
                  <a:lnTo>
                    <a:pt x="49" y="472"/>
                  </a:lnTo>
                  <a:lnTo>
                    <a:pt x="32" y="495"/>
                  </a:lnTo>
                  <a:lnTo>
                    <a:pt x="12" y="545"/>
                  </a:lnTo>
                  <a:lnTo>
                    <a:pt x="0" y="596"/>
                  </a:lnTo>
                  <a:lnTo>
                    <a:pt x="20" y="672"/>
                  </a:lnTo>
                  <a:lnTo>
                    <a:pt x="81" y="682"/>
                  </a:lnTo>
                  <a:lnTo>
                    <a:pt x="114" y="718"/>
                  </a:lnTo>
                  <a:lnTo>
                    <a:pt x="122" y="761"/>
                  </a:lnTo>
                  <a:lnTo>
                    <a:pt x="106" y="885"/>
                  </a:lnTo>
                  <a:lnTo>
                    <a:pt x="216" y="1040"/>
                  </a:lnTo>
                  <a:lnTo>
                    <a:pt x="199" y="1057"/>
                  </a:lnTo>
                  <a:lnTo>
                    <a:pt x="191" y="1093"/>
                  </a:lnTo>
                  <a:lnTo>
                    <a:pt x="210" y="1134"/>
                  </a:lnTo>
                  <a:lnTo>
                    <a:pt x="210" y="1183"/>
                  </a:lnTo>
                  <a:lnTo>
                    <a:pt x="244" y="1187"/>
                  </a:lnTo>
                  <a:lnTo>
                    <a:pt x="258" y="1236"/>
                  </a:lnTo>
                  <a:lnTo>
                    <a:pt x="299" y="1264"/>
                  </a:lnTo>
                  <a:lnTo>
                    <a:pt x="291" y="1350"/>
                  </a:lnTo>
                  <a:lnTo>
                    <a:pt x="317" y="1387"/>
                  </a:lnTo>
                  <a:lnTo>
                    <a:pt x="356" y="1395"/>
                  </a:lnTo>
                  <a:lnTo>
                    <a:pt x="409" y="1482"/>
                  </a:lnTo>
                  <a:lnTo>
                    <a:pt x="358" y="1653"/>
                  </a:lnTo>
                  <a:lnTo>
                    <a:pt x="279" y="1794"/>
                  </a:lnTo>
                  <a:lnTo>
                    <a:pt x="222" y="1873"/>
                  </a:lnTo>
                  <a:lnTo>
                    <a:pt x="189" y="1906"/>
                  </a:lnTo>
                  <a:lnTo>
                    <a:pt x="236" y="1892"/>
                  </a:lnTo>
                  <a:lnTo>
                    <a:pt x="271" y="1853"/>
                  </a:lnTo>
                  <a:lnTo>
                    <a:pt x="277" y="1906"/>
                  </a:lnTo>
                  <a:lnTo>
                    <a:pt x="324" y="1928"/>
                  </a:lnTo>
                  <a:lnTo>
                    <a:pt x="387" y="1920"/>
                  </a:lnTo>
                  <a:lnTo>
                    <a:pt x="417" y="1945"/>
                  </a:lnTo>
                  <a:lnTo>
                    <a:pt x="415" y="1967"/>
                  </a:lnTo>
                  <a:lnTo>
                    <a:pt x="344" y="1953"/>
                  </a:lnTo>
                  <a:lnTo>
                    <a:pt x="328" y="1989"/>
                  </a:lnTo>
                  <a:lnTo>
                    <a:pt x="297" y="1993"/>
                  </a:lnTo>
                  <a:lnTo>
                    <a:pt x="287" y="2022"/>
                  </a:lnTo>
                  <a:lnTo>
                    <a:pt x="258" y="2010"/>
                  </a:lnTo>
                  <a:lnTo>
                    <a:pt x="287" y="2057"/>
                  </a:lnTo>
                  <a:lnTo>
                    <a:pt x="283" y="2099"/>
                  </a:lnTo>
                  <a:lnTo>
                    <a:pt x="258" y="2138"/>
                  </a:lnTo>
                  <a:lnTo>
                    <a:pt x="279" y="2160"/>
                  </a:lnTo>
                  <a:lnTo>
                    <a:pt x="273" y="2191"/>
                  </a:lnTo>
                  <a:lnTo>
                    <a:pt x="291" y="2211"/>
                  </a:lnTo>
                  <a:lnTo>
                    <a:pt x="273" y="2238"/>
                  </a:lnTo>
                  <a:lnTo>
                    <a:pt x="263" y="2262"/>
                  </a:lnTo>
                  <a:lnTo>
                    <a:pt x="305" y="2266"/>
                  </a:lnTo>
                  <a:lnTo>
                    <a:pt x="332" y="2285"/>
                  </a:lnTo>
                  <a:lnTo>
                    <a:pt x="320" y="2313"/>
                  </a:lnTo>
                  <a:lnTo>
                    <a:pt x="287" y="2303"/>
                  </a:lnTo>
                  <a:lnTo>
                    <a:pt x="279" y="2370"/>
                  </a:lnTo>
                  <a:lnTo>
                    <a:pt x="318" y="2397"/>
                  </a:lnTo>
                  <a:lnTo>
                    <a:pt x="317" y="2458"/>
                  </a:lnTo>
                  <a:lnTo>
                    <a:pt x="368" y="2500"/>
                  </a:lnTo>
                  <a:lnTo>
                    <a:pt x="401" y="2547"/>
                  </a:lnTo>
                  <a:lnTo>
                    <a:pt x="403" y="2582"/>
                  </a:lnTo>
                  <a:lnTo>
                    <a:pt x="456" y="2590"/>
                  </a:lnTo>
                  <a:lnTo>
                    <a:pt x="484" y="2578"/>
                  </a:lnTo>
                  <a:lnTo>
                    <a:pt x="519" y="2623"/>
                  </a:lnTo>
                  <a:lnTo>
                    <a:pt x="546" y="2594"/>
                  </a:lnTo>
                  <a:lnTo>
                    <a:pt x="576" y="2588"/>
                  </a:lnTo>
                  <a:lnTo>
                    <a:pt x="613" y="2604"/>
                  </a:lnTo>
                  <a:lnTo>
                    <a:pt x="653" y="2615"/>
                  </a:lnTo>
                  <a:lnTo>
                    <a:pt x="660" y="2655"/>
                  </a:lnTo>
                  <a:lnTo>
                    <a:pt x="688" y="2682"/>
                  </a:lnTo>
                  <a:lnTo>
                    <a:pt x="662" y="2731"/>
                  </a:lnTo>
                  <a:lnTo>
                    <a:pt x="694" y="2747"/>
                  </a:lnTo>
                  <a:lnTo>
                    <a:pt x="731" y="2814"/>
                  </a:lnTo>
                  <a:lnTo>
                    <a:pt x="788" y="2835"/>
                  </a:lnTo>
                  <a:lnTo>
                    <a:pt x="798" y="2869"/>
                  </a:lnTo>
                  <a:lnTo>
                    <a:pt x="853" y="2861"/>
                  </a:lnTo>
                  <a:lnTo>
                    <a:pt x="871" y="2887"/>
                  </a:lnTo>
                  <a:lnTo>
                    <a:pt x="890" y="2889"/>
                  </a:lnTo>
                  <a:lnTo>
                    <a:pt x="912" y="2906"/>
                  </a:lnTo>
                  <a:lnTo>
                    <a:pt x="867" y="2969"/>
                  </a:lnTo>
                  <a:lnTo>
                    <a:pt x="792" y="2965"/>
                  </a:lnTo>
                  <a:lnTo>
                    <a:pt x="770" y="2985"/>
                  </a:lnTo>
                  <a:lnTo>
                    <a:pt x="837" y="3079"/>
                  </a:lnTo>
                  <a:lnTo>
                    <a:pt x="867" y="3150"/>
                  </a:lnTo>
                  <a:lnTo>
                    <a:pt x="910" y="3134"/>
                  </a:lnTo>
                  <a:lnTo>
                    <a:pt x="926" y="3107"/>
                  </a:lnTo>
                  <a:lnTo>
                    <a:pt x="994" y="3071"/>
                  </a:lnTo>
                  <a:lnTo>
                    <a:pt x="1063" y="3063"/>
                  </a:lnTo>
                  <a:lnTo>
                    <a:pt x="1093" y="3099"/>
                  </a:lnTo>
                  <a:lnTo>
                    <a:pt x="1120" y="3124"/>
                  </a:lnTo>
                  <a:lnTo>
                    <a:pt x="1110" y="3160"/>
                  </a:lnTo>
                  <a:lnTo>
                    <a:pt x="1144" y="3209"/>
                  </a:lnTo>
                  <a:lnTo>
                    <a:pt x="1181" y="3215"/>
                  </a:lnTo>
                  <a:lnTo>
                    <a:pt x="1224" y="3201"/>
                  </a:lnTo>
                  <a:lnTo>
                    <a:pt x="1234" y="3224"/>
                  </a:lnTo>
                  <a:lnTo>
                    <a:pt x="1260" y="3250"/>
                  </a:lnTo>
                  <a:lnTo>
                    <a:pt x="1275" y="3278"/>
                  </a:lnTo>
                  <a:lnTo>
                    <a:pt x="1287" y="3297"/>
                  </a:lnTo>
                  <a:lnTo>
                    <a:pt x="1315" y="3311"/>
                  </a:lnTo>
                  <a:lnTo>
                    <a:pt x="1336" y="3283"/>
                  </a:lnTo>
                  <a:lnTo>
                    <a:pt x="1364" y="3303"/>
                  </a:lnTo>
                  <a:lnTo>
                    <a:pt x="1405" y="3295"/>
                  </a:lnTo>
                  <a:lnTo>
                    <a:pt x="1417" y="3295"/>
                  </a:lnTo>
                  <a:lnTo>
                    <a:pt x="1444" y="3281"/>
                  </a:lnTo>
                  <a:lnTo>
                    <a:pt x="1480" y="3248"/>
                  </a:lnTo>
                  <a:lnTo>
                    <a:pt x="1511" y="3283"/>
                  </a:lnTo>
                  <a:lnTo>
                    <a:pt x="1556" y="3311"/>
                  </a:lnTo>
                  <a:lnTo>
                    <a:pt x="1600" y="3295"/>
                  </a:lnTo>
                  <a:lnTo>
                    <a:pt x="1723" y="3303"/>
                  </a:lnTo>
                  <a:lnTo>
                    <a:pt x="1759" y="3303"/>
                  </a:lnTo>
                  <a:lnTo>
                    <a:pt x="1786" y="3297"/>
                  </a:lnTo>
                  <a:lnTo>
                    <a:pt x="1806" y="3317"/>
                  </a:lnTo>
                  <a:lnTo>
                    <a:pt x="1808" y="3374"/>
                  </a:lnTo>
                  <a:lnTo>
                    <a:pt x="1778" y="3397"/>
                  </a:lnTo>
                  <a:lnTo>
                    <a:pt x="1808" y="3411"/>
                  </a:lnTo>
                  <a:lnTo>
                    <a:pt x="1798" y="3458"/>
                  </a:lnTo>
                  <a:lnTo>
                    <a:pt x="1816" y="3500"/>
                  </a:lnTo>
                  <a:lnTo>
                    <a:pt x="1849" y="3509"/>
                  </a:lnTo>
                  <a:lnTo>
                    <a:pt x="1849" y="3596"/>
                  </a:lnTo>
                  <a:lnTo>
                    <a:pt x="1792" y="3614"/>
                  </a:lnTo>
                  <a:lnTo>
                    <a:pt x="1759" y="3610"/>
                  </a:lnTo>
                  <a:lnTo>
                    <a:pt x="1747" y="3653"/>
                  </a:lnTo>
                  <a:lnTo>
                    <a:pt x="1714" y="3676"/>
                  </a:lnTo>
                  <a:lnTo>
                    <a:pt x="1717" y="3716"/>
                  </a:lnTo>
                  <a:lnTo>
                    <a:pt x="1725" y="3755"/>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364" name="Group 372"/>
          <p:cNvGrpSpPr>
            <a:grpSpLocks/>
          </p:cNvGrpSpPr>
          <p:nvPr/>
        </p:nvGrpSpPr>
        <p:grpSpPr bwMode="auto">
          <a:xfrm>
            <a:off x="3098800" y="3738140"/>
            <a:ext cx="304800" cy="347663"/>
            <a:chOff x="1944" y="2419"/>
            <a:chExt cx="192" cy="219"/>
          </a:xfrm>
        </p:grpSpPr>
        <p:sp>
          <p:nvSpPr>
            <p:cNvPr id="365" name="Freeform 373"/>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lnTo>
                    <a:pt x="236" y="43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66" name="Freeform 374"/>
            <p:cNvSpPr>
              <a:spLocks/>
            </p:cNvSpPr>
            <p:nvPr/>
          </p:nvSpPr>
          <p:spPr bwMode="auto">
            <a:xfrm>
              <a:off x="1944" y="2419"/>
              <a:ext cx="192" cy="219"/>
            </a:xfrm>
            <a:custGeom>
              <a:avLst/>
              <a:gdLst>
                <a:gd name="T0" fmla="*/ 232 w 383"/>
                <a:gd name="T1" fmla="*/ 381 h 436"/>
                <a:gd name="T2" fmla="*/ 241 w 383"/>
                <a:gd name="T3" fmla="*/ 316 h 436"/>
                <a:gd name="T4" fmla="*/ 275 w 383"/>
                <a:gd name="T5" fmla="*/ 249 h 436"/>
                <a:gd name="T6" fmla="*/ 318 w 383"/>
                <a:gd name="T7" fmla="*/ 226 h 436"/>
                <a:gd name="T8" fmla="*/ 357 w 383"/>
                <a:gd name="T9" fmla="*/ 175 h 436"/>
                <a:gd name="T10" fmla="*/ 353 w 383"/>
                <a:gd name="T11" fmla="*/ 118 h 436"/>
                <a:gd name="T12" fmla="*/ 359 w 383"/>
                <a:gd name="T13" fmla="*/ 14 h 436"/>
                <a:gd name="T14" fmla="*/ 320 w 383"/>
                <a:gd name="T15" fmla="*/ 4 h 436"/>
                <a:gd name="T16" fmla="*/ 295 w 383"/>
                <a:gd name="T17" fmla="*/ 20 h 436"/>
                <a:gd name="T18" fmla="*/ 273 w 383"/>
                <a:gd name="T19" fmla="*/ 6 h 436"/>
                <a:gd name="T20" fmla="*/ 255 w 383"/>
                <a:gd name="T21" fmla="*/ 14 h 436"/>
                <a:gd name="T22" fmla="*/ 230 w 383"/>
                <a:gd name="T23" fmla="*/ 16 h 436"/>
                <a:gd name="T24" fmla="*/ 218 w 383"/>
                <a:gd name="T25" fmla="*/ 51 h 436"/>
                <a:gd name="T26" fmla="*/ 216 w 383"/>
                <a:gd name="T27" fmla="*/ 77 h 436"/>
                <a:gd name="T28" fmla="*/ 228 w 383"/>
                <a:gd name="T29" fmla="*/ 98 h 436"/>
                <a:gd name="T30" fmla="*/ 228 w 383"/>
                <a:gd name="T31" fmla="*/ 132 h 436"/>
                <a:gd name="T32" fmla="*/ 200 w 383"/>
                <a:gd name="T33" fmla="*/ 141 h 436"/>
                <a:gd name="T34" fmla="*/ 208 w 383"/>
                <a:gd name="T35" fmla="*/ 173 h 436"/>
                <a:gd name="T36" fmla="*/ 171 w 383"/>
                <a:gd name="T37" fmla="*/ 145 h 436"/>
                <a:gd name="T38" fmla="*/ 192 w 383"/>
                <a:gd name="T39" fmla="*/ 114 h 436"/>
                <a:gd name="T40" fmla="*/ 181 w 383"/>
                <a:gd name="T41" fmla="*/ 63 h 436"/>
                <a:gd name="T42" fmla="*/ 165 w 383"/>
                <a:gd name="T43" fmla="*/ 49 h 436"/>
                <a:gd name="T44" fmla="*/ 147 w 383"/>
                <a:gd name="T45" fmla="*/ 88 h 436"/>
                <a:gd name="T46" fmla="*/ 131 w 383"/>
                <a:gd name="T47" fmla="*/ 124 h 436"/>
                <a:gd name="T48" fmla="*/ 108 w 383"/>
                <a:gd name="T49" fmla="*/ 187 h 436"/>
                <a:gd name="T50" fmla="*/ 71 w 383"/>
                <a:gd name="T51" fmla="*/ 222 h 436"/>
                <a:gd name="T52" fmla="*/ 128 w 383"/>
                <a:gd name="T53" fmla="*/ 251 h 436"/>
                <a:gd name="T54" fmla="*/ 118 w 383"/>
                <a:gd name="T55" fmla="*/ 273 h 436"/>
                <a:gd name="T56" fmla="*/ 59 w 383"/>
                <a:gd name="T57" fmla="*/ 277 h 436"/>
                <a:gd name="T58" fmla="*/ 18 w 383"/>
                <a:gd name="T59" fmla="*/ 277 h 436"/>
                <a:gd name="T60" fmla="*/ 0 w 383"/>
                <a:gd name="T61" fmla="*/ 314 h 436"/>
                <a:gd name="T62" fmla="*/ 71 w 383"/>
                <a:gd name="T63" fmla="*/ 306 h 436"/>
                <a:gd name="T64" fmla="*/ 147 w 383"/>
                <a:gd name="T65" fmla="*/ 308 h 436"/>
                <a:gd name="T66" fmla="*/ 196 w 383"/>
                <a:gd name="T67" fmla="*/ 361 h 436"/>
                <a:gd name="T68" fmla="*/ 188 w 383"/>
                <a:gd name="T69" fmla="*/ 418 h 436"/>
                <a:gd name="T70" fmla="*/ 240 w 383"/>
                <a:gd name="T7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436">
                  <a:moveTo>
                    <a:pt x="236" y="432"/>
                  </a:moveTo>
                  <a:lnTo>
                    <a:pt x="232" y="381"/>
                  </a:lnTo>
                  <a:lnTo>
                    <a:pt x="245" y="354"/>
                  </a:lnTo>
                  <a:lnTo>
                    <a:pt x="241" y="316"/>
                  </a:lnTo>
                  <a:lnTo>
                    <a:pt x="247" y="253"/>
                  </a:lnTo>
                  <a:lnTo>
                    <a:pt x="275" y="249"/>
                  </a:lnTo>
                  <a:lnTo>
                    <a:pt x="291" y="259"/>
                  </a:lnTo>
                  <a:lnTo>
                    <a:pt x="318" y="226"/>
                  </a:lnTo>
                  <a:lnTo>
                    <a:pt x="348" y="210"/>
                  </a:lnTo>
                  <a:lnTo>
                    <a:pt x="357" y="175"/>
                  </a:lnTo>
                  <a:lnTo>
                    <a:pt x="326" y="130"/>
                  </a:lnTo>
                  <a:lnTo>
                    <a:pt x="353" y="118"/>
                  </a:lnTo>
                  <a:lnTo>
                    <a:pt x="383" y="39"/>
                  </a:lnTo>
                  <a:lnTo>
                    <a:pt x="359" y="14"/>
                  </a:lnTo>
                  <a:lnTo>
                    <a:pt x="348" y="0"/>
                  </a:lnTo>
                  <a:lnTo>
                    <a:pt x="320" y="4"/>
                  </a:lnTo>
                  <a:lnTo>
                    <a:pt x="314" y="16"/>
                  </a:lnTo>
                  <a:lnTo>
                    <a:pt x="295" y="20"/>
                  </a:lnTo>
                  <a:lnTo>
                    <a:pt x="285" y="6"/>
                  </a:lnTo>
                  <a:lnTo>
                    <a:pt x="273" y="6"/>
                  </a:lnTo>
                  <a:lnTo>
                    <a:pt x="255" y="2"/>
                  </a:lnTo>
                  <a:lnTo>
                    <a:pt x="255" y="14"/>
                  </a:lnTo>
                  <a:lnTo>
                    <a:pt x="245" y="18"/>
                  </a:lnTo>
                  <a:lnTo>
                    <a:pt x="230" y="16"/>
                  </a:lnTo>
                  <a:lnTo>
                    <a:pt x="220" y="37"/>
                  </a:lnTo>
                  <a:lnTo>
                    <a:pt x="218" y="51"/>
                  </a:lnTo>
                  <a:lnTo>
                    <a:pt x="212" y="65"/>
                  </a:lnTo>
                  <a:lnTo>
                    <a:pt x="216" y="77"/>
                  </a:lnTo>
                  <a:lnTo>
                    <a:pt x="228" y="88"/>
                  </a:lnTo>
                  <a:lnTo>
                    <a:pt x="228" y="98"/>
                  </a:lnTo>
                  <a:lnTo>
                    <a:pt x="224" y="116"/>
                  </a:lnTo>
                  <a:lnTo>
                    <a:pt x="228" y="132"/>
                  </a:lnTo>
                  <a:lnTo>
                    <a:pt x="210" y="132"/>
                  </a:lnTo>
                  <a:lnTo>
                    <a:pt x="200" y="141"/>
                  </a:lnTo>
                  <a:lnTo>
                    <a:pt x="204" y="153"/>
                  </a:lnTo>
                  <a:lnTo>
                    <a:pt x="208" y="173"/>
                  </a:lnTo>
                  <a:lnTo>
                    <a:pt x="183" y="167"/>
                  </a:lnTo>
                  <a:lnTo>
                    <a:pt x="171" y="145"/>
                  </a:lnTo>
                  <a:lnTo>
                    <a:pt x="169" y="112"/>
                  </a:lnTo>
                  <a:lnTo>
                    <a:pt x="192" y="114"/>
                  </a:lnTo>
                  <a:lnTo>
                    <a:pt x="190" y="88"/>
                  </a:lnTo>
                  <a:lnTo>
                    <a:pt x="181" y="63"/>
                  </a:lnTo>
                  <a:lnTo>
                    <a:pt x="188" y="20"/>
                  </a:lnTo>
                  <a:lnTo>
                    <a:pt x="165" y="49"/>
                  </a:lnTo>
                  <a:lnTo>
                    <a:pt x="165" y="75"/>
                  </a:lnTo>
                  <a:lnTo>
                    <a:pt x="147" y="88"/>
                  </a:lnTo>
                  <a:lnTo>
                    <a:pt x="147" y="112"/>
                  </a:lnTo>
                  <a:lnTo>
                    <a:pt x="131" y="124"/>
                  </a:lnTo>
                  <a:lnTo>
                    <a:pt x="133" y="163"/>
                  </a:lnTo>
                  <a:lnTo>
                    <a:pt x="108" y="187"/>
                  </a:lnTo>
                  <a:lnTo>
                    <a:pt x="82" y="202"/>
                  </a:lnTo>
                  <a:lnTo>
                    <a:pt x="71" y="222"/>
                  </a:lnTo>
                  <a:lnTo>
                    <a:pt x="88" y="249"/>
                  </a:lnTo>
                  <a:lnTo>
                    <a:pt x="128" y="251"/>
                  </a:lnTo>
                  <a:lnTo>
                    <a:pt x="141" y="265"/>
                  </a:lnTo>
                  <a:lnTo>
                    <a:pt x="118" y="273"/>
                  </a:lnTo>
                  <a:lnTo>
                    <a:pt x="80" y="271"/>
                  </a:lnTo>
                  <a:lnTo>
                    <a:pt x="59" y="277"/>
                  </a:lnTo>
                  <a:lnTo>
                    <a:pt x="33" y="285"/>
                  </a:lnTo>
                  <a:lnTo>
                    <a:pt x="18" y="277"/>
                  </a:lnTo>
                  <a:lnTo>
                    <a:pt x="6" y="287"/>
                  </a:lnTo>
                  <a:lnTo>
                    <a:pt x="0" y="314"/>
                  </a:lnTo>
                  <a:lnTo>
                    <a:pt x="43" y="320"/>
                  </a:lnTo>
                  <a:lnTo>
                    <a:pt x="71" y="306"/>
                  </a:lnTo>
                  <a:lnTo>
                    <a:pt x="108" y="303"/>
                  </a:lnTo>
                  <a:lnTo>
                    <a:pt x="147" y="308"/>
                  </a:lnTo>
                  <a:lnTo>
                    <a:pt x="173" y="330"/>
                  </a:lnTo>
                  <a:lnTo>
                    <a:pt x="196" y="361"/>
                  </a:lnTo>
                  <a:lnTo>
                    <a:pt x="204" y="377"/>
                  </a:lnTo>
                  <a:lnTo>
                    <a:pt x="188" y="418"/>
                  </a:lnTo>
                  <a:lnTo>
                    <a:pt x="212" y="426"/>
                  </a:lnTo>
                  <a:lnTo>
                    <a:pt x="240" y="43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367" name="Group 375"/>
          <p:cNvGrpSpPr>
            <a:grpSpLocks/>
          </p:cNvGrpSpPr>
          <p:nvPr/>
        </p:nvGrpSpPr>
        <p:grpSpPr bwMode="auto">
          <a:xfrm>
            <a:off x="3743325" y="1761703"/>
            <a:ext cx="738188" cy="1812925"/>
            <a:chOff x="2350" y="1174"/>
            <a:chExt cx="465" cy="1142"/>
          </a:xfrm>
        </p:grpSpPr>
        <p:sp>
          <p:nvSpPr>
            <p:cNvPr id="368" name="Freeform 376"/>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 name="T122" fmla="*/ 4 w 930"/>
                <a:gd name="T123" fmla="*/ 1632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lnTo>
                    <a:pt x="4" y="1632"/>
                  </a:lnTo>
                  <a:close/>
                </a:path>
              </a:pathLst>
            </a:custGeom>
            <a:solidFill>
              <a:srgbClr val="0099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69" name="Freeform 377"/>
            <p:cNvSpPr>
              <a:spLocks/>
            </p:cNvSpPr>
            <p:nvPr/>
          </p:nvSpPr>
          <p:spPr bwMode="auto">
            <a:xfrm>
              <a:off x="2350" y="1174"/>
              <a:ext cx="465" cy="1142"/>
            </a:xfrm>
            <a:custGeom>
              <a:avLst/>
              <a:gdLst>
                <a:gd name="T0" fmla="*/ 22 w 930"/>
                <a:gd name="T1" fmla="*/ 1660 h 2285"/>
                <a:gd name="T2" fmla="*/ 46 w 930"/>
                <a:gd name="T3" fmla="*/ 1570 h 2285"/>
                <a:gd name="T4" fmla="*/ 73 w 930"/>
                <a:gd name="T5" fmla="*/ 1493 h 2285"/>
                <a:gd name="T6" fmla="*/ 122 w 930"/>
                <a:gd name="T7" fmla="*/ 1422 h 2285"/>
                <a:gd name="T8" fmla="*/ 106 w 930"/>
                <a:gd name="T9" fmla="*/ 1316 h 2285"/>
                <a:gd name="T10" fmla="*/ 136 w 930"/>
                <a:gd name="T11" fmla="*/ 1224 h 2285"/>
                <a:gd name="T12" fmla="*/ 110 w 930"/>
                <a:gd name="T13" fmla="*/ 1110 h 2285"/>
                <a:gd name="T14" fmla="*/ 116 w 930"/>
                <a:gd name="T15" fmla="*/ 1006 h 2285"/>
                <a:gd name="T16" fmla="*/ 124 w 930"/>
                <a:gd name="T17" fmla="*/ 888 h 2285"/>
                <a:gd name="T18" fmla="*/ 197 w 930"/>
                <a:gd name="T19" fmla="*/ 829 h 2285"/>
                <a:gd name="T20" fmla="*/ 269 w 930"/>
                <a:gd name="T21" fmla="*/ 825 h 2285"/>
                <a:gd name="T22" fmla="*/ 266 w 930"/>
                <a:gd name="T23" fmla="*/ 760 h 2285"/>
                <a:gd name="T24" fmla="*/ 273 w 930"/>
                <a:gd name="T25" fmla="*/ 681 h 2285"/>
                <a:gd name="T26" fmla="*/ 303 w 930"/>
                <a:gd name="T27" fmla="*/ 550 h 2285"/>
                <a:gd name="T28" fmla="*/ 356 w 930"/>
                <a:gd name="T29" fmla="*/ 465 h 2285"/>
                <a:gd name="T30" fmla="*/ 405 w 930"/>
                <a:gd name="T31" fmla="*/ 367 h 2285"/>
                <a:gd name="T32" fmla="*/ 395 w 930"/>
                <a:gd name="T33" fmla="*/ 290 h 2285"/>
                <a:gd name="T34" fmla="*/ 433 w 930"/>
                <a:gd name="T35" fmla="*/ 202 h 2285"/>
                <a:gd name="T36" fmla="*/ 503 w 930"/>
                <a:gd name="T37" fmla="*/ 184 h 2285"/>
                <a:gd name="T38" fmla="*/ 531 w 930"/>
                <a:gd name="T39" fmla="*/ 102 h 2285"/>
                <a:gd name="T40" fmla="*/ 604 w 930"/>
                <a:gd name="T41" fmla="*/ 110 h 2285"/>
                <a:gd name="T42" fmla="*/ 635 w 930"/>
                <a:gd name="T43" fmla="*/ 47 h 2285"/>
                <a:gd name="T44" fmla="*/ 649 w 930"/>
                <a:gd name="T45" fmla="*/ 0 h 2285"/>
                <a:gd name="T46" fmla="*/ 808 w 930"/>
                <a:gd name="T47" fmla="*/ 106 h 2285"/>
                <a:gd name="T48" fmla="*/ 861 w 930"/>
                <a:gd name="T49" fmla="*/ 255 h 2285"/>
                <a:gd name="T50" fmla="*/ 896 w 930"/>
                <a:gd name="T51" fmla="*/ 434 h 2285"/>
                <a:gd name="T52" fmla="*/ 898 w 930"/>
                <a:gd name="T53" fmla="*/ 495 h 2285"/>
                <a:gd name="T54" fmla="*/ 839 w 930"/>
                <a:gd name="T55" fmla="*/ 507 h 2285"/>
                <a:gd name="T56" fmla="*/ 820 w 930"/>
                <a:gd name="T57" fmla="*/ 550 h 2285"/>
                <a:gd name="T58" fmla="*/ 763 w 930"/>
                <a:gd name="T59" fmla="*/ 613 h 2285"/>
                <a:gd name="T60" fmla="*/ 759 w 930"/>
                <a:gd name="T61" fmla="*/ 678 h 2285"/>
                <a:gd name="T62" fmla="*/ 774 w 930"/>
                <a:gd name="T63" fmla="*/ 733 h 2285"/>
                <a:gd name="T64" fmla="*/ 763 w 930"/>
                <a:gd name="T65" fmla="*/ 797 h 2285"/>
                <a:gd name="T66" fmla="*/ 725 w 930"/>
                <a:gd name="T67" fmla="*/ 856 h 2285"/>
                <a:gd name="T68" fmla="*/ 672 w 930"/>
                <a:gd name="T69" fmla="*/ 913 h 2285"/>
                <a:gd name="T70" fmla="*/ 613 w 930"/>
                <a:gd name="T71" fmla="*/ 941 h 2285"/>
                <a:gd name="T72" fmla="*/ 570 w 930"/>
                <a:gd name="T73" fmla="*/ 1021 h 2285"/>
                <a:gd name="T74" fmla="*/ 531 w 930"/>
                <a:gd name="T75" fmla="*/ 1090 h 2285"/>
                <a:gd name="T76" fmla="*/ 513 w 930"/>
                <a:gd name="T77" fmla="*/ 1159 h 2285"/>
                <a:gd name="T78" fmla="*/ 482 w 930"/>
                <a:gd name="T79" fmla="*/ 1291 h 2285"/>
                <a:gd name="T80" fmla="*/ 564 w 930"/>
                <a:gd name="T81" fmla="*/ 1391 h 2285"/>
                <a:gd name="T82" fmla="*/ 625 w 930"/>
                <a:gd name="T83" fmla="*/ 1526 h 2285"/>
                <a:gd name="T84" fmla="*/ 513 w 930"/>
                <a:gd name="T85" fmla="*/ 1558 h 2285"/>
                <a:gd name="T86" fmla="*/ 478 w 930"/>
                <a:gd name="T87" fmla="*/ 1587 h 2285"/>
                <a:gd name="T88" fmla="*/ 615 w 930"/>
                <a:gd name="T89" fmla="*/ 1577 h 2285"/>
                <a:gd name="T90" fmla="*/ 564 w 930"/>
                <a:gd name="T91" fmla="*/ 1660 h 2285"/>
                <a:gd name="T92" fmla="*/ 486 w 930"/>
                <a:gd name="T93" fmla="*/ 1676 h 2285"/>
                <a:gd name="T94" fmla="*/ 458 w 930"/>
                <a:gd name="T95" fmla="*/ 1744 h 2285"/>
                <a:gd name="T96" fmla="*/ 470 w 930"/>
                <a:gd name="T97" fmla="*/ 1852 h 2285"/>
                <a:gd name="T98" fmla="*/ 444 w 930"/>
                <a:gd name="T99" fmla="*/ 2002 h 2285"/>
                <a:gd name="T100" fmla="*/ 399 w 930"/>
                <a:gd name="T101" fmla="*/ 2120 h 2285"/>
                <a:gd name="T102" fmla="*/ 291 w 930"/>
                <a:gd name="T103" fmla="*/ 2110 h 2285"/>
                <a:gd name="T104" fmla="*/ 256 w 930"/>
                <a:gd name="T105" fmla="*/ 2200 h 2285"/>
                <a:gd name="T106" fmla="*/ 340 w 930"/>
                <a:gd name="T107" fmla="*/ 2269 h 2285"/>
                <a:gd name="T108" fmla="*/ 271 w 930"/>
                <a:gd name="T109" fmla="*/ 2247 h 2285"/>
                <a:gd name="T110" fmla="*/ 116 w 930"/>
                <a:gd name="T111" fmla="*/ 2226 h 2285"/>
                <a:gd name="T112" fmla="*/ 91 w 930"/>
                <a:gd name="T113" fmla="*/ 2100 h 2285"/>
                <a:gd name="T114" fmla="*/ 140 w 930"/>
                <a:gd name="T115" fmla="*/ 2045 h 2285"/>
                <a:gd name="T116" fmla="*/ 47 w 930"/>
                <a:gd name="T117" fmla="*/ 1902 h 2285"/>
                <a:gd name="T118" fmla="*/ 38 w 930"/>
                <a:gd name="T119" fmla="*/ 1788 h 2285"/>
                <a:gd name="T120" fmla="*/ 0 w 930"/>
                <a:gd name="T121" fmla="*/ 1709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0" h="2285">
                  <a:moveTo>
                    <a:pt x="4" y="1632"/>
                  </a:moveTo>
                  <a:lnTo>
                    <a:pt x="0" y="1656"/>
                  </a:lnTo>
                  <a:lnTo>
                    <a:pt x="22" y="1660"/>
                  </a:lnTo>
                  <a:lnTo>
                    <a:pt x="38" y="1642"/>
                  </a:lnTo>
                  <a:lnTo>
                    <a:pt x="42" y="1607"/>
                  </a:lnTo>
                  <a:lnTo>
                    <a:pt x="46" y="1570"/>
                  </a:lnTo>
                  <a:lnTo>
                    <a:pt x="47" y="1546"/>
                  </a:lnTo>
                  <a:lnTo>
                    <a:pt x="67" y="1513"/>
                  </a:lnTo>
                  <a:lnTo>
                    <a:pt x="73" y="1493"/>
                  </a:lnTo>
                  <a:lnTo>
                    <a:pt x="87" y="1485"/>
                  </a:lnTo>
                  <a:lnTo>
                    <a:pt x="110" y="1477"/>
                  </a:lnTo>
                  <a:lnTo>
                    <a:pt x="122" y="1422"/>
                  </a:lnTo>
                  <a:lnTo>
                    <a:pt x="128" y="1375"/>
                  </a:lnTo>
                  <a:lnTo>
                    <a:pt x="124" y="1344"/>
                  </a:lnTo>
                  <a:lnTo>
                    <a:pt x="106" y="1316"/>
                  </a:lnTo>
                  <a:lnTo>
                    <a:pt x="140" y="1281"/>
                  </a:lnTo>
                  <a:lnTo>
                    <a:pt x="144" y="1245"/>
                  </a:lnTo>
                  <a:lnTo>
                    <a:pt x="136" y="1224"/>
                  </a:lnTo>
                  <a:lnTo>
                    <a:pt x="120" y="1194"/>
                  </a:lnTo>
                  <a:lnTo>
                    <a:pt x="116" y="1161"/>
                  </a:lnTo>
                  <a:lnTo>
                    <a:pt x="110" y="1110"/>
                  </a:lnTo>
                  <a:lnTo>
                    <a:pt x="106" y="1068"/>
                  </a:lnTo>
                  <a:lnTo>
                    <a:pt x="106" y="1033"/>
                  </a:lnTo>
                  <a:lnTo>
                    <a:pt x="116" y="1006"/>
                  </a:lnTo>
                  <a:lnTo>
                    <a:pt x="124" y="980"/>
                  </a:lnTo>
                  <a:lnTo>
                    <a:pt x="112" y="941"/>
                  </a:lnTo>
                  <a:lnTo>
                    <a:pt x="124" y="888"/>
                  </a:lnTo>
                  <a:lnTo>
                    <a:pt x="148" y="866"/>
                  </a:lnTo>
                  <a:lnTo>
                    <a:pt x="165" y="841"/>
                  </a:lnTo>
                  <a:lnTo>
                    <a:pt x="197" y="829"/>
                  </a:lnTo>
                  <a:lnTo>
                    <a:pt x="222" y="829"/>
                  </a:lnTo>
                  <a:lnTo>
                    <a:pt x="254" y="833"/>
                  </a:lnTo>
                  <a:lnTo>
                    <a:pt x="269" y="825"/>
                  </a:lnTo>
                  <a:lnTo>
                    <a:pt x="277" y="803"/>
                  </a:lnTo>
                  <a:lnTo>
                    <a:pt x="277" y="784"/>
                  </a:lnTo>
                  <a:lnTo>
                    <a:pt x="266" y="760"/>
                  </a:lnTo>
                  <a:lnTo>
                    <a:pt x="246" y="733"/>
                  </a:lnTo>
                  <a:lnTo>
                    <a:pt x="256" y="711"/>
                  </a:lnTo>
                  <a:lnTo>
                    <a:pt x="273" y="681"/>
                  </a:lnTo>
                  <a:lnTo>
                    <a:pt x="291" y="642"/>
                  </a:lnTo>
                  <a:lnTo>
                    <a:pt x="295" y="609"/>
                  </a:lnTo>
                  <a:lnTo>
                    <a:pt x="303" y="550"/>
                  </a:lnTo>
                  <a:lnTo>
                    <a:pt x="303" y="512"/>
                  </a:lnTo>
                  <a:lnTo>
                    <a:pt x="326" y="491"/>
                  </a:lnTo>
                  <a:lnTo>
                    <a:pt x="356" y="465"/>
                  </a:lnTo>
                  <a:lnTo>
                    <a:pt x="356" y="434"/>
                  </a:lnTo>
                  <a:lnTo>
                    <a:pt x="376" y="404"/>
                  </a:lnTo>
                  <a:lnTo>
                    <a:pt x="405" y="367"/>
                  </a:lnTo>
                  <a:lnTo>
                    <a:pt x="417" y="336"/>
                  </a:lnTo>
                  <a:lnTo>
                    <a:pt x="417" y="306"/>
                  </a:lnTo>
                  <a:lnTo>
                    <a:pt x="395" y="290"/>
                  </a:lnTo>
                  <a:lnTo>
                    <a:pt x="409" y="267"/>
                  </a:lnTo>
                  <a:lnTo>
                    <a:pt x="427" y="245"/>
                  </a:lnTo>
                  <a:lnTo>
                    <a:pt x="433" y="202"/>
                  </a:lnTo>
                  <a:lnTo>
                    <a:pt x="452" y="188"/>
                  </a:lnTo>
                  <a:lnTo>
                    <a:pt x="474" y="171"/>
                  </a:lnTo>
                  <a:lnTo>
                    <a:pt x="503" y="184"/>
                  </a:lnTo>
                  <a:lnTo>
                    <a:pt x="517" y="163"/>
                  </a:lnTo>
                  <a:lnTo>
                    <a:pt x="523" y="123"/>
                  </a:lnTo>
                  <a:lnTo>
                    <a:pt x="531" y="102"/>
                  </a:lnTo>
                  <a:lnTo>
                    <a:pt x="556" y="106"/>
                  </a:lnTo>
                  <a:lnTo>
                    <a:pt x="580" y="110"/>
                  </a:lnTo>
                  <a:lnTo>
                    <a:pt x="604" y="110"/>
                  </a:lnTo>
                  <a:lnTo>
                    <a:pt x="633" y="102"/>
                  </a:lnTo>
                  <a:lnTo>
                    <a:pt x="621" y="70"/>
                  </a:lnTo>
                  <a:lnTo>
                    <a:pt x="635" y="47"/>
                  </a:lnTo>
                  <a:lnTo>
                    <a:pt x="635" y="25"/>
                  </a:lnTo>
                  <a:lnTo>
                    <a:pt x="625" y="10"/>
                  </a:lnTo>
                  <a:lnTo>
                    <a:pt x="649" y="0"/>
                  </a:lnTo>
                  <a:lnTo>
                    <a:pt x="684" y="37"/>
                  </a:lnTo>
                  <a:lnTo>
                    <a:pt x="747" y="90"/>
                  </a:lnTo>
                  <a:lnTo>
                    <a:pt x="808" y="106"/>
                  </a:lnTo>
                  <a:lnTo>
                    <a:pt x="855" y="171"/>
                  </a:lnTo>
                  <a:lnTo>
                    <a:pt x="845" y="224"/>
                  </a:lnTo>
                  <a:lnTo>
                    <a:pt x="861" y="255"/>
                  </a:lnTo>
                  <a:lnTo>
                    <a:pt x="869" y="298"/>
                  </a:lnTo>
                  <a:lnTo>
                    <a:pt x="914" y="373"/>
                  </a:lnTo>
                  <a:lnTo>
                    <a:pt x="896" y="434"/>
                  </a:lnTo>
                  <a:lnTo>
                    <a:pt x="930" y="485"/>
                  </a:lnTo>
                  <a:lnTo>
                    <a:pt x="926" y="512"/>
                  </a:lnTo>
                  <a:lnTo>
                    <a:pt x="898" y="495"/>
                  </a:lnTo>
                  <a:lnTo>
                    <a:pt x="881" y="507"/>
                  </a:lnTo>
                  <a:lnTo>
                    <a:pt x="869" y="522"/>
                  </a:lnTo>
                  <a:lnTo>
                    <a:pt x="839" y="507"/>
                  </a:lnTo>
                  <a:lnTo>
                    <a:pt x="831" y="522"/>
                  </a:lnTo>
                  <a:lnTo>
                    <a:pt x="808" y="526"/>
                  </a:lnTo>
                  <a:lnTo>
                    <a:pt x="820" y="550"/>
                  </a:lnTo>
                  <a:lnTo>
                    <a:pt x="804" y="575"/>
                  </a:lnTo>
                  <a:lnTo>
                    <a:pt x="778" y="593"/>
                  </a:lnTo>
                  <a:lnTo>
                    <a:pt x="763" y="613"/>
                  </a:lnTo>
                  <a:lnTo>
                    <a:pt x="774" y="646"/>
                  </a:lnTo>
                  <a:lnTo>
                    <a:pt x="774" y="666"/>
                  </a:lnTo>
                  <a:lnTo>
                    <a:pt x="759" y="678"/>
                  </a:lnTo>
                  <a:lnTo>
                    <a:pt x="755" y="695"/>
                  </a:lnTo>
                  <a:lnTo>
                    <a:pt x="763" y="711"/>
                  </a:lnTo>
                  <a:lnTo>
                    <a:pt x="774" y="733"/>
                  </a:lnTo>
                  <a:lnTo>
                    <a:pt x="792" y="750"/>
                  </a:lnTo>
                  <a:lnTo>
                    <a:pt x="771" y="784"/>
                  </a:lnTo>
                  <a:lnTo>
                    <a:pt x="763" y="797"/>
                  </a:lnTo>
                  <a:lnTo>
                    <a:pt x="747" y="817"/>
                  </a:lnTo>
                  <a:lnTo>
                    <a:pt x="739" y="833"/>
                  </a:lnTo>
                  <a:lnTo>
                    <a:pt x="725" y="856"/>
                  </a:lnTo>
                  <a:lnTo>
                    <a:pt x="710" y="872"/>
                  </a:lnTo>
                  <a:lnTo>
                    <a:pt x="690" y="878"/>
                  </a:lnTo>
                  <a:lnTo>
                    <a:pt x="672" y="913"/>
                  </a:lnTo>
                  <a:lnTo>
                    <a:pt x="649" y="905"/>
                  </a:lnTo>
                  <a:lnTo>
                    <a:pt x="635" y="927"/>
                  </a:lnTo>
                  <a:lnTo>
                    <a:pt x="613" y="941"/>
                  </a:lnTo>
                  <a:lnTo>
                    <a:pt x="592" y="955"/>
                  </a:lnTo>
                  <a:lnTo>
                    <a:pt x="582" y="990"/>
                  </a:lnTo>
                  <a:lnTo>
                    <a:pt x="570" y="1021"/>
                  </a:lnTo>
                  <a:lnTo>
                    <a:pt x="531" y="1006"/>
                  </a:lnTo>
                  <a:lnTo>
                    <a:pt x="539" y="1059"/>
                  </a:lnTo>
                  <a:lnTo>
                    <a:pt x="531" y="1090"/>
                  </a:lnTo>
                  <a:lnTo>
                    <a:pt x="503" y="1074"/>
                  </a:lnTo>
                  <a:lnTo>
                    <a:pt x="511" y="1122"/>
                  </a:lnTo>
                  <a:lnTo>
                    <a:pt x="513" y="1159"/>
                  </a:lnTo>
                  <a:lnTo>
                    <a:pt x="495" y="1200"/>
                  </a:lnTo>
                  <a:lnTo>
                    <a:pt x="482" y="1239"/>
                  </a:lnTo>
                  <a:lnTo>
                    <a:pt x="482" y="1291"/>
                  </a:lnTo>
                  <a:lnTo>
                    <a:pt x="495" y="1342"/>
                  </a:lnTo>
                  <a:lnTo>
                    <a:pt x="527" y="1383"/>
                  </a:lnTo>
                  <a:lnTo>
                    <a:pt x="564" y="1391"/>
                  </a:lnTo>
                  <a:lnTo>
                    <a:pt x="604" y="1432"/>
                  </a:lnTo>
                  <a:lnTo>
                    <a:pt x="635" y="1467"/>
                  </a:lnTo>
                  <a:lnTo>
                    <a:pt x="625" y="1526"/>
                  </a:lnTo>
                  <a:lnTo>
                    <a:pt x="609" y="1552"/>
                  </a:lnTo>
                  <a:lnTo>
                    <a:pt x="576" y="1564"/>
                  </a:lnTo>
                  <a:lnTo>
                    <a:pt x="513" y="1558"/>
                  </a:lnTo>
                  <a:lnTo>
                    <a:pt x="466" y="1542"/>
                  </a:lnTo>
                  <a:lnTo>
                    <a:pt x="442" y="1564"/>
                  </a:lnTo>
                  <a:lnTo>
                    <a:pt x="478" y="1587"/>
                  </a:lnTo>
                  <a:lnTo>
                    <a:pt x="523" y="1591"/>
                  </a:lnTo>
                  <a:lnTo>
                    <a:pt x="564" y="1587"/>
                  </a:lnTo>
                  <a:lnTo>
                    <a:pt x="615" y="1577"/>
                  </a:lnTo>
                  <a:lnTo>
                    <a:pt x="604" y="1611"/>
                  </a:lnTo>
                  <a:lnTo>
                    <a:pt x="584" y="1644"/>
                  </a:lnTo>
                  <a:lnTo>
                    <a:pt x="564" y="1660"/>
                  </a:lnTo>
                  <a:lnTo>
                    <a:pt x="539" y="1638"/>
                  </a:lnTo>
                  <a:lnTo>
                    <a:pt x="523" y="1672"/>
                  </a:lnTo>
                  <a:lnTo>
                    <a:pt x="486" y="1676"/>
                  </a:lnTo>
                  <a:lnTo>
                    <a:pt x="421" y="1693"/>
                  </a:lnTo>
                  <a:lnTo>
                    <a:pt x="466" y="1713"/>
                  </a:lnTo>
                  <a:lnTo>
                    <a:pt x="458" y="1744"/>
                  </a:lnTo>
                  <a:lnTo>
                    <a:pt x="462" y="1807"/>
                  </a:lnTo>
                  <a:lnTo>
                    <a:pt x="448" y="1827"/>
                  </a:lnTo>
                  <a:lnTo>
                    <a:pt x="470" y="1852"/>
                  </a:lnTo>
                  <a:lnTo>
                    <a:pt x="454" y="1880"/>
                  </a:lnTo>
                  <a:lnTo>
                    <a:pt x="448" y="1917"/>
                  </a:lnTo>
                  <a:lnTo>
                    <a:pt x="444" y="2002"/>
                  </a:lnTo>
                  <a:lnTo>
                    <a:pt x="425" y="2039"/>
                  </a:lnTo>
                  <a:lnTo>
                    <a:pt x="413" y="2080"/>
                  </a:lnTo>
                  <a:lnTo>
                    <a:pt x="399" y="2120"/>
                  </a:lnTo>
                  <a:lnTo>
                    <a:pt x="364" y="2100"/>
                  </a:lnTo>
                  <a:lnTo>
                    <a:pt x="319" y="2100"/>
                  </a:lnTo>
                  <a:lnTo>
                    <a:pt x="291" y="2110"/>
                  </a:lnTo>
                  <a:lnTo>
                    <a:pt x="269" y="2133"/>
                  </a:lnTo>
                  <a:lnTo>
                    <a:pt x="246" y="2167"/>
                  </a:lnTo>
                  <a:lnTo>
                    <a:pt x="256" y="2200"/>
                  </a:lnTo>
                  <a:lnTo>
                    <a:pt x="254" y="2228"/>
                  </a:lnTo>
                  <a:lnTo>
                    <a:pt x="307" y="2236"/>
                  </a:lnTo>
                  <a:lnTo>
                    <a:pt x="340" y="2269"/>
                  </a:lnTo>
                  <a:lnTo>
                    <a:pt x="309" y="2285"/>
                  </a:lnTo>
                  <a:lnTo>
                    <a:pt x="293" y="2269"/>
                  </a:lnTo>
                  <a:lnTo>
                    <a:pt x="271" y="2247"/>
                  </a:lnTo>
                  <a:lnTo>
                    <a:pt x="218" y="2218"/>
                  </a:lnTo>
                  <a:lnTo>
                    <a:pt x="189" y="2226"/>
                  </a:lnTo>
                  <a:lnTo>
                    <a:pt x="116" y="2226"/>
                  </a:lnTo>
                  <a:lnTo>
                    <a:pt x="140" y="2184"/>
                  </a:lnTo>
                  <a:lnTo>
                    <a:pt x="136" y="2153"/>
                  </a:lnTo>
                  <a:lnTo>
                    <a:pt x="91" y="2100"/>
                  </a:lnTo>
                  <a:lnTo>
                    <a:pt x="116" y="2082"/>
                  </a:lnTo>
                  <a:lnTo>
                    <a:pt x="112" y="2045"/>
                  </a:lnTo>
                  <a:lnTo>
                    <a:pt x="140" y="2045"/>
                  </a:lnTo>
                  <a:lnTo>
                    <a:pt x="99" y="1996"/>
                  </a:lnTo>
                  <a:lnTo>
                    <a:pt x="69" y="1921"/>
                  </a:lnTo>
                  <a:lnTo>
                    <a:pt x="47" y="1902"/>
                  </a:lnTo>
                  <a:lnTo>
                    <a:pt x="53" y="1856"/>
                  </a:lnTo>
                  <a:lnTo>
                    <a:pt x="46" y="1825"/>
                  </a:lnTo>
                  <a:lnTo>
                    <a:pt x="38" y="1788"/>
                  </a:lnTo>
                  <a:lnTo>
                    <a:pt x="20" y="1770"/>
                  </a:lnTo>
                  <a:lnTo>
                    <a:pt x="30" y="1735"/>
                  </a:lnTo>
                  <a:lnTo>
                    <a:pt x="0" y="1709"/>
                  </a:lnTo>
                  <a:lnTo>
                    <a:pt x="4" y="1670"/>
                  </a:lnTo>
                  <a:lnTo>
                    <a:pt x="0" y="167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370" name="Group 378"/>
          <p:cNvGrpSpPr>
            <a:grpSpLocks/>
          </p:cNvGrpSpPr>
          <p:nvPr/>
        </p:nvGrpSpPr>
        <p:grpSpPr bwMode="auto">
          <a:xfrm>
            <a:off x="3370263" y="1466428"/>
            <a:ext cx="1338262" cy="1716087"/>
            <a:chOff x="2115" y="988"/>
            <a:chExt cx="843" cy="1081"/>
          </a:xfrm>
        </p:grpSpPr>
        <p:sp>
          <p:nvSpPr>
            <p:cNvPr id="371" name="Freeform 379"/>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 name="T102" fmla="*/ 1122 w 1686"/>
                <a:gd name="T103" fmla="*/ 372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lnTo>
                    <a:pt x="1122" y="372"/>
                  </a:lnTo>
                  <a:close/>
                </a:path>
              </a:pathLst>
            </a:custGeom>
            <a:solidFill>
              <a:srgbClr val="FA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372" name="Freeform 380"/>
            <p:cNvSpPr>
              <a:spLocks/>
            </p:cNvSpPr>
            <p:nvPr/>
          </p:nvSpPr>
          <p:spPr bwMode="auto">
            <a:xfrm>
              <a:off x="2115" y="988"/>
              <a:ext cx="843" cy="1081"/>
            </a:xfrm>
            <a:custGeom>
              <a:avLst/>
              <a:gdLst>
                <a:gd name="T0" fmla="*/ 1198 w 1686"/>
                <a:gd name="T1" fmla="*/ 348 h 2162"/>
                <a:gd name="T2" fmla="*/ 1338 w 1686"/>
                <a:gd name="T3" fmla="*/ 389 h 2162"/>
                <a:gd name="T4" fmla="*/ 1416 w 1686"/>
                <a:gd name="T5" fmla="*/ 220 h 2162"/>
                <a:gd name="T6" fmla="*/ 1558 w 1686"/>
                <a:gd name="T7" fmla="*/ 181 h 2162"/>
                <a:gd name="T8" fmla="*/ 1629 w 1686"/>
                <a:gd name="T9" fmla="*/ 268 h 2162"/>
                <a:gd name="T10" fmla="*/ 1664 w 1686"/>
                <a:gd name="T11" fmla="*/ 171 h 2162"/>
                <a:gd name="T12" fmla="*/ 1564 w 1686"/>
                <a:gd name="T13" fmla="*/ 140 h 2162"/>
                <a:gd name="T14" fmla="*/ 1672 w 1686"/>
                <a:gd name="T15" fmla="*/ 71 h 2162"/>
                <a:gd name="T16" fmla="*/ 1526 w 1686"/>
                <a:gd name="T17" fmla="*/ 42 h 2162"/>
                <a:gd name="T18" fmla="*/ 1505 w 1686"/>
                <a:gd name="T19" fmla="*/ 32 h 2162"/>
                <a:gd name="T20" fmla="*/ 1462 w 1686"/>
                <a:gd name="T21" fmla="*/ 79 h 2162"/>
                <a:gd name="T22" fmla="*/ 1391 w 1686"/>
                <a:gd name="T23" fmla="*/ 112 h 2162"/>
                <a:gd name="T24" fmla="*/ 1363 w 1686"/>
                <a:gd name="T25" fmla="*/ 103 h 2162"/>
                <a:gd name="T26" fmla="*/ 1310 w 1686"/>
                <a:gd name="T27" fmla="*/ 91 h 2162"/>
                <a:gd name="T28" fmla="*/ 1257 w 1686"/>
                <a:gd name="T29" fmla="*/ 218 h 2162"/>
                <a:gd name="T30" fmla="*/ 1198 w 1686"/>
                <a:gd name="T31" fmla="*/ 268 h 2162"/>
                <a:gd name="T32" fmla="*/ 1102 w 1686"/>
                <a:gd name="T33" fmla="*/ 338 h 2162"/>
                <a:gd name="T34" fmla="*/ 1057 w 1686"/>
                <a:gd name="T35" fmla="*/ 273 h 2162"/>
                <a:gd name="T36" fmla="*/ 1027 w 1686"/>
                <a:gd name="T37" fmla="*/ 299 h 2162"/>
                <a:gd name="T38" fmla="*/ 962 w 1686"/>
                <a:gd name="T39" fmla="*/ 305 h 2162"/>
                <a:gd name="T40" fmla="*/ 959 w 1686"/>
                <a:gd name="T41" fmla="*/ 417 h 2162"/>
                <a:gd name="T42" fmla="*/ 947 w 1686"/>
                <a:gd name="T43" fmla="*/ 513 h 2162"/>
                <a:gd name="T44" fmla="*/ 837 w 1686"/>
                <a:gd name="T45" fmla="*/ 588 h 2162"/>
                <a:gd name="T46" fmla="*/ 768 w 1686"/>
                <a:gd name="T47" fmla="*/ 731 h 2162"/>
                <a:gd name="T48" fmla="*/ 670 w 1686"/>
                <a:gd name="T49" fmla="*/ 853 h 2162"/>
                <a:gd name="T50" fmla="*/ 609 w 1686"/>
                <a:gd name="T51" fmla="*/ 1022 h 2162"/>
                <a:gd name="T52" fmla="*/ 469 w 1686"/>
                <a:gd name="T53" fmla="*/ 1171 h 2162"/>
                <a:gd name="T54" fmla="*/ 515 w 1686"/>
                <a:gd name="T55" fmla="*/ 1226 h 2162"/>
                <a:gd name="T56" fmla="*/ 442 w 1686"/>
                <a:gd name="T57" fmla="*/ 1309 h 2162"/>
                <a:gd name="T58" fmla="*/ 298 w 1686"/>
                <a:gd name="T59" fmla="*/ 1305 h 2162"/>
                <a:gd name="T60" fmla="*/ 245 w 1686"/>
                <a:gd name="T61" fmla="*/ 1385 h 2162"/>
                <a:gd name="T62" fmla="*/ 127 w 1686"/>
                <a:gd name="T63" fmla="*/ 1435 h 2162"/>
                <a:gd name="T64" fmla="*/ 41 w 1686"/>
                <a:gd name="T65" fmla="*/ 1602 h 2162"/>
                <a:gd name="T66" fmla="*/ 245 w 1686"/>
                <a:gd name="T67" fmla="*/ 1582 h 2162"/>
                <a:gd name="T68" fmla="*/ 94 w 1686"/>
                <a:gd name="T69" fmla="*/ 1655 h 2162"/>
                <a:gd name="T70" fmla="*/ 45 w 1686"/>
                <a:gd name="T71" fmla="*/ 1776 h 2162"/>
                <a:gd name="T72" fmla="*/ 147 w 1686"/>
                <a:gd name="T73" fmla="*/ 1776 h 2162"/>
                <a:gd name="T74" fmla="*/ 0 w 1686"/>
                <a:gd name="T75" fmla="*/ 1938 h 2162"/>
                <a:gd name="T76" fmla="*/ 25 w 1686"/>
                <a:gd name="T77" fmla="*/ 1975 h 2162"/>
                <a:gd name="T78" fmla="*/ 155 w 1686"/>
                <a:gd name="T79" fmla="*/ 2120 h 2162"/>
                <a:gd name="T80" fmla="*/ 355 w 1686"/>
                <a:gd name="T81" fmla="*/ 2022 h 2162"/>
                <a:gd name="T82" fmla="*/ 465 w 1686"/>
                <a:gd name="T83" fmla="*/ 1977 h 2162"/>
                <a:gd name="T84" fmla="*/ 544 w 1686"/>
                <a:gd name="T85" fmla="*/ 1885 h 2162"/>
                <a:gd name="T86" fmla="*/ 603 w 1686"/>
                <a:gd name="T87" fmla="*/ 1729 h 2162"/>
                <a:gd name="T88" fmla="*/ 603 w 1686"/>
                <a:gd name="T89" fmla="*/ 1582 h 2162"/>
                <a:gd name="T90" fmla="*/ 603 w 1686"/>
                <a:gd name="T91" fmla="*/ 1268 h 2162"/>
                <a:gd name="T92" fmla="*/ 758 w 1686"/>
                <a:gd name="T93" fmla="*/ 1165 h 2162"/>
                <a:gd name="T94" fmla="*/ 778 w 1686"/>
                <a:gd name="T95" fmla="*/ 924 h 2162"/>
                <a:gd name="T96" fmla="*/ 898 w 1686"/>
                <a:gd name="T97" fmla="*/ 680 h 2162"/>
                <a:gd name="T98" fmla="*/ 959 w 1686"/>
                <a:gd name="T99" fmla="*/ 549 h 2162"/>
                <a:gd name="T100" fmla="*/ 1108 w 1686"/>
                <a:gd name="T101" fmla="*/ 48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86" h="2162">
                  <a:moveTo>
                    <a:pt x="1122" y="372"/>
                  </a:moveTo>
                  <a:lnTo>
                    <a:pt x="1157" y="370"/>
                  </a:lnTo>
                  <a:lnTo>
                    <a:pt x="1159" y="336"/>
                  </a:lnTo>
                  <a:lnTo>
                    <a:pt x="1179" y="330"/>
                  </a:lnTo>
                  <a:lnTo>
                    <a:pt x="1198" y="348"/>
                  </a:lnTo>
                  <a:lnTo>
                    <a:pt x="1220" y="376"/>
                  </a:lnTo>
                  <a:lnTo>
                    <a:pt x="1247" y="417"/>
                  </a:lnTo>
                  <a:lnTo>
                    <a:pt x="1279" y="421"/>
                  </a:lnTo>
                  <a:lnTo>
                    <a:pt x="1310" y="433"/>
                  </a:lnTo>
                  <a:lnTo>
                    <a:pt x="1338" y="389"/>
                  </a:lnTo>
                  <a:lnTo>
                    <a:pt x="1365" y="413"/>
                  </a:lnTo>
                  <a:lnTo>
                    <a:pt x="1403" y="385"/>
                  </a:lnTo>
                  <a:lnTo>
                    <a:pt x="1416" y="360"/>
                  </a:lnTo>
                  <a:lnTo>
                    <a:pt x="1420" y="293"/>
                  </a:lnTo>
                  <a:lnTo>
                    <a:pt x="1416" y="220"/>
                  </a:lnTo>
                  <a:lnTo>
                    <a:pt x="1440" y="197"/>
                  </a:lnTo>
                  <a:lnTo>
                    <a:pt x="1477" y="187"/>
                  </a:lnTo>
                  <a:lnTo>
                    <a:pt x="1501" y="163"/>
                  </a:lnTo>
                  <a:lnTo>
                    <a:pt x="1526" y="156"/>
                  </a:lnTo>
                  <a:lnTo>
                    <a:pt x="1558" y="181"/>
                  </a:lnTo>
                  <a:lnTo>
                    <a:pt x="1601" y="201"/>
                  </a:lnTo>
                  <a:lnTo>
                    <a:pt x="1617" y="218"/>
                  </a:lnTo>
                  <a:lnTo>
                    <a:pt x="1617" y="254"/>
                  </a:lnTo>
                  <a:lnTo>
                    <a:pt x="1603" y="289"/>
                  </a:lnTo>
                  <a:lnTo>
                    <a:pt x="1629" y="268"/>
                  </a:lnTo>
                  <a:lnTo>
                    <a:pt x="1654" y="234"/>
                  </a:lnTo>
                  <a:lnTo>
                    <a:pt x="1656" y="193"/>
                  </a:lnTo>
                  <a:lnTo>
                    <a:pt x="1682" y="193"/>
                  </a:lnTo>
                  <a:lnTo>
                    <a:pt x="1686" y="159"/>
                  </a:lnTo>
                  <a:lnTo>
                    <a:pt x="1664" y="171"/>
                  </a:lnTo>
                  <a:lnTo>
                    <a:pt x="1648" y="189"/>
                  </a:lnTo>
                  <a:lnTo>
                    <a:pt x="1623" y="185"/>
                  </a:lnTo>
                  <a:lnTo>
                    <a:pt x="1621" y="163"/>
                  </a:lnTo>
                  <a:lnTo>
                    <a:pt x="1591" y="152"/>
                  </a:lnTo>
                  <a:lnTo>
                    <a:pt x="1564" y="140"/>
                  </a:lnTo>
                  <a:lnTo>
                    <a:pt x="1607" y="128"/>
                  </a:lnTo>
                  <a:lnTo>
                    <a:pt x="1627" y="128"/>
                  </a:lnTo>
                  <a:lnTo>
                    <a:pt x="1644" y="110"/>
                  </a:lnTo>
                  <a:lnTo>
                    <a:pt x="1666" y="91"/>
                  </a:lnTo>
                  <a:lnTo>
                    <a:pt x="1672" y="71"/>
                  </a:lnTo>
                  <a:lnTo>
                    <a:pt x="1623" y="57"/>
                  </a:lnTo>
                  <a:lnTo>
                    <a:pt x="1601" y="42"/>
                  </a:lnTo>
                  <a:lnTo>
                    <a:pt x="1568" y="46"/>
                  </a:lnTo>
                  <a:lnTo>
                    <a:pt x="1536" y="20"/>
                  </a:lnTo>
                  <a:lnTo>
                    <a:pt x="1526" y="42"/>
                  </a:lnTo>
                  <a:lnTo>
                    <a:pt x="1534" y="59"/>
                  </a:lnTo>
                  <a:lnTo>
                    <a:pt x="1536" y="87"/>
                  </a:lnTo>
                  <a:lnTo>
                    <a:pt x="1511" y="91"/>
                  </a:lnTo>
                  <a:lnTo>
                    <a:pt x="1489" y="53"/>
                  </a:lnTo>
                  <a:lnTo>
                    <a:pt x="1505" y="32"/>
                  </a:lnTo>
                  <a:lnTo>
                    <a:pt x="1505" y="4"/>
                  </a:lnTo>
                  <a:lnTo>
                    <a:pt x="1481" y="0"/>
                  </a:lnTo>
                  <a:lnTo>
                    <a:pt x="1471" y="16"/>
                  </a:lnTo>
                  <a:lnTo>
                    <a:pt x="1467" y="49"/>
                  </a:lnTo>
                  <a:lnTo>
                    <a:pt x="1462" y="79"/>
                  </a:lnTo>
                  <a:lnTo>
                    <a:pt x="1446" y="112"/>
                  </a:lnTo>
                  <a:lnTo>
                    <a:pt x="1428" y="79"/>
                  </a:lnTo>
                  <a:lnTo>
                    <a:pt x="1418" y="49"/>
                  </a:lnTo>
                  <a:lnTo>
                    <a:pt x="1391" y="75"/>
                  </a:lnTo>
                  <a:lnTo>
                    <a:pt x="1391" y="112"/>
                  </a:lnTo>
                  <a:lnTo>
                    <a:pt x="1381" y="140"/>
                  </a:lnTo>
                  <a:lnTo>
                    <a:pt x="1367" y="163"/>
                  </a:lnTo>
                  <a:lnTo>
                    <a:pt x="1350" y="177"/>
                  </a:lnTo>
                  <a:lnTo>
                    <a:pt x="1350" y="138"/>
                  </a:lnTo>
                  <a:lnTo>
                    <a:pt x="1363" y="103"/>
                  </a:lnTo>
                  <a:lnTo>
                    <a:pt x="1381" y="63"/>
                  </a:lnTo>
                  <a:lnTo>
                    <a:pt x="1348" y="71"/>
                  </a:lnTo>
                  <a:lnTo>
                    <a:pt x="1330" y="57"/>
                  </a:lnTo>
                  <a:lnTo>
                    <a:pt x="1310" y="65"/>
                  </a:lnTo>
                  <a:lnTo>
                    <a:pt x="1310" y="91"/>
                  </a:lnTo>
                  <a:lnTo>
                    <a:pt x="1316" y="122"/>
                  </a:lnTo>
                  <a:lnTo>
                    <a:pt x="1291" y="138"/>
                  </a:lnTo>
                  <a:lnTo>
                    <a:pt x="1261" y="159"/>
                  </a:lnTo>
                  <a:lnTo>
                    <a:pt x="1257" y="197"/>
                  </a:lnTo>
                  <a:lnTo>
                    <a:pt x="1257" y="218"/>
                  </a:lnTo>
                  <a:lnTo>
                    <a:pt x="1242" y="201"/>
                  </a:lnTo>
                  <a:lnTo>
                    <a:pt x="1212" y="197"/>
                  </a:lnTo>
                  <a:lnTo>
                    <a:pt x="1194" y="187"/>
                  </a:lnTo>
                  <a:lnTo>
                    <a:pt x="1194" y="236"/>
                  </a:lnTo>
                  <a:lnTo>
                    <a:pt x="1198" y="268"/>
                  </a:lnTo>
                  <a:lnTo>
                    <a:pt x="1173" y="240"/>
                  </a:lnTo>
                  <a:lnTo>
                    <a:pt x="1151" y="224"/>
                  </a:lnTo>
                  <a:lnTo>
                    <a:pt x="1145" y="254"/>
                  </a:lnTo>
                  <a:lnTo>
                    <a:pt x="1130" y="299"/>
                  </a:lnTo>
                  <a:lnTo>
                    <a:pt x="1102" y="338"/>
                  </a:lnTo>
                  <a:lnTo>
                    <a:pt x="1106" y="289"/>
                  </a:lnTo>
                  <a:lnTo>
                    <a:pt x="1106" y="254"/>
                  </a:lnTo>
                  <a:lnTo>
                    <a:pt x="1080" y="266"/>
                  </a:lnTo>
                  <a:lnTo>
                    <a:pt x="1074" y="303"/>
                  </a:lnTo>
                  <a:lnTo>
                    <a:pt x="1057" y="273"/>
                  </a:lnTo>
                  <a:lnTo>
                    <a:pt x="1037" y="319"/>
                  </a:lnTo>
                  <a:lnTo>
                    <a:pt x="1071" y="356"/>
                  </a:lnTo>
                  <a:lnTo>
                    <a:pt x="1033" y="356"/>
                  </a:lnTo>
                  <a:lnTo>
                    <a:pt x="1018" y="342"/>
                  </a:lnTo>
                  <a:lnTo>
                    <a:pt x="1027" y="299"/>
                  </a:lnTo>
                  <a:lnTo>
                    <a:pt x="1057" y="242"/>
                  </a:lnTo>
                  <a:lnTo>
                    <a:pt x="1021" y="218"/>
                  </a:lnTo>
                  <a:lnTo>
                    <a:pt x="1000" y="287"/>
                  </a:lnTo>
                  <a:lnTo>
                    <a:pt x="988" y="323"/>
                  </a:lnTo>
                  <a:lnTo>
                    <a:pt x="962" y="305"/>
                  </a:lnTo>
                  <a:lnTo>
                    <a:pt x="935" y="326"/>
                  </a:lnTo>
                  <a:lnTo>
                    <a:pt x="919" y="360"/>
                  </a:lnTo>
                  <a:lnTo>
                    <a:pt x="939" y="376"/>
                  </a:lnTo>
                  <a:lnTo>
                    <a:pt x="974" y="383"/>
                  </a:lnTo>
                  <a:lnTo>
                    <a:pt x="959" y="417"/>
                  </a:lnTo>
                  <a:lnTo>
                    <a:pt x="943" y="444"/>
                  </a:lnTo>
                  <a:lnTo>
                    <a:pt x="909" y="466"/>
                  </a:lnTo>
                  <a:lnTo>
                    <a:pt x="890" y="501"/>
                  </a:lnTo>
                  <a:lnTo>
                    <a:pt x="935" y="478"/>
                  </a:lnTo>
                  <a:lnTo>
                    <a:pt x="947" y="513"/>
                  </a:lnTo>
                  <a:lnTo>
                    <a:pt x="915" y="519"/>
                  </a:lnTo>
                  <a:lnTo>
                    <a:pt x="882" y="541"/>
                  </a:lnTo>
                  <a:lnTo>
                    <a:pt x="890" y="576"/>
                  </a:lnTo>
                  <a:lnTo>
                    <a:pt x="856" y="547"/>
                  </a:lnTo>
                  <a:lnTo>
                    <a:pt x="837" y="588"/>
                  </a:lnTo>
                  <a:lnTo>
                    <a:pt x="837" y="659"/>
                  </a:lnTo>
                  <a:lnTo>
                    <a:pt x="797" y="645"/>
                  </a:lnTo>
                  <a:lnTo>
                    <a:pt x="776" y="649"/>
                  </a:lnTo>
                  <a:lnTo>
                    <a:pt x="772" y="686"/>
                  </a:lnTo>
                  <a:lnTo>
                    <a:pt x="768" y="731"/>
                  </a:lnTo>
                  <a:lnTo>
                    <a:pt x="727" y="747"/>
                  </a:lnTo>
                  <a:lnTo>
                    <a:pt x="711" y="776"/>
                  </a:lnTo>
                  <a:lnTo>
                    <a:pt x="695" y="812"/>
                  </a:lnTo>
                  <a:lnTo>
                    <a:pt x="707" y="851"/>
                  </a:lnTo>
                  <a:lnTo>
                    <a:pt x="670" y="853"/>
                  </a:lnTo>
                  <a:lnTo>
                    <a:pt x="685" y="906"/>
                  </a:lnTo>
                  <a:lnTo>
                    <a:pt x="658" y="932"/>
                  </a:lnTo>
                  <a:lnTo>
                    <a:pt x="652" y="987"/>
                  </a:lnTo>
                  <a:lnTo>
                    <a:pt x="617" y="987"/>
                  </a:lnTo>
                  <a:lnTo>
                    <a:pt x="609" y="1022"/>
                  </a:lnTo>
                  <a:lnTo>
                    <a:pt x="571" y="1040"/>
                  </a:lnTo>
                  <a:lnTo>
                    <a:pt x="560" y="1073"/>
                  </a:lnTo>
                  <a:lnTo>
                    <a:pt x="564" y="1118"/>
                  </a:lnTo>
                  <a:lnTo>
                    <a:pt x="511" y="1114"/>
                  </a:lnTo>
                  <a:lnTo>
                    <a:pt x="469" y="1171"/>
                  </a:lnTo>
                  <a:lnTo>
                    <a:pt x="465" y="1209"/>
                  </a:lnTo>
                  <a:lnTo>
                    <a:pt x="420" y="1218"/>
                  </a:lnTo>
                  <a:lnTo>
                    <a:pt x="448" y="1260"/>
                  </a:lnTo>
                  <a:lnTo>
                    <a:pt x="485" y="1258"/>
                  </a:lnTo>
                  <a:lnTo>
                    <a:pt x="515" y="1226"/>
                  </a:lnTo>
                  <a:lnTo>
                    <a:pt x="560" y="1220"/>
                  </a:lnTo>
                  <a:lnTo>
                    <a:pt x="544" y="1264"/>
                  </a:lnTo>
                  <a:lnTo>
                    <a:pt x="518" y="1268"/>
                  </a:lnTo>
                  <a:lnTo>
                    <a:pt x="485" y="1297"/>
                  </a:lnTo>
                  <a:lnTo>
                    <a:pt x="442" y="1309"/>
                  </a:lnTo>
                  <a:lnTo>
                    <a:pt x="416" y="1279"/>
                  </a:lnTo>
                  <a:lnTo>
                    <a:pt x="401" y="1309"/>
                  </a:lnTo>
                  <a:lnTo>
                    <a:pt x="369" y="1297"/>
                  </a:lnTo>
                  <a:lnTo>
                    <a:pt x="332" y="1293"/>
                  </a:lnTo>
                  <a:lnTo>
                    <a:pt x="298" y="1305"/>
                  </a:lnTo>
                  <a:lnTo>
                    <a:pt x="267" y="1321"/>
                  </a:lnTo>
                  <a:lnTo>
                    <a:pt x="267" y="1360"/>
                  </a:lnTo>
                  <a:lnTo>
                    <a:pt x="222" y="1342"/>
                  </a:lnTo>
                  <a:lnTo>
                    <a:pt x="208" y="1366"/>
                  </a:lnTo>
                  <a:lnTo>
                    <a:pt x="245" y="1385"/>
                  </a:lnTo>
                  <a:lnTo>
                    <a:pt x="224" y="1413"/>
                  </a:lnTo>
                  <a:lnTo>
                    <a:pt x="184" y="1399"/>
                  </a:lnTo>
                  <a:lnTo>
                    <a:pt x="161" y="1413"/>
                  </a:lnTo>
                  <a:lnTo>
                    <a:pt x="171" y="1464"/>
                  </a:lnTo>
                  <a:lnTo>
                    <a:pt x="127" y="1435"/>
                  </a:lnTo>
                  <a:lnTo>
                    <a:pt x="94" y="1464"/>
                  </a:lnTo>
                  <a:lnTo>
                    <a:pt x="90" y="1499"/>
                  </a:lnTo>
                  <a:lnTo>
                    <a:pt x="45" y="1521"/>
                  </a:lnTo>
                  <a:lnTo>
                    <a:pt x="51" y="1558"/>
                  </a:lnTo>
                  <a:lnTo>
                    <a:pt x="41" y="1602"/>
                  </a:lnTo>
                  <a:lnTo>
                    <a:pt x="70" y="1623"/>
                  </a:lnTo>
                  <a:lnTo>
                    <a:pt x="159" y="1596"/>
                  </a:lnTo>
                  <a:lnTo>
                    <a:pt x="171" y="1619"/>
                  </a:lnTo>
                  <a:lnTo>
                    <a:pt x="222" y="1590"/>
                  </a:lnTo>
                  <a:lnTo>
                    <a:pt x="245" y="1582"/>
                  </a:lnTo>
                  <a:lnTo>
                    <a:pt x="230" y="1621"/>
                  </a:lnTo>
                  <a:lnTo>
                    <a:pt x="200" y="1653"/>
                  </a:lnTo>
                  <a:lnTo>
                    <a:pt x="171" y="1688"/>
                  </a:lnTo>
                  <a:lnTo>
                    <a:pt x="155" y="1653"/>
                  </a:lnTo>
                  <a:lnTo>
                    <a:pt x="94" y="1655"/>
                  </a:lnTo>
                  <a:lnTo>
                    <a:pt x="41" y="1655"/>
                  </a:lnTo>
                  <a:lnTo>
                    <a:pt x="25" y="1684"/>
                  </a:lnTo>
                  <a:lnTo>
                    <a:pt x="70" y="1712"/>
                  </a:lnTo>
                  <a:lnTo>
                    <a:pt x="29" y="1741"/>
                  </a:lnTo>
                  <a:lnTo>
                    <a:pt x="45" y="1776"/>
                  </a:lnTo>
                  <a:lnTo>
                    <a:pt x="29" y="1839"/>
                  </a:lnTo>
                  <a:lnTo>
                    <a:pt x="90" y="1767"/>
                  </a:lnTo>
                  <a:lnTo>
                    <a:pt x="139" y="1721"/>
                  </a:lnTo>
                  <a:lnTo>
                    <a:pt x="184" y="1745"/>
                  </a:lnTo>
                  <a:lnTo>
                    <a:pt x="147" y="1776"/>
                  </a:lnTo>
                  <a:lnTo>
                    <a:pt x="102" y="1802"/>
                  </a:lnTo>
                  <a:lnTo>
                    <a:pt x="68" y="1831"/>
                  </a:lnTo>
                  <a:lnTo>
                    <a:pt x="122" y="1847"/>
                  </a:lnTo>
                  <a:lnTo>
                    <a:pt x="19" y="1879"/>
                  </a:lnTo>
                  <a:lnTo>
                    <a:pt x="0" y="1938"/>
                  </a:lnTo>
                  <a:lnTo>
                    <a:pt x="53" y="1908"/>
                  </a:lnTo>
                  <a:lnTo>
                    <a:pt x="94" y="1896"/>
                  </a:lnTo>
                  <a:lnTo>
                    <a:pt x="67" y="1942"/>
                  </a:lnTo>
                  <a:lnTo>
                    <a:pt x="59" y="1977"/>
                  </a:lnTo>
                  <a:lnTo>
                    <a:pt x="25" y="1975"/>
                  </a:lnTo>
                  <a:lnTo>
                    <a:pt x="10" y="2024"/>
                  </a:lnTo>
                  <a:lnTo>
                    <a:pt x="74" y="2103"/>
                  </a:lnTo>
                  <a:lnTo>
                    <a:pt x="106" y="2077"/>
                  </a:lnTo>
                  <a:lnTo>
                    <a:pt x="120" y="2130"/>
                  </a:lnTo>
                  <a:lnTo>
                    <a:pt x="155" y="2120"/>
                  </a:lnTo>
                  <a:lnTo>
                    <a:pt x="177" y="2162"/>
                  </a:lnTo>
                  <a:lnTo>
                    <a:pt x="218" y="2114"/>
                  </a:lnTo>
                  <a:lnTo>
                    <a:pt x="265" y="2109"/>
                  </a:lnTo>
                  <a:lnTo>
                    <a:pt x="298" y="2075"/>
                  </a:lnTo>
                  <a:lnTo>
                    <a:pt x="355" y="2022"/>
                  </a:lnTo>
                  <a:lnTo>
                    <a:pt x="385" y="2006"/>
                  </a:lnTo>
                  <a:lnTo>
                    <a:pt x="408" y="1981"/>
                  </a:lnTo>
                  <a:lnTo>
                    <a:pt x="420" y="1928"/>
                  </a:lnTo>
                  <a:lnTo>
                    <a:pt x="438" y="1873"/>
                  </a:lnTo>
                  <a:lnTo>
                    <a:pt x="465" y="1977"/>
                  </a:lnTo>
                  <a:lnTo>
                    <a:pt x="499" y="2014"/>
                  </a:lnTo>
                  <a:lnTo>
                    <a:pt x="515" y="2020"/>
                  </a:lnTo>
                  <a:lnTo>
                    <a:pt x="522" y="1945"/>
                  </a:lnTo>
                  <a:lnTo>
                    <a:pt x="524" y="1914"/>
                  </a:lnTo>
                  <a:lnTo>
                    <a:pt x="544" y="1885"/>
                  </a:lnTo>
                  <a:lnTo>
                    <a:pt x="552" y="1863"/>
                  </a:lnTo>
                  <a:lnTo>
                    <a:pt x="589" y="1843"/>
                  </a:lnTo>
                  <a:lnTo>
                    <a:pt x="599" y="1796"/>
                  </a:lnTo>
                  <a:lnTo>
                    <a:pt x="601" y="1753"/>
                  </a:lnTo>
                  <a:lnTo>
                    <a:pt x="603" y="1729"/>
                  </a:lnTo>
                  <a:lnTo>
                    <a:pt x="587" y="1692"/>
                  </a:lnTo>
                  <a:lnTo>
                    <a:pt x="628" y="1643"/>
                  </a:lnTo>
                  <a:lnTo>
                    <a:pt x="621" y="1635"/>
                  </a:lnTo>
                  <a:lnTo>
                    <a:pt x="623" y="1613"/>
                  </a:lnTo>
                  <a:lnTo>
                    <a:pt x="603" y="1582"/>
                  </a:lnTo>
                  <a:lnTo>
                    <a:pt x="587" y="1492"/>
                  </a:lnTo>
                  <a:lnTo>
                    <a:pt x="583" y="1415"/>
                  </a:lnTo>
                  <a:lnTo>
                    <a:pt x="599" y="1362"/>
                  </a:lnTo>
                  <a:lnTo>
                    <a:pt x="593" y="1317"/>
                  </a:lnTo>
                  <a:lnTo>
                    <a:pt x="603" y="1268"/>
                  </a:lnTo>
                  <a:lnTo>
                    <a:pt x="627" y="1230"/>
                  </a:lnTo>
                  <a:lnTo>
                    <a:pt x="654" y="1209"/>
                  </a:lnTo>
                  <a:lnTo>
                    <a:pt x="693" y="1203"/>
                  </a:lnTo>
                  <a:lnTo>
                    <a:pt x="740" y="1203"/>
                  </a:lnTo>
                  <a:lnTo>
                    <a:pt x="758" y="1165"/>
                  </a:lnTo>
                  <a:lnTo>
                    <a:pt x="727" y="1103"/>
                  </a:lnTo>
                  <a:lnTo>
                    <a:pt x="746" y="1057"/>
                  </a:lnTo>
                  <a:lnTo>
                    <a:pt x="764" y="1028"/>
                  </a:lnTo>
                  <a:lnTo>
                    <a:pt x="772" y="996"/>
                  </a:lnTo>
                  <a:lnTo>
                    <a:pt x="778" y="924"/>
                  </a:lnTo>
                  <a:lnTo>
                    <a:pt x="780" y="881"/>
                  </a:lnTo>
                  <a:lnTo>
                    <a:pt x="827" y="843"/>
                  </a:lnTo>
                  <a:lnTo>
                    <a:pt x="837" y="806"/>
                  </a:lnTo>
                  <a:lnTo>
                    <a:pt x="894" y="714"/>
                  </a:lnTo>
                  <a:lnTo>
                    <a:pt x="898" y="680"/>
                  </a:lnTo>
                  <a:lnTo>
                    <a:pt x="874" y="662"/>
                  </a:lnTo>
                  <a:lnTo>
                    <a:pt x="900" y="619"/>
                  </a:lnTo>
                  <a:lnTo>
                    <a:pt x="911" y="574"/>
                  </a:lnTo>
                  <a:lnTo>
                    <a:pt x="939" y="552"/>
                  </a:lnTo>
                  <a:lnTo>
                    <a:pt x="959" y="549"/>
                  </a:lnTo>
                  <a:lnTo>
                    <a:pt x="984" y="550"/>
                  </a:lnTo>
                  <a:lnTo>
                    <a:pt x="998" y="513"/>
                  </a:lnTo>
                  <a:lnTo>
                    <a:pt x="1002" y="476"/>
                  </a:lnTo>
                  <a:lnTo>
                    <a:pt x="1043" y="478"/>
                  </a:lnTo>
                  <a:lnTo>
                    <a:pt x="1108" y="480"/>
                  </a:lnTo>
                  <a:lnTo>
                    <a:pt x="1102" y="460"/>
                  </a:lnTo>
                  <a:lnTo>
                    <a:pt x="1108" y="421"/>
                  </a:lnTo>
                  <a:lnTo>
                    <a:pt x="1110" y="391"/>
                  </a:lnTo>
                  <a:lnTo>
                    <a:pt x="1124" y="37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373" name="Freeform 381"/>
          <p:cNvSpPr>
            <a:spLocks/>
          </p:cNvSpPr>
          <p:nvPr/>
        </p:nvSpPr>
        <p:spPr bwMode="auto">
          <a:xfrm>
            <a:off x="2338388" y="2928515"/>
            <a:ext cx="652462" cy="1074738"/>
          </a:xfrm>
          <a:custGeom>
            <a:avLst/>
            <a:gdLst>
              <a:gd name="T0" fmla="*/ 546 w 821"/>
              <a:gd name="T1" fmla="*/ 409 h 1356"/>
              <a:gd name="T2" fmla="*/ 580 w 821"/>
              <a:gd name="T3" fmla="*/ 366 h 1356"/>
              <a:gd name="T4" fmla="*/ 652 w 821"/>
              <a:gd name="T5" fmla="*/ 273 h 1356"/>
              <a:gd name="T6" fmla="*/ 631 w 821"/>
              <a:gd name="T7" fmla="*/ 201 h 1356"/>
              <a:gd name="T8" fmla="*/ 487 w 821"/>
              <a:gd name="T9" fmla="*/ 183 h 1356"/>
              <a:gd name="T10" fmla="*/ 513 w 821"/>
              <a:gd name="T11" fmla="*/ 114 h 1356"/>
              <a:gd name="T12" fmla="*/ 576 w 821"/>
              <a:gd name="T13" fmla="*/ 81 h 1356"/>
              <a:gd name="T14" fmla="*/ 560 w 821"/>
              <a:gd name="T15" fmla="*/ 26 h 1356"/>
              <a:gd name="T16" fmla="*/ 440 w 821"/>
              <a:gd name="T17" fmla="*/ 28 h 1356"/>
              <a:gd name="T18" fmla="*/ 403 w 821"/>
              <a:gd name="T19" fmla="*/ 97 h 1356"/>
              <a:gd name="T20" fmla="*/ 356 w 821"/>
              <a:gd name="T21" fmla="*/ 142 h 1356"/>
              <a:gd name="T22" fmla="*/ 334 w 821"/>
              <a:gd name="T23" fmla="*/ 218 h 1356"/>
              <a:gd name="T24" fmla="*/ 289 w 821"/>
              <a:gd name="T25" fmla="*/ 299 h 1356"/>
              <a:gd name="T26" fmla="*/ 320 w 821"/>
              <a:gd name="T27" fmla="*/ 326 h 1356"/>
              <a:gd name="T28" fmla="*/ 287 w 821"/>
              <a:gd name="T29" fmla="*/ 423 h 1356"/>
              <a:gd name="T30" fmla="*/ 312 w 821"/>
              <a:gd name="T31" fmla="*/ 409 h 1356"/>
              <a:gd name="T32" fmla="*/ 350 w 821"/>
              <a:gd name="T33" fmla="*/ 435 h 1356"/>
              <a:gd name="T34" fmla="*/ 293 w 821"/>
              <a:gd name="T35" fmla="*/ 552 h 1356"/>
              <a:gd name="T36" fmla="*/ 299 w 821"/>
              <a:gd name="T37" fmla="*/ 603 h 1356"/>
              <a:gd name="T38" fmla="*/ 391 w 821"/>
              <a:gd name="T39" fmla="*/ 627 h 1356"/>
              <a:gd name="T40" fmla="*/ 391 w 821"/>
              <a:gd name="T41" fmla="*/ 678 h 1356"/>
              <a:gd name="T42" fmla="*/ 424 w 821"/>
              <a:gd name="T43" fmla="*/ 788 h 1356"/>
              <a:gd name="T44" fmla="*/ 377 w 821"/>
              <a:gd name="T45" fmla="*/ 882 h 1356"/>
              <a:gd name="T46" fmla="*/ 234 w 821"/>
              <a:gd name="T47" fmla="*/ 924 h 1356"/>
              <a:gd name="T48" fmla="*/ 267 w 821"/>
              <a:gd name="T49" fmla="*/ 989 h 1356"/>
              <a:gd name="T50" fmla="*/ 124 w 821"/>
              <a:gd name="T51" fmla="*/ 1059 h 1356"/>
              <a:gd name="T52" fmla="*/ 183 w 821"/>
              <a:gd name="T53" fmla="*/ 1087 h 1356"/>
              <a:gd name="T54" fmla="*/ 246 w 821"/>
              <a:gd name="T55" fmla="*/ 1122 h 1356"/>
              <a:gd name="T56" fmla="*/ 308 w 821"/>
              <a:gd name="T57" fmla="*/ 1171 h 1356"/>
              <a:gd name="T58" fmla="*/ 297 w 821"/>
              <a:gd name="T59" fmla="*/ 1213 h 1356"/>
              <a:gd name="T60" fmla="*/ 90 w 821"/>
              <a:gd name="T61" fmla="*/ 1279 h 1356"/>
              <a:gd name="T62" fmla="*/ 67 w 821"/>
              <a:gd name="T63" fmla="*/ 1348 h 1356"/>
              <a:gd name="T64" fmla="*/ 141 w 821"/>
              <a:gd name="T65" fmla="*/ 1313 h 1356"/>
              <a:gd name="T66" fmla="*/ 242 w 821"/>
              <a:gd name="T67" fmla="*/ 1309 h 1356"/>
              <a:gd name="T68" fmla="*/ 342 w 821"/>
              <a:gd name="T69" fmla="*/ 1342 h 1356"/>
              <a:gd name="T70" fmla="*/ 418 w 821"/>
              <a:gd name="T71" fmla="*/ 1323 h 1356"/>
              <a:gd name="T72" fmla="*/ 464 w 821"/>
              <a:gd name="T73" fmla="*/ 1332 h 1356"/>
              <a:gd name="T74" fmla="*/ 597 w 821"/>
              <a:gd name="T75" fmla="*/ 1348 h 1356"/>
              <a:gd name="T76" fmla="*/ 733 w 821"/>
              <a:gd name="T77" fmla="*/ 1326 h 1356"/>
              <a:gd name="T78" fmla="*/ 670 w 821"/>
              <a:gd name="T79" fmla="*/ 1271 h 1356"/>
              <a:gd name="T80" fmla="*/ 719 w 821"/>
              <a:gd name="T81" fmla="*/ 1213 h 1356"/>
              <a:gd name="T82" fmla="*/ 774 w 821"/>
              <a:gd name="T83" fmla="*/ 1175 h 1356"/>
              <a:gd name="T84" fmla="*/ 821 w 821"/>
              <a:gd name="T85" fmla="*/ 1087 h 1356"/>
              <a:gd name="T86" fmla="*/ 709 w 821"/>
              <a:gd name="T87" fmla="*/ 1028 h 1356"/>
              <a:gd name="T88" fmla="*/ 697 w 821"/>
              <a:gd name="T89" fmla="*/ 989 h 1356"/>
              <a:gd name="T90" fmla="*/ 672 w 821"/>
              <a:gd name="T91" fmla="*/ 879 h 1356"/>
              <a:gd name="T92" fmla="*/ 696 w 821"/>
              <a:gd name="T93" fmla="*/ 845 h 1356"/>
              <a:gd name="T94" fmla="*/ 662 w 821"/>
              <a:gd name="T95" fmla="*/ 739 h 1356"/>
              <a:gd name="T96" fmla="*/ 607 w 821"/>
              <a:gd name="T97" fmla="*/ 623 h 1356"/>
              <a:gd name="T98" fmla="*/ 595 w 821"/>
              <a:gd name="T99" fmla="*/ 517 h 1356"/>
              <a:gd name="T100" fmla="*/ 505 w 821"/>
              <a:gd name="T101" fmla="*/ 454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1" h="1356">
                <a:moveTo>
                  <a:pt x="485" y="446"/>
                </a:moveTo>
                <a:lnTo>
                  <a:pt x="499" y="429"/>
                </a:lnTo>
                <a:lnTo>
                  <a:pt x="552" y="429"/>
                </a:lnTo>
                <a:lnTo>
                  <a:pt x="546" y="409"/>
                </a:lnTo>
                <a:lnTo>
                  <a:pt x="525" y="391"/>
                </a:lnTo>
                <a:lnTo>
                  <a:pt x="552" y="389"/>
                </a:lnTo>
                <a:lnTo>
                  <a:pt x="566" y="389"/>
                </a:lnTo>
                <a:lnTo>
                  <a:pt x="580" y="366"/>
                </a:lnTo>
                <a:lnTo>
                  <a:pt x="593" y="348"/>
                </a:lnTo>
                <a:lnTo>
                  <a:pt x="615" y="326"/>
                </a:lnTo>
                <a:lnTo>
                  <a:pt x="631" y="297"/>
                </a:lnTo>
                <a:lnTo>
                  <a:pt x="652" y="273"/>
                </a:lnTo>
                <a:lnTo>
                  <a:pt x="664" y="262"/>
                </a:lnTo>
                <a:lnTo>
                  <a:pt x="676" y="222"/>
                </a:lnTo>
                <a:lnTo>
                  <a:pt x="656" y="201"/>
                </a:lnTo>
                <a:lnTo>
                  <a:pt x="631" y="201"/>
                </a:lnTo>
                <a:lnTo>
                  <a:pt x="584" y="189"/>
                </a:lnTo>
                <a:lnTo>
                  <a:pt x="568" y="183"/>
                </a:lnTo>
                <a:lnTo>
                  <a:pt x="540" y="177"/>
                </a:lnTo>
                <a:lnTo>
                  <a:pt x="487" y="183"/>
                </a:lnTo>
                <a:lnTo>
                  <a:pt x="479" y="161"/>
                </a:lnTo>
                <a:lnTo>
                  <a:pt x="511" y="150"/>
                </a:lnTo>
                <a:lnTo>
                  <a:pt x="499" y="128"/>
                </a:lnTo>
                <a:lnTo>
                  <a:pt x="513" y="114"/>
                </a:lnTo>
                <a:lnTo>
                  <a:pt x="534" y="108"/>
                </a:lnTo>
                <a:lnTo>
                  <a:pt x="552" y="108"/>
                </a:lnTo>
                <a:lnTo>
                  <a:pt x="566" y="93"/>
                </a:lnTo>
                <a:lnTo>
                  <a:pt x="576" y="81"/>
                </a:lnTo>
                <a:lnTo>
                  <a:pt x="601" y="69"/>
                </a:lnTo>
                <a:lnTo>
                  <a:pt x="603" y="53"/>
                </a:lnTo>
                <a:lnTo>
                  <a:pt x="595" y="20"/>
                </a:lnTo>
                <a:lnTo>
                  <a:pt x="560" y="26"/>
                </a:lnTo>
                <a:lnTo>
                  <a:pt x="515" y="24"/>
                </a:lnTo>
                <a:lnTo>
                  <a:pt x="487" y="14"/>
                </a:lnTo>
                <a:lnTo>
                  <a:pt x="454" y="0"/>
                </a:lnTo>
                <a:lnTo>
                  <a:pt x="440" y="28"/>
                </a:lnTo>
                <a:lnTo>
                  <a:pt x="430" y="47"/>
                </a:lnTo>
                <a:lnTo>
                  <a:pt x="405" y="47"/>
                </a:lnTo>
                <a:lnTo>
                  <a:pt x="403" y="65"/>
                </a:lnTo>
                <a:lnTo>
                  <a:pt x="403" y="97"/>
                </a:lnTo>
                <a:lnTo>
                  <a:pt x="385" y="101"/>
                </a:lnTo>
                <a:lnTo>
                  <a:pt x="361" y="101"/>
                </a:lnTo>
                <a:lnTo>
                  <a:pt x="350" y="122"/>
                </a:lnTo>
                <a:lnTo>
                  <a:pt x="356" y="142"/>
                </a:lnTo>
                <a:lnTo>
                  <a:pt x="338" y="156"/>
                </a:lnTo>
                <a:lnTo>
                  <a:pt x="354" y="177"/>
                </a:lnTo>
                <a:lnTo>
                  <a:pt x="352" y="199"/>
                </a:lnTo>
                <a:lnTo>
                  <a:pt x="334" y="218"/>
                </a:lnTo>
                <a:lnTo>
                  <a:pt x="308" y="236"/>
                </a:lnTo>
                <a:lnTo>
                  <a:pt x="303" y="256"/>
                </a:lnTo>
                <a:lnTo>
                  <a:pt x="287" y="262"/>
                </a:lnTo>
                <a:lnTo>
                  <a:pt x="289" y="299"/>
                </a:lnTo>
                <a:lnTo>
                  <a:pt x="297" y="317"/>
                </a:lnTo>
                <a:lnTo>
                  <a:pt x="314" y="305"/>
                </a:lnTo>
                <a:lnTo>
                  <a:pt x="336" y="299"/>
                </a:lnTo>
                <a:lnTo>
                  <a:pt x="320" y="326"/>
                </a:lnTo>
                <a:lnTo>
                  <a:pt x="306" y="360"/>
                </a:lnTo>
                <a:lnTo>
                  <a:pt x="289" y="381"/>
                </a:lnTo>
                <a:lnTo>
                  <a:pt x="283" y="405"/>
                </a:lnTo>
                <a:lnTo>
                  <a:pt x="287" y="423"/>
                </a:lnTo>
                <a:lnTo>
                  <a:pt x="295" y="405"/>
                </a:lnTo>
                <a:lnTo>
                  <a:pt x="303" y="385"/>
                </a:lnTo>
                <a:lnTo>
                  <a:pt x="322" y="378"/>
                </a:lnTo>
                <a:lnTo>
                  <a:pt x="312" y="409"/>
                </a:lnTo>
                <a:lnTo>
                  <a:pt x="324" y="423"/>
                </a:lnTo>
                <a:lnTo>
                  <a:pt x="334" y="409"/>
                </a:lnTo>
                <a:lnTo>
                  <a:pt x="356" y="409"/>
                </a:lnTo>
                <a:lnTo>
                  <a:pt x="350" y="435"/>
                </a:lnTo>
                <a:lnTo>
                  <a:pt x="330" y="456"/>
                </a:lnTo>
                <a:lnTo>
                  <a:pt x="334" y="470"/>
                </a:lnTo>
                <a:lnTo>
                  <a:pt x="330" y="491"/>
                </a:lnTo>
                <a:lnTo>
                  <a:pt x="293" y="552"/>
                </a:lnTo>
                <a:lnTo>
                  <a:pt x="261" y="572"/>
                </a:lnTo>
                <a:lnTo>
                  <a:pt x="269" y="623"/>
                </a:lnTo>
                <a:lnTo>
                  <a:pt x="285" y="611"/>
                </a:lnTo>
                <a:lnTo>
                  <a:pt x="299" y="603"/>
                </a:lnTo>
                <a:lnTo>
                  <a:pt x="322" y="625"/>
                </a:lnTo>
                <a:lnTo>
                  <a:pt x="348" y="613"/>
                </a:lnTo>
                <a:lnTo>
                  <a:pt x="363" y="619"/>
                </a:lnTo>
                <a:lnTo>
                  <a:pt x="391" y="627"/>
                </a:lnTo>
                <a:lnTo>
                  <a:pt x="426" y="613"/>
                </a:lnTo>
                <a:lnTo>
                  <a:pt x="458" y="625"/>
                </a:lnTo>
                <a:lnTo>
                  <a:pt x="409" y="647"/>
                </a:lnTo>
                <a:lnTo>
                  <a:pt x="391" y="678"/>
                </a:lnTo>
                <a:lnTo>
                  <a:pt x="413" y="753"/>
                </a:lnTo>
                <a:lnTo>
                  <a:pt x="454" y="735"/>
                </a:lnTo>
                <a:lnTo>
                  <a:pt x="440" y="770"/>
                </a:lnTo>
                <a:lnTo>
                  <a:pt x="424" y="788"/>
                </a:lnTo>
                <a:lnTo>
                  <a:pt x="411" y="798"/>
                </a:lnTo>
                <a:lnTo>
                  <a:pt x="426" y="822"/>
                </a:lnTo>
                <a:lnTo>
                  <a:pt x="405" y="863"/>
                </a:lnTo>
                <a:lnTo>
                  <a:pt x="377" y="882"/>
                </a:lnTo>
                <a:lnTo>
                  <a:pt x="354" y="873"/>
                </a:lnTo>
                <a:lnTo>
                  <a:pt x="316" y="857"/>
                </a:lnTo>
                <a:lnTo>
                  <a:pt x="220" y="912"/>
                </a:lnTo>
                <a:lnTo>
                  <a:pt x="234" y="924"/>
                </a:lnTo>
                <a:lnTo>
                  <a:pt x="279" y="924"/>
                </a:lnTo>
                <a:lnTo>
                  <a:pt x="267" y="947"/>
                </a:lnTo>
                <a:lnTo>
                  <a:pt x="265" y="971"/>
                </a:lnTo>
                <a:lnTo>
                  <a:pt x="267" y="989"/>
                </a:lnTo>
                <a:lnTo>
                  <a:pt x="238" y="1018"/>
                </a:lnTo>
                <a:lnTo>
                  <a:pt x="183" y="1036"/>
                </a:lnTo>
                <a:lnTo>
                  <a:pt x="132" y="1047"/>
                </a:lnTo>
                <a:lnTo>
                  <a:pt x="124" y="1059"/>
                </a:lnTo>
                <a:lnTo>
                  <a:pt x="136" y="1089"/>
                </a:lnTo>
                <a:lnTo>
                  <a:pt x="143" y="1103"/>
                </a:lnTo>
                <a:lnTo>
                  <a:pt x="159" y="1101"/>
                </a:lnTo>
                <a:lnTo>
                  <a:pt x="183" y="1087"/>
                </a:lnTo>
                <a:lnTo>
                  <a:pt x="200" y="1097"/>
                </a:lnTo>
                <a:lnTo>
                  <a:pt x="200" y="1116"/>
                </a:lnTo>
                <a:lnTo>
                  <a:pt x="232" y="1130"/>
                </a:lnTo>
                <a:lnTo>
                  <a:pt x="246" y="1122"/>
                </a:lnTo>
                <a:lnTo>
                  <a:pt x="259" y="1148"/>
                </a:lnTo>
                <a:lnTo>
                  <a:pt x="271" y="1175"/>
                </a:lnTo>
                <a:lnTo>
                  <a:pt x="287" y="1179"/>
                </a:lnTo>
                <a:lnTo>
                  <a:pt x="308" y="1171"/>
                </a:lnTo>
                <a:lnTo>
                  <a:pt x="375" y="1138"/>
                </a:lnTo>
                <a:lnTo>
                  <a:pt x="358" y="1175"/>
                </a:lnTo>
                <a:lnTo>
                  <a:pt x="320" y="1197"/>
                </a:lnTo>
                <a:lnTo>
                  <a:pt x="297" y="1213"/>
                </a:lnTo>
                <a:lnTo>
                  <a:pt x="240" y="1199"/>
                </a:lnTo>
                <a:lnTo>
                  <a:pt x="204" y="1193"/>
                </a:lnTo>
                <a:lnTo>
                  <a:pt x="165" y="1222"/>
                </a:lnTo>
                <a:lnTo>
                  <a:pt x="90" y="1279"/>
                </a:lnTo>
                <a:lnTo>
                  <a:pt x="22" y="1311"/>
                </a:lnTo>
                <a:lnTo>
                  <a:pt x="0" y="1338"/>
                </a:lnTo>
                <a:lnTo>
                  <a:pt x="39" y="1338"/>
                </a:lnTo>
                <a:lnTo>
                  <a:pt x="67" y="1348"/>
                </a:lnTo>
                <a:lnTo>
                  <a:pt x="82" y="1321"/>
                </a:lnTo>
                <a:lnTo>
                  <a:pt x="108" y="1325"/>
                </a:lnTo>
                <a:lnTo>
                  <a:pt x="114" y="1309"/>
                </a:lnTo>
                <a:lnTo>
                  <a:pt x="141" y="1313"/>
                </a:lnTo>
                <a:lnTo>
                  <a:pt x="173" y="1336"/>
                </a:lnTo>
                <a:lnTo>
                  <a:pt x="206" y="1352"/>
                </a:lnTo>
                <a:lnTo>
                  <a:pt x="232" y="1338"/>
                </a:lnTo>
                <a:lnTo>
                  <a:pt x="242" y="1309"/>
                </a:lnTo>
                <a:lnTo>
                  <a:pt x="257" y="1293"/>
                </a:lnTo>
                <a:lnTo>
                  <a:pt x="306" y="1291"/>
                </a:lnTo>
                <a:lnTo>
                  <a:pt x="328" y="1307"/>
                </a:lnTo>
                <a:lnTo>
                  <a:pt x="342" y="1342"/>
                </a:lnTo>
                <a:lnTo>
                  <a:pt x="363" y="1328"/>
                </a:lnTo>
                <a:lnTo>
                  <a:pt x="383" y="1346"/>
                </a:lnTo>
                <a:lnTo>
                  <a:pt x="399" y="1328"/>
                </a:lnTo>
                <a:lnTo>
                  <a:pt x="418" y="1323"/>
                </a:lnTo>
                <a:lnTo>
                  <a:pt x="444" y="1323"/>
                </a:lnTo>
                <a:lnTo>
                  <a:pt x="458" y="1352"/>
                </a:lnTo>
                <a:lnTo>
                  <a:pt x="485" y="1352"/>
                </a:lnTo>
                <a:lnTo>
                  <a:pt x="464" y="1332"/>
                </a:lnTo>
                <a:lnTo>
                  <a:pt x="454" y="1315"/>
                </a:lnTo>
                <a:lnTo>
                  <a:pt x="505" y="1325"/>
                </a:lnTo>
                <a:lnTo>
                  <a:pt x="523" y="1342"/>
                </a:lnTo>
                <a:lnTo>
                  <a:pt x="597" y="1348"/>
                </a:lnTo>
                <a:lnTo>
                  <a:pt x="623" y="1356"/>
                </a:lnTo>
                <a:lnTo>
                  <a:pt x="670" y="1346"/>
                </a:lnTo>
                <a:lnTo>
                  <a:pt x="711" y="1336"/>
                </a:lnTo>
                <a:lnTo>
                  <a:pt x="733" y="1326"/>
                </a:lnTo>
                <a:lnTo>
                  <a:pt x="751" y="1309"/>
                </a:lnTo>
                <a:lnTo>
                  <a:pt x="754" y="1293"/>
                </a:lnTo>
                <a:lnTo>
                  <a:pt x="719" y="1277"/>
                </a:lnTo>
                <a:lnTo>
                  <a:pt x="670" y="1271"/>
                </a:lnTo>
                <a:lnTo>
                  <a:pt x="684" y="1254"/>
                </a:lnTo>
                <a:lnTo>
                  <a:pt x="696" y="1246"/>
                </a:lnTo>
                <a:lnTo>
                  <a:pt x="713" y="1232"/>
                </a:lnTo>
                <a:lnTo>
                  <a:pt x="719" y="1213"/>
                </a:lnTo>
                <a:lnTo>
                  <a:pt x="745" y="1218"/>
                </a:lnTo>
                <a:lnTo>
                  <a:pt x="758" y="1209"/>
                </a:lnTo>
                <a:lnTo>
                  <a:pt x="760" y="1183"/>
                </a:lnTo>
                <a:lnTo>
                  <a:pt x="774" y="1175"/>
                </a:lnTo>
                <a:lnTo>
                  <a:pt x="792" y="1169"/>
                </a:lnTo>
                <a:lnTo>
                  <a:pt x="800" y="1152"/>
                </a:lnTo>
                <a:lnTo>
                  <a:pt x="815" y="1122"/>
                </a:lnTo>
                <a:lnTo>
                  <a:pt x="821" y="1087"/>
                </a:lnTo>
                <a:lnTo>
                  <a:pt x="815" y="1044"/>
                </a:lnTo>
                <a:lnTo>
                  <a:pt x="786" y="1020"/>
                </a:lnTo>
                <a:lnTo>
                  <a:pt x="747" y="1016"/>
                </a:lnTo>
                <a:lnTo>
                  <a:pt x="709" y="1028"/>
                </a:lnTo>
                <a:lnTo>
                  <a:pt x="696" y="1044"/>
                </a:lnTo>
                <a:lnTo>
                  <a:pt x="672" y="1028"/>
                </a:lnTo>
                <a:lnTo>
                  <a:pt x="668" y="1014"/>
                </a:lnTo>
                <a:lnTo>
                  <a:pt x="697" y="989"/>
                </a:lnTo>
                <a:lnTo>
                  <a:pt x="713" y="965"/>
                </a:lnTo>
                <a:lnTo>
                  <a:pt x="696" y="937"/>
                </a:lnTo>
                <a:lnTo>
                  <a:pt x="676" y="900"/>
                </a:lnTo>
                <a:lnTo>
                  <a:pt x="672" y="879"/>
                </a:lnTo>
                <a:lnTo>
                  <a:pt x="690" y="884"/>
                </a:lnTo>
                <a:lnTo>
                  <a:pt x="703" y="906"/>
                </a:lnTo>
                <a:lnTo>
                  <a:pt x="709" y="886"/>
                </a:lnTo>
                <a:lnTo>
                  <a:pt x="696" y="845"/>
                </a:lnTo>
                <a:lnTo>
                  <a:pt x="684" y="824"/>
                </a:lnTo>
                <a:lnTo>
                  <a:pt x="690" y="788"/>
                </a:lnTo>
                <a:lnTo>
                  <a:pt x="678" y="770"/>
                </a:lnTo>
                <a:lnTo>
                  <a:pt x="662" y="739"/>
                </a:lnTo>
                <a:lnTo>
                  <a:pt x="629" y="715"/>
                </a:lnTo>
                <a:lnTo>
                  <a:pt x="617" y="688"/>
                </a:lnTo>
                <a:lnTo>
                  <a:pt x="609" y="653"/>
                </a:lnTo>
                <a:lnTo>
                  <a:pt x="607" y="623"/>
                </a:lnTo>
                <a:lnTo>
                  <a:pt x="615" y="582"/>
                </a:lnTo>
                <a:lnTo>
                  <a:pt x="617" y="558"/>
                </a:lnTo>
                <a:lnTo>
                  <a:pt x="603" y="545"/>
                </a:lnTo>
                <a:lnTo>
                  <a:pt x="595" y="517"/>
                </a:lnTo>
                <a:lnTo>
                  <a:pt x="570" y="478"/>
                </a:lnTo>
                <a:lnTo>
                  <a:pt x="552" y="462"/>
                </a:lnTo>
                <a:lnTo>
                  <a:pt x="527" y="450"/>
                </a:lnTo>
                <a:lnTo>
                  <a:pt x="505" y="454"/>
                </a:lnTo>
                <a:lnTo>
                  <a:pt x="485" y="446"/>
                </a:lnTo>
                <a:close/>
              </a:path>
            </a:pathLst>
          </a:custGeom>
          <a:solidFill>
            <a:srgbClr val="D0D0D0"/>
          </a:solidFill>
          <a:ln w="9525">
            <a:solidFill>
              <a:srgbClr val="000000"/>
            </a:solidFill>
            <a:prstDash val="solid"/>
            <a:round/>
            <a:headEnd/>
            <a:tailEnd/>
          </a:ln>
        </p:spPr>
        <p:txBody>
          <a:bodyPr/>
          <a:lstStyle/>
          <a:p>
            <a:endParaRPr lang="cs-CZ"/>
          </a:p>
        </p:txBody>
      </p:sp>
      <p:sp>
        <p:nvSpPr>
          <p:cNvPr id="374" name="Freeform 382"/>
          <p:cNvSpPr>
            <a:spLocks/>
          </p:cNvSpPr>
          <p:nvPr/>
        </p:nvSpPr>
        <p:spPr bwMode="auto">
          <a:xfrm>
            <a:off x="2052638" y="3279353"/>
            <a:ext cx="401637" cy="433387"/>
          </a:xfrm>
          <a:custGeom>
            <a:avLst/>
            <a:gdLst>
              <a:gd name="T0" fmla="*/ 370 w 505"/>
              <a:gd name="T1" fmla="*/ 138 h 547"/>
              <a:gd name="T2" fmla="*/ 386 w 505"/>
              <a:gd name="T3" fmla="*/ 191 h 547"/>
              <a:gd name="T4" fmla="*/ 446 w 505"/>
              <a:gd name="T5" fmla="*/ 167 h 547"/>
              <a:gd name="T6" fmla="*/ 505 w 505"/>
              <a:gd name="T7" fmla="*/ 185 h 547"/>
              <a:gd name="T8" fmla="*/ 472 w 505"/>
              <a:gd name="T9" fmla="*/ 266 h 547"/>
              <a:gd name="T10" fmla="*/ 474 w 505"/>
              <a:gd name="T11" fmla="*/ 346 h 547"/>
              <a:gd name="T12" fmla="*/ 460 w 505"/>
              <a:gd name="T13" fmla="*/ 399 h 547"/>
              <a:gd name="T14" fmla="*/ 415 w 505"/>
              <a:gd name="T15" fmla="*/ 470 h 547"/>
              <a:gd name="T16" fmla="*/ 391 w 505"/>
              <a:gd name="T17" fmla="*/ 537 h 547"/>
              <a:gd name="T18" fmla="*/ 295 w 505"/>
              <a:gd name="T19" fmla="*/ 507 h 547"/>
              <a:gd name="T20" fmla="*/ 258 w 505"/>
              <a:gd name="T21" fmla="*/ 533 h 547"/>
              <a:gd name="T22" fmla="*/ 207 w 505"/>
              <a:gd name="T23" fmla="*/ 535 h 547"/>
              <a:gd name="T24" fmla="*/ 185 w 505"/>
              <a:gd name="T25" fmla="*/ 505 h 547"/>
              <a:gd name="T26" fmla="*/ 146 w 505"/>
              <a:gd name="T27" fmla="*/ 547 h 547"/>
              <a:gd name="T28" fmla="*/ 55 w 505"/>
              <a:gd name="T29" fmla="*/ 527 h 547"/>
              <a:gd name="T30" fmla="*/ 18 w 505"/>
              <a:gd name="T31" fmla="*/ 503 h 547"/>
              <a:gd name="T32" fmla="*/ 26 w 505"/>
              <a:gd name="T33" fmla="*/ 482 h 547"/>
              <a:gd name="T34" fmla="*/ 0 w 505"/>
              <a:gd name="T35" fmla="*/ 452 h 547"/>
              <a:gd name="T36" fmla="*/ 44 w 505"/>
              <a:gd name="T37" fmla="*/ 431 h 547"/>
              <a:gd name="T38" fmla="*/ 16 w 505"/>
              <a:gd name="T39" fmla="*/ 405 h 547"/>
              <a:gd name="T40" fmla="*/ 63 w 505"/>
              <a:gd name="T41" fmla="*/ 397 h 547"/>
              <a:gd name="T42" fmla="*/ 85 w 505"/>
              <a:gd name="T43" fmla="*/ 380 h 547"/>
              <a:gd name="T44" fmla="*/ 128 w 505"/>
              <a:gd name="T45" fmla="*/ 370 h 547"/>
              <a:gd name="T46" fmla="*/ 189 w 505"/>
              <a:gd name="T47" fmla="*/ 380 h 547"/>
              <a:gd name="T48" fmla="*/ 187 w 505"/>
              <a:gd name="T49" fmla="*/ 364 h 547"/>
              <a:gd name="T50" fmla="*/ 163 w 505"/>
              <a:gd name="T51" fmla="*/ 354 h 547"/>
              <a:gd name="T52" fmla="*/ 112 w 505"/>
              <a:gd name="T53" fmla="*/ 344 h 547"/>
              <a:gd name="T54" fmla="*/ 154 w 505"/>
              <a:gd name="T55" fmla="*/ 313 h 547"/>
              <a:gd name="T56" fmla="*/ 193 w 505"/>
              <a:gd name="T57" fmla="*/ 287 h 547"/>
              <a:gd name="T58" fmla="*/ 173 w 505"/>
              <a:gd name="T59" fmla="*/ 268 h 547"/>
              <a:gd name="T60" fmla="*/ 148 w 505"/>
              <a:gd name="T61" fmla="*/ 252 h 547"/>
              <a:gd name="T62" fmla="*/ 126 w 505"/>
              <a:gd name="T63" fmla="*/ 234 h 547"/>
              <a:gd name="T64" fmla="*/ 138 w 505"/>
              <a:gd name="T65" fmla="*/ 189 h 547"/>
              <a:gd name="T66" fmla="*/ 156 w 505"/>
              <a:gd name="T67" fmla="*/ 177 h 547"/>
              <a:gd name="T68" fmla="*/ 173 w 505"/>
              <a:gd name="T69" fmla="*/ 160 h 547"/>
              <a:gd name="T70" fmla="*/ 142 w 505"/>
              <a:gd name="T71" fmla="*/ 124 h 547"/>
              <a:gd name="T72" fmla="*/ 171 w 505"/>
              <a:gd name="T73" fmla="*/ 97 h 547"/>
              <a:gd name="T74" fmla="*/ 213 w 505"/>
              <a:gd name="T75" fmla="*/ 87 h 547"/>
              <a:gd name="T76" fmla="*/ 246 w 505"/>
              <a:gd name="T77" fmla="*/ 118 h 547"/>
              <a:gd name="T78" fmla="*/ 297 w 505"/>
              <a:gd name="T79" fmla="*/ 128 h 547"/>
              <a:gd name="T80" fmla="*/ 323 w 505"/>
              <a:gd name="T81" fmla="*/ 108 h 547"/>
              <a:gd name="T82" fmla="*/ 329 w 505"/>
              <a:gd name="T83" fmla="*/ 83 h 547"/>
              <a:gd name="T84" fmla="*/ 299 w 505"/>
              <a:gd name="T85" fmla="*/ 73 h 547"/>
              <a:gd name="T86" fmla="*/ 321 w 505"/>
              <a:gd name="T87" fmla="*/ 51 h 547"/>
              <a:gd name="T88" fmla="*/ 342 w 505"/>
              <a:gd name="T89" fmla="*/ 40 h 547"/>
              <a:gd name="T90" fmla="*/ 356 w 505"/>
              <a:gd name="T91" fmla="*/ 20 h 547"/>
              <a:gd name="T92" fmla="*/ 378 w 505"/>
              <a:gd name="T93" fmla="*/ 6 h 547"/>
              <a:gd name="T94" fmla="*/ 433 w 505"/>
              <a:gd name="T95" fmla="*/ 0 h 547"/>
              <a:gd name="T96" fmla="*/ 433 w 505"/>
              <a:gd name="T97" fmla="*/ 40 h 547"/>
              <a:gd name="T98" fmla="*/ 413 w 505"/>
              <a:gd name="T99" fmla="*/ 59 h 547"/>
              <a:gd name="T100" fmla="*/ 393 w 505"/>
              <a:gd name="T101" fmla="*/ 81 h 547"/>
              <a:gd name="T102" fmla="*/ 368 w 505"/>
              <a:gd name="T103" fmla="*/ 9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547">
                <a:moveTo>
                  <a:pt x="344" y="101"/>
                </a:moveTo>
                <a:lnTo>
                  <a:pt x="370" y="138"/>
                </a:lnTo>
                <a:lnTo>
                  <a:pt x="374" y="169"/>
                </a:lnTo>
                <a:lnTo>
                  <a:pt x="386" y="191"/>
                </a:lnTo>
                <a:lnTo>
                  <a:pt x="409" y="181"/>
                </a:lnTo>
                <a:lnTo>
                  <a:pt x="446" y="167"/>
                </a:lnTo>
                <a:lnTo>
                  <a:pt x="482" y="161"/>
                </a:lnTo>
                <a:lnTo>
                  <a:pt x="505" y="185"/>
                </a:lnTo>
                <a:lnTo>
                  <a:pt x="484" y="236"/>
                </a:lnTo>
                <a:lnTo>
                  <a:pt x="472" y="266"/>
                </a:lnTo>
                <a:lnTo>
                  <a:pt x="486" y="313"/>
                </a:lnTo>
                <a:lnTo>
                  <a:pt x="474" y="346"/>
                </a:lnTo>
                <a:lnTo>
                  <a:pt x="460" y="362"/>
                </a:lnTo>
                <a:lnTo>
                  <a:pt x="460" y="399"/>
                </a:lnTo>
                <a:lnTo>
                  <a:pt x="454" y="427"/>
                </a:lnTo>
                <a:lnTo>
                  <a:pt x="415" y="470"/>
                </a:lnTo>
                <a:lnTo>
                  <a:pt x="397" y="503"/>
                </a:lnTo>
                <a:lnTo>
                  <a:pt x="391" y="537"/>
                </a:lnTo>
                <a:lnTo>
                  <a:pt x="334" y="509"/>
                </a:lnTo>
                <a:lnTo>
                  <a:pt x="295" y="507"/>
                </a:lnTo>
                <a:lnTo>
                  <a:pt x="270" y="513"/>
                </a:lnTo>
                <a:lnTo>
                  <a:pt x="258" y="533"/>
                </a:lnTo>
                <a:lnTo>
                  <a:pt x="228" y="519"/>
                </a:lnTo>
                <a:lnTo>
                  <a:pt x="207" y="535"/>
                </a:lnTo>
                <a:lnTo>
                  <a:pt x="197" y="527"/>
                </a:lnTo>
                <a:lnTo>
                  <a:pt x="185" y="505"/>
                </a:lnTo>
                <a:lnTo>
                  <a:pt x="171" y="541"/>
                </a:lnTo>
                <a:lnTo>
                  <a:pt x="146" y="547"/>
                </a:lnTo>
                <a:lnTo>
                  <a:pt x="73" y="543"/>
                </a:lnTo>
                <a:lnTo>
                  <a:pt x="55" y="527"/>
                </a:lnTo>
                <a:lnTo>
                  <a:pt x="36" y="519"/>
                </a:lnTo>
                <a:lnTo>
                  <a:pt x="18" y="503"/>
                </a:lnTo>
                <a:lnTo>
                  <a:pt x="4" y="495"/>
                </a:lnTo>
                <a:lnTo>
                  <a:pt x="26" y="482"/>
                </a:lnTo>
                <a:lnTo>
                  <a:pt x="8" y="470"/>
                </a:lnTo>
                <a:lnTo>
                  <a:pt x="0" y="452"/>
                </a:lnTo>
                <a:lnTo>
                  <a:pt x="16" y="437"/>
                </a:lnTo>
                <a:lnTo>
                  <a:pt x="44" y="431"/>
                </a:lnTo>
                <a:lnTo>
                  <a:pt x="48" y="419"/>
                </a:lnTo>
                <a:lnTo>
                  <a:pt x="16" y="405"/>
                </a:lnTo>
                <a:lnTo>
                  <a:pt x="34" y="389"/>
                </a:lnTo>
                <a:lnTo>
                  <a:pt x="63" y="397"/>
                </a:lnTo>
                <a:lnTo>
                  <a:pt x="73" y="401"/>
                </a:lnTo>
                <a:lnTo>
                  <a:pt x="85" y="380"/>
                </a:lnTo>
                <a:lnTo>
                  <a:pt x="103" y="370"/>
                </a:lnTo>
                <a:lnTo>
                  <a:pt x="128" y="370"/>
                </a:lnTo>
                <a:lnTo>
                  <a:pt x="167" y="380"/>
                </a:lnTo>
                <a:lnTo>
                  <a:pt x="189" y="380"/>
                </a:lnTo>
                <a:lnTo>
                  <a:pt x="199" y="376"/>
                </a:lnTo>
                <a:lnTo>
                  <a:pt x="187" y="364"/>
                </a:lnTo>
                <a:lnTo>
                  <a:pt x="185" y="346"/>
                </a:lnTo>
                <a:lnTo>
                  <a:pt x="163" y="354"/>
                </a:lnTo>
                <a:lnTo>
                  <a:pt x="132" y="364"/>
                </a:lnTo>
                <a:lnTo>
                  <a:pt x="112" y="344"/>
                </a:lnTo>
                <a:lnTo>
                  <a:pt x="140" y="334"/>
                </a:lnTo>
                <a:lnTo>
                  <a:pt x="154" y="313"/>
                </a:lnTo>
                <a:lnTo>
                  <a:pt x="169" y="297"/>
                </a:lnTo>
                <a:lnTo>
                  <a:pt x="193" y="287"/>
                </a:lnTo>
                <a:lnTo>
                  <a:pt x="207" y="273"/>
                </a:lnTo>
                <a:lnTo>
                  <a:pt x="173" y="268"/>
                </a:lnTo>
                <a:lnTo>
                  <a:pt x="169" y="256"/>
                </a:lnTo>
                <a:lnTo>
                  <a:pt x="148" y="252"/>
                </a:lnTo>
                <a:lnTo>
                  <a:pt x="144" y="232"/>
                </a:lnTo>
                <a:lnTo>
                  <a:pt x="126" y="234"/>
                </a:lnTo>
                <a:lnTo>
                  <a:pt x="126" y="213"/>
                </a:lnTo>
                <a:lnTo>
                  <a:pt x="138" y="189"/>
                </a:lnTo>
                <a:lnTo>
                  <a:pt x="154" y="187"/>
                </a:lnTo>
                <a:lnTo>
                  <a:pt x="156" y="177"/>
                </a:lnTo>
                <a:lnTo>
                  <a:pt x="183" y="173"/>
                </a:lnTo>
                <a:lnTo>
                  <a:pt x="173" y="160"/>
                </a:lnTo>
                <a:lnTo>
                  <a:pt x="154" y="150"/>
                </a:lnTo>
                <a:lnTo>
                  <a:pt x="142" y="124"/>
                </a:lnTo>
                <a:lnTo>
                  <a:pt x="169" y="122"/>
                </a:lnTo>
                <a:lnTo>
                  <a:pt x="171" y="97"/>
                </a:lnTo>
                <a:lnTo>
                  <a:pt x="193" y="95"/>
                </a:lnTo>
                <a:lnTo>
                  <a:pt x="213" y="87"/>
                </a:lnTo>
                <a:lnTo>
                  <a:pt x="234" y="103"/>
                </a:lnTo>
                <a:lnTo>
                  <a:pt x="246" y="118"/>
                </a:lnTo>
                <a:lnTo>
                  <a:pt x="266" y="126"/>
                </a:lnTo>
                <a:lnTo>
                  <a:pt x="297" y="128"/>
                </a:lnTo>
                <a:lnTo>
                  <a:pt x="309" y="122"/>
                </a:lnTo>
                <a:lnTo>
                  <a:pt x="323" y="108"/>
                </a:lnTo>
                <a:lnTo>
                  <a:pt x="334" y="95"/>
                </a:lnTo>
                <a:lnTo>
                  <a:pt x="329" y="83"/>
                </a:lnTo>
                <a:lnTo>
                  <a:pt x="313" y="73"/>
                </a:lnTo>
                <a:lnTo>
                  <a:pt x="299" y="73"/>
                </a:lnTo>
                <a:lnTo>
                  <a:pt x="299" y="57"/>
                </a:lnTo>
                <a:lnTo>
                  <a:pt x="321" y="51"/>
                </a:lnTo>
                <a:lnTo>
                  <a:pt x="332" y="40"/>
                </a:lnTo>
                <a:lnTo>
                  <a:pt x="342" y="40"/>
                </a:lnTo>
                <a:lnTo>
                  <a:pt x="344" y="28"/>
                </a:lnTo>
                <a:lnTo>
                  <a:pt x="356" y="20"/>
                </a:lnTo>
                <a:lnTo>
                  <a:pt x="358" y="6"/>
                </a:lnTo>
                <a:lnTo>
                  <a:pt x="378" y="6"/>
                </a:lnTo>
                <a:lnTo>
                  <a:pt x="413" y="0"/>
                </a:lnTo>
                <a:lnTo>
                  <a:pt x="433" y="0"/>
                </a:lnTo>
                <a:lnTo>
                  <a:pt x="441" y="22"/>
                </a:lnTo>
                <a:lnTo>
                  <a:pt x="433" y="40"/>
                </a:lnTo>
                <a:lnTo>
                  <a:pt x="423" y="55"/>
                </a:lnTo>
                <a:lnTo>
                  <a:pt x="413" y="59"/>
                </a:lnTo>
                <a:lnTo>
                  <a:pt x="409" y="79"/>
                </a:lnTo>
                <a:lnTo>
                  <a:pt x="393" y="81"/>
                </a:lnTo>
                <a:lnTo>
                  <a:pt x="380" y="81"/>
                </a:lnTo>
                <a:lnTo>
                  <a:pt x="368" y="97"/>
                </a:lnTo>
                <a:lnTo>
                  <a:pt x="344" y="101"/>
                </a:lnTo>
                <a:close/>
              </a:path>
            </a:pathLst>
          </a:custGeom>
          <a:solidFill>
            <a:srgbClr val="FA0000"/>
          </a:solidFill>
          <a:ln w="9525">
            <a:solidFill>
              <a:srgbClr val="000000"/>
            </a:solidFill>
            <a:prstDash val="solid"/>
            <a:round/>
            <a:headEnd/>
            <a:tailEnd/>
          </a:ln>
        </p:spPr>
        <p:txBody>
          <a:bodyPr/>
          <a:lstStyle/>
          <a:p>
            <a:endParaRPr lang="cs-CZ"/>
          </a:p>
        </p:txBody>
      </p:sp>
      <p:sp>
        <p:nvSpPr>
          <p:cNvPr id="375" name="Freeform 383"/>
          <p:cNvSpPr>
            <a:spLocks/>
          </p:cNvSpPr>
          <p:nvPr/>
        </p:nvSpPr>
        <p:spPr bwMode="auto">
          <a:xfrm>
            <a:off x="1758950" y="4722390"/>
            <a:ext cx="1154113" cy="1052513"/>
          </a:xfrm>
          <a:custGeom>
            <a:avLst/>
            <a:gdLst>
              <a:gd name="T0" fmla="*/ 31 w 1452"/>
              <a:gd name="T1" fmla="*/ 226 h 1326"/>
              <a:gd name="T2" fmla="*/ 35 w 1452"/>
              <a:gd name="T3" fmla="*/ 175 h 1326"/>
              <a:gd name="T4" fmla="*/ 43 w 1452"/>
              <a:gd name="T5" fmla="*/ 137 h 1326"/>
              <a:gd name="T6" fmla="*/ 29 w 1452"/>
              <a:gd name="T7" fmla="*/ 90 h 1326"/>
              <a:gd name="T8" fmla="*/ 59 w 1452"/>
              <a:gd name="T9" fmla="*/ 41 h 1326"/>
              <a:gd name="T10" fmla="*/ 143 w 1452"/>
              <a:gd name="T11" fmla="*/ 53 h 1326"/>
              <a:gd name="T12" fmla="*/ 210 w 1452"/>
              <a:gd name="T13" fmla="*/ 0 h 1326"/>
              <a:gd name="T14" fmla="*/ 281 w 1452"/>
              <a:gd name="T15" fmla="*/ 45 h 1326"/>
              <a:gd name="T16" fmla="*/ 367 w 1452"/>
              <a:gd name="T17" fmla="*/ 82 h 1326"/>
              <a:gd name="T18" fmla="*/ 456 w 1452"/>
              <a:gd name="T19" fmla="*/ 100 h 1326"/>
              <a:gd name="T20" fmla="*/ 544 w 1452"/>
              <a:gd name="T21" fmla="*/ 145 h 1326"/>
              <a:gd name="T22" fmla="*/ 637 w 1452"/>
              <a:gd name="T23" fmla="*/ 165 h 1326"/>
              <a:gd name="T24" fmla="*/ 688 w 1452"/>
              <a:gd name="T25" fmla="*/ 178 h 1326"/>
              <a:gd name="T26" fmla="*/ 749 w 1452"/>
              <a:gd name="T27" fmla="*/ 200 h 1326"/>
              <a:gd name="T28" fmla="*/ 815 w 1452"/>
              <a:gd name="T29" fmla="*/ 228 h 1326"/>
              <a:gd name="T30" fmla="*/ 884 w 1452"/>
              <a:gd name="T31" fmla="*/ 245 h 1326"/>
              <a:gd name="T32" fmla="*/ 939 w 1452"/>
              <a:gd name="T33" fmla="*/ 316 h 1326"/>
              <a:gd name="T34" fmla="*/ 988 w 1452"/>
              <a:gd name="T35" fmla="*/ 367 h 1326"/>
              <a:gd name="T36" fmla="*/ 1204 w 1452"/>
              <a:gd name="T37" fmla="*/ 422 h 1326"/>
              <a:gd name="T38" fmla="*/ 1293 w 1452"/>
              <a:gd name="T39" fmla="*/ 485 h 1326"/>
              <a:gd name="T40" fmla="*/ 1450 w 1452"/>
              <a:gd name="T41" fmla="*/ 532 h 1326"/>
              <a:gd name="T42" fmla="*/ 1438 w 1452"/>
              <a:gd name="T43" fmla="*/ 568 h 1326"/>
              <a:gd name="T44" fmla="*/ 1277 w 1452"/>
              <a:gd name="T45" fmla="*/ 656 h 1326"/>
              <a:gd name="T46" fmla="*/ 1144 w 1452"/>
              <a:gd name="T47" fmla="*/ 681 h 1326"/>
              <a:gd name="T48" fmla="*/ 1008 w 1452"/>
              <a:gd name="T49" fmla="*/ 845 h 1326"/>
              <a:gd name="T50" fmla="*/ 941 w 1452"/>
              <a:gd name="T51" fmla="*/ 941 h 1326"/>
              <a:gd name="T52" fmla="*/ 986 w 1452"/>
              <a:gd name="T53" fmla="*/ 1015 h 1326"/>
              <a:gd name="T54" fmla="*/ 929 w 1452"/>
              <a:gd name="T55" fmla="*/ 1070 h 1326"/>
              <a:gd name="T56" fmla="*/ 861 w 1452"/>
              <a:gd name="T57" fmla="*/ 1137 h 1326"/>
              <a:gd name="T58" fmla="*/ 851 w 1452"/>
              <a:gd name="T59" fmla="*/ 1200 h 1326"/>
              <a:gd name="T60" fmla="*/ 772 w 1452"/>
              <a:gd name="T61" fmla="*/ 1202 h 1326"/>
              <a:gd name="T62" fmla="*/ 696 w 1452"/>
              <a:gd name="T63" fmla="*/ 1251 h 1326"/>
              <a:gd name="T64" fmla="*/ 637 w 1452"/>
              <a:gd name="T65" fmla="*/ 1304 h 1326"/>
              <a:gd name="T66" fmla="*/ 552 w 1452"/>
              <a:gd name="T67" fmla="*/ 1292 h 1326"/>
              <a:gd name="T68" fmla="*/ 470 w 1452"/>
              <a:gd name="T69" fmla="*/ 1269 h 1326"/>
              <a:gd name="T70" fmla="*/ 356 w 1452"/>
              <a:gd name="T71" fmla="*/ 1255 h 1326"/>
              <a:gd name="T72" fmla="*/ 220 w 1452"/>
              <a:gd name="T73" fmla="*/ 1316 h 1326"/>
              <a:gd name="T74" fmla="*/ 157 w 1452"/>
              <a:gd name="T75" fmla="*/ 1310 h 1326"/>
              <a:gd name="T76" fmla="*/ 118 w 1452"/>
              <a:gd name="T77" fmla="*/ 1214 h 1326"/>
              <a:gd name="T78" fmla="*/ 104 w 1452"/>
              <a:gd name="T79" fmla="*/ 1149 h 1326"/>
              <a:gd name="T80" fmla="*/ 16 w 1452"/>
              <a:gd name="T81" fmla="*/ 1078 h 1326"/>
              <a:gd name="T82" fmla="*/ 73 w 1452"/>
              <a:gd name="T83" fmla="*/ 970 h 1326"/>
              <a:gd name="T84" fmla="*/ 71 w 1452"/>
              <a:gd name="T85" fmla="*/ 876 h 1326"/>
              <a:gd name="T86" fmla="*/ 100 w 1452"/>
              <a:gd name="T87" fmla="*/ 705 h 1326"/>
              <a:gd name="T88" fmla="*/ 187 w 1452"/>
              <a:gd name="T89" fmla="*/ 644 h 1326"/>
              <a:gd name="T90" fmla="*/ 212 w 1452"/>
              <a:gd name="T91" fmla="*/ 516 h 1326"/>
              <a:gd name="T92" fmla="*/ 312 w 1452"/>
              <a:gd name="T93" fmla="*/ 424 h 1326"/>
              <a:gd name="T94" fmla="*/ 273 w 1452"/>
              <a:gd name="T95" fmla="*/ 328 h 1326"/>
              <a:gd name="T96" fmla="*/ 202 w 1452"/>
              <a:gd name="T97" fmla="*/ 318 h 1326"/>
              <a:gd name="T98" fmla="*/ 130 w 1452"/>
              <a:gd name="T99" fmla="*/ 298 h 1326"/>
              <a:gd name="T100" fmla="*/ 108 w 1452"/>
              <a:gd name="T101" fmla="*/ 253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52" h="1326">
                <a:moveTo>
                  <a:pt x="22" y="267"/>
                </a:moveTo>
                <a:lnTo>
                  <a:pt x="20" y="243"/>
                </a:lnTo>
                <a:lnTo>
                  <a:pt x="31" y="226"/>
                </a:lnTo>
                <a:lnTo>
                  <a:pt x="49" y="212"/>
                </a:lnTo>
                <a:lnTo>
                  <a:pt x="53" y="192"/>
                </a:lnTo>
                <a:lnTo>
                  <a:pt x="35" y="175"/>
                </a:lnTo>
                <a:lnTo>
                  <a:pt x="39" y="157"/>
                </a:lnTo>
                <a:lnTo>
                  <a:pt x="57" y="155"/>
                </a:lnTo>
                <a:lnTo>
                  <a:pt x="43" y="137"/>
                </a:lnTo>
                <a:lnTo>
                  <a:pt x="29" y="123"/>
                </a:lnTo>
                <a:lnTo>
                  <a:pt x="41" y="114"/>
                </a:lnTo>
                <a:lnTo>
                  <a:pt x="29" y="90"/>
                </a:lnTo>
                <a:lnTo>
                  <a:pt x="26" y="66"/>
                </a:lnTo>
                <a:lnTo>
                  <a:pt x="39" y="49"/>
                </a:lnTo>
                <a:lnTo>
                  <a:pt x="59" y="41"/>
                </a:lnTo>
                <a:lnTo>
                  <a:pt x="94" y="39"/>
                </a:lnTo>
                <a:lnTo>
                  <a:pt x="122" y="47"/>
                </a:lnTo>
                <a:lnTo>
                  <a:pt x="143" y="53"/>
                </a:lnTo>
                <a:lnTo>
                  <a:pt x="159" y="29"/>
                </a:lnTo>
                <a:lnTo>
                  <a:pt x="185" y="6"/>
                </a:lnTo>
                <a:lnTo>
                  <a:pt x="210" y="0"/>
                </a:lnTo>
                <a:lnTo>
                  <a:pt x="238" y="15"/>
                </a:lnTo>
                <a:lnTo>
                  <a:pt x="259" y="29"/>
                </a:lnTo>
                <a:lnTo>
                  <a:pt x="281" y="45"/>
                </a:lnTo>
                <a:lnTo>
                  <a:pt x="314" y="63"/>
                </a:lnTo>
                <a:lnTo>
                  <a:pt x="342" y="74"/>
                </a:lnTo>
                <a:lnTo>
                  <a:pt x="367" y="82"/>
                </a:lnTo>
                <a:lnTo>
                  <a:pt x="397" y="84"/>
                </a:lnTo>
                <a:lnTo>
                  <a:pt x="428" y="84"/>
                </a:lnTo>
                <a:lnTo>
                  <a:pt x="456" y="100"/>
                </a:lnTo>
                <a:lnTo>
                  <a:pt x="477" y="110"/>
                </a:lnTo>
                <a:lnTo>
                  <a:pt x="499" y="123"/>
                </a:lnTo>
                <a:lnTo>
                  <a:pt x="544" y="145"/>
                </a:lnTo>
                <a:lnTo>
                  <a:pt x="580" y="157"/>
                </a:lnTo>
                <a:lnTo>
                  <a:pt x="607" y="165"/>
                </a:lnTo>
                <a:lnTo>
                  <a:pt x="637" y="165"/>
                </a:lnTo>
                <a:lnTo>
                  <a:pt x="660" y="169"/>
                </a:lnTo>
                <a:lnTo>
                  <a:pt x="674" y="169"/>
                </a:lnTo>
                <a:lnTo>
                  <a:pt x="688" y="178"/>
                </a:lnTo>
                <a:lnTo>
                  <a:pt x="699" y="190"/>
                </a:lnTo>
                <a:lnTo>
                  <a:pt x="725" y="198"/>
                </a:lnTo>
                <a:lnTo>
                  <a:pt x="749" y="200"/>
                </a:lnTo>
                <a:lnTo>
                  <a:pt x="768" y="204"/>
                </a:lnTo>
                <a:lnTo>
                  <a:pt x="792" y="210"/>
                </a:lnTo>
                <a:lnTo>
                  <a:pt x="815" y="228"/>
                </a:lnTo>
                <a:lnTo>
                  <a:pt x="837" y="237"/>
                </a:lnTo>
                <a:lnTo>
                  <a:pt x="859" y="239"/>
                </a:lnTo>
                <a:lnTo>
                  <a:pt x="884" y="245"/>
                </a:lnTo>
                <a:lnTo>
                  <a:pt x="892" y="267"/>
                </a:lnTo>
                <a:lnTo>
                  <a:pt x="908" y="292"/>
                </a:lnTo>
                <a:lnTo>
                  <a:pt x="939" y="316"/>
                </a:lnTo>
                <a:lnTo>
                  <a:pt x="959" y="328"/>
                </a:lnTo>
                <a:lnTo>
                  <a:pt x="980" y="340"/>
                </a:lnTo>
                <a:lnTo>
                  <a:pt x="988" y="367"/>
                </a:lnTo>
                <a:lnTo>
                  <a:pt x="1134" y="410"/>
                </a:lnTo>
                <a:lnTo>
                  <a:pt x="1175" y="397"/>
                </a:lnTo>
                <a:lnTo>
                  <a:pt x="1204" y="422"/>
                </a:lnTo>
                <a:lnTo>
                  <a:pt x="1222" y="448"/>
                </a:lnTo>
                <a:lnTo>
                  <a:pt x="1250" y="446"/>
                </a:lnTo>
                <a:lnTo>
                  <a:pt x="1293" y="485"/>
                </a:lnTo>
                <a:lnTo>
                  <a:pt x="1436" y="485"/>
                </a:lnTo>
                <a:lnTo>
                  <a:pt x="1452" y="505"/>
                </a:lnTo>
                <a:lnTo>
                  <a:pt x="1450" y="532"/>
                </a:lnTo>
                <a:lnTo>
                  <a:pt x="1425" y="530"/>
                </a:lnTo>
                <a:lnTo>
                  <a:pt x="1423" y="560"/>
                </a:lnTo>
                <a:lnTo>
                  <a:pt x="1438" y="568"/>
                </a:lnTo>
                <a:lnTo>
                  <a:pt x="1377" y="613"/>
                </a:lnTo>
                <a:lnTo>
                  <a:pt x="1316" y="636"/>
                </a:lnTo>
                <a:lnTo>
                  <a:pt x="1277" y="656"/>
                </a:lnTo>
                <a:lnTo>
                  <a:pt x="1220" y="670"/>
                </a:lnTo>
                <a:lnTo>
                  <a:pt x="1189" y="676"/>
                </a:lnTo>
                <a:lnTo>
                  <a:pt x="1144" y="681"/>
                </a:lnTo>
                <a:lnTo>
                  <a:pt x="1106" y="721"/>
                </a:lnTo>
                <a:lnTo>
                  <a:pt x="1085" y="750"/>
                </a:lnTo>
                <a:lnTo>
                  <a:pt x="1008" y="845"/>
                </a:lnTo>
                <a:lnTo>
                  <a:pt x="971" y="874"/>
                </a:lnTo>
                <a:lnTo>
                  <a:pt x="947" y="913"/>
                </a:lnTo>
                <a:lnTo>
                  <a:pt x="941" y="941"/>
                </a:lnTo>
                <a:lnTo>
                  <a:pt x="949" y="955"/>
                </a:lnTo>
                <a:lnTo>
                  <a:pt x="955" y="994"/>
                </a:lnTo>
                <a:lnTo>
                  <a:pt x="986" y="1015"/>
                </a:lnTo>
                <a:lnTo>
                  <a:pt x="996" y="1033"/>
                </a:lnTo>
                <a:lnTo>
                  <a:pt x="975" y="1051"/>
                </a:lnTo>
                <a:lnTo>
                  <a:pt x="929" y="1070"/>
                </a:lnTo>
                <a:lnTo>
                  <a:pt x="900" y="1094"/>
                </a:lnTo>
                <a:lnTo>
                  <a:pt x="880" y="1114"/>
                </a:lnTo>
                <a:lnTo>
                  <a:pt x="861" y="1137"/>
                </a:lnTo>
                <a:lnTo>
                  <a:pt x="859" y="1159"/>
                </a:lnTo>
                <a:lnTo>
                  <a:pt x="841" y="1175"/>
                </a:lnTo>
                <a:lnTo>
                  <a:pt x="851" y="1200"/>
                </a:lnTo>
                <a:lnTo>
                  <a:pt x="833" y="1208"/>
                </a:lnTo>
                <a:lnTo>
                  <a:pt x="790" y="1202"/>
                </a:lnTo>
                <a:lnTo>
                  <a:pt x="772" y="1202"/>
                </a:lnTo>
                <a:lnTo>
                  <a:pt x="739" y="1210"/>
                </a:lnTo>
                <a:lnTo>
                  <a:pt x="717" y="1224"/>
                </a:lnTo>
                <a:lnTo>
                  <a:pt x="696" y="1251"/>
                </a:lnTo>
                <a:lnTo>
                  <a:pt x="688" y="1283"/>
                </a:lnTo>
                <a:lnTo>
                  <a:pt x="660" y="1302"/>
                </a:lnTo>
                <a:lnTo>
                  <a:pt x="637" y="1304"/>
                </a:lnTo>
                <a:lnTo>
                  <a:pt x="597" y="1292"/>
                </a:lnTo>
                <a:lnTo>
                  <a:pt x="578" y="1292"/>
                </a:lnTo>
                <a:lnTo>
                  <a:pt x="552" y="1292"/>
                </a:lnTo>
                <a:lnTo>
                  <a:pt x="523" y="1285"/>
                </a:lnTo>
                <a:lnTo>
                  <a:pt x="503" y="1271"/>
                </a:lnTo>
                <a:lnTo>
                  <a:pt x="470" y="1269"/>
                </a:lnTo>
                <a:lnTo>
                  <a:pt x="452" y="1267"/>
                </a:lnTo>
                <a:lnTo>
                  <a:pt x="415" y="1257"/>
                </a:lnTo>
                <a:lnTo>
                  <a:pt x="356" y="1255"/>
                </a:lnTo>
                <a:lnTo>
                  <a:pt x="312" y="1283"/>
                </a:lnTo>
                <a:lnTo>
                  <a:pt x="261" y="1277"/>
                </a:lnTo>
                <a:lnTo>
                  <a:pt x="220" y="1316"/>
                </a:lnTo>
                <a:lnTo>
                  <a:pt x="185" y="1326"/>
                </a:lnTo>
                <a:lnTo>
                  <a:pt x="171" y="1322"/>
                </a:lnTo>
                <a:lnTo>
                  <a:pt x="157" y="1310"/>
                </a:lnTo>
                <a:lnTo>
                  <a:pt x="136" y="1291"/>
                </a:lnTo>
                <a:lnTo>
                  <a:pt x="118" y="1255"/>
                </a:lnTo>
                <a:lnTo>
                  <a:pt x="118" y="1214"/>
                </a:lnTo>
                <a:lnTo>
                  <a:pt x="110" y="1188"/>
                </a:lnTo>
                <a:lnTo>
                  <a:pt x="110" y="1169"/>
                </a:lnTo>
                <a:lnTo>
                  <a:pt x="104" y="1149"/>
                </a:lnTo>
                <a:lnTo>
                  <a:pt x="83" y="1112"/>
                </a:lnTo>
                <a:lnTo>
                  <a:pt x="49" y="1090"/>
                </a:lnTo>
                <a:lnTo>
                  <a:pt x="16" y="1078"/>
                </a:lnTo>
                <a:lnTo>
                  <a:pt x="0" y="1072"/>
                </a:lnTo>
                <a:lnTo>
                  <a:pt x="0" y="994"/>
                </a:lnTo>
                <a:lnTo>
                  <a:pt x="73" y="970"/>
                </a:lnTo>
                <a:lnTo>
                  <a:pt x="81" y="941"/>
                </a:lnTo>
                <a:lnTo>
                  <a:pt x="63" y="896"/>
                </a:lnTo>
                <a:lnTo>
                  <a:pt x="71" y="876"/>
                </a:lnTo>
                <a:lnTo>
                  <a:pt x="71" y="846"/>
                </a:lnTo>
                <a:lnTo>
                  <a:pt x="116" y="786"/>
                </a:lnTo>
                <a:lnTo>
                  <a:pt x="100" y="705"/>
                </a:lnTo>
                <a:lnTo>
                  <a:pt x="122" y="687"/>
                </a:lnTo>
                <a:lnTo>
                  <a:pt x="157" y="683"/>
                </a:lnTo>
                <a:lnTo>
                  <a:pt x="187" y="644"/>
                </a:lnTo>
                <a:lnTo>
                  <a:pt x="183" y="609"/>
                </a:lnTo>
                <a:lnTo>
                  <a:pt x="208" y="546"/>
                </a:lnTo>
                <a:lnTo>
                  <a:pt x="212" y="516"/>
                </a:lnTo>
                <a:lnTo>
                  <a:pt x="220" y="483"/>
                </a:lnTo>
                <a:lnTo>
                  <a:pt x="285" y="457"/>
                </a:lnTo>
                <a:lnTo>
                  <a:pt x="312" y="424"/>
                </a:lnTo>
                <a:lnTo>
                  <a:pt x="307" y="377"/>
                </a:lnTo>
                <a:lnTo>
                  <a:pt x="299" y="344"/>
                </a:lnTo>
                <a:lnTo>
                  <a:pt x="273" y="328"/>
                </a:lnTo>
                <a:lnTo>
                  <a:pt x="240" y="318"/>
                </a:lnTo>
                <a:lnTo>
                  <a:pt x="218" y="326"/>
                </a:lnTo>
                <a:lnTo>
                  <a:pt x="202" y="318"/>
                </a:lnTo>
                <a:lnTo>
                  <a:pt x="175" y="308"/>
                </a:lnTo>
                <a:lnTo>
                  <a:pt x="157" y="306"/>
                </a:lnTo>
                <a:lnTo>
                  <a:pt x="130" y="298"/>
                </a:lnTo>
                <a:lnTo>
                  <a:pt x="116" y="292"/>
                </a:lnTo>
                <a:lnTo>
                  <a:pt x="104" y="281"/>
                </a:lnTo>
                <a:lnTo>
                  <a:pt x="108" y="253"/>
                </a:lnTo>
                <a:lnTo>
                  <a:pt x="47" y="253"/>
                </a:lnTo>
                <a:lnTo>
                  <a:pt x="22" y="267"/>
                </a:lnTo>
                <a:close/>
              </a:path>
            </a:pathLst>
          </a:custGeom>
          <a:solidFill>
            <a:srgbClr val="D0D0D0"/>
          </a:solidFill>
          <a:ln w="9525">
            <a:solidFill>
              <a:srgbClr val="000000"/>
            </a:solidFill>
            <a:prstDash val="solid"/>
            <a:round/>
            <a:headEnd/>
            <a:tailEnd/>
          </a:ln>
        </p:spPr>
        <p:txBody>
          <a:bodyPr/>
          <a:lstStyle/>
          <a:p>
            <a:endParaRPr lang="cs-CZ"/>
          </a:p>
        </p:txBody>
      </p:sp>
      <p:sp>
        <p:nvSpPr>
          <p:cNvPr id="376" name="Freeform 384"/>
          <p:cNvSpPr>
            <a:spLocks/>
          </p:cNvSpPr>
          <p:nvPr/>
        </p:nvSpPr>
        <p:spPr bwMode="auto">
          <a:xfrm>
            <a:off x="3273425" y="3565103"/>
            <a:ext cx="727075" cy="974725"/>
          </a:xfrm>
          <a:custGeom>
            <a:avLst/>
            <a:gdLst>
              <a:gd name="T0" fmla="*/ 910 w 916"/>
              <a:gd name="T1" fmla="*/ 585 h 1228"/>
              <a:gd name="T2" fmla="*/ 868 w 916"/>
              <a:gd name="T3" fmla="*/ 528 h 1228"/>
              <a:gd name="T4" fmla="*/ 851 w 916"/>
              <a:gd name="T5" fmla="*/ 393 h 1228"/>
              <a:gd name="T6" fmla="*/ 849 w 916"/>
              <a:gd name="T7" fmla="*/ 320 h 1228"/>
              <a:gd name="T8" fmla="*/ 860 w 916"/>
              <a:gd name="T9" fmla="*/ 228 h 1228"/>
              <a:gd name="T10" fmla="*/ 809 w 916"/>
              <a:gd name="T11" fmla="*/ 208 h 1228"/>
              <a:gd name="T12" fmla="*/ 786 w 916"/>
              <a:gd name="T13" fmla="*/ 153 h 1228"/>
              <a:gd name="T14" fmla="*/ 782 w 916"/>
              <a:gd name="T15" fmla="*/ 120 h 1228"/>
              <a:gd name="T16" fmla="*/ 754 w 916"/>
              <a:gd name="T17" fmla="*/ 69 h 1228"/>
              <a:gd name="T18" fmla="*/ 739 w 916"/>
              <a:gd name="T19" fmla="*/ 122 h 1228"/>
              <a:gd name="T20" fmla="*/ 678 w 916"/>
              <a:gd name="T21" fmla="*/ 106 h 1228"/>
              <a:gd name="T22" fmla="*/ 642 w 916"/>
              <a:gd name="T23" fmla="*/ 149 h 1228"/>
              <a:gd name="T24" fmla="*/ 587 w 916"/>
              <a:gd name="T25" fmla="*/ 161 h 1228"/>
              <a:gd name="T26" fmla="*/ 528 w 916"/>
              <a:gd name="T27" fmla="*/ 169 h 1228"/>
              <a:gd name="T28" fmla="*/ 540 w 916"/>
              <a:gd name="T29" fmla="*/ 120 h 1228"/>
              <a:gd name="T30" fmla="*/ 491 w 916"/>
              <a:gd name="T31" fmla="*/ 108 h 1228"/>
              <a:gd name="T32" fmla="*/ 440 w 916"/>
              <a:gd name="T33" fmla="*/ 65 h 1228"/>
              <a:gd name="T34" fmla="*/ 371 w 916"/>
              <a:gd name="T35" fmla="*/ 12 h 1228"/>
              <a:gd name="T36" fmla="*/ 348 w 916"/>
              <a:gd name="T37" fmla="*/ 47 h 1228"/>
              <a:gd name="T38" fmla="*/ 334 w 916"/>
              <a:gd name="T39" fmla="*/ 88 h 1228"/>
              <a:gd name="T40" fmla="*/ 344 w 916"/>
              <a:gd name="T41" fmla="*/ 161 h 1228"/>
              <a:gd name="T42" fmla="*/ 304 w 916"/>
              <a:gd name="T43" fmla="*/ 204 h 1228"/>
              <a:gd name="T44" fmla="*/ 297 w 916"/>
              <a:gd name="T45" fmla="*/ 243 h 1228"/>
              <a:gd name="T46" fmla="*/ 218 w 916"/>
              <a:gd name="T47" fmla="*/ 187 h 1228"/>
              <a:gd name="T48" fmla="*/ 171 w 916"/>
              <a:gd name="T49" fmla="*/ 230 h 1228"/>
              <a:gd name="T50" fmla="*/ 175 w 916"/>
              <a:gd name="T51" fmla="*/ 263 h 1228"/>
              <a:gd name="T52" fmla="*/ 132 w 916"/>
              <a:gd name="T53" fmla="*/ 342 h 1228"/>
              <a:gd name="T54" fmla="*/ 137 w 916"/>
              <a:gd name="T55" fmla="*/ 395 h 1228"/>
              <a:gd name="T56" fmla="*/ 75 w 916"/>
              <a:gd name="T57" fmla="*/ 477 h 1228"/>
              <a:gd name="T58" fmla="*/ 27 w 916"/>
              <a:gd name="T59" fmla="*/ 497 h 1228"/>
              <a:gd name="T60" fmla="*/ 14 w 916"/>
              <a:gd name="T61" fmla="*/ 599 h 1228"/>
              <a:gd name="T62" fmla="*/ 21 w 916"/>
              <a:gd name="T63" fmla="*/ 682 h 1228"/>
              <a:gd name="T64" fmla="*/ 14 w 916"/>
              <a:gd name="T65" fmla="*/ 748 h 1228"/>
              <a:gd name="T66" fmla="*/ 18 w 916"/>
              <a:gd name="T67" fmla="*/ 851 h 1228"/>
              <a:gd name="T68" fmla="*/ 181 w 916"/>
              <a:gd name="T69" fmla="*/ 963 h 1228"/>
              <a:gd name="T70" fmla="*/ 112 w 916"/>
              <a:gd name="T71" fmla="*/ 1069 h 1228"/>
              <a:gd name="T72" fmla="*/ 126 w 916"/>
              <a:gd name="T73" fmla="*/ 1185 h 1228"/>
              <a:gd name="T74" fmla="*/ 361 w 916"/>
              <a:gd name="T75" fmla="*/ 1196 h 1228"/>
              <a:gd name="T76" fmla="*/ 440 w 916"/>
              <a:gd name="T77" fmla="*/ 1204 h 1228"/>
              <a:gd name="T78" fmla="*/ 515 w 916"/>
              <a:gd name="T79" fmla="*/ 1224 h 1228"/>
              <a:gd name="T80" fmla="*/ 615 w 916"/>
              <a:gd name="T81" fmla="*/ 1192 h 1228"/>
              <a:gd name="T82" fmla="*/ 686 w 916"/>
              <a:gd name="T83" fmla="*/ 1210 h 1228"/>
              <a:gd name="T84" fmla="*/ 686 w 916"/>
              <a:gd name="T85" fmla="*/ 1130 h 1228"/>
              <a:gd name="T86" fmla="*/ 739 w 916"/>
              <a:gd name="T87" fmla="*/ 1084 h 1228"/>
              <a:gd name="T88" fmla="*/ 786 w 916"/>
              <a:gd name="T89" fmla="*/ 1027 h 1228"/>
              <a:gd name="T90" fmla="*/ 733 w 916"/>
              <a:gd name="T91" fmla="*/ 963 h 1228"/>
              <a:gd name="T92" fmla="*/ 650 w 916"/>
              <a:gd name="T93" fmla="*/ 880 h 1228"/>
              <a:gd name="T94" fmla="*/ 609 w 916"/>
              <a:gd name="T95" fmla="*/ 788 h 1228"/>
              <a:gd name="T96" fmla="*/ 637 w 916"/>
              <a:gd name="T97" fmla="*/ 782 h 1228"/>
              <a:gd name="T98" fmla="*/ 735 w 916"/>
              <a:gd name="T99" fmla="*/ 743 h 1228"/>
              <a:gd name="T100" fmla="*/ 835 w 916"/>
              <a:gd name="T101" fmla="*/ 686 h 1228"/>
              <a:gd name="T102" fmla="*/ 870 w 916"/>
              <a:gd name="T103" fmla="*/ 666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6" h="1228">
                <a:moveTo>
                  <a:pt x="904" y="686"/>
                </a:moveTo>
                <a:lnTo>
                  <a:pt x="916" y="625"/>
                </a:lnTo>
                <a:lnTo>
                  <a:pt x="910" y="585"/>
                </a:lnTo>
                <a:lnTo>
                  <a:pt x="890" y="564"/>
                </a:lnTo>
                <a:lnTo>
                  <a:pt x="890" y="550"/>
                </a:lnTo>
                <a:lnTo>
                  <a:pt x="868" y="528"/>
                </a:lnTo>
                <a:lnTo>
                  <a:pt x="876" y="497"/>
                </a:lnTo>
                <a:lnTo>
                  <a:pt x="870" y="456"/>
                </a:lnTo>
                <a:lnTo>
                  <a:pt x="851" y="393"/>
                </a:lnTo>
                <a:lnTo>
                  <a:pt x="829" y="365"/>
                </a:lnTo>
                <a:lnTo>
                  <a:pt x="835" y="342"/>
                </a:lnTo>
                <a:lnTo>
                  <a:pt x="849" y="320"/>
                </a:lnTo>
                <a:lnTo>
                  <a:pt x="843" y="285"/>
                </a:lnTo>
                <a:lnTo>
                  <a:pt x="847" y="242"/>
                </a:lnTo>
                <a:lnTo>
                  <a:pt x="860" y="228"/>
                </a:lnTo>
                <a:lnTo>
                  <a:pt x="843" y="222"/>
                </a:lnTo>
                <a:lnTo>
                  <a:pt x="823" y="200"/>
                </a:lnTo>
                <a:lnTo>
                  <a:pt x="809" y="208"/>
                </a:lnTo>
                <a:lnTo>
                  <a:pt x="800" y="196"/>
                </a:lnTo>
                <a:lnTo>
                  <a:pt x="800" y="181"/>
                </a:lnTo>
                <a:lnTo>
                  <a:pt x="786" y="153"/>
                </a:lnTo>
                <a:lnTo>
                  <a:pt x="754" y="153"/>
                </a:lnTo>
                <a:lnTo>
                  <a:pt x="758" y="139"/>
                </a:lnTo>
                <a:lnTo>
                  <a:pt x="782" y="120"/>
                </a:lnTo>
                <a:lnTo>
                  <a:pt x="790" y="96"/>
                </a:lnTo>
                <a:lnTo>
                  <a:pt x="776" y="71"/>
                </a:lnTo>
                <a:lnTo>
                  <a:pt x="754" y="69"/>
                </a:lnTo>
                <a:lnTo>
                  <a:pt x="747" y="86"/>
                </a:lnTo>
                <a:lnTo>
                  <a:pt x="739" y="110"/>
                </a:lnTo>
                <a:lnTo>
                  <a:pt x="739" y="122"/>
                </a:lnTo>
                <a:lnTo>
                  <a:pt x="707" y="110"/>
                </a:lnTo>
                <a:lnTo>
                  <a:pt x="690" y="120"/>
                </a:lnTo>
                <a:lnTo>
                  <a:pt x="678" y="106"/>
                </a:lnTo>
                <a:lnTo>
                  <a:pt x="666" y="126"/>
                </a:lnTo>
                <a:lnTo>
                  <a:pt x="652" y="128"/>
                </a:lnTo>
                <a:lnTo>
                  <a:pt x="642" y="149"/>
                </a:lnTo>
                <a:lnTo>
                  <a:pt x="619" y="139"/>
                </a:lnTo>
                <a:lnTo>
                  <a:pt x="597" y="149"/>
                </a:lnTo>
                <a:lnTo>
                  <a:pt x="587" y="161"/>
                </a:lnTo>
                <a:lnTo>
                  <a:pt x="570" y="183"/>
                </a:lnTo>
                <a:lnTo>
                  <a:pt x="550" y="169"/>
                </a:lnTo>
                <a:lnTo>
                  <a:pt x="528" y="169"/>
                </a:lnTo>
                <a:lnTo>
                  <a:pt x="509" y="169"/>
                </a:lnTo>
                <a:lnTo>
                  <a:pt x="517" y="143"/>
                </a:lnTo>
                <a:lnTo>
                  <a:pt x="540" y="120"/>
                </a:lnTo>
                <a:lnTo>
                  <a:pt x="532" y="106"/>
                </a:lnTo>
                <a:lnTo>
                  <a:pt x="503" y="122"/>
                </a:lnTo>
                <a:lnTo>
                  <a:pt x="491" y="108"/>
                </a:lnTo>
                <a:lnTo>
                  <a:pt x="477" y="96"/>
                </a:lnTo>
                <a:lnTo>
                  <a:pt x="452" y="92"/>
                </a:lnTo>
                <a:lnTo>
                  <a:pt x="440" y="65"/>
                </a:lnTo>
                <a:lnTo>
                  <a:pt x="438" y="31"/>
                </a:lnTo>
                <a:lnTo>
                  <a:pt x="405" y="23"/>
                </a:lnTo>
                <a:lnTo>
                  <a:pt x="371" y="12"/>
                </a:lnTo>
                <a:lnTo>
                  <a:pt x="346" y="0"/>
                </a:lnTo>
                <a:lnTo>
                  <a:pt x="330" y="18"/>
                </a:lnTo>
                <a:lnTo>
                  <a:pt x="348" y="47"/>
                </a:lnTo>
                <a:lnTo>
                  <a:pt x="357" y="69"/>
                </a:lnTo>
                <a:lnTo>
                  <a:pt x="350" y="82"/>
                </a:lnTo>
                <a:lnTo>
                  <a:pt x="334" y="88"/>
                </a:lnTo>
                <a:lnTo>
                  <a:pt x="334" y="106"/>
                </a:lnTo>
                <a:lnTo>
                  <a:pt x="344" y="126"/>
                </a:lnTo>
                <a:lnTo>
                  <a:pt x="344" y="161"/>
                </a:lnTo>
                <a:lnTo>
                  <a:pt x="344" y="175"/>
                </a:lnTo>
                <a:lnTo>
                  <a:pt x="318" y="181"/>
                </a:lnTo>
                <a:lnTo>
                  <a:pt x="304" y="204"/>
                </a:lnTo>
                <a:lnTo>
                  <a:pt x="304" y="236"/>
                </a:lnTo>
                <a:lnTo>
                  <a:pt x="308" y="259"/>
                </a:lnTo>
                <a:lnTo>
                  <a:pt x="297" y="243"/>
                </a:lnTo>
                <a:lnTo>
                  <a:pt x="269" y="230"/>
                </a:lnTo>
                <a:lnTo>
                  <a:pt x="247" y="194"/>
                </a:lnTo>
                <a:lnTo>
                  <a:pt x="218" y="187"/>
                </a:lnTo>
                <a:lnTo>
                  <a:pt x="189" y="194"/>
                </a:lnTo>
                <a:lnTo>
                  <a:pt x="167" y="212"/>
                </a:lnTo>
                <a:lnTo>
                  <a:pt x="171" y="230"/>
                </a:lnTo>
                <a:lnTo>
                  <a:pt x="190" y="249"/>
                </a:lnTo>
                <a:lnTo>
                  <a:pt x="200" y="269"/>
                </a:lnTo>
                <a:lnTo>
                  <a:pt x="175" y="263"/>
                </a:lnTo>
                <a:lnTo>
                  <a:pt x="161" y="259"/>
                </a:lnTo>
                <a:lnTo>
                  <a:pt x="147" y="304"/>
                </a:lnTo>
                <a:lnTo>
                  <a:pt x="132" y="342"/>
                </a:lnTo>
                <a:lnTo>
                  <a:pt x="106" y="352"/>
                </a:lnTo>
                <a:lnTo>
                  <a:pt x="124" y="379"/>
                </a:lnTo>
                <a:lnTo>
                  <a:pt x="137" y="395"/>
                </a:lnTo>
                <a:lnTo>
                  <a:pt x="124" y="426"/>
                </a:lnTo>
                <a:lnTo>
                  <a:pt x="92" y="446"/>
                </a:lnTo>
                <a:lnTo>
                  <a:pt x="75" y="477"/>
                </a:lnTo>
                <a:lnTo>
                  <a:pt x="45" y="467"/>
                </a:lnTo>
                <a:lnTo>
                  <a:pt x="27" y="471"/>
                </a:lnTo>
                <a:lnTo>
                  <a:pt x="27" y="497"/>
                </a:lnTo>
                <a:lnTo>
                  <a:pt x="21" y="542"/>
                </a:lnTo>
                <a:lnTo>
                  <a:pt x="21" y="579"/>
                </a:lnTo>
                <a:lnTo>
                  <a:pt x="14" y="599"/>
                </a:lnTo>
                <a:lnTo>
                  <a:pt x="14" y="633"/>
                </a:lnTo>
                <a:lnTo>
                  <a:pt x="14" y="660"/>
                </a:lnTo>
                <a:lnTo>
                  <a:pt x="21" y="682"/>
                </a:lnTo>
                <a:lnTo>
                  <a:pt x="14" y="717"/>
                </a:lnTo>
                <a:lnTo>
                  <a:pt x="0" y="741"/>
                </a:lnTo>
                <a:lnTo>
                  <a:pt x="14" y="748"/>
                </a:lnTo>
                <a:lnTo>
                  <a:pt x="0" y="776"/>
                </a:lnTo>
                <a:lnTo>
                  <a:pt x="20" y="796"/>
                </a:lnTo>
                <a:lnTo>
                  <a:pt x="18" y="851"/>
                </a:lnTo>
                <a:lnTo>
                  <a:pt x="47" y="900"/>
                </a:lnTo>
                <a:lnTo>
                  <a:pt x="159" y="931"/>
                </a:lnTo>
                <a:lnTo>
                  <a:pt x="181" y="963"/>
                </a:lnTo>
                <a:lnTo>
                  <a:pt x="161" y="1016"/>
                </a:lnTo>
                <a:lnTo>
                  <a:pt x="132" y="1033"/>
                </a:lnTo>
                <a:lnTo>
                  <a:pt x="112" y="1069"/>
                </a:lnTo>
                <a:lnTo>
                  <a:pt x="112" y="1110"/>
                </a:lnTo>
                <a:lnTo>
                  <a:pt x="110" y="1167"/>
                </a:lnTo>
                <a:lnTo>
                  <a:pt x="126" y="1185"/>
                </a:lnTo>
                <a:lnTo>
                  <a:pt x="259" y="1171"/>
                </a:lnTo>
                <a:lnTo>
                  <a:pt x="332" y="1206"/>
                </a:lnTo>
                <a:lnTo>
                  <a:pt x="361" y="1196"/>
                </a:lnTo>
                <a:lnTo>
                  <a:pt x="391" y="1228"/>
                </a:lnTo>
                <a:lnTo>
                  <a:pt x="416" y="1228"/>
                </a:lnTo>
                <a:lnTo>
                  <a:pt x="440" y="1204"/>
                </a:lnTo>
                <a:lnTo>
                  <a:pt x="458" y="1204"/>
                </a:lnTo>
                <a:lnTo>
                  <a:pt x="491" y="1226"/>
                </a:lnTo>
                <a:lnTo>
                  <a:pt x="515" y="1224"/>
                </a:lnTo>
                <a:lnTo>
                  <a:pt x="536" y="1210"/>
                </a:lnTo>
                <a:lnTo>
                  <a:pt x="560" y="1196"/>
                </a:lnTo>
                <a:lnTo>
                  <a:pt x="615" y="1192"/>
                </a:lnTo>
                <a:lnTo>
                  <a:pt x="652" y="1192"/>
                </a:lnTo>
                <a:lnTo>
                  <a:pt x="676" y="1196"/>
                </a:lnTo>
                <a:lnTo>
                  <a:pt x="686" y="1210"/>
                </a:lnTo>
                <a:lnTo>
                  <a:pt x="699" y="1194"/>
                </a:lnTo>
                <a:lnTo>
                  <a:pt x="692" y="1169"/>
                </a:lnTo>
                <a:lnTo>
                  <a:pt x="686" y="1130"/>
                </a:lnTo>
                <a:lnTo>
                  <a:pt x="697" y="1098"/>
                </a:lnTo>
                <a:lnTo>
                  <a:pt x="725" y="1088"/>
                </a:lnTo>
                <a:lnTo>
                  <a:pt x="739" y="1084"/>
                </a:lnTo>
                <a:lnTo>
                  <a:pt x="747" y="1061"/>
                </a:lnTo>
                <a:lnTo>
                  <a:pt x="764" y="1051"/>
                </a:lnTo>
                <a:lnTo>
                  <a:pt x="786" y="1027"/>
                </a:lnTo>
                <a:lnTo>
                  <a:pt x="786" y="1008"/>
                </a:lnTo>
                <a:lnTo>
                  <a:pt x="764" y="1000"/>
                </a:lnTo>
                <a:lnTo>
                  <a:pt x="733" y="963"/>
                </a:lnTo>
                <a:lnTo>
                  <a:pt x="693" y="927"/>
                </a:lnTo>
                <a:lnTo>
                  <a:pt x="666" y="906"/>
                </a:lnTo>
                <a:lnTo>
                  <a:pt x="650" y="880"/>
                </a:lnTo>
                <a:lnTo>
                  <a:pt x="635" y="843"/>
                </a:lnTo>
                <a:lnTo>
                  <a:pt x="631" y="803"/>
                </a:lnTo>
                <a:lnTo>
                  <a:pt x="609" y="788"/>
                </a:lnTo>
                <a:lnTo>
                  <a:pt x="603" y="774"/>
                </a:lnTo>
                <a:lnTo>
                  <a:pt x="619" y="762"/>
                </a:lnTo>
                <a:lnTo>
                  <a:pt x="637" y="782"/>
                </a:lnTo>
                <a:lnTo>
                  <a:pt x="660" y="768"/>
                </a:lnTo>
                <a:lnTo>
                  <a:pt x="690" y="748"/>
                </a:lnTo>
                <a:lnTo>
                  <a:pt x="735" y="743"/>
                </a:lnTo>
                <a:lnTo>
                  <a:pt x="764" y="701"/>
                </a:lnTo>
                <a:lnTo>
                  <a:pt x="790" y="699"/>
                </a:lnTo>
                <a:lnTo>
                  <a:pt x="835" y="686"/>
                </a:lnTo>
                <a:lnTo>
                  <a:pt x="837" y="652"/>
                </a:lnTo>
                <a:lnTo>
                  <a:pt x="855" y="652"/>
                </a:lnTo>
                <a:lnTo>
                  <a:pt x="870" y="666"/>
                </a:lnTo>
                <a:lnTo>
                  <a:pt x="884" y="678"/>
                </a:lnTo>
                <a:lnTo>
                  <a:pt x="904" y="686"/>
                </a:lnTo>
                <a:close/>
              </a:path>
            </a:pathLst>
          </a:custGeom>
          <a:solidFill>
            <a:srgbClr val="FF0000"/>
          </a:solidFill>
          <a:ln w="9525">
            <a:solidFill>
              <a:srgbClr val="000000"/>
            </a:solidFill>
            <a:prstDash val="solid"/>
            <a:round/>
            <a:headEnd/>
            <a:tailEnd/>
          </a:ln>
        </p:spPr>
        <p:txBody>
          <a:bodyPr/>
          <a:lstStyle/>
          <a:p>
            <a:endParaRPr lang="cs-CZ"/>
          </a:p>
        </p:txBody>
      </p:sp>
      <p:sp>
        <p:nvSpPr>
          <p:cNvPr id="377" name="Freeform 385"/>
          <p:cNvSpPr>
            <a:spLocks/>
          </p:cNvSpPr>
          <p:nvPr/>
        </p:nvSpPr>
        <p:spPr bwMode="auto">
          <a:xfrm>
            <a:off x="3022600" y="3976265"/>
            <a:ext cx="268288" cy="246063"/>
          </a:xfrm>
          <a:custGeom>
            <a:avLst/>
            <a:gdLst>
              <a:gd name="T0" fmla="*/ 253 w 337"/>
              <a:gd name="T1" fmla="*/ 310 h 310"/>
              <a:gd name="T2" fmla="*/ 265 w 337"/>
              <a:gd name="T3" fmla="*/ 261 h 310"/>
              <a:gd name="T4" fmla="*/ 271 w 337"/>
              <a:gd name="T5" fmla="*/ 233 h 310"/>
              <a:gd name="T6" fmla="*/ 298 w 337"/>
              <a:gd name="T7" fmla="*/ 220 h 310"/>
              <a:gd name="T8" fmla="*/ 324 w 337"/>
              <a:gd name="T9" fmla="*/ 218 h 310"/>
              <a:gd name="T10" fmla="*/ 337 w 337"/>
              <a:gd name="T11" fmla="*/ 186 h 310"/>
              <a:gd name="T12" fmla="*/ 334 w 337"/>
              <a:gd name="T13" fmla="*/ 151 h 310"/>
              <a:gd name="T14" fmla="*/ 318 w 337"/>
              <a:gd name="T15" fmla="*/ 125 h 310"/>
              <a:gd name="T16" fmla="*/ 284 w 337"/>
              <a:gd name="T17" fmla="*/ 117 h 310"/>
              <a:gd name="T18" fmla="*/ 296 w 337"/>
              <a:gd name="T19" fmla="*/ 74 h 310"/>
              <a:gd name="T20" fmla="*/ 277 w 337"/>
              <a:gd name="T21" fmla="*/ 39 h 310"/>
              <a:gd name="T22" fmla="*/ 249 w 337"/>
              <a:gd name="T23" fmla="*/ 11 h 310"/>
              <a:gd name="T24" fmla="*/ 224 w 337"/>
              <a:gd name="T25" fmla="*/ 0 h 310"/>
              <a:gd name="T26" fmla="*/ 180 w 337"/>
              <a:gd name="T27" fmla="*/ 2 h 310"/>
              <a:gd name="T28" fmla="*/ 135 w 337"/>
              <a:gd name="T29" fmla="*/ 19 h 310"/>
              <a:gd name="T30" fmla="*/ 110 w 337"/>
              <a:gd name="T31" fmla="*/ 19 h 310"/>
              <a:gd name="T32" fmla="*/ 88 w 337"/>
              <a:gd name="T33" fmla="*/ 0 h 310"/>
              <a:gd name="T34" fmla="*/ 58 w 337"/>
              <a:gd name="T35" fmla="*/ 2 h 310"/>
              <a:gd name="T36" fmla="*/ 31 w 337"/>
              <a:gd name="T37" fmla="*/ 11 h 310"/>
              <a:gd name="T38" fmla="*/ 0 w 337"/>
              <a:gd name="T39" fmla="*/ 19 h 310"/>
              <a:gd name="T40" fmla="*/ 11 w 337"/>
              <a:gd name="T41" fmla="*/ 74 h 310"/>
              <a:gd name="T42" fmla="*/ 41 w 337"/>
              <a:gd name="T43" fmla="*/ 96 h 310"/>
              <a:gd name="T44" fmla="*/ 64 w 337"/>
              <a:gd name="T45" fmla="*/ 131 h 310"/>
              <a:gd name="T46" fmla="*/ 129 w 337"/>
              <a:gd name="T47" fmla="*/ 176 h 310"/>
              <a:gd name="T48" fmla="*/ 127 w 337"/>
              <a:gd name="T49" fmla="*/ 228 h 310"/>
              <a:gd name="T50" fmla="*/ 161 w 337"/>
              <a:gd name="T51" fmla="*/ 241 h 310"/>
              <a:gd name="T52" fmla="*/ 202 w 337"/>
              <a:gd name="T53" fmla="*/ 206 h 310"/>
              <a:gd name="T54" fmla="*/ 202 w 337"/>
              <a:gd name="T55" fmla="*/ 269 h 310"/>
              <a:gd name="T56" fmla="*/ 253 w 337"/>
              <a:gd name="T57"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7" h="310">
                <a:moveTo>
                  <a:pt x="253" y="310"/>
                </a:moveTo>
                <a:lnTo>
                  <a:pt x="265" y="261"/>
                </a:lnTo>
                <a:lnTo>
                  <a:pt x="271" y="233"/>
                </a:lnTo>
                <a:lnTo>
                  <a:pt x="298" y="220"/>
                </a:lnTo>
                <a:lnTo>
                  <a:pt x="324" y="218"/>
                </a:lnTo>
                <a:lnTo>
                  <a:pt x="337" y="186"/>
                </a:lnTo>
                <a:lnTo>
                  <a:pt x="334" y="151"/>
                </a:lnTo>
                <a:lnTo>
                  <a:pt x="318" y="125"/>
                </a:lnTo>
                <a:lnTo>
                  <a:pt x="284" y="117"/>
                </a:lnTo>
                <a:lnTo>
                  <a:pt x="296" y="74"/>
                </a:lnTo>
                <a:lnTo>
                  <a:pt x="277" y="39"/>
                </a:lnTo>
                <a:lnTo>
                  <a:pt x="249" y="11"/>
                </a:lnTo>
                <a:lnTo>
                  <a:pt x="224" y="0"/>
                </a:lnTo>
                <a:lnTo>
                  <a:pt x="180" y="2"/>
                </a:lnTo>
                <a:lnTo>
                  <a:pt x="135" y="19"/>
                </a:lnTo>
                <a:lnTo>
                  <a:pt x="110" y="19"/>
                </a:lnTo>
                <a:lnTo>
                  <a:pt x="88" y="0"/>
                </a:lnTo>
                <a:lnTo>
                  <a:pt x="58" y="2"/>
                </a:lnTo>
                <a:lnTo>
                  <a:pt x="31" y="11"/>
                </a:lnTo>
                <a:lnTo>
                  <a:pt x="0" y="19"/>
                </a:lnTo>
                <a:lnTo>
                  <a:pt x="11" y="74"/>
                </a:lnTo>
                <a:lnTo>
                  <a:pt x="41" y="96"/>
                </a:lnTo>
                <a:lnTo>
                  <a:pt x="64" y="131"/>
                </a:lnTo>
                <a:lnTo>
                  <a:pt x="129" y="176"/>
                </a:lnTo>
                <a:lnTo>
                  <a:pt x="127" y="228"/>
                </a:lnTo>
                <a:lnTo>
                  <a:pt x="161" y="241"/>
                </a:lnTo>
                <a:lnTo>
                  <a:pt x="202" y="206"/>
                </a:lnTo>
                <a:lnTo>
                  <a:pt x="202" y="269"/>
                </a:lnTo>
                <a:lnTo>
                  <a:pt x="253" y="310"/>
                </a:lnTo>
                <a:close/>
              </a:path>
            </a:pathLst>
          </a:custGeom>
          <a:solidFill>
            <a:srgbClr val="D0D0D0"/>
          </a:solidFill>
          <a:ln w="9525">
            <a:solidFill>
              <a:srgbClr val="000000"/>
            </a:solidFill>
            <a:prstDash val="solid"/>
            <a:round/>
            <a:headEnd/>
            <a:tailEnd/>
          </a:ln>
        </p:spPr>
        <p:txBody>
          <a:bodyPr/>
          <a:lstStyle/>
          <a:p>
            <a:endParaRPr lang="cs-CZ"/>
          </a:p>
        </p:txBody>
      </p:sp>
      <p:sp>
        <p:nvSpPr>
          <p:cNvPr id="378" name="Freeform 386"/>
          <p:cNvSpPr>
            <a:spLocks/>
          </p:cNvSpPr>
          <p:nvPr/>
        </p:nvSpPr>
        <p:spPr bwMode="auto">
          <a:xfrm>
            <a:off x="2355850" y="4000078"/>
            <a:ext cx="1065213" cy="1108075"/>
          </a:xfrm>
          <a:custGeom>
            <a:avLst/>
            <a:gdLst>
              <a:gd name="T0" fmla="*/ 1269 w 1342"/>
              <a:gd name="T1" fmla="*/ 566 h 1397"/>
              <a:gd name="T2" fmla="*/ 1316 w 1342"/>
              <a:gd name="T3" fmla="*/ 476 h 1397"/>
              <a:gd name="T4" fmla="*/ 1330 w 1342"/>
              <a:gd name="T5" fmla="*/ 395 h 1397"/>
              <a:gd name="T6" fmla="*/ 1175 w 1342"/>
              <a:gd name="T7" fmla="*/ 310 h 1397"/>
              <a:gd name="T8" fmla="*/ 1043 w 1342"/>
              <a:gd name="T9" fmla="*/ 240 h 1397"/>
              <a:gd name="T10" fmla="*/ 994 w 1342"/>
              <a:gd name="T11" fmla="*/ 210 h 1397"/>
              <a:gd name="T12" fmla="*/ 905 w 1342"/>
              <a:gd name="T13" fmla="*/ 94 h 1397"/>
              <a:gd name="T14" fmla="*/ 846 w 1342"/>
              <a:gd name="T15" fmla="*/ 45 h 1397"/>
              <a:gd name="T16" fmla="*/ 742 w 1342"/>
              <a:gd name="T17" fmla="*/ 20 h 1397"/>
              <a:gd name="T18" fmla="*/ 715 w 1342"/>
              <a:gd name="T19" fmla="*/ 112 h 1397"/>
              <a:gd name="T20" fmla="*/ 634 w 1342"/>
              <a:gd name="T21" fmla="*/ 163 h 1397"/>
              <a:gd name="T22" fmla="*/ 550 w 1342"/>
              <a:gd name="T23" fmla="*/ 199 h 1397"/>
              <a:gd name="T24" fmla="*/ 538 w 1342"/>
              <a:gd name="T25" fmla="*/ 226 h 1397"/>
              <a:gd name="T26" fmla="*/ 422 w 1342"/>
              <a:gd name="T27" fmla="*/ 202 h 1397"/>
              <a:gd name="T28" fmla="*/ 387 w 1342"/>
              <a:gd name="T29" fmla="*/ 147 h 1397"/>
              <a:gd name="T30" fmla="*/ 347 w 1342"/>
              <a:gd name="T31" fmla="*/ 195 h 1397"/>
              <a:gd name="T32" fmla="*/ 367 w 1342"/>
              <a:gd name="T33" fmla="*/ 299 h 1397"/>
              <a:gd name="T34" fmla="*/ 220 w 1342"/>
              <a:gd name="T35" fmla="*/ 291 h 1397"/>
              <a:gd name="T36" fmla="*/ 114 w 1342"/>
              <a:gd name="T37" fmla="*/ 252 h 1397"/>
              <a:gd name="T38" fmla="*/ 21 w 1342"/>
              <a:gd name="T39" fmla="*/ 283 h 1397"/>
              <a:gd name="T40" fmla="*/ 11 w 1342"/>
              <a:gd name="T41" fmla="*/ 332 h 1397"/>
              <a:gd name="T42" fmla="*/ 84 w 1342"/>
              <a:gd name="T43" fmla="*/ 385 h 1397"/>
              <a:gd name="T44" fmla="*/ 145 w 1342"/>
              <a:gd name="T45" fmla="*/ 448 h 1397"/>
              <a:gd name="T46" fmla="*/ 210 w 1342"/>
              <a:gd name="T47" fmla="*/ 477 h 1397"/>
              <a:gd name="T48" fmla="*/ 237 w 1342"/>
              <a:gd name="T49" fmla="*/ 558 h 1397"/>
              <a:gd name="T50" fmla="*/ 245 w 1342"/>
              <a:gd name="T51" fmla="*/ 639 h 1397"/>
              <a:gd name="T52" fmla="*/ 308 w 1342"/>
              <a:gd name="T53" fmla="*/ 756 h 1397"/>
              <a:gd name="T54" fmla="*/ 322 w 1342"/>
              <a:gd name="T55" fmla="*/ 861 h 1397"/>
              <a:gd name="T56" fmla="*/ 273 w 1342"/>
              <a:gd name="T57" fmla="*/ 872 h 1397"/>
              <a:gd name="T58" fmla="*/ 251 w 1342"/>
              <a:gd name="T59" fmla="*/ 969 h 1397"/>
              <a:gd name="T60" fmla="*/ 204 w 1342"/>
              <a:gd name="T61" fmla="*/ 1094 h 1397"/>
              <a:gd name="T62" fmla="*/ 135 w 1342"/>
              <a:gd name="T63" fmla="*/ 1163 h 1397"/>
              <a:gd name="T64" fmla="*/ 190 w 1342"/>
              <a:gd name="T65" fmla="*/ 1224 h 1397"/>
              <a:gd name="T66" fmla="*/ 273 w 1342"/>
              <a:gd name="T67" fmla="*/ 1287 h 1397"/>
              <a:gd name="T68" fmla="*/ 422 w 1342"/>
              <a:gd name="T69" fmla="*/ 1307 h 1397"/>
              <a:gd name="T70" fmla="*/ 497 w 1342"/>
              <a:gd name="T71" fmla="*/ 1352 h 1397"/>
              <a:gd name="T72" fmla="*/ 599 w 1342"/>
              <a:gd name="T73" fmla="*/ 1397 h 1397"/>
              <a:gd name="T74" fmla="*/ 689 w 1342"/>
              <a:gd name="T75" fmla="*/ 1301 h 1397"/>
              <a:gd name="T76" fmla="*/ 768 w 1342"/>
              <a:gd name="T77" fmla="*/ 1256 h 1397"/>
              <a:gd name="T78" fmla="*/ 860 w 1342"/>
              <a:gd name="T79" fmla="*/ 1273 h 1397"/>
              <a:gd name="T80" fmla="*/ 994 w 1342"/>
              <a:gd name="T81" fmla="*/ 1324 h 1397"/>
              <a:gd name="T82" fmla="*/ 1090 w 1342"/>
              <a:gd name="T83" fmla="*/ 1328 h 1397"/>
              <a:gd name="T84" fmla="*/ 1171 w 1342"/>
              <a:gd name="T85" fmla="*/ 1265 h 1397"/>
              <a:gd name="T86" fmla="*/ 1216 w 1342"/>
              <a:gd name="T87" fmla="*/ 1195 h 1397"/>
              <a:gd name="T88" fmla="*/ 1139 w 1342"/>
              <a:gd name="T89" fmla="*/ 1106 h 1397"/>
              <a:gd name="T90" fmla="*/ 1171 w 1342"/>
              <a:gd name="T91" fmla="*/ 990 h 1397"/>
              <a:gd name="T92" fmla="*/ 1165 w 1342"/>
              <a:gd name="T93" fmla="*/ 886 h 1397"/>
              <a:gd name="T94" fmla="*/ 1159 w 1342"/>
              <a:gd name="T95" fmla="*/ 829 h 1397"/>
              <a:gd name="T96" fmla="*/ 1092 w 1342"/>
              <a:gd name="T97" fmla="*/ 847 h 1397"/>
              <a:gd name="T98" fmla="*/ 1139 w 1342"/>
              <a:gd name="T99" fmla="*/ 733 h 1397"/>
              <a:gd name="T100" fmla="*/ 1200 w 1342"/>
              <a:gd name="T101" fmla="*/ 635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2" h="1397">
                <a:moveTo>
                  <a:pt x="1267" y="625"/>
                </a:moveTo>
                <a:lnTo>
                  <a:pt x="1263" y="584"/>
                </a:lnTo>
                <a:lnTo>
                  <a:pt x="1269" y="566"/>
                </a:lnTo>
                <a:lnTo>
                  <a:pt x="1267" y="523"/>
                </a:lnTo>
                <a:lnTo>
                  <a:pt x="1296" y="476"/>
                </a:lnTo>
                <a:lnTo>
                  <a:pt x="1316" y="476"/>
                </a:lnTo>
                <a:lnTo>
                  <a:pt x="1322" y="444"/>
                </a:lnTo>
                <a:lnTo>
                  <a:pt x="1342" y="421"/>
                </a:lnTo>
                <a:lnTo>
                  <a:pt x="1330" y="395"/>
                </a:lnTo>
                <a:lnTo>
                  <a:pt x="1245" y="366"/>
                </a:lnTo>
                <a:lnTo>
                  <a:pt x="1202" y="360"/>
                </a:lnTo>
                <a:lnTo>
                  <a:pt x="1175" y="310"/>
                </a:lnTo>
                <a:lnTo>
                  <a:pt x="1143" y="283"/>
                </a:lnTo>
                <a:lnTo>
                  <a:pt x="1100" y="285"/>
                </a:lnTo>
                <a:lnTo>
                  <a:pt x="1043" y="240"/>
                </a:lnTo>
                <a:lnTo>
                  <a:pt x="1041" y="177"/>
                </a:lnTo>
                <a:lnTo>
                  <a:pt x="1015" y="199"/>
                </a:lnTo>
                <a:lnTo>
                  <a:pt x="994" y="210"/>
                </a:lnTo>
                <a:lnTo>
                  <a:pt x="962" y="195"/>
                </a:lnTo>
                <a:lnTo>
                  <a:pt x="974" y="142"/>
                </a:lnTo>
                <a:lnTo>
                  <a:pt x="905" y="94"/>
                </a:lnTo>
                <a:lnTo>
                  <a:pt x="894" y="79"/>
                </a:lnTo>
                <a:lnTo>
                  <a:pt x="872" y="53"/>
                </a:lnTo>
                <a:lnTo>
                  <a:pt x="846" y="45"/>
                </a:lnTo>
                <a:lnTo>
                  <a:pt x="844" y="0"/>
                </a:lnTo>
                <a:lnTo>
                  <a:pt x="762" y="4"/>
                </a:lnTo>
                <a:lnTo>
                  <a:pt x="742" y="20"/>
                </a:lnTo>
                <a:lnTo>
                  <a:pt x="725" y="53"/>
                </a:lnTo>
                <a:lnTo>
                  <a:pt x="723" y="79"/>
                </a:lnTo>
                <a:lnTo>
                  <a:pt x="715" y="112"/>
                </a:lnTo>
                <a:lnTo>
                  <a:pt x="715" y="134"/>
                </a:lnTo>
                <a:lnTo>
                  <a:pt x="675" y="149"/>
                </a:lnTo>
                <a:lnTo>
                  <a:pt x="634" y="163"/>
                </a:lnTo>
                <a:lnTo>
                  <a:pt x="599" y="163"/>
                </a:lnTo>
                <a:lnTo>
                  <a:pt x="562" y="183"/>
                </a:lnTo>
                <a:lnTo>
                  <a:pt x="550" y="199"/>
                </a:lnTo>
                <a:lnTo>
                  <a:pt x="585" y="218"/>
                </a:lnTo>
                <a:lnTo>
                  <a:pt x="571" y="238"/>
                </a:lnTo>
                <a:lnTo>
                  <a:pt x="538" y="226"/>
                </a:lnTo>
                <a:lnTo>
                  <a:pt x="499" y="232"/>
                </a:lnTo>
                <a:lnTo>
                  <a:pt x="465" y="226"/>
                </a:lnTo>
                <a:lnTo>
                  <a:pt x="422" y="202"/>
                </a:lnTo>
                <a:lnTo>
                  <a:pt x="396" y="177"/>
                </a:lnTo>
                <a:lnTo>
                  <a:pt x="402" y="153"/>
                </a:lnTo>
                <a:lnTo>
                  <a:pt x="387" y="147"/>
                </a:lnTo>
                <a:lnTo>
                  <a:pt x="341" y="130"/>
                </a:lnTo>
                <a:lnTo>
                  <a:pt x="339" y="157"/>
                </a:lnTo>
                <a:lnTo>
                  <a:pt x="347" y="195"/>
                </a:lnTo>
                <a:lnTo>
                  <a:pt x="355" y="232"/>
                </a:lnTo>
                <a:lnTo>
                  <a:pt x="341" y="269"/>
                </a:lnTo>
                <a:lnTo>
                  <a:pt x="367" y="299"/>
                </a:lnTo>
                <a:lnTo>
                  <a:pt x="341" y="312"/>
                </a:lnTo>
                <a:lnTo>
                  <a:pt x="300" y="297"/>
                </a:lnTo>
                <a:lnTo>
                  <a:pt x="220" y="291"/>
                </a:lnTo>
                <a:lnTo>
                  <a:pt x="182" y="240"/>
                </a:lnTo>
                <a:lnTo>
                  <a:pt x="137" y="238"/>
                </a:lnTo>
                <a:lnTo>
                  <a:pt x="114" y="252"/>
                </a:lnTo>
                <a:lnTo>
                  <a:pt x="21" y="242"/>
                </a:lnTo>
                <a:lnTo>
                  <a:pt x="0" y="269"/>
                </a:lnTo>
                <a:lnTo>
                  <a:pt x="21" y="283"/>
                </a:lnTo>
                <a:lnTo>
                  <a:pt x="13" y="307"/>
                </a:lnTo>
                <a:lnTo>
                  <a:pt x="43" y="328"/>
                </a:lnTo>
                <a:lnTo>
                  <a:pt x="11" y="332"/>
                </a:lnTo>
                <a:lnTo>
                  <a:pt x="15" y="358"/>
                </a:lnTo>
                <a:lnTo>
                  <a:pt x="47" y="381"/>
                </a:lnTo>
                <a:lnTo>
                  <a:pt x="84" y="385"/>
                </a:lnTo>
                <a:lnTo>
                  <a:pt x="110" y="417"/>
                </a:lnTo>
                <a:lnTo>
                  <a:pt x="123" y="440"/>
                </a:lnTo>
                <a:lnTo>
                  <a:pt x="145" y="448"/>
                </a:lnTo>
                <a:lnTo>
                  <a:pt x="176" y="454"/>
                </a:lnTo>
                <a:lnTo>
                  <a:pt x="176" y="468"/>
                </a:lnTo>
                <a:lnTo>
                  <a:pt x="210" y="477"/>
                </a:lnTo>
                <a:lnTo>
                  <a:pt x="202" y="515"/>
                </a:lnTo>
                <a:lnTo>
                  <a:pt x="243" y="531"/>
                </a:lnTo>
                <a:lnTo>
                  <a:pt x="237" y="558"/>
                </a:lnTo>
                <a:lnTo>
                  <a:pt x="237" y="576"/>
                </a:lnTo>
                <a:lnTo>
                  <a:pt x="224" y="601"/>
                </a:lnTo>
                <a:lnTo>
                  <a:pt x="245" y="639"/>
                </a:lnTo>
                <a:lnTo>
                  <a:pt x="281" y="682"/>
                </a:lnTo>
                <a:lnTo>
                  <a:pt x="304" y="709"/>
                </a:lnTo>
                <a:lnTo>
                  <a:pt x="308" y="756"/>
                </a:lnTo>
                <a:lnTo>
                  <a:pt x="294" y="790"/>
                </a:lnTo>
                <a:lnTo>
                  <a:pt x="304" y="811"/>
                </a:lnTo>
                <a:lnTo>
                  <a:pt x="322" y="861"/>
                </a:lnTo>
                <a:lnTo>
                  <a:pt x="318" y="872"/>
                </a:lnTo>
                <a:lnTo>
                  <a:pt x="294" y="837"/>
                </a:lnTo>
                <a:lnTo>
                  <a:pt x="273" y="872"/>
                </a:lnTo>
                <a:lnTo>
                  <a:pt x="265" y="935"/>
                </a:lnTo>
                <a:lnTo>
                  <a:pt x="251" y="925"/>
                </a:lnTo>
                <a:lnTo>
                  <a:pt x="251" y="969"/>
                </a:lnTo>
                <a:lnTo>
                  <a:pt x="237" y="1006"/>
                </a:lnTo>
                <a:lnTo>
                  <a:pt x="226" y="1037"/>
                </a:lnTo>
                <a:lnTo>
                  <a:pt x="204" y="1094"/>
                </a:lnTo>
                <a:lnTo>
                  <a:pt x="188" y="1132"/>
                </a:lnTo>
                <a:lnTo>
                  <a:pt x="169" y="1151"/>
                </a:lnTo>
                <a:lnTo>
                  <a:pt x="135" y="1163"/>
                </a:lnTo>
                <a:lnTo>
                  <a:pt x="141" y="1179"/>
                </a:lnTo>
                <a:lnTo>
                  <a:pt x="161" y="1206"/>
                </a:lnTo>
                <a:lnTo>
                  <a:pt x="190" y="1224"/>
                </a:lnTo>
                <a:lnTo>
                  <a:pt x="226" y="1246"/>
                </a:lnTo>
                <a:lnTo>
                  <a:pt x="239" y="1279"/>
                </a:lnTo>
                <a:lnTo>
                  <a:pt x="273" y="1287"/>
                </a:lnTo>
                <a:lnTo>
                  <a:pt x="326" y="1305"/>
                </a:lnTo>
                <a:lnTo>
                  <a:pt x="381" y="1320"/>
                </a:lnTo>
                <a:lnTo>
                  <a:pt x="422" y="1307"/>
                </a:lnTo>
                <a:lnTo>
                  <a:pt x="455" y="1334"/>
                </a:lnTo>
                <a:lnTo>
                  <a:pt x="471" y="1358"/>
                </a:lnTo>
                <a:lnTo>
                  <a:pt x="497" y="1352"/>
                </a:lnTo>
                <a:lnTo>
                  <a:pt x="518" y="1371"/>
                </a:lnTo>
                <a:lnTo>
                  <a:pt x="544" y="1391"/>
                </a:lnTo>
                <a:lnTo>
                  <a:pt x="599" y="1397"/>
                </a:lnTo>
                <a:lnTo>
                  <a:pt x="681" y="1397"/>
                </a:lnTo>
                <a:lnTo>
                  <a:pt x="683" y="1344"/>
                </a:lnTo>
                <a:lnTo>
                  <a:pt x="689" y="1301"/>
                </a:lnTo>
                <a:lnTo>
                  <a:pt x="715" y="1283"/>
                </a:lnTo>
                <a:lnTo>
                  <a:pt x="742" y="1273"/>
                </a:lnTo>
                <a:lnTo>
                  <a:pt x="768" y="1256"/>
                </a:lnTo>
                <a:lnTo>
                  <a:pt x="803" y="1238"/>
                </a:lnTo>
                <a:lnTo>
                  <a:pt x="839" y="1259"/>
                </a:lnTo>
                <a:lnTo>
                  <a:pt x="860" y="1273"/>
                </a:lnTo>
                <a:lnTo>
                  <a:pt x="896" y="1281"/>
                </a:lnTo>
                <a:lnTo>
                  <a:pt x="953" y="1297"/>
                </a:lnTo>
                <a:lnTo>
                  <a:pt x="994" y="1324"/>
                </a:lnTo>
                <a:lnTo>
                  <a:pt x="1027" y="1336"/>
                </a:lnTo>
                <a:lnTo>
                  <a:pt x="1057" y="1338"/>
                </a:lnTo>
                <a:lnTo>
                  <a:pt x="1090" y="1328"/>
                </a:lnTo>
                <a:lnTo>
                  <a:pt x="1112" y="1311"/>
                </a:lnTo>
                <a:lnTo>
                  <a:pt x="1143" y="1281"/>
                </a:lnTo>
                <a:lnTo>
                  <a:pt x="1171" y="1265"/>
                </a:lnTo>
                <a:lnTo>
                  <a:pt x="1200" y="1254"/>
                </a:lnTo>
                <a:lnTo>
                  <a:pt x="1228" y="1228"/>
                </a:lnTo>
                <a:lnTo>
                  <a:pt x="1216" y="1195"/>
                </a:lnTo>
                <a:lnTo>
                  <a:pt x="1202" y="1173"/>
                </a:lnTo>
                <a:lnTo>
                  <a:pt x="1159" y="1167"/>
                </a:lnTo>
                <a:lnTo>
                  <a:pt x="1139" y="1106"/>
                </a:lnTo>
                <a:lnTo>
                  <a:pt x="1159" y="1069"/>
                </a:lnTo>
                <a:lnTo>
                  <a:pt x="1129" y="1035"/>
                </a:lnTo>
                <a:lnTo>
                  <a:pt x="1171" y="990"/>
                </a:lnTo>
                <a:lnTo>
                  <a:pt x="1161" y="951"/>
                </a:lnTo>
                <a:lnTo>
                  <a:pt x="1161" y="906"/>
                </a:lnTo>
                <a:lnTo>
                  <a:pt x="1165" y="886"/>
                </a:lnTo>
                <a:lnTo>
                  <a:pt x="1186" y="886"/>
                </a:lnTo>
                <a:lnTo>
                  <a:pt x="1155" y="863"/>
                </a:lnTo>
                <a:lnTo>
                  <a:pt x="1159" y="829"/>
                </a:lnTo>
                <a:lnTo>
                  <a:pt x="1159" y="806"/>
                </a:lnTo>
                <a:lnTo>
                  <a:pt x="1116" y="798"/>
                </a:lnTo>
                <a:lnTo>
                  <a:pt x="1092" y="847"/>
                </a:lnTo>
                <a:lnTo>
                  <a:pt x="1078" y="817"/>
                </a:lnTo>
                <a:lnTo>
                  <a:pt x="1084" y="774"/>
                </a:lnTo>
                <a:lnTo>
                  <a:pt x="1139" y="733"/>
                </a:lnTo>
                <a:lnTo>
                  <a:pt x="1141" y="705"/>
                </a:lnTo>
                <a:lnTo>
                  <a:pt x="1198" y="668"/>
                </a:lnTo>
                <a:lnTo>
                  <a:pt x="1200" y="635"/>
                </a:lnTo>
                <a:lnTo>
                  <a:pt x="1234" y="641"/>
                </a:lnTo>
                <a:lnTo>
                  <a:pt x="1267" y="625"/>
                </a:lnTo>
                <a:close/>
              </a:path>
            </a:pathLst>
          </a:custGeom>
          <a:solidFill>
            <a:srgbClr val="D0D0D0"/>
          </a:solidFill>
          <a:ln w="9525">
            <a:solidFill>
              <a:srgbClr val="000000"/>
            </a:solidFill>
            <a:prstDash val="solid"/>
            <a:round/>
            <a:headEnd/>
            <a:tailEnd/>
          </a:ln>
        </p:spPr>
        <p:txBody>
          <a:bodyPr/>
          <a:lstStyle/>
          <a:p>
            <a:endParaRPr lang="cs-CZ"/>
          </a:p>
        </p:txBody>
      </p:sp>
      <p:sp>
        <p:nvSpPr>
          <p:cNvPr id="379" name="Freeform 387"/>
          <p:cNvSpPr>
            <a:spLocks/>
          </p:cNvSpPr>
          <p:nvPr/>
        </p:nvSpPr>
        <p:spPr bwMode="auto">
          <a:xfrm>
            <a:off x="1595438" y="4924003"/>
            <a:ext cx="412750" cy="663575"/>
          </a:xfrm>
          <a:custGeom>
            <a:avLst/>
            <a:gdLst>
              <a:gd name="T0" fmla="*/ 226 w 518"/>
              <a:gd name="T1" fmla="*/ 16 h 835"/>
              <a:gd name="T2" fmla="*/ 247 w 518"/>
              <a:gd name="T3" fmla="*/ 4 h 835"/>
              <a:gd name="T4" fmla="*/ 267 w 518"/>
              <a:gd name="T5" fmla="*/ 2 h 835"/>
              <a:gd name="T6" fmla="*/ 312 w 518"/>
              <a:gd name="T7" fmla="*/ 0 h 835"/>
              <a:gd name="T8" fmla="*/ 308 w 518"/>
              <a:gd name="T9" fmla="*/ 34 h 835"/>
              <a:gd name="T10" fmla="*/ 332 w 518"/>
              <a:gd name="T11" fmla="*/ 43 h 835"/>
              <a:gd name="T12" fmla="*/ 371 w 518"/>
              <a:gd name="T13" fmla="*/ 57 h 835"/>
              <a:gd name="T14" fmla="*/ 391 w 518"/>
              <a:gd name="T15" fmla="*/ 61 h 835"/>
              <a:gd name="T16" fmla="*/ 404 w 518"/>
              <a:gd name="T17" fmla="*/ 69 h 835"/>
              <a:gd name="T18" fmla="*/ 426 w 518"/>
              <a:gd name="T19" fmla="*/ 69 h 835"/>
              <a:gd name="T20" fmla="*/ 418 w 518"/>
              <a:gd name="T21" fmla="*/ 75 h 835"/>
              <a:gd name="T22" fmla="*/ 446 w 518"/>
              <a:gd name="T23" fmla="*/ 71 h 835"/>
              <a:gd name="T24" fmla="*/ 450 w 518"/>
              <a:gd name="T25" fmla="*/ 73 h 835"/>
              <a:gd name="T26" fmla="*/ 479 w 518"/>
              <a:gd name="T27" fmla="*/ 77 h 835"/>
              <a:gd name="T28" fmla="*/ 503 w 518"/>
              <a:gd name="T29" fmla="*/ 91 h 835"/>
              <a:gd name="T30" fmla="*/ 513 w 518"/>
              <a:gd name="T31" fmla="*/ 110 h 835"/>
              <a:gd name="T32" fmla="*/ 518 w 518"/>
              <a:gd name="T33" fmla="*/ 138 h 835"/>
              <a:gd name="T34" fmla="*/ 514 w 518"/>
              <a:gd name="T35" fmla="*/ 175 h 835"/>
              <a:gd name="T36" fmla="*/ 499 w 518"/>
              <a:gd name="T37" fmla="*/ 195 h 835"/>
              <a:gd name="T38" fmla="*/ 481 w 518"/>
              <a:gd name="T39" fmla="*/ 212 h 835"/>
              <a:gd name="T40" fmla="*/ 459 w 518"/>
              <a:gd name="T41" fmla="*/ 212 h 835"/>
              <a:gd name="T42" fmla="*/ 448 w 518"/>
              <a:gd name="T43" fmla="*/ 224 h 835"/>
              <a:gd name="T44" fmla="*/ 418 w 518"/>
              <a:gd name="T45" fmla="*/ 236 h 835"/>
              <a:gd name="T46" fmla="*/ 424 w 518"/>
              <a:gd name="T47" fmla="*/ 263 h 835"/>
              <a:gd name="T48" fmla="*/ 418 w 518"/>
              <a:gd name="T49" fmla="*/ 277 h 835"/>
              <a:gd name="T50" fmla="*/ 408 w 518"/>
              <a:gd name="T51" fmla="*/ 307 h 835"/>
              <a:gd name="T52" fmla="*/ 402 w 518"/>
              <a:gd name="T53" fmla="*/ 326 h 835"/>
              <a:gd name="T54" fmla="*/ 385 w 518"/>
              <a:gd name="T55" fmla="*/ 368 h 835"/>
              <a:gd name="T56" fmla="*/ 391 w 518"/>
              <a:gd name="T57" fmla="*/ 389 h 835"/>
              <a:gd name="T58" fmla="*/ 369 w 518"/>
              <a:gd name="T59" fmla="*/ 428 h 835"/>
              <a:gd name="T60" fmla="*/ 322 w 518"/>
              <a:gd name="T61" fmla="*/ 430 h 835"/>
              <a:gd name="T62" fmla="*/ 304 w 518"/>
              <a:gd name="T63" fmla="*/ 450 h 835"/>
              <a:gd name="T64" fmla="*/ 310 w 518"/>
              <a:gd name="T65" fmla="*/ 485 h 835"/>
              <a:gd name="T66" fmla="*/ 320 w 518"/>
              <a:gd name="T67" fmla="*/ 529 h 835"/>
              <a:gd name="T68" fmla="*/ 273 w 518"/>
              <a:gd name="T69" fmla="*/ 603 h 835"/>
              <a:gd name="T70" fmla="*/ 271 w 518"/>
              <a:gd name="T71" fmla="*/ 650 h 835"/>
              <a:gd name="T72" fmla="*/ 287 w 518"/>
              <a:gd name="T73" fmla="*/ 688 h 835"/>
              <a:gd name="T74" fmla="*/ 273 w 518"/>
              <a:gd name="T75" fmla="*/ 717 h 835"/>
              <a:gd name="T76" fmla="*/ 206 w 518"/>
              <a:gd name="T77" fmla="*/ 743 h 835"/>
              <a:gd name="T78" fmla="*/ 204 w 518"/>
              <a:gd name="T79" fmla="*/ 819 h 835"/>
              <a:gd name="T80" fmla="*/ 182 w 518"/>
              <a:gd name="T81" fmla="*/ 829 h 835"/>
              <a:gd name="T82" fmla="*/ 123 w 518"/>
              <a:gd name="T83" fmla="*/ 835 h 835"/>
              <a:gd name="T84" fmla="*/ 92 w 518"/>
              <a:gd name="T85" fmla="*/ 819 h 835"/>
              <a:gd name="T86" fmla="*/ 59 w 518"/>
              <a:gd name="T87" fmla="*/ 808 h 835"/>
              <a:gd name="T88" fmla="*/ 8 w 518"/>
              <a:gd name="T89" fmla="*/ 798 h 835"/>
              <a:gd name="T90" fmla="*/ 0 w 518"/>
              <a:gd name="T91" fmla="*/ 778 h 835"/>
              <a:gd name="T92" fmla="*/ 19 w 518"/>
              <a:gd name="T93" fmla="*/ 753 h 835"/>
              <a:gd name="T94" fmla="*/ 41 w 518"/>
              <a:gd name="T95" fmla="*/ 713 h 835"/>
              <a:gd name="T96" fmla="*/ 59 w 518"/>
              <a:gd name="T97" fmla="*/ 674 h 835"/>
              <a:gd name="T98" fmla="*/ 66 w 518"/>
              <a:gd name="T99" fmla="*/ 629 h 835"/>
              <a:gd name="T100" fmla="*/ 82 w 518"/>
              <a:gd name="T101" fmla="*/ 597 h 835"/>
              <a:gd name="T102" fmla="*/ 80 w 518"/>
              <a:gd name="T103" fmla="*/ 554 h 835"/>
              <a:gd name="T104" fmla="*/ 45 w 518"/>
              <a:gd name="T105" fmla="*/ 558 h 835"/>
              <a:gd name="T106" fmla="*/ 39 w 518"/>
              <a:gd name="T107" fmla="*/ 529 h 835"/>
              <a:gd name="T108" fmla="*/ 15 w 518"/>
              <a:gd name="T109" fmla="*/ 480 h 835"/>
              <a:gd name="T110" fmla="*/ 33 w 518"/>
              <a:gd name="T111" fmla="*/ 454 h 835"/>
              <a:gd name="T112" fmla="*/ 63 w 518"/>
              <a:gd name="T113" fmla="*/ 411 h 835"/>
              <a:gd name="T114" fmla="*/ 98 w 518"/>
              <a:gd name="T115" fmla="*/ 381 h 835"/>
              <a:gd name="T116" fmla="*/ 120 w 518"/>
              <a:gd name="T117" fmla="*/ 342 h 835"/>
              <a:gd name="T118" fmla="*/ 159 w 518"/>
              <a:gd name="T119" fmla="*/ 261 h 835"/>
              <a:gd name="T120" fmla="*/ 200 w 518"/>
              <a:gd name="T121" fmla="*/ 183 h 835"/>
              <a:gd name="T122" fmla="*/ 232 w 518"/>
              <a:gd name="T123" fmla="*/ 116 h 835"/>
              <a:gd name="T124" fmla="*/ 226 w 518"/>
              <a:gd name="T125" fmla="*/ 16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8" h="835">
                <a:moveTo>
                  <a:pt x="226" y="16"/>
                </a:moveTo>
                <a:lnTo>
                  <a:pt x="247" y="4"/>
                </a:lnTo>
                <a:lnTo>
                  <a:pt x="267" y="2"/>
                </a:lnTo>
                <a:lnTo>
                  <a:pt x="312" y="0"/>
                </a:lnTo>
                <a:lnTo>
                  <a:pt x="308" y="34"/>
                </a:lnTo>
                <a:lnTo>
                  <a:pt x="332" y="43"/>
                </a:lnTo>
                <a:lnTo>
                  <a:pt x="371" y="57"/>
                </a:lnTo>
                <a:lnTo>
                  <a:pt x="391" y="61"/>
                </a:lnTo>
                <a:lnTo>
                  <a:pt x="404" y="69"/>
                </a:lnTo>
                <a:lnTo>
                  <a:pt x="426" y="69"/>
                </a:lnTo>
                <a:lnTo>
                  <a:pt x="418" y="75"/>
                </a:lnTo>
                <a:lnTo>
                  <a:pt x="446" y="71"/>
                </a:lnTo>
                <a:lnTo>
                  <a:pt x="450" y="73"/>
                </a:lnTo>
                <a:lnTo>
                  <a:pt x="479" y="77"/>
                </a:lnTo>
                <a:lnTo>
                  <a:pt x="503" y="91"/>
                </a:lnTo>
                <a:lnTo>
                  <a:pt x="513" y="110"/>
                </a:lnTo>
                <a:lnTo>
                  <a:pt x="518" y="138"/>
                </a:lnTo>
                <a:lnTo>
                  <a:pt x="514" y="175"/>
                </a:lnTo>
                <a:lnTo>
                  <a:pt x="499" y="195"/>
                </a:lnTo>
                <a:lnTo>
                  <a:pt x="481" y="212"/>
                </a:lnTo>
                <a:lnTo>
                  <a:pt x="459" y="212"/>
                </a:lnTo>
                <a:lnTo>
                  <a:pt x="448" y="224"/>
                </a:lnTo>
                <a:lnTo>
                  <a:pt x="418" y="236"/>
                </a:lnTo>
                <a:lnTo>
                  <a:pt x="424" y="263"/>
                </a:lnTo>
                <a:lnTo>
                  <a:pt x="418" y="277"/>
                </a:lnTo>
                <a:lnTo>
                  <a:pt x="408" y="307"/>
                </a:lnTo>
                <a:lnTo>
                  <a:pt x="402" y="326"/>
                </a:lnTo>
                <a:lnTo>
                  <a:pt x="385" y="368"/>
                </a:lnTo>
                <a:lnTo>
                  <a:pt x="391" y="389"/>
                </a:lnTo>
                <a:lnTo>
                  <a:pt x="369" y="428"/>
                </a:lnTo>
                <a:lnTo>
                  <a:pt x="322" y="430"/>
                </a:lnTo>
                <a:lnTo>
                  <a:pt x="304" y="450"/>
                </a:lnTo>
                <a:lnTo>
                  <a:pt x="310" y="485"/>
                </a:lnTo>
                <a:lnTo>
                  <a:pt x="320" y="529"/>
                </a:lnTo>
                <a:lnTo>
                  <a:pt x="273" y="603"/>
                </a:lnTo>
                <a:lnTo>
                  <a:pt x="271" y="650"/>
                </a:lnTo>
                <a:lnTo>
                  <a:pt x="287" y="688"/>
                </a:lnTo>
                <a:lnTo>
                  <a:pt x="273" y="717"/>
                </a:lnTo>
                <a:lnTo>
                  <a:pt x="206" y="743"/>
                </a:lnTo>
                <a:lnTo>
                  <a:pt x="204" y="819"/>
                </a:lnTo>
                <a:lnTo>
                  <a:pt x="182" y="829"/>
                </a:lnTo>
                <a:lnTo>
                  <a:pt x="123" y="835"/>
                </a:lnTo>
                <a:lnTo>
                  <a:pt x="92" y="819"/>
                </a:lnTo>
                <a:lnTo>
                  <a:pt x="59" y="808"/>
                </a:lnTo>
                <a:lnTo>
                  <a:pt x="8" y="798"/>
                </a:lnTo>
                <a:lnTo>
                  <a:pt x="0" y="778"/>
                </a:lnTo>
                <a:lnTo>
                  <a:pt x="19" y="753"/>
                </a:lnTo>
                <a:lnTo>
                  <a:pt x="41" y="713"/>
                </a:lnTo>
                <a:lnTo>
                  <a:pt x="59" y="674"/>
                </a:lnTo>
                <a:lnTo>
                  <a:pt x="66" y="629"/>
                </a:lnTo>
                <a:lnTo>
                  <a:pt x="82" y="597"/>
                </a:lnTo>
                <a:lnTo>
                  <a:pt x="80" y="554"/>
                </a:lnTo>
                <a:lnTo>
                  <a:pt x="45" y="558"/>
                </a:lnTo>
                <a:lnTo>
                  <a:pt x="39" y="529"/>
                </a:lnTo>
                <a:lnTo>
                  <a:pt x="15" y="480"/>
                </a:lnTo>
                <a:lnTo>
                  <a:pt x="33" y="454"/>
                </a:lnTo>
                <a:lnTo>
                  <a:pt x="63" y="411"/>
                </a:lnTo>
                <a:lnTo>
                  <a:pt x="98" y="381"/>
                </a:lnTo>
                <a:lnTo>
                  <a:pt x="120" y="342"/>
                </a:lnTo>
                <a:lnTo>
                  <a:pt x="159" y="261"/>
                </a:lnTo>
                <a:lnTo>
                  <a:pt x="200" y="183"/>
                </a:lnTo>
                <a:lnTo>
                  <a:pt x="232" y="116"/>
                </a:lnTo>
                <a:lnTo>
                  <a:pt x="226" y="16"/>
                </a:lnTo>
                <a:close/>
              </a:path>
            </a:pathLst>
          </a:custGeom>
          <a:solidFill>
            <a:srgbClr val="FF0000"/>
          </a:solidFill>
          <a:ln w="9525">
            <a:solidFill>
              <a:srgbClr val="000000"/>
            </a:solidFill>
            <a:prstDash val="solid"/>
            <a:round/>
            <a:headEnd/>
            <a:tailEnd/>
          </a:ln>
        </p:spPr>
        <p:txBody>
          <a:bodyPr/>
          <a:lstStyle/>
          <a:p>
            <a:endParaRPr lang="cs-CZ"/>
          </a:p>
        </p:txBody>
      </p:sp>
      <p:sp>
        <p:nvSpPr>
          <p:cNvPr id="383" name="Freeform 391"/>
          <p:cNvSpPr>
            <a:spLocks/>
          </p:cNvSpPr>
          <p:nvPr/>
        </p:nvSpPr>
        <p:spPr bwMode="auto">
          <a:xfrm>
            <a:off x="4611688" y="3725440"/>
            <a:ext cx="1492250" cy="1009650"/>
          </a:xfrm>
          <a:custGeom>
            <a:avLst/>
            <a:gdLst>
              <a:gd name="T0" fmla="*/ 909 w 1878"/>
              <a:gd name="T1" fmla="*/ 1154 h 1273"/>
              <a:gd name="T2" fmla="*/ 959 w 1878"/>
              <a:gd name="T3" fmla="*/ 1089 h 1273"/>
              <a:gd name="T4" fmla="*/ 978 w 1878"/>
              <a:gd name="T5" fmla="*/ 1051 h 1273"/>
              <a:gd name="T6" fmla="*/ 1033 w 1878"/>
              <a:gd name="T7" fmla="*/ 981 h 1273"/>
              <a:gd name="T8" fmla="*/ 1108 w 1878"/>
              <a:gd name="T9" fmla="*/ 934 h 1273"/>
              <a:gd name="T10" fmla="*/ 1130 w 1878"/>
              <a:gd name="T11" fmla="*/ 1008 h 1273"/>
              <a:gd name="T12" fmla="*/ 1249 w 1878"/>
              <a:gd name="T13" fmla="*/ 1010 h 1273"/>
              <a:gd name="T14" fmla="*/ 1297 w 1878"/>
              <a:gd name="T15" fmla="*/ 1051 h 1273"/>
              <a:gd name="T16" fmla="*/ 1224 w 1878"/>
              <a:gd name="T17" fmla="*/ 1152 h 1273"/>
              <a:gd name="T18" fmla="*/ 1354 w 1878"/>
              <a:gd name="T19" fmla="*/ 1209 h 1273"/>
              <a:gd name="T20" fmla="*/ 1444 w 1878"/>
              <a:gd name="T21" fmla="*/ 1246 h 1273"/>
              <a:gd name="T22" fmla="*/ 1530 w 1878"/>
              <a:gd name="T23" fmla="*/ 1146 h 1273"/>
              <a:gd name="T24" fmla="*/ 1664 w 1878"/>
              <a:gd name="T25" fmla="*/ 1087 h 1273"/>
              <a:gd name="T26" fmla="*/ 1597 w 1878"/>
              <a:gd name="T27" fmla="*/ 1046 h 1273"/>
              <a:gd name="T28" fmla="*/ 1503 w 1878"/>
              <a:gd name="T29" fmla="*/ 1079 h 1273"/>
              <a:gd name="T30" fmla="*/ 1432 w 1878"/>
              <a:gd name="T31" fmla="*/ 1028 h 1273"/>
              <a:gd name="T32" fmla="*/ 1367 w 1878"/>
              <a:gd name="T33" fmla="*/ 1010 h 1273"/>
              <a:gd name="T34" fmla="*/ 1456 w 1878"/>
              <a:gd name="T35" fmla="*/ 1000 h 1273"/>
              <a:gd name="T36" fmla="*/ 1483 w 1878"/>
              <a:gd name="T37" fmla="*/ 935 h 1273"/>
              <a:gd name="T38" fmla="*/ 1560 w 1878"/>
              <a:gd name="T39" fmla="*/ 837 h 1273"/>
              <a:gd name="T40" fmla="*/ 1652 w 1878"/>
              <a:gd name="T41" fmla="*/ 765 h 1273"/>
              <a:gd name="T42" fmla="*/ 1760 w 1878"/>
              <a:gd name="T43" fmla="*/ 690 h 1273"/>
              <a:gd name="T44" fmla="*/ 1788 w 1878"/>
              <a:gd name="T45" fmla="*/ 546 h 1273"/>
              <a:gd name="T46" fmla="*/ 1878 w 1878"/>
              <a:gd name="T47" fmla="*/ 444 h 1273"/>
              <a:gd name="T48" fmla="*/ 1843 w 1878"/>
              <a:gd name="T49" fmla="*/ 342 h 1273"/>
              <a:gd name="T50" fmla="*/ 1817 w 1878"/>
              <a:gd name="T51" fmla="*/ 226 h 1273"/>
              <a:gd name="T52" fmla="*/ 1678 w 1878"/>
              <a:gd name="T53" fmla="*/ 224 h 1273"/>
              <a:gd name="T54" fmla="*/ 1538 w 1878"/>
              <a:gd name="T55" fmla="*/ 212 h 1273"/>
              <a:gd name="T56" fmla="*/ 1426 w 1878"/>
              <a:gd name="T57" fmla="*/ 232 h 1273"/>
              <a:gd name="T58" fmla="*/ 1310 w 1878"/>
              <a:gd name="T59" fmla="*/ 232 h 1273"/>
              <a:gd name="T60" fmla="*/ 1185 w 1878"/>
              <a:gd name="T61" fmla="*/ 146 h 1273"/>
              <a:gd name="T62" fmla="*/ 1122 w 1878"/>
              <a:gd name="T63" fmla="*/ 40 h 1273"/>
              <a:gd name="T64" fmla="*/ 1033 w 1878"/>
              <a:gd name="T65" fmla="*/ 8 h 1273"/>
              <a:gd name="T66" fmla="*/ 951 w 1878"/>
              <a:gd name="T67" fmla="*/ 40 h 1273"/>
              <a:gd name="T68" fmla="*/ 862 w 1878"/>
              <a:gd name="T69" fmla="*/ 87 h 1273"/>
              <a:gd name="T70" fmla="*/ 805 w 1878"/>
              <a:gd name="T71" fmla="*/ 226 h 1273"/>
              <a:gd name="T72" fmla="*/ 703 w 1878"/>
              <a:gd name="T73" fmla="*/ 260 h 1273"/>
              <a:gd name="T74" fmla="*/ 603 w 1878"/>
              <a:gd name="T75" fmla="*/ 252 h 1273"/>
              <a:gd name="T76" fmla="*/ 454 w 1878"/>
              <a:gd name="T77" fmla="*/ 267 h 1273"/>
              <a:gd name="T78" fmla="*/ 344 w 1878"/>
              <a:gd name="T79" fmla="*/ 238 h 1273"/>
              <a:gd name="T80" fmla="*/ 222 w 1878"/>
              <a:gd name="T81" fmla="*/ 246 h 1273"/>
              <a:gd name="T82" fmla="*/ 92 w 1878"/>
              <a:gd name="T83" fmla="*/ 305 h 1273"/>
              <a:gd name="T84" fmla="*/ 153 w 1878"/>
              <a:gd name="T85" fmla="*/ 464 h 1273"/>
              <a:gd name="T86" fmla="*/ 47 w 1878"/>
              <a:gd name="T87" fmla="*/ 647 h 1273"/>
              <a:gd name="T88" fmla="*/ 10 w 1878"/>
              <a:gd name="T89" fmla="*/ 770 h 1273"/>
              <a:gd name="T90" fmla="*/ 222 w 1878"/>
              <a:gd name="T91" fmla="*/ 898 h 1273"/>
              <a:gd name="T92" fmla="*/ 349 w 1878"/>
              <a:gd name="T93" fmla="*/ 879 h 1273"/>
              <a:gd name="T94" fmla="*/ 495 w 1878"/>
              <a:gd name="T95" fmla="*/ 776 h 1273"/>
              <a:gd name="T96" fmla="*/ 719 w 1878"/>
              <a:gd name="T97" fmla="*/ 784 h 1273"/>
              <a:gd name="T98" fmla="*/ 823 w 1878"/>
              <a:gd name="T99" fmla="*/ 922 h 1273"/>
              <a:gd name="T100" fmla="*/ 896 w 1878"/>
              <a:gd name="T101" fmla="*/ 1000 h 1273"/>
              <a:gd name="T102" fmla="*/ 796 w 1878"/>
              <a:gd name="T103" fmla="*/ 1042 h 1273"/>
              <a:gd name="T104" fmla="*/ 750 w 1878"/>
              <a:gd name="T105" fmla="*/ 1171 h 1273"/>
              <a:gd name="T106" fmla="*/ 888 w 1878"/>
              <a:gd name="T107" fmla="*/ 1201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8" h="1273">
                <a:moveTo>
                  <a:pt x="888" y="1201"/>
                </a:moveTo>
                <a:lnTo>
                  <a:pt x="888" y="1173"/>
                </a:lnTo>
                <a:lnTo>
                  <a:pt x="882" y="1146"/>
                </a:lnTo>
                <a:lnTo>
                  <a:pt x="909" y="1154"/>
                </a:lnTo>
                <a:lnTo>
                  <a:pt x="923" y="1134"/>
                </a:lnTo>
                <a:lnTo>
                  <a:pt x="943" y="1130"/>
                </a:lnTo>
                <a:lnTo>
                  <a:pt x="957" y="1110"/>
                </a:lnTo>
                <a:lnTo>
                  <a:pt x="959" y="1089"/>
                </a:lnTo>
                <a:lnTo>
                  <a:pt x="937" y="1069"/>
                </a:lnTo>
                <a:lnTo>
                  <a:pt x="923" y="1044"/>
                </a:lnTo>
                <a:lnTo>
                  <a:pt x="949" y="1049"/>
                </a:lnTo>
                <a:lnTo>
                  <a:pt x="978" y="1051"/>
                </a:lnTo>
                <a:lnTo>
                  <a:pt x="986" y="1024"/>
                </a:lnTo>
                <a:lnTo>
                  <a:pt x="992" y="996"/>
                </a:lnTo>
                <a:lnTo>
                  <a:pt x="1014" y="990"/>
                </a:lnTo>
                <a:lnTo>
                  <a:pt x="1033" y="981"/>
                </a:lnTo>
                <a:lnTo>
                  <a:pt x="1055" y="973"/>
                </a:lnTo>
                <a:lnTo>
                  <a:pt x="1071" y="949"/>
                </a:lnTo>
                <a:lnTo>
                  <a:pt x="1084" y="959"/>
                </a:lnTo>
                <a:lnTo>
                  <a:pt x="1108" y="934"/>
                </a:lnTo>
                <a:lnTo>
                  <a:pt x="1135" y="959"/>
                </a:lnTo>
                <a:lnTo>
                  <a:pt x="1135" y="981"/>
                </a:lnTo>
                <a:lnTo>
                  <a:pt x="1102" y="987"/>
                </a:lnTo>
                <a:lnTo>
                  <a:pt x="1130" y="1008"/>
                </a:lnTo>
                <a:lnTo>
                  <a:pt x="1130" y="1022"/>
                </a:lnTo>
                <a:lnTo>
                  <a:pt x="1175" y="1030"/>
                </a:lnTo>
                <a:lnTo>
                  <a:pt x="1218" y="1036"/>
                </a:lnTo>
                <a:lnTo>
                  <a:pt x="1249" y="1010"/>
                </a:lnTo>
                <a:lnTo>
                  <a:pt x="1273" y="1002"/>
                </a:lnTo>
                <a:lnTo>
                  <a:pt x="1324" y="1010"/>
                </a:lnTo>
                <a:lnTo>
                  <a:pt x="1330" y="1030"/>
                </a:lnTo>
                <a:lnTo>
                  <a:pt x="1297" y="1051"/>
                </a:lnTo>
                <a:lnTo>
                  <a:pt x="1259" y="1077"/>
                </a:lnTo>
                <a:lnTo>
                  <a:pt x="1249" y="1102"/>
                </a:lnTo>
                <a:lnTo>
                  <a:pt x="1224" y="1130"/>
                </a:lnTo>
                <a:lnTo>
                  <a:pt x="1224" y="1152"/>
                </a:lnTo>
                <a:lnTo>
                  <a:pt x="1273" y="1144"/>
                </a:lnTo>
                <a:lnTo>
                  <a:pt x="1299" y="1159"/>
                </a:lnTo>
                <a:lnTo>
                  <a:pt x="1340" y="1165"/>
                </a:lnTo>
                <a:lnTo>
                  <a:pt x="1354" y="1209"/>
                </a:lnTo>
                <a:lnTo>
                  <a:pt x="1365" y="1240"/>
                </a:lnTo>
                <a:lnTo>
                  <a:pt x="1375" y="1269"/>
                </a:lnTo>
                <a:lnTo>
                  <a:pt x="1407" y="1273"/>
                </a:lnTo>
                <a:lnTo>
                  <a:pt x="1444" y="1246"/>
                </a:lnTo>
                <a:lnTo>
                  <a:pt x="1458" y="1209"/>
                </a:lnTo>
                <a:lnTo>
                  <a:pt x="1481" y="1181"/>
                </a:lnTo>
                <a:lnTo>
                  <a:pt x="1505" y="1173"/>
                </a:lnTo>
                <a:lnTo>
                  <a:pt x="1530" y="1146"/>
                </a:lnTo>
                <a:lnTo>
                  <a:pt x="1562" y="1097"/>
                </a:lnTo>
                <a:lnTo>
                  <a:pt x="1631" y="1099"/>
                </a:lnTo>
                <a:lnTo>
                  <a:pt x="1646" y="1085"/>
                </a:lnTo>
                <a:lnTo>
                  <a:pt x="1664" y="1087"/>
                </a:lnTo>
                <a:lnTo>
                  <a:pt x="1654" y="1046"/>
                </a:lnTo>
                <a:lnTo>
                  <a:pt x="1662" y="1016"/>
                </a:lnTo>
                <a:lnTo>
                  <a:pt x="1631" y="1022"/>
                </a:lnTo>
                <a:lnTo>
                  <a:pt x="1597" y="1046"/>
                </a:lnTo>
                <a:lnTo>
                  <a:pt x="1576" y="1047"/>
                </a:lnTo>
                <a:lnTo>
                  <a:pt x="1556" y="1073"/>
                </a:lnTo>
                <a:lnTo>
                  <a:pt x="1536" y="1063"/>
                </a:lnTo>
                <a:lnTo>
                  <a:pt x="1503" y="1079"/>
                </a:lnTo>
                <a:lnTo>
                  <a:pt x="1487" y="1071"/>
                </a:lnTo>
                <a:lnTo>
                  <a:pt x="1483" y="1044"/>
                </a:lnTo>
                <a:lnTo>
                  <a:pt x="1456" y="1038"/>
                </a:lnTo>
                <a:lnTo>
                  <a:pt x="1432" y="1028"/>
                </a:lnTo>
                <a:lnTo>
                  <a:pt x="1412" y="1010"/>
                </a:lnTo>
                <a:lnTo>
                  <a:pt x="1399" y="994"/>
                </a:lnTo>
                <a:lnTo>
                  <a:pt x="1379" y="996"/>
                </a:lnTo>
                <a:lnTo>
                  <a:pt x="1367" y="1010"/>
                </a:lnTo>
                <a:lnTo>
                  <a:pt x="1359" y="975"/>
                </a:lnTo>
                <a:lnTo>
                  <a:pt x="1399" y="967"/>
                </a:lnTo>
                <a:lnTo>
                  <a:pt x="1440" y="977"/>
                </a:lnTo>
                <a:lnTo>
                  <a:pt x="1456" y="1000"/>
                </a:lnTo>
                <a:lnTo>
                  <a:pt x="1469" y="990"/>
                </a:lnTo>
                <a:lnTo>
                  <a:pt x="1456" y="959"/>
                </a:lnTo>
                <a:lnTo>
                  <a:pt x="1468" y="943"/>
                </a:lnTo>
                <a:lnTo>
                  <a:pt x="1483" y="935"/>
                </a:lnTo>
                <a:lnTo>
                  <a:pt x="1469" y="900"/>
                </a:lnTo>
                <a:lnTo>
                  <a:pt x="1495" y="898"/>
                </a:lnTo>
                <a:lnTo>
                  <a:pt x="1515" y="873"/>
                </a:lnTo>
                <a:lnTo>
                  <a:pt x="1560" y="837"/>
                </a:lnTo>
                <a:lnTo>
                  <a:pt x="1607" y="804"/>
                </a:lnTo>
                <a:lnTo>
                  <a:pt x="1621" y="798"/>
                </a:lnTo>
                <a:lnTo>
                  <a:pt x="1635" y="804"/>
                </a:lnTo>
                <a:lnTo>
                  <a:pt x="1652" y="765"/>
                </a:lnTo>
                <a:lnTo>
                  <a:pt x="1680" y="749"/>
                </a:lnTo>
                <a:lnTo>
                  <a:pt x="1691" y="725"/>
                </a:lnTo>
                <a:lnTo>
                  <a:pt x="1729" y="702"/>
                </a:lnTo>
                <a:lnTo>
                  <a:pt x="1760" y="690"/>
                </a:lnTo>
                <a:lnTo>
                  <a:pt x="1748" y="655"/>
                </a:lnTo>
                <a:lnTo>
                  <a:pt x="1743" y="609"/>
                </a:lnTo>
                <a:lnTo>
                  <a:pt x="1782" y="582"/>
                </a:lnTo>
                <a:lnTo>
                  <a:pt x="1788" y="546"/>
                </a:lnTo>
                <a:lnTo>
                  <a:pt x="1823" y="546"/>
                </a:lnTo>
                <a:lnTo>
                  <a:pt x="1851" y="535"/>
                </a:lnTo>
                <a:lnTo>
                  <a:pt x="1878" y="521"/>
                </a:lnTo>
                <a:lnTo>
                  <a:pt x="1878" y="444"/>
                </a:lnTo>
                <a:lnTo>
                  <a:pt x="1853" y="434"/>
                </a:lnTo>
                <a:lnTo>
                  <a:pt x="1825" y="387"/>
                </a:lnTo>
                <a:lnTo>
                  <a:pt x="1837" y="356"/>
                </a:lnTo>
                <a:lnTo>
                  <a:pt x="1843" y="342"/>
                </a:lnTo>
                <a:lnTo>
                  <a:pt x="1811" y="334"/>
                </a:lnTo>
                <a:lnTo>
                  <a:pt x="1843" y="305"/>
                </a:lnTo>
                <a:lnTo>
                  <a:pt x="1837" y="264"/>
                </a:lnTo>
                <a:lnTo>
                  <a:pt x="1817" y="226"/>
                </a:lnTo>
                <a:lnTo>
                  <a:pt x="1782" y="238"/>
                </a:lnTo>
                <a:lnTo>
                  <a:pt x="1762" y="238"/>
                </a:lnTo>
                <a:lnTo>
                  <a:pt x="1707" y="226"/>
                </a:lnTo>
                <a:lnTo>
                  <a:pt x="1678" y="224"/>
                </a:lnTo>
                <a:lnTo>
                  <a:pt x="1627" y="232"/>
                </a:lnTo>
                <a:lnTo>
                  <a:pt x="1597" y="246"/>
                </a:lnTo>
                <a:lnTo>
                  <a:pt x="1566" y="234"/>
                </a:lnTo>
                <a:lnTo>
                  <a:pt x="1538" y="212"/>
                </a:lnTo>
                <a:lnTo>
                  <a:pt x="1509" y="187"/>
                </a:lnTo>
                <a:lnTo>
                  <a:pt x="1473" y="218"/>
                </a:lnTo>
                <a:lnTo>
                  <a:pt x="1440" y="238"/>
                </a:lnTo>
                <a:lnTo>
                  <a:pt x="1426" y="232"/>
                </a:lnTo>
                <a:lnTo>
                  <a:pt x="1401" y="240"/>
                </a:lnTo>
                <a:lnTo>
                  <a:pt x="1367" y="226"/>
                </a:lnTo>
                <a:lnTo>
                  <a:pt x="1344" y="246"/>
                </a:lnTo>
                <a:lnTo>
                  <a:pt x="1310" y="232"/>
                </a:lnTo>
                <a:lnTo>
                  <a:pt x="1293" y="183"/>
                </a:lnTo>
                <a:lnTo>
                  <a:pt x="1244" y="136"/>
                </a:lnTo>
                <a:lnTo>
                  <a:pt x="1214" y="148"/>
                </a:lnTo>
                <a:lnTo>
                  <a:pt x="1185" y="146"/>
                </a:lnTo>
                <a:lnTo>
                  <a:pt x="1171" y="144"/>
                </a:lnTo>
                <a:lnTo>
                  <a:pt x="1141" y="91"/>
                </a:lnTo>
                <a:lnTo>
                  <a:pt x="1157" y="63"/>
                </a:lnTo>
                <a:lnTo>
                  <a:pt x="1122" y="40"/>
                </a:lnTo>
                <a:lnTo>
                  <a:pt x="1116" y="22"/>
                </a:lnTo>
                <a:lnTo>
                  <a:pt x="1092" y="0"/>
                </a:lnTo>
                <a:lnTo>
                  <a:pt x="1069" y="2"/>
                </a:lnTo>
                <a:lnTo>
                  <a:pt x="1033" y="8"/>
                </a:lnTo>
                <a:lnTo>
                  <a:pt x="1014" y="12"/>
                </a:lnTo>
                <a:lnTo>
                  <a:pt x="990" y="28"/>
                </a:lnTo>
                <a:lnTo>
                  <a:pt x="964" y="34"/>
                </a:lnTo>
                <a:lnTo>
                  <a:pt x="951" y="40"/>
                </a:lnTo>
                <a:lnTo>
                  <a:pt x="929" y="77"/>
                </a:lnTo>
                <a:lnTo>
                  <a:pt x="915" y="77"/>
                </a:lnTo>
                <a:lnTo>
                  <a:pt x="894" y="75"/>
                </a:lnTo>
                <a:lnTo>
                  <a:pt x="862" y="87"/>
                </a:lnTo>
                <a:lnTo>
                  <a:pt x="813" y="122"/>
                </a:lnTo>
                <a:lnTo>
                  <a:pt x="797" y="152"/>
                </a:lnTo>
                <a:lnTo>
                  <a:pt x="786" y="177"/>
                </a:lnTo>
                <a:lnTo>
                  <a:pt x="805" y="226"/>
                </a:lnTo>
                <a:lnTo>
                  <a:pt x="788" y="252"/>
                </a:lnTo>
                <a:lnTo>
                  <a:pt x="752" y="238"/>
                </a:lnTo>
                <a:lnTo>
                  <a:pt x="733" y="252"/>
                </a:lnTo>
                <a:lnTo>
                  <a:pt x="703" y="260"/>
                </a:lnTo>
                <a:lnTo>
                  <a:pt x="689" y="267"/>
                </a:lnTo>
                <a:lnTo>
                  <a:pt x="648" y="226"/>
                </a:lnTo>
                <a:lnTo>
                  <a:pt x="623" y="267"/>
                </a:lnTo>
                <a:lnTo>
                  <a:pt x="603" y="252"/>
                </a:lnTo>
                <a:lnTo>
                  <a:pt x="560" y="252"/>
                </a:lnTo>
                <a:lnTo>
                  <a:pt x="499" y="285"/>
                </a:lnTo>
                <a:lnTo>
                  <a:pt x="473" y="266"/>
                </a:lnTo>
                <a:lnTo>
                  <a:pt x="454" y="267"/>
                </a:lnTo>
                <a:lnTo>
                  <a:pt x="424" y="238"/>
                </a:lnTo>
                <a:lnTo>
                  <a:pt x="405" y="232"/>
                </a:lnTo>
                <a:lnTo>
                  <a:pt x="369" y="246"/>
                </a:lnTo>
                <a:lnTo>
                  <a:pt x="344" y="238"/>
                </a:lnTo>
                <a:lnTo>
                  <a:pt x="310" y="220"/>
                </a:lnTo>
                <a:lnTo>
                  <a:pt x="296" y="232"/>
                </a:lnTo>
                <a:lnTo>
                  <a:pt x="226" y="230"/>
                </a:lnTo>
                <a:lnTo>
                  <a:pt x="222" y="246"/>
                </a:lnTo>
                <a:lnTo>
                  <a:pt x="190" y="246"/>
                </a:lnTo>
                <a:lnTo>
                  <a:pt x="161" y="277"/>
                </a:lnTo>
                <a:lnTo>
                  <a:pt x="129" y="305"/>
                </a:lnTo>
                <a:lnTo>
                  <a:pt x="92" y="305"/>
                </a:lnTo>
                <a:lnTo>
                  <a:pt x="96" y="362"/>
                </a:lnTo>
                <a:lnTo>
                  <a:pt x="112" y="391"/>
                </a:lnTo>
                <a:lnTo>
                  <a:pt x="151" y="417"/>
                </a:lnTo>
                <a:lnTo>
                  <a:pt x="153" y="464"/>
                </a:lnTo>
                <a:lnTo>
                  <a:pt x="161" y="486"/>
                </a:lnTo>
                <a:lnTo>
                  <a:pt x="96" y="558"/>
                </a:lnTo>
                <a:lnTo>
                  <a:pt x="69" y="598"/>
                </a:lnTo>
                <a:lnTo>
                  <a:pt x="47" y="647"/>
                </a:lnTo>
                <a:lnTo>
                  <a:pt x="47" y="688"/>
                </a:lnTo>
                <a:lnTo>
                  <a:pt x="43" y="731"/>
                </a:lnTo>
                <a:lnTo>
                  <a:pt x="19" y="735"/>
                </a:lnTo>
                <a:lnTo>
                  <a:pt x="10" y="770"/>
                </a:lnTo>
                <a:lnTo>
                  <a:pt x="0" y="833"/>
                </a:lnTo>
                <a:lnTo>
                  <a:pt x="51" y="871"/>
                </a:lnTo>
                <a:lnTo>
                  <a:pt x="76" y="898"/>
                </a:lnTo>
                <a:lnTo>
                  <a:pt x="222" y="898"/>
                </a:lnTo>
                <a:lnTo>
                  <a:pt x="267" y="884"/>
                </a:lnTo>
                <a:lnTo>
                  <a:pt x="289" y="894"/>
                </a:lnTo>
                <a:lnTo>
                  <a:pt x="322" y="906"/>
                </a:lnTo>
                <a:lnTo>
                  <a:pt x="349" y="879"/>
                </a:lnTo>
                <a:lnTo>
                  <a:pt x="369" y="871"/>
                </a:lnTo>
                <a:lnTo>
                  <a:pt x="397" y="865"/>
                </a:lnTo>
                <a:lnTo>
                  <a:pt x="477" y="796"/>
                </a:lnTo>
                <a:lnTo>
                  <a:pt x="495" y="776"/>
                </a:lnTo>
                <a:lnTo>
                  <a:pt x="526" y="772"/>
                </a:lnTo>
                <a:lnTo>
                  <a:pt x="562" y="753"/>
                </a:lnTo>
                <a:lnTo>
                  <a:pt x="630" y="792"/>
                </a:lnTo>
                <a:lnTo>
                  <a:pt x="719" y="784"/>
                </a:lnTo>
                <a:lnTo>
                  <a:pt x="760" y="810"/>
                </a:lnTo>
                <a:lnTo>
                  <a:pt x="772" y="820"/>
                </a:lnTo>
                <a:lnTo>
                  <a:pt x="782" y="861"/>
                </a:lnTo>
                <a:lnTo>
                  <a:pt x="823" y="922"/>
                </a:lnTo>
                <a:lnTo>
                  <a:pt x="839" y="953"/>
                </a:lnTo>
                <a:lnTo>
                  <a:pt x="870" y="953"/>
                </a:lnTo>
                <a:lnTo>
                  <a:pt x="884" y="977"/>
                </a:lnTo>
                <a:lnTo>
                  <a:pt x="896" y="1000"/>
                </a:lnTo>
                <a:lnTo>
                  <a:pt x="890" y="1047"/>
                </a:lnTo>
                <a:lnTo>
                  <a:pt x="866" y="1047"/>
                </a:lnTo>
                <a:lnTo>
                  <a:pt x="813" y="1059"/>
                </a:lnTo>
                <a:lnTo>
                  <a:pt x="796" y="1042"/>
                </a:lnTo>
                <a:lnTo>
                  <a:pt x="794" y="1087"/>
                </a:lnTo>
                <a:lnTo>
                  <a:pt x="796" y="1112"/>
                </a:lnTo>
                <a:lnTo>
                  <a:pt x="778" y="1157"/>
                </a:lnTo>
                <a:lnTo>
                  <a:pt x="750" y="1171"/>
                </a:lnTo>
                <a:lnTo>
                  <a:pt x="752" y="1228"/>
                </a:lnTo>
                <a:lnTo>
                  <a:pt x="797" y="1242"/>
                </a:lnTo>
                <a:lnTo>
                  <a:pt x="839" y="1228"/>
                </a:lnTo>
                <a:lnTo>
                  <a:pt x="888" y="1201"/>
                </a:lnTo>
                <a:close/>
              </a:path>
            </a:pathLst>
          </a:custGeom>
          <a:solidFill>
            <a:srgbClr val="D0D0D0"/>
          </a:solidFill>
          <a:ln w="9525">
            <a:solidFill>
              <a:srgbClr val="000000"/>
            </a:solidFill>
            <a:prstDash val="solid"/>
            <a:round/>
            <a:headEnd/>
            <a:tailEnd/>
          </a:ln>
        </p:spPr>
        <p:txBody>
          <a:bodyPr/>
          <a:lstStyle/>
          <a:p>
            <a:endParaRPr lang="cs-CZ"/>
          </a:p>
        </p:txBody>
      </p:sp>
      <p:sp>
        <p:nvSpPr>
          <p:cNvPr id="384" name="Freeform 392"/>
          <p:cNvSpPr>
            <a:spLocks/>
          </p:cNvSpPr>
          <p:nvPr/>
        </p:nvSpPr>
        <p:spPr bwMode="auto">
          <a:xfrm>
            <a:off x="4425950" y="3133303"/>
            <a:ext cx="530225" cy="285750"/>
          </a:xfrm>
          <a:custGeom>
            <a:avLst/>
            <a:gdLst>
              <a:gd name="T0" fmla="*/ 14 w 668"/>
              <a:gd name="T1" fmla="*/ 359 h 359"/>
              <a:gd name="T2" fmla="*/ 39 w 668"/>
              <a:gd name="T3" fmla="*/ 351 h 359"/>
              <a:gd name="T4" fmla="*/ 59 w 668"/>
              <a:gd name="T5" fmla="*/ 328 h 359"/>
              <a:gd name="T6" fmla="*/ 114 w 668"/>
              <a:gd name="T7" fmla="*/ 302 h 359"/>
              <a:gd name="T8" fmla="*/ 147 w 668"/>
              <a:gd name="T9" fmla="*/ 288 h 359"/>
              <a:gd name="T10" fmla="*/ 161 w 668"/>
              <a:gd name="T11" fmla="*/ 298 h 359"/>
              <a:gd name="T12" fmla="*/ 187 w 668"/>
              <a:gd name="T13" fmla="*/ 286 h 359"/>
              <a:gd name="T14" fmla="*/ 242 w 668"/>
              <a:gd name="T15" fmla="*/ 283 h 359"/>
              <a:gd name="T16" fmla="*/ 303 w 668"/>
              <a:gd name="T17" fmla="*/ 296 h 359"/>
              <a:gd name="T18" fmla="*/ 344 w 668"/>
              <a:gd name="T19" fmla="*/ 265 h 359"/>
              <a:gd name="T20" fmla="*/ 359 w 668"/>
              <a:gd name="T21" fmla="*/ 263 h 359"/>
              <a:gd name="T22" fmla="*/ 385 w 668"/>
              <a:gd name="T23" fmla="*/ 285 h 359"/>
              <a:gd name="T24" fmla="*/ 422 w 668"/>
              <a:gd name="T25" fmla="*/ 300 h 359"/>
              <a:gd name="T26" fmla="*/ 470 w 668"/>
              <a:gd name="T27" fmla="*/ 326 h 359"/>
              <a:gd name="T28" fmla="*/ 507 w 668"/>
              <a:gd name="T29" fmla="*/ 345 h 359"/>
              <a:gd name="T30" fmla="*/ 530 w 668"/>
              <a:gd name="T31" fmla="*/ 355 h 359"/>
              <a:gd name="T32" fmla="*/ 544 w 668"/>
              <a:gd name="T33" fmla="*/ 353 h 359"/>
              <a:gd name="T34" fmla="*/ 564 w 668"/>
              <a:gd name="T35" fmla="*/ 328 h 359"/>
              <a:gd name="T36" fmla="*/ 607 w 668"/>
              <a:gd name="T37" fmla="*/ 328 h 359"/>
              <a:gd name="T38" fmla="*/ 619 w 668"/>
              <a:gd name="T39" fmla="*/ 290 h 359"/>
              <a:gd name="T40" fmla="*/ 625 w 668"/>
              <a:gd name="T41" fmla="*/ 269 h 359"/>
              <a:gd name="T42" fmla="*/ 652 w 668"/>
              <a:gd name="T43" fmla="*/ 253 h 359"/>
              <a:gd name="T44" fmla="*/ 668 w 668"/>
              <a:gd name="T45" fmla="*/ 251 h 359"/>
              <a:gd name="T46" fmla="*/ 664 w 668"/>
              <a:gd name="T47" fmla="*/ 216 h 359"/>
              <a:gd name="T48" fmla="*/ 637 w 668"/>
              <a:gd name="T49" fmla="*/ 178 h 359"/>
              <a:gd name="T50" fmla="*/ 605 w 668"/>
              <a:gd name="T51" fmla="*/ 145 h 359"/>
              <a:gd name="T52" fmla="*/ 583 w 668"/>
              <a:gd name="T53" fmla="*/ 133 h 359"/>
              <a:gd name="T54" fmla="*/ 585 w 668"/>
              <a:gd name="T55" fmla="*/ 72 h 359"/>
              <a:gd name="T56" fmla="*/ 558 w 668"/>
              <a:gd name="T57" fmla="*/ 51 h 359"/>
              <a:gd name="T58" fmla="*/ 532 w 668"/>
              <a:gd name="T59" fmla="*/ 31 h 359"/>
              <a:gd name="T60" fmla="*/ 495 w 668"/>
              <a:gd name="T61" fmla="*/ 45 h 359"/>
              <a:gd name="T62" fmla="*/ 470 w 668"/>
              <a:gd name="T63" fmla="*/ 57 h 359"/>
              <a:gd name="T64" fmla="*/ 438 w 668"/>
              <a:gd name="T65" fmla="*/ 39 h 359"/>
              <a:gd name="T66" fmla="*/ 416 w 668"/>
              <a:gd name="T67" fmla="*/ 13 h 359"/>
              <a:gd name="T68" fmla="*/ 387 w 668"/>
              <a:gd name="T69" fmla="*/ 9 h 359"/>
              <a:gd name="T70" fmla="*/ 369 w 668"/>
              <a:gd name="T71" fmla="*/ 0 h 359"/>
              <a:gd name="T72" fmla="*/ 326 w 668"/>
              <a:gd name="T73" fmla="*/ 6 h 359"/>
              <a:gd name="T74" fmla="*/ 289 w 668"/>
              <a:gd name="T75" fmla="*/ 19 h 359"/>
              <a:gd name="T76" fmla="*/ 275 w 668"/>
              <a:gd name="T77" fmla="*/ 33 h 359"/>
              <a:gd name="T78" fmla="*/ 273 w 668"/>
              <a:gd name="T79" fmla="*/ 80 h 359"/>
              <a:gd name="T80" fmla="*/ 287 w 668"/>
              <a:gd name="T81" fmla="*/ 145 h 359"/>
              <a:gd name="T82" fmla="*/ 277 w 668"/>
              <a:gd name="T83" fmla="*/ 165 h 359"/>
              <a:gd name="T84" fmla="*/ 257 w 668"/>
              <a:gd name="T85" fmla="*/ 180 h 359"/>
              <a:gd name="T86" fmla="*/ 230 w 668"/>
              <a:gd name="T87" fmla="*/ 184 h 359"/>
              <a:gd name="T88" fmla="*/ 198 w 668"/>
              <a:gd name="T89" fmla="*/ 173 h 359"/>
              <a:gd name="T90" fmla="*/ 183 w 668"/>
              <a:gd name="T91" fmla="*/ 153 h 359"/>
              <a:gd name="T92" fmla="*/ 161 w 668"/>
              <a:gd name="T93" fmla="*/ 123 h 359"/>
              <a:gd name="T94" fmla="*/ 132 w 668"/>
              <a:gd name="T95" fmla="*/ 98 h 359"/>
              <a:gd name="T96" fmla="*/ 118 w 668"/>
              <a:gd name="T97" fmla="*/ 86 h 359"/>
              <a:gd name="T98" fmla="*/ 102 w 668"/>
              <a:gd name="T99" fmla="*/ 82 h 359"/>
              <a:gd name="T100" fmla="*/ 73 w 668"/>
              <a:gd name="T101" fmla="*/ 104 h 359"/>
              <a:gd name="T102" fmla="*/ 45 w 668"/>
              <a:gd name="T103" fmla="*/ 129 h 359"/>
              <a:gd name="T104" fmla="*/ 33 w 668"/>
              <a:gd name="T105" fmla="*/ 155 h 359"/>
              <a:gd name="T106" fmla="*/ 25 w 668"/>
              <a:gd name="T107" fmla="*/ 188 h 359"/>
              <a:gd name="T108" fmla="*/ 24 w 668"/>
              <a:gd name="T109" fmla="*/ 216 h 359"/>
              <a:gd name="T110" fmla="*/ 10 w 668"/>
              <a:gd name="T111" fmla="*/ 245 h 359"/>
              <a:gd name="T112" fmla="*/ 0 w 668"/>
              <a:gd name="T113" fmla="*/ 277 h 359"/>
              <a:gd name="T114" fmla="*/ 4 w 668"/>
              <a:gd name="T115" fmla="*/ 292 h 359"/>
              <a:gd name="T116" fmla="*/ 4 w 668"/>
              <a:gd name="T117" fmla="*/ 326 h 359"/>
              <a:gd name="T118" fmla="*/ 6 w 668"/>
              <a:gd name="T119" fmla="*/ 345 h 359"/>
              <a:gd name="T120" fmla="*/ 14 w 668"/>
              <a:gd name="T121" fmla="*/ 35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8" h="359">
                <a:moveTo>
                  <a:pt x="14" y="359"/>
                </a:moveTo>
                <a:lnTo>
                  <a:pt x="39" y="351"/>
                </a:lnTo>
                <a:lnTo>
                  <a:pt x="59" y="328"/>
                </a:lnTo>
                <a:lnTo>
                  <a:pt x="114" y="302"/>
                </a:lnTo>
                <a:lnTo>
                  <a:pt x="147" y="288"/>
                </a:lnTo>
                <a:lnTo>
                  <a:pt x="161" y="298"/>
                </a:lnTo>
                <a:lnTo>
                  <a:pt x="187" y="286"/>
                </a:lnTo>
                <a:lnTo>
                  <a:pt x="242" y="283"/>
                </a:lnTo>
                <a:lnTo>
                  <a:pt x="303" y="296"/>
                </a:lnTo>
                <a:lnTo>
                  <a:pt x="344" y="265"/>
                </a:lnTo>
                <a:lnTo>
                  <a:pt x="359" y="263"/>
                </a:lnTo>
                <a:lnTo>
                  <a:pt x="385" y="285"/>
                </a:lnTo>
                <a:lnTo>
                  <a:pt x="422" y="300"/>
                </a:lnTo>
                <a:lnTo>
                  <a:pt x="470" y="326"/>
                </a:lnTo>
                <a:lnTo>
                  <a:pt x="507" y="345"/>
                </a:lnTo>
                <a:lnTo>
                  <a:pt x="530" y="355"/>
                </a:lnTo>
                <a:lnTo>
                  <a:pt x="544" y="353"/>
                </a:lnTo>
                <a:lnTo>
                  <a:pt x="564" y="328"/>
                </a:lnTo>
                <a:lnTo>
                  <a:pt x="607" y="328"/>
                </a:lnTo>
                <a:lnTo>
                  <a:pt x="619" y="290"/>
                </a:lnTo>
                <a:lnTo>
                  <a:pt x="625" y="269"/>
                </a:lnTo>
                <a:lnTo>
                  <a:pt x="652" y="253"/>
                </a:lnTo>
                <a:lnTo>
                  <a:pt x="668" y="251"/>
                </a:lnTo>
                <a:lnTo>
                  <a:pt x="664" y="216"/>
                </a:lnTo>
                <a:lnTo>
                  <a:pt x="637" y="178"/>
                </a:lnTo>
                <a:lnTo>
                  <a:pt x="605" y="145"/>
                </a:lnTo>
                <a:lnTo>
                  <a:pt x="583" y="133"/>
                </a:lnTo>
                <a:lnTo>
                  <a:pt x="585" y="72"/>
                </a:lnTo>
                <a:lnTo>
                  <a:pt x="558" y="51"/>
                </a:lnTo>
                <a:lnTo>
                  <a:pt x="532" y="31"/>
                </a:lnTo>
                <a:lnTo>
                  <a:pt x="495" y="45"/>
                </a:lnTo>
                <a:lnTo>
                  <a:pt x="470" y="57"/>
                </a:lnTo>
                <a:lnTo>
                  <a:pt x="438" y="39"/>
                </a:lnTo>
                <a:lnTo>
                  <a:pt x="416" y="13"/>
                </a:lnTo>
                <a:lnTo>
                  <a:pt x="387" y="9"/>
                </a:lnTo>
                <a:lnTo>
                  <a:pt x="369" y="0"/>
                </a:lnTo>
                <a:lnTo>
                  <a:pt x="326" y="6"/>
                </a:lnTo>
                <a:lnTo>
                  <a:pt x="289" y="19"/>
                </a:lnTo>
                <a:lnTo>
                  <a:pt x="275" y="33"/>
                </a:lnTo>
                <a:lnTo>
                  <a:pt x="273" y="80"/>
                </a:lnTo>
                <a:lnTo>
                  <a:pt x="287" y="145"/>
                </a:lnTo>
                <a:lnTo>
                  <a:pt x="277" y="165"/>
                </a:lnTo>
                <a:lnTo>
                  <a:pt x="257" y="180"/>
                </a:lnTo>
                <a:lnTo>
                  <a:pt x="230" y="184"/>
                </a:lnTo>
                <a:lnTo>
                  <a:pt x="198" y="173"/>
                </a:lnTo>
                <a:lnTo>
                  <a:pt x="183" y="153"/>
                </a:lnTo>
                <a:lnTo>
                  <a:pt x="161" y="123"/>
                </a:lnTo>
                <a:lnTo>
                  <a:pt x="132" y="98"/>
                </a:lnTo>
                <a:lnTo>
                  <a:pt x="118" y="86"/>
                </a:lnTo>
                <a:lnTo>
                  <a:pt x="102" y="82"/>
                </a:lnTo>
                <a:lnTo>
                  <a:pt x="73" y="104"/>
                </a:lnTo>
                <a:lnTo>
                  <a:pt x="45" y="129"/>
                </a:lnTo>
                <a:lnTo>
                  <a:pt x="33" y="155"/>
                </a:lnTo>
                <a:lnTo>
                  <a:pt x="25" y="188"/>
                </a:lnTo>
                <a:lnTo>
                  <a:pt x="24" y="216"/>
                </a:lnTo>
                <a:lnTo>
                  <a:pt x="10" y="245"/>
                </a:lnTo>
                <a:lnTo>
                  <a:pt x="0" y="277"/>
                </a:lnTo>
                <a:lnTo>
                  <a:pt x="4" y="292"/>
                </a:lnTo>
                <a:lnTo>
                  <a:pt x="4" y="326"/>
                </a:lnTo>
                <a:lnTo>
                  <a:pt x="6" y="345"/>
                </a:lnTo>
                <a:lnTo>
                  <a:pt x="14" y="359"/>
                </a:lnTo>
                <a:close/>
              </a:path>
            </a:pathLst>
          </a:custGeom>
          <a:solidFill>
            <a:srgbClr val="E93011"/>
          </a:solidFill>
          <a:ln w="9525">
            <a:solidFill>
              <a:srgbClr val="000000"/>
            </a:solidFill>
            <a:prstDash val="solid"/>
            <a:round/>
            <a:headEnd/>
            <a:tailEnd/>
          </a:ln>
        </p:spPr>
        <p:txBody>
          <a:bodyPr/>
          <a:lstStyle/>
          <a:p>
            <a:endParaRPr lang="cs-CZ"/>
          </a:p>
        </p:txBody>
      </p:sp>
      <p:sp>
        <p:nvSpPr>
          <p:cNvPr id="385" name="Freeform 393"/>
          <p:cNvSpPr>
            <a:spLocks/>
          </p:cNvSpPr>
          <p:nvPr/>
        </p:nvSpPr>
        <p:spPr bwMode="auto">
          <a:xfrm>
            <a:off x="4645025" y="3336503"/>
            <a:ext cx="709613" cy="628650"/>
          </a:xfrm>
          <a:custGeom>
            <a:avLst/>
            <a:gdLst>
              <a:gd name="T0" fmla="*/ 86 w 894"/>
              <a:gd name="T1" fmla="*/ 792 h 792"/>
              <a:gd name="T2" fmla="*/ 118 w 894"/>
              <a:gd name="T3" fmla="*/ 768 h 792"/>
              <a:gd name="T4" fmla="*/ 145 w 894"/>
              <a:gd name="T5" fmla="*/ 735 h 792"/>
              <a:gd name="T6" fmla="*/ 189 w 894"/>
              <a:gd name="T7" fmla="*/ 719 h 792"/>
              <a:gd name="T8" fmla="*/ 269 w 894"/>
              <a:gd name="T9" fmla="*/ 707 h 792"/>
              <a:gd name="T10" fmla="*/ 324 w 894"/>
              <a:gd name="T11" fmla="*/ 735 h 792"/>
              <a:gd name="T12" fmla="*/ 360 w 894"/>
              <a:gd name="T13" fmla="*/ 717 h 792"/>
              <a:gd name="T14" fmla="*/ 393 w 894"/>
              <a:gd name="T15" fmla="*/ 733 h 792"/>
              <a:gd name="T16" fmla="*/ 440 w 894"/>
              <a:gd name="T17" fmla="*/ 758 h 792"/>
              <a:gd name="T18" fmla="*/ 499 w 894"/>
              <a:gd name="T19" fmla="*/ 749 h 792"/>
              <a:gd name="T20" fmla="*/ 560 w 894"/>
              <a:gd name="T21" fmla="*/ 737 h 792"/>
              <a:gd name="T22" fmla="*/ 591 w 894"/>
              <a:gd name="T23" fmla="*/ 733 h 792"/>
              <a:gd name="T24" fmla="*/ 623 w 894"/>
              <a:gd name="T25" fmla="*/ 721 h 792"/>
              <a:gd name="T26" fmla="*/ 658 w 894"/>
              <a:gd name="T27" fmla="*/ 747 h 792"/>
              <a:gd name="T28" fmla="*/ 692 w 894"/>
              <a:gd name="T29" fmla="*/ 739 h 792"/>
              <a:gd name="T30" fmla="*/ 745 w 894"/>
              <a:gd name="T31" fmla="*/ 741 h 792"/>
              <a:gd name="T32" fmla="*/ 760 w 894"/>
              <a:gd name="T33" fmla="*/ 688 h 792"/>
              <a:gd name="T34" fmla="*/ 755 w 894"/>
              <a:gd name="T35" fmla="*/ 631 h 792"/>
              <a:gd name="T36" fmla="*/ 810 w 894"/>
              <a:gd name="T37" fmla="*/ 580 h 792"/>
              <a:gd name="T38" fmla="*/ 861 w 894"/>
              <a:gd name="T39" fmla="*/ 574 h 792"/>
              <a:gd name="T40" fmla="*/ 833 w 894"/>
              <a:gd name="T41" fmla="*/ 521 h 792"/>
              <a:gd name="T42" fmla="*/ 798 w 894"/>
              <a:gd name="T43" fmla="*/ 462 h 792"/>
              <a:gd name="T44" fmla="*/ 762 w 894"/>
              <a:gd name="T45" fmla="*/ 405 h 792"/>
              <a:gd name="T46" fmla="*/ 823 w 894"/>
              <a:gd name="T47" fmla="*/ 387 h 792"/>
              <a:gd name="T48" fmla="*/ 874 w 894"/>
              <a:gd name="T49" fmla="*/ 371 h 792"/>
              <a:gd name="T50" fmla="*/ 894 w 894"/>
              <a:gd name="T51" fmla="*/ 330 h 792"/>
              <a:gd name="T52" fmla="*/ 861 w 894"/>
              <a:gd name="T53" fmla="*/ 307 h 792"/>
              <a:gd name="T54" fmla="*/ 825 w 894"/>
              <a:gd name="T55" fmla="*/ 285 h 792"/>
              <a:gd name="T56" fmla="*/ 784 w 894"/>
              <a:gd name="T57" fmla="*/ 289 h 792"/>
              <a:gd name="T58" fmla="*/ 747 w 894"/>
              <a:gd name="T59" fmla="*/ 244 h 792"/>
              <a:gd name="T60" fmla="*/ 678 w 894"/>
              <a:gd name="T61" fmla="*/ 163 h 792"/>
              <a:gd name="T62" fmla="*/ 662 w 894"/>
              <a:gd name="T63" fmla="*/ 128 h 792"/>
              <a:gd name="T64" fmla="*/ 658 w 894"/>
              <a:gd name="T65" fmla="*/ 83 h 792"/>
              <a:gd name="T66" fmla="*/ 641 w 894"/>
              <a:gd name="T67" fmla="*/ 33 h 792"/>
              <a:gd name="T68" fmla="*/ 582 w 894"/>
              <a:gd name="T69" fmla="*/ 12 h 792"/>
              <a:gd name="T70" fmla="*/ 525 w 894"/>
              <a:gd name="T71" fmla="*/ 26 h 792"/>
              <a:gd name="T72" fmla="*/ 497 w 894"/>
              <a:gd name="T73" fmla="*/ 20 h 792"/>
              <a:gd name="T74" fmla="*/ 454 w 894"/>
              <a:gd name="T75" fmla="*/ 2 h 792"/>
              <a:gd name="T76" fmla="*/ 397 w 894"/>
              <a:gd name="T77" fmla="*/ 4 h 792"/>
              <a:gd name="T78" fmla="*/ 356 w 894"/>
              <a:gd name="T79" fmla="*/ 6 h 792"/>
              <a:gd name="T80" fmla="*/ 340 w 894"/>
              <a:gd name="T81" fmla="*/ 59 h 792"/>
              <a:gd name="T82" fmla="*/ 289 w 894"/>
              <a:gd name="T83" fmla="*/ 73 h 792"/>
              <a:gd name="T84" fmla="*/ 265 w 894"/>
              <a:gd name="T85" fmla="*/ 104 h 792"/>
              <a:gd name="T86" fmla="*/ 236 w 894"/>
              <a:gd name="T87" fmla="*/ 132 h 792"/>
              <a:gd name="T88" fmla="*/ 279 w 894"/>
              <a:gd name="T89" fmla="*/ 163 h 792"/>
              <a:gd name="T90" fmla="*/ 250 w 894"/>
              <a:gd name="T91" fmla="*/ 189 h 792"/>
              <a:gd name="T92" fmla="*/ 208 w 894"/>
              <a:gd name="T93" fmla="*/ 218 h 792"/>
              <a:gd name="T94" fmla="*/ 193 w 894"/>
              <a:gd name="T95" fmla="*/ 293 h 792"/>
              <a:gd name="T96" fmla="*/ 200 w 894"/>
              <a:gd name="T97" fmla="*/ 340 h 792"/>
              <a:gd name="T98" fmla="*/ 196 w 894"/>
              <a:gd name="T99" fmla="*/ 360 h 792"/>
              <a:gd name="T100" fmla="*/ 161 w 894"/>
              <a:gd name="T101" fmla="*/ 344 h 792"/>
              <a:gd name="T102" fmla="*/ 120 w 894"/>
              <a:gd name="T103" fmla="*/ 369 h 792"/>
              <a:gd name="T104" fmla="*/ 114 w 894"/>
              <a:gd name="T105" fmla="*/ 403 h 792"/>
              <a:gd name="T106" fmla="*/ 86 w 894"/>
              <a:gd name="T107" fmla="*/ 411 h 792"/>
              <a:gd name="T108" fmla="*/ 39 w 894"/>
              <a:gd name="T109" fmla="*/ 409 h 792"/>
              <a:gd name="T110" fmla="*/ 0 w 894"/>
              <a:gd name="T111" fmla="*/ 419 h 792"/>
              <a:gd name="T112" fmla="*/ 29 w 894"/>
              <a:gd name="T113" fmla="*/ 523 h 792"/>
              <a:gd name="T114" fmla="*/ 55 w 894"/>
              <a:gd name="T115" fmla="*/ 599 h 792"/>
              <a:gd name="T116" fmla="*/ 20 w 894"/>
              <a:gd name="T117" fmla="*/ 678 h 792"/>
              <a:gd name="T118" fmla="*/ 18 w 894"/>
              <a:gd name="T119" fmla="*/ 713 h 792"/>
              <a:gd name="T120" fmla="*/ 45 w 894"/>
              <a:gd name="T121" fmla="*/ 75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94" h="792">
                <a:moveTo>
                  <a:pt x="45" y="790"/>
                </a:moveTo>
                <a:lnTo>
                  <a:pt x="86" y="792"/>
                </a:lnTo>
                <a:lnTo>
                  <a:pt x="96" y="780"/>
                </a:lnTo>
                <a:lnTo>
                  <a:pt x="118" y="768"/>
                </a:lnTo>
                <a:lnTo>
                  <a:pt x="126" y="756"/>
                </a:lnTo>
                <a:lnTo>
                  <a:pt x="145" y="735"/>
                </a:lnTo>
                <a:lnTo>
                  <a:pt x="181" y="729"/>
                </a:lnTo>
                <a:lnTo>
                  <a:pt x="189" y="719"/>
                </a:lnTo>
                <a:lnTo>
                  <a:pt x="259" y="719"/>
                </a:lnTo>
                <a:lnTo>
                  <a:pt x="269" y="707"/>
                </a:lnTo>
                <a:lnTo>
                  <a:pt x="299" y="723"/>
                </a:lnTo>
                <a:lnTo>
                  <a:pt x="324" y="735"/>
                </a:lnTo>
                <a:lnTo>
                  <a:pt x="346" y="729"/>
                </a:lnTo>
                <a:lnTo>
                  <a:pt x="360" y="717"/>
                </a:lnTo>
                <a:lnTo>
                  <a:pt x="371" y="723"/>
                </a:lnTo>
                <a:lnTo>
                  <a:pt x="393" y="733"/>
                </a:lnTo>
                <a:lnTo>
                  <a:pt x="417" y="756"/>
                </a:lnTo>
                <a:lnTo>
                  <a:pt x="440" y="758"/>
                </a:lnTo>
                <a:lnTo>
                  <a:pt x="460" y="772"/>
                </a:lnTo>
                <a:lnTo>
                  <a:pt x="499" y="749"/>
                </a:lnTo>
                <a:lnTo>
                  <a:pt x="521" y="737"/>
                </a:lnTo>
                <a:lnTo>
                  <a:pt x="560" y="737"/>
                </a:lnTo>
                <a:lnTo>
                  <a:pt x="582" y="755"/>
                </a:lnTo>
                <a:lnTo>
                  <a:pt x="591" y="733"/>
                </a:lnTo>
                <a:lnTo>
                  <a:pt x="603" y="711"/>
                </a:lnTo>
                <a:lnTo>
                  <a:pt x="623" y="721"/>
                </a:lnTo>
                <a:lnTo>
                  <a:pt x="644" y="749"/>
                </a:lnTo>
                <a:lnTo>
                  <a:pt x="658" y="747"/>
                </a:lnTo>
                <a:lnTo>
                  <a:pt x="676" y="741"/>
                </a:lnTo>
                <a:lnTo>
                  <a:pt x="692" y="739"/>
                </a:lnTo>
                <a:lnTo>
                  <a:pt x="721" y="729"/>
                </a:lnTo>
                <a:lnTo>
                  <a:pt x="745" y="741"/>
                </a:lnTo>
                <a:lnTo>
                  <a:pt x="766" y="711"/>
                </a:lnTo>
                <a:lnTo>
                  <a:pt x="760" y="688"/>
                </a:lnTo>
                <a:lnTo>
                  <a:pt x="747" y="660"/>
                </a:lnTo>
                <a:lnTo>
                  <a:pt x="755" y="631"/>
                </a:lnTo>
                <a:lnTo>
                  <a:pt x="774" y="601"/>
                </a:lnTo>
                <a:lnTo>
                  <a:pt x="810" y="580"/>
                </a:lnTo>
                <a:lnTo>
                  <a:pt x="833" y="570"/>
                </a:lnTo>
                <a:lnTo>
                  <a:pt x="861" y="574"/>
                </a:lnTo>
                <a:lnTo>
                  <a:pt x="847" y="542"/>
                </a:lnTo>
                <a:lnTo>
                  <a:pt x="833" y="521"/>
                </a:lnTo>
                <a:lnTo>
                  <a:pt x="823" y="495"/>
                </a:lnTo>
                <a:lnTo>
                  <a:pt x="798" y="462"/>
                </a:lnTo>
                <a:lnTo>
                  <a:pt x="784" y="436"/>
                </a:lnTo>
                <a:lnTo>
                  <a:pt x="762" y="405"/>
                </a:lnTo>
                <a:lnTo>
                  <a:pt x="784" y="385"/>
                </a:lnTo>
                <a:lnTo>
                  <a:pt x="823" y="387"/>
                </a:lnTo>
                <a:lnTo>
                  <a:pt x="849" y="393"/>
                </a:lnTo>
                <a:lnTo>
                  <a:pt x="874" y="371"/>
                </a:lnTo>
                <a:lnTo>
                  <a:pt x="888" y="346"/>
                </a:lnTo>
                <a:lnTo>
                  <a:pt x="894" y="330"/>
                </a:lnTo>
                <a:lnTo>
                  <a:pt x="886" y="309"/>
                </a:lnTo>
                <a:lnTo>
                  <a:pt x="861" y="307"/>
                </a:lnTo>
                <a:lnTo>
                  <a:pt x="851" y="295"/>
                </a:lnTo>
                <a:lnTo>
                  <a:pt x="825" y="285"/>
                </a:lnTo>
                <a:lnTo>
                  <a:pt x="800" y="291"/>
                </a:lnTo>
                <a:lnTo>
                  <a:pt x="784" y="289"/>
                </a:lnTo>
                <a:lnTo>
                  <a:pt x="778" y="259"/>
                </a:lnTo>
                <a:lnTo>
                  <a:pt x="747" y="244"/>
                </a:lnTo>
                <a:lnTo>
                  <a:pt x="719" y="232"/>
                </a:lnTo>
                <a:lnTo>
                  <a:pt x="678" y="163"/>
                </a:lnTo>
                <a:lnTo>
                  <a:pt x="656" y="153"/>
                </a:lnTo>
                <a:lnTo>
                  <a:pt x="662" y="128"/>
                </a:lnTo>
                <a:lnTo>
                  <a:pt x="674" y="102"/>
                </a:lnTo>
                <a:lnTo>
                  <a:pt x="658" y="83"/>
                </a:lnTo>
                <a:lnTo>
                  <a:pt x="646" y="67"/>
                </a:lnTo>
                <a:lnTo>
                  <a:pt x="641" y="33"/>
                </a:lnTo>
                <a:lnTo>
                  <a:pt x="603" y="22"/>
                </a:lnTo>
                <a:lnTo>
                  <a:pt x="582" y="12"/>
                </a:lnTo>
                <a:lnTo>
                  <a:pt x="548" y="6"/>
                </a:lnTo>
                <a:lnTo>
                  <a:pt x="525" y="26"/>
                </a:lnTo>
                <a:lnTo>
                  <a:pt x="509" y="39"/>
                </a:lnTo>
                <a:lnTo>
                  <a:pt x="497" y="20"/>
                </a:lnTo>
                <a:lnTo>
                  <a:pt x="474" y="0"/>
                </a:lnTo>
                <a:lnTo>
                  <a:pt x="454" y="2"/>
                </a:lnTo>
                <a:lnTo>
                  <a:pt x="440" y="10"/>
                </a:lnTo>
                <a:lnTo>
                  <a:pt x="397" y="4"/>
                </a:lnTo>
                <a:lnTo>
                  <a:pt x="383" y="4"/>
                </a:lnTo>
                <a:lnTo>
                  <a:pt x="356" y="6"/>
                </a:lnTo>
                <a:lnTo>
                  <a:pt x="344" y="18"/>
                </a:lnTo>
                <a:lnTo>
                  <a:pt x="340" y="59"/>
                </a:lnTo>
                <a:lnTo>
                  <a:pt x="330" y="73"/>
                </a:lnTo>
                <a:lnTo>
                  <a:pt x="289" y="73"/>
                </a:lnTo>
                <a:lnTo>
                  <a:pt x="277" y="87"/>
                </a:lnTo>
                <a:lnTo>
                  <a:pt x="265" y="104"/>
                </a:lnTo>
                <a:lnTo>
                  <a:pt x="244" y="114"/>
                </a:lnTo>
                <a:lnTo>
                  <a:pt x="236" y="132"/>
                </a:lnTo>
                <a:lnTo>
                  <a:pt x="242" y="157"/>
                </a:lnTo>
                <a:lnTo>
                  <a:pt x="279" y="163"/>
                </a:lnTo>
                <a:lnTo>
                  <a:pt x="267" y="185"/>
                </a:lnTo>
                <a:lnTo>
                  <a:pt x="250" y="189"/>
                </a:lnTo>
                <a:lnTo>
                  <a:pt x="236" y="193"/>
                </a:lnTo>
                <a:lnTo>
                  <a:pt x="208" y="218"/>
                </a:lnTo>
                <a:lnTo>
                  <a:pt x="202" y="271"/>
                </a:lnTo>
                <a:lnTo>
                  <a:pt x="193" y="293"/>
                </a:lnTo>
                <a:lnTo>
                  <a:pt x="189" y="318"/>
                </a:lnTo>
                <a:lnTo>
                  <a:pt x="200" y="340"/>
                </a:lnTo>
                <a:lnTo>
                  <a:pt x="210" y="358"/>
                </a:lnTo>
                <a:lnTo>
                  <a:pt x="196" y="360"/>
                </a:lnTo>
                <a:lnTo>
                  <a:pt x="181" y="344"/>
                </a:lnTo>
                <a:lnTo>
                  <a:pt x="161" y="344"/>
                </a:lnTo>
                <a:lnTo>
                  <a:pt x="143" y="358"/>
                </a:lnTo>
                <a:lnTo>
                  <a:pt x="120" y="369"/>
                </a:lnTo>
                <a:lnTo>
                  <a:pt x="120" y="385"/>
                </a:lnTo>
                <a:lnTo>
                  <a:pt x="114" y="403"/>
                </a:lnTo>
                <a:lnTo>
                  <a:pt x="98" y="399"/>
                </a:lnTo>
                <a:lnTo>
                  <a:pt x="86" y="411"/>
                </a:lnTo>
                <a:lnTo>
                  <a:pt x="67" y="409"/>
                </a:lnTo>
                <a:lnTo>
                  <a:pt x="39" y="409"/>
                </a:lnTo>
                <a:lnTo>
                  <a:pt x="12" y="421"/>
                </a:lnTo>
                <a:lnTo>
                  <a:pt x="0" y="419"/>
                </a:lnTo>
                <a:lnTo>
                  <a:pt x="16" y="464"/>
                </a:lnTo>
                <a:lnTo>
                  <a:pt x="29" y="523"/>
                </a:lnTo>
                <a:lnTo>
                  <a:pt x="49" y="542"/>
                </a:lnTo>
                <a:lnTo>
                  <a:pt x="55" y="599"/>
                </a:lnTo>
                <a:lnTo>
                  <a:pt x="45" y="639"/>
                </a:lnTo>
                <a:lnTo>
                  <a:pt x="20" y="678"/>
                </a:lnTo>
                <a:lnTo>
                  <a:pt x="8" y="696"/>
                </a:lnTo>
                <a:lnTo>
                  <a:pt x="18" y="713"/>
                </a:lnTo>
                <a:lnTo>
                  <a:pt x="33" y="733"/>
                </a:lnTo>
                <a:lnTo>
                  <a:pt x="45" y="758"/>
                </a:lnTo>
                <a:lnTo>
                  <a:pt x="45" y="790"/>
                </a:lnTo>
                <a:close/>
              </a:path>
            </a:pathLst>
          </a:custGeom>
          <a:solidFill>
            <a:srgbClr val="FFFFFF"/>
          </a:solidFill>
          <a:ln w="9525">
            <a:solidFill>
              <a:srgbClr val="000000"/>
            </a:solidFill>
            <a:prstDash val="solid"/>
            <a:round/>
            <a:headEnd/>
            <a:tailEnd/>
          </a:ln>
        </p:spPr>
        <p:txBody>
          <a:bodyPr/>
          <a:lstStyle/>
          <a:p>
            <a:endParaRPr lang="cs-CZ"/>
          </a:p>
        </p:txBody>
      </p:sp>
      <p:sp>
        <p:nvSpPr>
          <p:cNvPr id="386" name="Freeform 394"/>
          <p:cNvSpPr>
            <a:spLocks/>
          </p:cNvSpPr>
          <p:nvPr/>
        </p:nvSpPr>
        <p:spPr bwMode="auto">
          <a:xfrm>
            <a:off x="4992688" y="4323928"/>
            <a:ext cx="333375" cy="377825"/>
          </a:xfrm>
          <a:custGeom>
            <a:avLst/>
            <a:gdLst>
              <a:gd name="T0" fmla="*/ 0 w 421"/>
              <a:gd name="T1" fmla="*/ 45 h 475"/>
              <a:gd name="T2" fmla="*/ 71 w 421"/>
              <a:gd name="T3" fmla="*/ 84 h 475"/>
              <a:gd name="T4" fmla="*/ 96 w 421"/>
              <a:gd name="T5" fmla="*/ 110 h 475"/>
              <a:gd name="T6" fmla="*/ 108 w 421"/>
              <a:gd name="T7" fmla="*/ 145 h 475"/>
              <a:gd name="T8" fmla="*/ 153 w 421"/>
              <a:gd name="T9" fmla="*/ 206 h 475"/>
              <a:gd name="T10" fmla="*/ 199 w 421"/>
              <a:gd name="T11" fmla="*/ 251 h 475"/>
              <a:gd name="T12" fmla="*/ 216 w 421"/>
              <a:gd name="T13" fmla="*/ 283 h 475"/>
              <a:gd name="T14" fmla="*/ 238 w 421"/>
              <a:gd name="T15" fmla="*/ 365 h 475"/>
              <a:gd name="T16" fmla="*/ 248 w 421"/>
              <a:gd name="T17" fmla="*/ 461 h 475"/>
              <a:gd name="T18" fmla="*/ 277 w 421"/>
              <a:gd name="T19" fmla="*/ 475 h 475"/>
              <a:gd name="T20" fmla="*/ 275 w 421"/>
              <a:gd name="T21" fmla="*/ 430 h 475"/>
              <a:gd name="T22" fmla="*/ 277 w 421"/>
              <a:gd name="T23" fmla="*/ 410 h 475"/>
              <a:gd name="T24" fmla="*/ 301 w 421"/>
              <a:gd name="T25" fmla="*/ 395 h 475"/>
              <a:gd name="T26" fmla="*/ 311 w 421"/>
              <a:gd name="T27" fmla="*/ 369 h 475"/>
              <a:gd name="T28" fmla="*/ 318 w 421"/>
              <a:gd name="T29" fmla="*/ 355 h 475"/>
              <a:gd name="T30" fmla="*/ 315 w 421"/>
              <a:gd name="T31" fmla="*/ 289 h 475"/>
              <a:gd name="T32" fmla="*/ 338 w 421"/>
              <a:gd name="T33" fmla="*/ 302 h 475"/>
              <a:gd name="T34" fmla="*/ 352 w 421"/>
              <a:gd name="T35" fmla="*/ 294 h 475"/>
              <a:gd name="T36" fmla="*/ 385 w 421"/>
              <a:gd name="T37" fmla="*/ 289 h 475"/>
              <a:gd name="T38" fmla="*/ 409 w 421"/>
              <a:gd name="T39" fmla="*/ 291 h 475"/>
              <a:gd name="T40" fmla="*/ 419 w 421"/>
              <a:gd name="T41" fmla="*/ 275 h 475"/>
              <a:gd name="T42" fmla="*/ 421 w 421"/>
              <a:gd name="T43" fmla="*/ 255 h 475"/>
              <a:gd name="T44" fmla="*/ 407 w 421"/>
              <a:gd name="T45" fmla="*/ 241 h 475"/>
              <a:gd name="T46" fmla="*/ 403 w 421"/>
              <a:gd name="T47" fmla="*/ 214 h 475"/>
              <a:gd name="T48" fmla="*/ 381 w 421"/>
              <a:gd name="T49" fmla="*/ 194 h 475"/>
              <a:gd name="T50" fmla="*/ 360 w 421"/>
              <a:gd name="T51" fmla="*/ 196 h 475"/>
              <a:gd name="T52" fmla="*/ 324 w 421"/>
              <a:gd name="T53" fmla="*/ 137 h 475"/>
              <a:gd name="T54" fmla="*/ 301 w 421"/>
              <a:gd name="T55" fmla="*/ 104 h 475"/>
              <a:gd name="T56" fmla="*/ 289 w 421"/>
              <a:gd name="T57" fmla="*/ 53 h 475"/>
              <a:gd name="T58" fmla="*/ 269 w 421"/>
              <a:gd name="T59" fmla="*/ 51 h 475"/>
              <a:gd name="T60" fmla="*/ 254 w 421"/>
              <a:gd name="T61" fmla="*/ 37 h 475"/>
              <a:gd name="T62" fmla="*/ 236 w 421"/>
              <a:gd name="T63" fmla="*/ 25 h 475"/>
              <a:gd name="T64" fmla="*/ 210 w 421"/>
              <a:gd name="T65" fmla="*/ 29 h 475"/>
              <a:gd name="T66" fmla="*/ 177 w 421"/>
              <a:gd name="T67" fmla="*/ 39 h 475"/>
              <a:gd name="T68" fmla="*/ 140 w 421"/>
              <a:gd name="T69" fmla="*/ 31 h 475"/>
              <a:gd name="T70" fmla="*/ 104 w 421"/>
              <a:gd name="T71" fmla="*/ 6 h 475"/>
              <a:gd name="T72" fmla="*/ 77 w 421"/>
              <a:gd name="T73" fmla="*/ 0 h 475"/>
              <a:gd name="T74" fmla="*/ 45 w 421"/>
              <a:gd name="T75" fmla="*/ 17 h 475"/>
              <a:gd name="T76" fmla="*/ 24 w 421"/>
              <a:gd name="T77" fmla="*/ 19 h 475"/>
              <a:gd name="T78" fmla="*/ 6 w 421"/>
              <a:gd name="T79" fmla="*/ 29 h 475"/>
              <a:gd name="T80" fmla="*/ 0 w 421"/>
              <a:gd name="T81" fmla="*/ 45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1" h="475">
                <a:moveTo>
                  <a:pt x="0" y="45"/>
                </a:moveTo>
                <a:lnTo>
                  <a:pt x="71" y="84"/>
                </a:lnTo>
                <a:lnTo>
                  <a:pt x="96" y="110"/>
                </a:lnTo>
                <a:lnTo>
                  <a:pt x="108" y="145"/>
                </a:lnTo>
                <a:lnTo>
                  <a:pt x="153" y="206"/>
                </a:lnTo>
                <a:lnTo>
                  <a:pt x="199" y="251"/>
                </a:lnTo>
                <a:lnTo>
                  <a:pt x="216" y="283"/>
                </a:lnTo>
                <a:lnTo>
                  <a:pt x="238" y="365"/>
                </a:lnTo>
                <a:lnTo>
                  <a:pt x="248" y="461"/>
                </a:lnTo>
                <a:lnTo>
                  <a:pt x="277" y="475"/>
                </a:lnTo>
                <a:lnTo>
                  <a:pt x="275" y="430"/>
                </a:lnTo>
                <a:lnTo>
                  <a:pt x="277" y="410"/>
                </a:lnTo>
                <a:lnTo>
                  <a:pt x="301" y="395"/>
                </a:lnTo>
                <a:lnTo>
                  <a:pt x="311" y="369"/>
                </a:lnTo>
                <a:lnTo>
                  <a:pt x="318" y="355"/>
                </a:lnTo>
                <a:lnTo>
                  <a:pt x="315" y="289"/>
                </a:lnTo>
                <a:lnTo>
                  <a:pt x="338" y="302"/>
                </a:lnTo>
                <a:lnTo>
                  <a:pt x="352" y="294"/>
                </a:lnTo>
                <a:lnTo>
                  <a:pt x="385" y="289"/>
                </a:lnTo>
                <a:lnTo>
                  <a:pt x="409" y="291"/>
                </a:lnTo>
                <a:lnTo>
                  <a:pt x="419" y="275"/>
                </a:lnTo>
                <a:lnTo>
                  <a:pt x="421" y="255"/>
                </a:lnTo>
                <a:lnTo>
                  <a:pt x="407" y="241"/>
                </a:lnTo>
                <a:lnTo>
                  <a:pt x="403" y="214"/>
                </a:lnTo>
                <a:lnTo>
                  <a:pt x="381" y="194"/>
                </a:lnTo>
                <a:lnTo>
                  <a:pt x="360" y="196"/>
                </a:lnTo>
                <a:lnTo>
                  <a:pt x="324" y="137"/>
                </a:lnTo>
                <a:lnTo>
                  <a:pt x="301" y="104"/>
                </a:lnTo>
                <a:lnTo>
                  <a:pt x="289" y="53"/>
                </a:lnTo>
                <a:lnTo>
                  <a:pt x="269" y="51"/>
                </a:lnTo>
                <a:lnTo>
                  <a:pt x="254" y="37"/>
                </a:lnTo>
                <a:lnTo>
                  <a:pt x="236" y="25"/>
                </a:lnTo>
                <a:lnTo>
                  <a:pt x="210" y="29"/>
                </a:lnTo>
                <a:lnTo>
                  <a:pt x="177" y="39"/>
                </a:lnTo>
                <a:lnTo>
                  <a:pt x="140" y="31"/>
                </a:lnTo>
                <a:lnTo>
                  <a:pt x="104" y="6"/>
                </a:lnTo>
                <a:lnTo>
                  <a:pt x="77" y="0"/>
                </a:lnTo>
                <a:lnTo>
                  <a:pt x="45" y="17"/>
                </a:lnTo>
                <a:lnTo>
                  <a:pt x="24" y="19"/>
                </a:lnTo>
                <a:lnTo>
                  <a:pt x="6" y="29"/>
                </a:lnTo>
                <a:lnTo>
                  <a:pt x="0" y="45"/>
                </a:lnTo>
                <a:close/>
              </a:path>
            </a:pathLst>
          </a:custGeom>
          <a:solidFill>
            <a:srgbClr val="FFFFFF"/>
          </a:solidFill>
          <a:ln w="9525">
            <a:solidFill>
              <a:srgbClr val="000000"/>
            </a:solidFill>
            <a:prstDash val="solid"/>
            <a:round/>
            <a:headEnd/>
            <a:tailEnd/>
          </a:ln>
        </p:spPr>
        <p:txBody>
          <a:bodyPr/>
          <a:lstStyle/>
          <a:p>
            <a:endParaRPr lang="cs-CZ"/>
          </a:p>
        </p:txBody>
      </p:sp>
      <p:sp>
        <p:nvSpPr>
          <p:cNvPr id="387" name="Freeform 395"/>
          <p:cNvSpPr>
            <a:spLocks/>
          </p:cNvSpPr>
          <p:nvPr/>
        </p:nvSpPr>
        <p:spPr bwMode="auto">
          <a:xfrm>
            <a:off x="4471988" y="4360440"/>
            <a:ext cx="858837" cy="612775"/>
          </a:xfrm>
          <a:custGeom>
            <a:avLst/>
            <a:gdLst>
              <a:gd name="T0" fmla="*/ 39 w 1083"/>
              <a:gd name="T1" fmla="*/ 405 h 770"/>
              <a:gd name="T2" fmla="*/ 84 w 1083"/>
              <a:gd name="T3" fmla="*/ 389 h 770"/>
              <a:gd name="T4" fmla="*/ 108 w 1083"/>
              <a:gd name="T5" fmla="*/ 344 h 770"/>
              <a:gd name="T6" fmla="*/ 128 w 1083"/>
              <a:gd name="T7" fmla="*/ 293 h 770"/>
              <a:gd name="T8" fmla="*/ 147 w 1083"/>
              <a:gd name="T9" fmla="*/ 251 h 770"/>
              <a:gd name="T10" fmla="*/ 163 w 1083"/>
              <a:gd name="T11" fmla="*/ 202 h 770"/>
              <a:gd name="T12" fmla="*/ 181 w 1083"/>
              <a:gd name="T13" fmla="*/ 167 h 770"/>
              <a:gd name="T14" fmla="*/ 226 w 1083"/>
              <a:gd name="T15" fmla="*/ 139 h 770"/>
              <a:gd name="T16" fmla="*/ 253 w 1083"/>
              <a:gd name="T17" fmla="*/ 116 h 770"/>
              <a:gd name="T18" fmla="*/ 393 w 1083"/>
              <a:gd name="T19" fmla="*/ 96 h 770"/>
              <a:gd name="T20" fmla="*/ 424 w 1083"/>
              <a:gd name="T21" fmla="*/ 82 h 770"/>
              <a:gd name="T22" fmla="*/ 479 w 1083"/>
              <a:gd name="T23" fmla="*/ 96 h 770"/>
              <a:gd name="T24" fmla="*/ 526 w 1083"/>
              <a:gd name="T25" fmla="*/ 80 h 770"/>
              <a:gd name="T26" fmla="*/ 583 w 1083"/>
              <a:gd name="T27" fmla="*/ 61 h 770"/>
              <a:gd name="T28" fmla="*/ 707 w 1083"/>
              <a:gd name="T29" fmla="*/ 25 h 770"/>
              <a:gd name="T30" fmla="*/ 754 w 1083"/>
              <a:gd name="T31" fmla="*/ 75 h 770"/>
              <a:gd name="T32" fmla="*/ 792 w 1083"/>
              <a:gd name="T33" fmla="*/ 141 h 770"/>
              <a:gd name="T34" fmla="*/ 880 w 1083"/>
              <a:gd name="T35" fmla="*/ 271 h 770"/>
              <a:gd name="T36" fmla="*/ 894 w 1083"/>
              <a:gd name="T37" fmla="*/ 377 h 770"/>
              <a:gd name="T38" fmla="*/ 916 w 1083"/>
              <a:gd name="T39" fmla="*/ 424 h 770"/>
              <a:gd name="T40" fmla="*/ 963 w 1083"/>
              <a:gd name="T41" fmla="*/ 444 h 770"/>
              <a:gd name="T42" fmla="*/ 1033 w 1083"/>
              <a:gd name="T43" fmla="*/ 411 h 770"/>
              <a:gd name="T44" fmla="*/ 1077 w 1083"/>
              <a:gd name="T45" fmla="*/ 424 h 770"/>
              <a:gd name="T46" fmla="*/ 1081 w 1083"/>
              <a:gd name="T47" fmla="*/ 501 h 770"/>
              <a:gd name="T48" fmla="*/ 1037 w 1083"/>
              <a:gd name="T49" fmla="*/ 528 h 770"/>
              <a:gd name="T50" fmla="*/ 1006 w 1083"/>
              <a:gd name="T51" fmla="*/ 564 h 770"/>
              <a:gd name="T52" fmla="*/ 1020 w 1083"/>
              <a:gd name="T53" fmla="*/ 499 h 770"/>
              <a:gd name="T54" fmla="*/ 1000 w 1083"/>
              <a:gd name="T55" fmla="*/ 528 h 770"/>
              <a:gd name="T56" fmla="*/ 988 w 1083"/>
              <a:gd name="T57" fmla="*/ 581 h 770"/>
              <a:gd name="T58" fmla="*/ 990 w 1083"/>
              <a:gd name="T59" fmla="*/ 640 h 770"/>
              <a:gd name="T60" fmla="*/ 1000 w 1083"/>
              <a:gd name="T61" fmla="*/ 688 h 770"/>
              <a:gd name="T62" fmla="*/ 917 w 1083"/>
              <a:gd name="T63" fmla="*/ 674 h 770"/>
              <a:gd name="T64" fmla="*/ 829 w 1083"/>
              <a:gd name="T65" fmla="*/ 658 h 770"/>
              <a:gd name="T66" fmla="*/ 723 w 1083"/>
              <a:gd name="T67" fmla="*/ 705 h 770"/>
              <a:gd name="T68" fmla="*/ 633 w 1083"/>
              <a:gd name="T69" fmla="*/ 770 h 770"/>
              <a:gd name="T70" fmla="*/ 336 w 1083"/>
              <a:gd name="T71" fmla="*/ 766 h 770"/>
              <a:gd name="T72" fmla="*/ 330 w 1083"/>
              <a:gd name="T73" fmla="*/ 723 h 770"/>
              <a:gd name="T74" fmla="*/ 289 w 1083"/>
              <a:gd name="T75" fmla="*/ 723 h 770"/>
              <a:gd name="T76" fmla="*/ 281 w 1083"/>
              <a:gd name="T77" fmla="*/ 691 h 770"/>
              <a:gd name="T78" fmla="*/ 293 w 1083"/>
              <a:gd name="T79" fmla="*/ 656 h 770"/>
              <a:gd name="T80" fmla="*/ 240 w 1083"/>
              <a:gd name="T81" fmla="*/ 648 h 770"/>
              <a:gd name="T82" fmla="*/ 200 w 1083"/>
              <a:gd name="T83" fmla="*/ 640 h 770"/>
              <a:gd name="T84" fmla="*/ 139 w 1083"/>
              <a:gd name="T85" fmla="*/ 560 h 770"/>
              <a:gd name="T86" fmla="*/ 82 w 1083"/>
              <a:gd name="T87" fmla="*/ 515 h 770"/>
              <a:gd name="T88" fmla="*/ 33 w 1083"/>
              <a:gd name="T89" fmla="*/ 438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3" h="770">
                <a:moveTo>
                  <a:pt x="0" y="428"/>
                </a:moveTo>
                <a:lnTo>
                  <a:pt x="39" y="405"/>
                </a:lnTo>
                <a:lnTo>
                  <a:pt x="67" y="395"/>
                </a:lnTo>
                <a:lnTo>
                  <a:pt x="84" y="389"/>
                </a:lnTo>
                <a:lnTo>
                  <a:pt x="98" y="375"/>
                </a:lnTo>
                <a:lnTo>
                  <a:pt x="108" y="344"/>
                </a:lnTo>
                <a:lnTo>
                  <a:pt x="124" y="326"/>
                </a:lnTo>
                <a:lnTo>
                  <a:pt x="128" y="293"/>
                </a:lnTo>
                <a:lnTo>
                  <a:pt x="149" y="275"/>
                </a:lnTo>
                <a:lnTo>
                  <a:pt x="147" y="251"/>
                </a:lnTo>
                <a:lnTo>
                  <a:pt x="169" y="234"/>
                </a:lnTo>
                <a:lnTo>
                  <a:pt x="163" y="202"/>
                </a:lnTo>
                <a:lnTo>
                  <a:pt x="179" y="204"/>
                </a:lnTo>
                <a:lnTo>
                  <a:pt x="181" y="167"/>
                </a:lnTo>
                <a:lnTo>
                  <a:pt x="198" y="145"/>
                </a:lnTo>
                <a:lnTo>
                  <a:pt x="226" y="139"/>
                </a:lnTo>
                <a:lnTo>
                  <a:pt x="242" y="139"/>
                </a:lnTo>
                <a:lnTo>
                  <a:pt x="253" y="116"/>
                </a:lnTo>
                <a:lnTo>
                  <a:pt x="255" y="96"/>
                </a:lnTo>
                <a:lnTo>
                  <a:pt x="393" y="96"/>
                </a:lnTo>
                <a:lnTo>
                  <a:pt x="411" y="94"/>
                </a:lnTo>
                <a:lnTo>
                  <a:pt x="424" y="82"/>
                </a:lnTo>
                <a:lnTo>
                  <a:pt x="458" y="90"/>
                </a:lnTo>
                <a:lnTo>
                  <a:pt x="479" y="96"/>
                </a:lnTo>
                <a:lnTo>
                  <a:pt x="493" y="102"/>
                </a:lnTo>
                <a:lnTo>
                  <a:pt x="526" y="80"/>
                </a:lnTo>
                <a:lnTo>
                  <a:pt x="552" y="65"/>
                </a:lnTo>
                <a:lnTo>
                  <a:pt x="583" y="61"/>
                </a:lnTo>
                <a:lnTo>
                  <a:pt x="656" y="0"/>
                </a:lnTo>
                <a:lnTo>
                  <a:pt x="707" y="25"/>
                </a:lnTo>
                <a:lnTo>
                  <a:pt x="741" y="53"/>
                </a:lnTo>
                <a:lnTo>
                  <a:pt x="754" y="75"/>
                </a:lnTo>
                <a:lnTo>
                  <a:pt x="762" y="98"/>
                </a:lnTo>
                <a:lnTo>
                  <a:pt x="792" y="141"/>
                </a:lnTo>
                <a:lnTo>
                  <a:pt x="857" y="212"/>
                </a:lnTo>
                <a:lnTo>
                  <a:pt x="880" y="271"/>
                </a:lnTo>
                <a:lnTo>
                  <a:pt x="892" y="332"/>
                </a:lnTo>
                <a:lnTo>
                  <a:pt x="894" y="377"/>
                </a:lnTo>
                <a:lnTo>
                  <a:pt x="904" y="416"/>
                </a:lnTo>
                <a:lnTo>
                  <a:pt x="916" y="424"/>
                </a:lnTo>
                <a:lnTo>
                  <a:pt x="943" y="440"/>
                </a:lnTo>
                <a:lnTo>
                  <a:pt x="963" y="444"/>
                </a:lnTo>
                <a:lnTo>
                  <a:pt x="1000" y="430"/>
                </a:lnTo>
                <a:lnTo>
                  <a:pt x="1033" y="411"/>
                </a:lnTo>
                <a:lnTo>
                  <a:pt x="1063" y="405"/>
                </a:lnTo>
                <a:lnTo>
                  <a:pt x="1077" y="424"/>
                </a:lnTo>
                <a:lnTo>
                  <a:pt x="1083" y="464"/>
                </a:lnTo>
                <a:lnTo>
                  <a:pt x="1081" y="501"/>
                </a:lnTo>
                <a:lnTo>
                  <a:pt x="1057" y="521"/>
                </a:lnTo>
                <a:lnTo>
                  <a:pt x="1037" y="528"/>
                </a:lnTo>
                <a:lnTo>
                  <a:pt x="1020" y="558"/>
                </a:lnTo>
                <a:lnTo>
                  <a:pt x="1006" y="564"/>
                </a:lnTo>
                <a:lnTo>
                  <a:pt x="1020" y="528"/>
                </a:lnTo>
                <a:lnTo>
                  <a:pt x="1020" y="499"/>
                </a:lnTo>
                <a:lnTo>
                  <a:pt x="992" y="491"/>
                </a:lnTo>
                <a:lnTo>
                  <a:pt x="1000" y="528"/>
                </a:lnTo>
                <a:lnTo>
                  <a:pt x="1002" y="556"/>
                </a:lnTo>
                <a:lnTo>
                  <a:pt x="988" y="581"/>
                </a:lnTo>
                <a:lnTo>
                  <a:pt x="992" y="611"/>
                </a:lnTo>
                <a:lnTo>
                  <a:pt x="990" y="640"/>
                </a:lnTo>
                <a:lnTo>
                  <a:pt x="998" y="662"/>
                </a:lnTo>
                <a:lnTo>
                  <a:pt x="1000" y="688"/>
                </a:lnTo>
                <a:lnTo>
                  <a:pt x="959" y="695"/>
                </a:lnTo>
                <a:lnTo>
                  <a:pt x="917" y="674"/>
                </a:lnTo>
                <a:lnTo>
                  <a:pt x="857" y="674"/>
                </a:lnTo>
                <a:lnTo>
                  <a:pt x="829" y="658"/>
                </a:lnTo>
                <a:lnTo>
                  <a:pt x="802" y="660"/>
                </a:lnTo>
                <a:lnTo>
                  <a:pt x="723" y="705"/>
                </a:lnTo>
                <a:lnTo>
                  <a:pt x="654" y="764"/>
                </a:lnTo>
                <a:lnTo>
                  <a:pt x="633" y="770"/>
                </a:lnTo>
                <a:lnTo>
                  <a:pt x="515" y="764"/>
                </a:lnTo>
                <a:lnTo>
                  <a:pt x="336" y="766"/>
                </a:lnTo>
                <a:lnTo>
                  <a:pt x="326" y="741"/>
                </a:lnTo>
                <a:lnTo>
                  <a:pt x="330" y="723"/>
                </a:lnTo>
                <a:lnTo>
                  <a:pt x="304" y="713"/>
                </a:lnTo>
                <a:lnTo>
                  <a:pt x="289" y="723"/>
                </a:lnTo>
                <a:lnTo>
                  <a:pt x="285" y="713"/>
                </a:lnTo>
                <a:lnTo>
                  <a:pt x="281" y="691"/>
                </a:lnTo>
                <a:lnTo>
                  <a:pt x="269" y="674"/>
                </a:lnTo>
                <a:lnTo>
                  <a:pt x="293" y="656"/>
                </a:lnTo>
                <a:lnTo>
                  <a:pt x="267" y="634"/>
                </a:lnTo>
                <a:lnTo>
                  <a:pt x="240" y="648"/>
                </a:lnTo>
                <a:lnTo>
                  <a:pt x="230" y="640"/>
                </a:lnTo>
                <a:lnTo>
                  <a:pt x="200" y="640"/>
                </a:lnTo>
                <a:lnTo>
                  <a:pt x="159" y="617"/>
                </a:lnTo>
                <a:lnTo>
                  <a:pt x="139" y="560"/>
                </a:lnTo>
                <a:lnTo>
                  <a:pt x="108" y="552"/>
                </a:lnTo>
                <a:lnTo>
                  <a:pt x="82" y="515"/>
                </a:lnTo>
                <a:lnTo>
                  <a:pt x="59" y="466"/>
                </a:lnTo>
                <a:lnTo>
                  <a:pt x="33" y="438"/>
                </a:lnTo>
                <a:lnTo>
                  <a:pt x="0" y="428"/>
                </a:lnTo>
                <a:close/>
              </a:path>
            </a:pathLst>
          </a:custGeom>
          <a:solidFill>
            <a:srgbClr val="D0D0D0"/>
          </a:solidFill>
          <a:ln w="9525">
            <a:solidFill>
              <a:srgbClr val="000000"/>
            </a:solidFill>
            <a:prstDash val="solid"/>
            <a:round/>
            <a:headEnd/>
            <a:tailEnd/>
          </a:ln>
        </p:spPr>
        <p:txBody>
          <a:bodyPr/>
          <a:lstStyle/>
          <a:p>
            <a:endParaRPr lang="cs-CZ"/>
          </a:p>
        </p:txBody>
      </p:sp>
      <p:sp>
        <p:nvSpPr>
          <p:cNvPr id="388" name="Freeform 396"/>
          <p:cNvSpPr>
            <a:spLocks/>
          </p:cNvSpPr>
          <p:nvPr/>
        </p:nvSpPr>
        <p:spPr bwMode="auto">
          <a:xfrm>
            <a:off x="4692650" y="4884315"/>
            <a:ext cx="574675" cy="400050"/>
          </a:xfrm>
          <a:custGeom>
            <a:avLst/>
            <a:gdLst>
              <a:gd name="T0" fmla="*/ 134 w 723"/>
              <a:gd name="T1" fmla="*/ 505 h 505"/>
              <a:gd name="T2" fmla="*/ 196 w 723"/>
              <a:gd name="T3" fmla="*/ 487 h 505"/>
              <a:gd name="T4" fmla="*/ 242 w 723"/>
              <a:gd name="T5" fmla="*/ 474 h 505"/>
              <a:gd name="T6" fmla="*/ 306 w 723"/>
              <a:gd name="T7" fmla="*/ 452 h 505"/>
              <a:gd name="T8" fmla="*/ 356 w 723"/>
              <a:gd name="T9" fmla="*/ 477 h 505"/>
              <a:gd name="T10" fmla="*/ 413 w 723"/>
              <a:gd name="T11" fmla="*/ 485 h 505"/>
              <a:gd name="T12" fmla="*/ 481 w 723"/>
              <a:gd name="T13" fmla="*/ 432 h 505"/>
              <a:gd name="T14" fmla="*/ 493 w 723"/>
              <a:gd name="T15" fmla="*/ 387 h 505"/>
              <a:gd name="T16" fmla="*/ 527 w 723"/>
              <a:gd name="T17" fmla="*/ 371 h 505"/>
              <a:gd name="T18" fmla="*/ 582 w 723"/>
              <a:gd name="T19" fmla="*/ 344 h 505"/>
              <a:gd name="T20" fmla="*/ 625 w 723"/>
              <a:gd name="T21" fmla="*/ 352 h 505"/>
              <a:gd name="T22" fmla="*/ 678 w 723"/>
              <a:gd name="T23" fmla="*/ 344 h 505"/>
              <a:gd name="T24" fmla="*/ 694 w 723"/>
              <a:gd name="T25" fmla="*/ 324 h 505"/>
              <a:gd name="T26" fmla="*/ 652 w 723"/>
              <a:gd name="T27" fmla="*/ 277 h 505"/>
              <a:gd name="T28" fmla="*/ 652 w 723"/>
              <a:gd name="T29" fmla="*/ 224 h 505"/>
              <a:gd name="T30" fmla="*/ 662 w 723"/>
              <a:gd name="T31" fmla="*/ 161 h 505"/>
              <a:gd name="T32" fmla="*/ 676 w 723"/>
              <a:gd name="T33" fmla="*/ 118 h 505"/>
              <a:gd name="T34" fmla="*/ 723 w 723"/>
              <a:gd name="T35" fmla="*/ 85 h 505"/>
              <a:gd name="T36" fmla="*/ 682 w 723"/>
              <a:gd name="T37" fmla="*/ 37 h 505"/>
              <a:gd name="T38" fmla="*/ 644 w 723"/>
              <a:gd name="T39" fmla="*/ 18 h 505"/>
              <a:gd name="T40" fmla="*/ 560 w 723"/>
              <a:gd name="T41" fmla="*/ 2 h 505"/>
              <a:gd name="T42" fmla="*/ 456 w 723"/>
              <a:gd name="T43" fmla="*/ 39 h 505"/>
              <a:gd name="T44" fmla="*/ 352 w 723"/>
              <a:gd name="T45" fmla="*/ 110 h 505"/>
              <a:gd name="T46" fmla="*/ 222 w 723"/>
              <a:gd name="T47" fmla="*/ 108 h 505"/>
              <a:gd name="T48" fmla="*/ 53 w 723"/>
              <a:gd name="T49" fmla="*/ 88 h 505"/>
              <a:gd name="T50" fmla="*/ 31 w 723"/>
              <a:gd name="T51" fmla="*/ 59 h 505"/>
              <a:gd name="T52" fmla="*/ 0 w 723"/>
              <a:gd name="T53" fmla="*/ 83 h 505"/>
              <a:gd name="T54" fmla="*/ 41 w 723"/>
              <a:gd name="T55" fmla="*/ 214 h 505"/>
              <a:gd name="T56" fmla="*/ 18 w 723"/>
              <a:gd name="T57" fmla="*/ 309 h 505"/>
              <a:gd name="T58" fmla="*/ 49 w 723"/>
              <a:gd name="T59" fmla="*/ 381 h 505"/>
              <a:gd name="T60" fmla="*/ 82 w 723"/>
              <a:gd name="T61" fmla="*/ 417 h 505"/>
              <a:gd name="T62" fmla="*/ 100 w 723"/>
              <a:gd name="T63" fmla="*/ 46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3" h="505">
                <a:moveTo>
                  <a:pt x="100" y="505"/>
                </a:moveTo>
                <a:lnTo>
                  <a:pt x="134" y="505"/>
                </a:lnTo>
                <a:lnTo>
                  <a:pt x="159" y="491"/>
                </a:lnTo>
                <a:lnTo>
                  <a:pt x="196" y="487"/>
                </a:lnTo>
                <a:lnTo>
                  <a:pt x="230" y="485"/>
                </a:lnTo>
                <a:lnTo>
                  <a:pt x="242" y="474"/>
                </a:lnTo>
                <a:lnTo>
                  <a:pt x="271" y="466"/>
                </a:lnTo>
                <a:lnTo>
                  <a:pt x="306" y="452"/>
                </a:lnTo>
                <a:lnTo>
                  <a:pt x="328" y="472"/>
                </a:lnTo>
                <a:lnTo>
                  <a:pt x="356" y="477"/>
                </a:lnTo>
                <a:lnTo>
                  <a:pt x="377" y="485"/>
                </a:lnTo>
                <a:lnTo>
                  <a:pt x="413" y="485"/>
                </a:lnTo>
                <a:lnTo>
                  <a:pt x="462" y="468"/>
                </a:lnTo>
                <a:lnTo>
                  <a:pt x="481" y="432"/>
                </a:lnTo>
                <a:lnTo>
                  <a:pt x="475" y="399"/>
                </a:lnTo>
                <a:lnTo>
                  <a:pt x="493" y="387"/>
                </a:lnTo>
                <a:lnTo>
                  <a:pt x="505" y="389"/>
                </a:lnTo>
                <a:lnTo>
                  <a:pt x="527" y="371"/>
                </a:lnTo>
                <a:lnTo>
                  <a:pt x="550" y="364"/>
                </a:lnTo>
                <a:lnTo>
                  <a:pt x="582" y="344"/>
                </a:lnTo>
                <a:lnTo>
                  <a:pt x="597" y="338"/>
                </a:lnTo>
                <a:lnTo>
                  <a:pt x="625" y="352"/>
                </a:lnTo>
                <a:lnTo>
                  <a:pt x="652" y="350"/>
                </a:lnTo>
                <a:lnTo>
                  <a:pt x="678" y="344"/>
                </a:lnTo>
                <a:lnTo>
                  <a:pt x="695" y="344"/>
                </a:lnTo>
                <a:lnTo>
                  <a:pt x="694" y="324"/>
                </a:lnTo>
                <a:lnTo>
                  <a:pt x="672" y="305"/>
                </a:lnTo>
                <a:lnTo>
                  <a:pt x="652" y="277"/>
                </a:lnTo>
                <a:lnTo>
                  <a:pt x="631" y="254"/>
                </a:lnTo>
                <a:lnTo>
                  <a:pt x="652" y="224"/>
                </a:lnTo>
                <a:lnTo>
                  <a:pt x="672" y="204"/>
                </a:lnTo>
                <a:lnTo>
                  <a:pt x="662" y="161"/>
                </a:lnTo>
                <a:lnTo>
                  <a:pt x="670" y="138"/>
                </a:lnTo>
                <a:lnTo>
                  <a:pt x="676" y="118"/>
                </a:lnTo>
                <a:lnTo>
                  <a:pt x="695" y="102"/>
                </a:lnTo>
                <a:lnTo>
                  <a:pt x="723" y="85"/>
                </a:lnTo>
                <a:lnTo>
                  <a:pt x="721" y="30"/>
                </a:lnTo>
                <a:lnTo>
                  <a:pt x="682" y="37"/>
                </a:lnTo>
                <a:lnTo>
                  <a:pt x="654" y="26"/>
                </a:lnTo>
                <a:lnTo>
                  <a:pt x="644" y="18"/>
                </a:lnTo>
                <a:lnTo>
                  <a:pt x="578" y="12"/>
                </a:lnTo>
                <a:lnTo>
                  <a:pt x="560" y="2"/>
                </a:lnTo>
                <a:lnTo>
                  <a:pt x="523" y="0"/>
                </a:lnTo>
                <a:lnTo>
                  <a:pt x="456" y="39"/>
                </a:lnTo>
                <a:lnTo>
                  <a:pt x="377" y="100"/>
                </a:lnTo>
                <a:lnTo>
                  <a:pt x="352" y="110"/>
                </a:lnTo>
                <a:lnTo>
                  <a:pt x="265" y="104"/>
                </a:lnTo>
                <a:lnTo>
                  <a:pt x="222" y="108"/>
                </a:lnTo>
                <a:lnTo>
                  <a:pt x="65" y="108"/>
                </a:lnTo>
                <a:lnTo>
                  <a:pt x="53" y="88"/>
                </a:lnTo>
                <a:lnTo>
                  <a:pt x="57" y="65"/>
                </a:lnTo>
                <a:lnTo>
                  <a:pt x="31" y="59"/>
                </a:lnTo>
                <a:lnTo>
                  <a:pt x="10" y="73"/>
                </a:lnTo>
                <a:lnTo>
                  <a:pt x="0" y="83"/>
                </a:lnTo>
                <a:lnTo>
                  <a:pt x="0" y="155"/>
                </a:lnTo>
                <a:lnTo>
                  <a:pt x="41" y="214"/>
                </a:lnTo>
                <a:lnTo>
                  <a:pt x="61" y="240"/>
                </a:lnTo>
                <a:lnTo>
                  <a:pt x="18" y="309"/>
                </a:lnTo>
                <a:lnTo>
                  <a:pt x="20" y="366"/>
                </a:lnTo>
                <a:lnTo>
                  <a:pt x="49" y="381"/>
                </a:lnTo>
                <a:lnTo>
                  <a:pt x="69" y="395"/>
                </a:lnTo>
                <a:lnTo>
                  <a:pt x="82" y="417"/>
                </a:lnTo>
                <a:lnTo>
                  <a:pt x="94" y="446"/>
                </a:lnTo>
                <a:lnTo>
                  <a:pt x="100" y="466"/>
                </a:lnTo>
                <a:lnTo>
                  <a:pt x="100" y="505"/>
                </a:lnTo>
                <a:close/>
              </a:path>
            </a:pathLst>
          </a:custGeom>
          <a:solidFill>
            <a:srgbClr val="D0D0D0"/>
          </a:solidFill>
          <a:ln w="9525">
            <a:solidFill>
              <a:srgbClr val="000000"/>
            </a:solidFill>
            <a:prstDash val="solid"/>
            <a:round/>
            <a:headEnd/>
            <a:tailEnd/>
          </a:ln>
        </p:spPr>
        <p:txBody>
          <a:bodyPr/>
          <a:lstStyle/>
          <a:p>
            <a:endParaRPr lang="cs-CZ"/>
          </a:p>
        </p:txBody>
      </p:sp>
      <p:sp>
        <p:nvSpPr>
          <p:cNvPr id="389" name="Freeform 397"/>
          <p:cNvSpPr>
            <a:spLocks/>
          </p:cNvSpPr>
          <p:nvPr/>
        </p:nvSpPr>
        <p:spPr bwMode="auto">
          <a:xfrm>
            <a:off x="4538663" y="5171653"/>
            <a:ext cx="231775" cy="196850"/>
          </a:xfrm>
          <a:custGeom>
            <a:avLst/>
            <a:gdLst>
              <a:gd name="T0" fmla="*/ 4 w 291"/>
              <a:gd name="T1" fmla="*/ 55 h 247"/>
              <a:gd name="T2" fmla="*/ 30 w 291"/>
              <a:gd name="T3" fmla="*/ 55 h 247"/>
              <a:gd name="T4" fmla="*/ 32 w 291"/>
              <a:gd name="T5" fmla="*/ 29 h 247"/>
              <a:gd name="T6" fmla="*/ 57 w 291"/>
              <a:gd name="T7" fmla="*/ 13 h 247"/>
              <a:gd name="T8" fmla="*/ 85 w 291"/>
              <a:gd name="T9" fmla="*/ 23 h 247"/>
              <a:gd name="T10" fmla="*/ 105 w 291"/>
              <a:gd name="T11" fmla="*/ 9 h 247"/>
              <a:gd name="T12" fmla="*/ 134 w 291"/>
              <a:gd name="T13" fmla="*/ 11 h 247"/>
              <a:gd name="T14" fmla="*/ 156 w 291"/>
              <a:gd name="T15" fmla="*/ 3 h 247"/>
              <a:gd name="T16" fmla="*/ 207 w 291"/>
              <a:gd name="T17" fmla="*/ 0 h 247"/>
              <a:gd name="T18" fmla="*/ 238 w 291"/>
              <a:gd name="T19" fmla="*/ 17 h 247"/>
              <a:gd name="T20" fmla="*/ 266 w 291"/>
              <a:gd name="T21" fmla="*/ 45 h 247"/>
              <a:gd name="T22" fmla="*/ 281 w 291"/>
              <a:gd name="T23" fmla="*/ 76 h 247"/>
              <a:gd name="T24" fmla="*/ 291 w 291"/>
              <a:gd name="T25" fmla="*/ 113 h 247"/>
              <a:gd name="T26" fmla="*/ 291 w 291"/>
              <a:gd name="T27" fmla="*/ 141 h 247"/>
              <a:gd name="T28" fmla="*/ 275 w 291"/>
              <a:gd name="T29" fmla="*/ 155 h 247"/>
              <a:gd name="T30" fmla="*/ 248 w 291"/>
              <a:gd name="T31" fmla="*/ 182 h 247"/>
              <a:gd name="T32" fmla="*/ 201 w 291"/>
              <a:gd name="T33" fmla="*/ 184 h 247"/>
              <a:gd name="T34" fmla="*/ 146 w 291"/>
              <a:gd name="T35" fmla="*/ 222 h 247"/>
              <a:gd name="T36" fmla="*/ 128 w 291"/>
              <a:gd name="T37" fmla="*/ 233 h 247"/>
              <a:gd name="T38" fmla="*/ 91 w 291"/>
              <a:gd name="T39" fmla="*/ 235 h 247"/>
              <a:gd name="T40" fmla="*/ 71 w 291"/>
              <a:gd name="T41" fmla="*/ 247 h 247"/>
              <a:gd name="T42" fmla="*/ 46 w 291"/>
              <a:gd name="T43" fmla="*/ 235 h 247"/>
              <a:gd name="T44" fmla="*/ 10 w 291"/>
              <a:gd name="T45" fmla="*/ 190 h 247"/>
              <a:gd name="T46" fmla="*/ 0 w 291"/>
              <a:gd name="T47" fmla="*/ 141 h 247"/>
              <a:gd name="T48" fmla="*/ 0 w 291"/>
              <a:gd name="T49" fmla="*/ 94 h 247"/>
              <a:gd name="T50" fmla="*/ 4 w 291"/>
              <a:gd name="T51" fmla="*/ 55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1" h="247">
                <a:moveTo>
                  <a:pt x="4" y="55"/>
                </a:moveTo>
                <a:lnTo>
                  <a:pt x="30" y="55"/>
                </a:lnTo>
                <a:lnTo>
                  <a:pt x="32" y="29"/>
                </a:lnTo>
                <a:lnTo>
                  <a:pt x="57" y="13"/>
                </a:lnTo>
                <a:lnTo>
                  <a:pt x="85" y="23"/>
                </a:lnTo>
                <a:lnTo>
                  <a:pt x="105" y="9"/>
                </a:lnTo>
                <a:lnTo>
                  <a:pt x="134" y="11"/>
                </a:lnTo>
                <a:lnTo>
                  <a:pt x="156" y="3"/>
                </a:lnTo>
                <a:lnTo>
                  <a:pt x="207" y="0"/>
                </a:lnTo>
                <a:lnTo>
                  <a:pt x="238" y="17"/>
                </a:lnTo>
                <a:lnTo>
                  <a:pt x="266" y="45"/>
                </a:lnTo>
                <a:lnTo>
                  <a:pt x="281" y="76"/>
                </a:lnTo>
                <a:lnTo>
                  <a:pt x="291" y="113"/>
                </a:lnTo>
                <a:lnTo>
                  <a:pt x="291" y="141"/>
                </a:lnTo>
                <a:lnTo>
                  <a:pt x="275" y="155"/>
                </a:lnTo>
                <a:lnTo>
                  <a:pt x="248" y="182"/>
                </a:lnTo>
                <a:lnTo>
                  <a:pt x="201" y="184"/>
                </a:lnTo>
                <a:lnTo>
                  <a:pt x="146" y="222"/>
                </a:lnTo>
                <a:lnTo>
                  <a:pt x="128" y="233"/>
                </a:lnTo>
                <a:lnTo>
                  <a:pt x="91" y="235"/>
                </a:lnTo>
                <a:lnTo>
                  <a:pt x="71" y="247"/>
                </a:lnTo>
                <a:lnTo>
                  <a:pt x="46" y="235"/>
                </a:lnTo>
                <a:lnTo>
                  <a:pt x="10" y="190"/>
                </a:lnTo>
                <a:lnTo>
                  <a:pt x="0" y="141"/>
                </a:lnTo>
                <a:lnTo>
                  <a:pt x="0" y="94"/>
                </a:lnTo>
                <a:lnTo>
                  <a:pt x="4" y="55"/>
                </a:lnTo>
                <a:close/>
              </a:path>
            </a:pathLst>
          </a:custGeom>
          <a:solidFill>
            <a:srgbClr val="FA0000"/>
          </a:solidFill>
          <a:ln w="9525">
            <a:solidFill>
              <a:srgbClr val="000000"/>
            </a:solidFill>
            <a:prstDash val="solid"/>
            <a:round/>
            <a:headEnd/>
            <a:tailEnd/>
          </a:ln>
        </p:spPr>
        <p:txBody>
          <a:bodyPr/>
          <a:lstStyle/>
          <a:p>
            <a:endParaRPr lang="cs-CZ"/>
          </a:p>
        </p:txBody>
      </p:sp>
      <p:sp>
        <p:nvSpPr>
          <p:cNvPr id="390" name="Freeform 398"/>
          <p:cNvSpPr>
            <a:spLocks/>
          </p:cNvSpPr>
          <p:nvPr/>
        </p:nvSpPr>
        <p:spPr bwMode="auto">
          <a:xfrm>
            <a:off x="4421188" y="5149428"/>
            <a:ext cx="176212" cy="374650"/>
          </a:xfrm>
          <a:custGeom>
            <a:avLst/>
            <a:gdLst>
              <a:gd name="T0" fmla="*/ 0 w 222"/>
              <a:gd name="T1" fmla="*/ 134 h 474"/>
              <a:gd name="T2" fmla="*/ 18 w 222"/>
              <a:gd name="T3" fmla="*/ 83 h 474"/>
              <a:gd name="T4" fmla="*/ 0 w 222"/>
              <a:gd name="T5" fmla="*/ 59 h 474"/>
              <a:gd name="T6" fmla="*/ 16 w 222"/>
              <a:gd name="T7" fmla="*/ 33 h 474"/>
              <a:gd name="T8" fmla="*/ 16 w 222"/>
              <a:gd name="T9" fmla="*/ 22 h 474"/>
              <a:gd name="T10" fmla="*/ 45 w 222"/>
              <a:gd name="T11" fmla="*/ 0 h 474"/>
              <a:gd name="T12" fmla="*/ 81 w 222"/>
              <a:gd name="T13" fmla="*/ 18 h 474"/>
              <a:gd name="T14" fmla="*/ 90 w 222"/>
              <a:gd name="T15" fmla="*/ 14 h 474"/>
              <a:gd name="T16" fmla="*/ 94 w 222"/>
              <a:gd name="T17" fmla="*/ 33 h 474"/>
              <a:gd name="T18" fmla="*/ 149 w 222"/>
              <a:gd name="T19" fmla="*/ 67 h 474"/>
              <a:gd name="T20" fmla="*/ 161 w 222"/>
              <a:gd name="T21" fmla="*/ 90 h 474"/>
              <a:gd name="T22" fmla="*/ 149 w 222"/>
              <a:gd name="T23" fmla="*/ 159 h 474"/>
              <a:gd name="T24" fmla="*/ 153 w 222"/>
              <a:gd name="T25" fmla="*/ 202 h 474"/>
              <a:gd name="T26" fmla="*/ 171 w 222"/>
              <a:gd name="T27" fmla="*/ 236 h 474"/>
              <a:gd name="T28" fmla="*/ 206 w 222"/>
              <a:gd name="T29" fmla="*/ 277 h 474"/>
              <a:gd name="T30" fmla="*/ 222 w 222"/>
              <a:gd name="T31" fmla="*/ 301 h 474"/>
              <a:gd name="T32" fmla="*/ 218 w 222"/>
              <a:gd name="T33" fmla="*/ 332 h 474"/>
              <a:gd name="T34" fmla="*/ 193 w 222"/>
              <a:gd name="T35" fmla="*/ 369 h 474"/>
              <a:gd name="T36" fmla="*/ 177 w 222"/>
              <a:gd name="T37" fmla="*/ 401 h 474"/>
              <a:gd name="T38" fmla="*/ 161 w 222"/>
              <a:gd name="T39" fmla="*/ 415 h 474"/>
              <a:gd name="T40" fmla="*/ 151 w 222"/>
              <a:gd name="T41" fmla="*/ 440 h 474"/>
              <a:gd name="T42" fmla="*/ 134 w 222"/>
              <a:gd name="T43" fmla="*/ 466 h 474"/>
              <a:gd name="T44" fmla="*/ 124 w 222"/>
              <a:gd name="T45" fmla="*/ 474 h 474"/>
              <a:gd name="T46" fmla="*/ 98 w 222"/>
              <a:gd name="T47" fmla="*/ 462 h 474"/>
              <a:gd name="T48" fmla="*/ 94 w 222"/>
              <a:gd name="T49" fmla="*/ 440 h 474"/>
              <a:gd name="T50" fmla="*/ 85 w 222"/>
              <a:gd name="T51" fmla="*/ 426 h 474"/>
              <a:gd name="T52" fmla="*/ 57 w 222"/>
              <a:gd name="T53" fmla="*/ 417 h 474"/>
              <a:gd name="T54" fmla="*/ 45 w 222"/>
              <a:gd name="T55" fmla="*/ 413 h 474"/>
              <a:gd name="T56" fmla="*/ 28 w 222"/>
              <a:gd name="T57" fmla="*/ 403 h 474"/>
              <a:gd name="T58" fmla="*/ 22 w 222"/>
              <a:gd name="T59" fmla="*/ 385 h 474"/>
              <a:gd name="T60" fmla="*/ 14 w 222"/>
              <a:gd name="T61" fmla="*/ 375 h 474"/>
              <a:gd name="T62" fmla="*/ 2 w 222"/>
              <a:gd name="T63" fmla="*/ 352 h 474"/>
              <a:gd name="T64" fmla="*/ 24 w 222"/>
              <a:gd name="T65" fmla="*/ 352 h 474"/>
              <a:gd name="T66" fmla="*/ 24 w 222"/>
              <a:gd name="T67" fmla="*/ 328 h 474"/>
              <a:gd name="T68" fmla="*/ 12 w 222"/>
              <a:gd name="T69" fmla="*/ 316 h 474"/>
              <a:gd name="T70" fmla="*/ 6 w 222"/>
              <a:gd name="T71" fmla="*/ 263 h 474"/>
              <a:gd name="T72" fmla="*/ 10 w 222"/>
              <a:gd name="T73" fmla="*/ 248 h 474"/>
              <a:gd name="T74" fmla="*/ 24 w 222"/>
              <a:gd name="T75" fmla="*/ 234 h 474"/>
              <a:gd name="T76" fmla="*/ 20 w 222"/>
              <a:gd name="T77" fmla="*/ 218 h 474"/>
              <a:gd name="T78" fmla="*/ 10 w 222"/>
              <a:gd name="T79" fmla="*/ 197 h 474"/>
              <a:gd name="T80" fmla="*/ 20 w 222"/>
              <a:gd name="T81" fmla="*/ 173 h 474"/>
              <a:gd name="T82" fmla="*/ 30 w 222"/>
              <a:gd name="T83" fmla="*/ 155 h 474"/>
              <a:gd name="T84" fmla="*/ 26 w 222"/>
              <a:gd name="T85" fmla="*/ 136 h 474"/>
              <a:gd name="T86" fmla="*/ 0 w 222"/>
              <a:gd name="T87" fmla="*/ 13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2" h="474">
                <a:moveTo>
                  <a:pt x="0" y="134"/>
                </a:moveTo>
                <a:lnTo>
                  <a:pt x="18" y="83"/>
                </a:lnTo>
                <a:lnTo>
                  <a:pt x="0" y="59"/>
                </a:lnTo>
                <a:lnTo>
                  <a:pt x="16" y="33"/>
                </a:lnTo>
                <a:lnTo>
                  <a:pt x="16" y="22"/>
                </a:lnTo>
                <a:lnTo>
                  <a:pt x="45" y="0"/>
                </a:lnTo>
                <a:lnTo>
                  <a:pt x="81" y="18"/>
                </a:lnTo>
                <a:lnTo>
                  <a:pt x="90" y="14"/>
                </a:lnTo>
                <a:lnTo>
                  <a:pt x="94" y="33"/>
                </a:lnTo>
                <a:lnTo>
                  <a:pt x="149" y="67"/>
                </a:lnTo>
                <a:lnTo>
                  <a:pt x="161" y="90"/>
                </a:lnTo>
                <a:lnTo>
                  <a:pt x="149" y="159"/>
                </a:lnTo>
                <a:lnTo>
                  <a:pt x="153" y="202"/>
                </a:lnTo>
                <a:lnTo>
                  <a:pt x="171" y="236"/>
                </a:lnTo>
                <a:lnTo>
                  <a:pt x="206" y="277"/>
                </a:lnTo>
                <a:lnTo>
                  <a:pt x="222" y="301"/>
                </a:lnTo>
                <a:lnTo>
                  <a:pt x="218" y="332"/>
                </a:lnTo>
                <a:lnTo>
                  <a:pt x="193" y="369"/>
                </a:lnTo>
                <a:lnTo>
                  <a:pt x="177" y="401"/>
                </a:lnTo>
                <a:lnTo>
                  <a:pt x="161" y="415"/>
                </a:lnTo>
                <a:lnTo>
                  <a:pt x="151" y="440"/>
                </a:lnTo>
                <a:lnTo>
                  <a:pt x="134" y="466"/>
                </a:lnTo>
                <a:lnTo>
                  <a:pt x="124" y="474"/>
                </a:lnTo>
                <a:lnTo>
                  <a:pt x="98" y="462"/>
                </a:lnTo>
                <a:lnTo>
                  <a:pt x="94" y="440"/>
                </a:lnTo>
                <a:lnTo>
                  <a:pt x="85" y="426"/>
                </a:lnTo>
                <a:lnTo>
                  <a:pt x="57" y="417"/>
                </a:lnTo>
                <a:lnTo>
                  <a:pt x="45" y="413"/>
                </a:lnTo>
                <a:lnTo>
                  <a:pt x="28" y="403"/>
                </a:lnTo>
                <a:lnTo>
                  <a:pt x="22" y="385"/>
                </a:lnTo>
                <a:lnTo>
                  <a:pt x="14" y="375"/>
                </a:lnTo>
                <a:lnTo>
                  <a:pt x="2" y="352"/>
                </a:lnTo>
                <a:lnTo>
                  <a:pt x="24" y="352"/>
                </a:lnTo>
                <a:lnTo>
                  <a:pt x="24" y="328"/>
                </a:lnTo>
                <a:lnTo>
                  <a:pt x="12" y="316"/>
                </a:lnTo>
                <a:lnTo>
                  <a:pt x="6" y="263"/>
                </a:lnTo>
                <a:lnTo>
                  <a:pt x="10" y="248"/>
                </a:lnTo>
                <a:lnTo>
                  <a:pt x="24" y="234"/>
                </a:lnTo>
                <a:lnTo>
                  <a:pt x="20" y="218"/>
                </a:lnTo>
                <a:lnTo>
                  <a:pt x="10" y="197"/>
                </a:lnTo>
                <a:lnTo>
                  <a:pt x="20" y="173"/>
                </a:lnTo>
                <a:lnTo>
                  <a:pt x="30" y="155"/>
                </a:lnTo>
                <a:lnTo>
                  <a:pt x="26" y="136"/>
                </a:lnTo>
                <a:lnTo>
                  <a:pt x="0" y="134"/>
                </a:lnTo>
                <a:close/>
              </a:path>
            </a:pathLst>
          </a:custGeom>
          <a:solidFill>
            <a:srgbClr val="FA0000"/>
          </a:solidFill>
          <a:ln w="9525">
            <a:solidFill>
              <a:srgbClr val="000000"/>
            </a:solidFill>
            <a:prstDash val="solid"/>
            <a:round/>
            <a:headEnd/>
            <a:tailEnd/>
          </a:ln>
        </p:spPr>
        <p:txBody>
          <a:bodyPr/>
          <a:lstStyle/>
          <a:p>
            <a:endParaRPr lang="cs-CZ"/>
          </a:p>
        </p:txBody>
      </p:sp>
      <p:sp>
        <p:nvSpPr>
          <p:cNvPr id="391" name="Freeform 399"/>
          <p:cNvSpPr>
            <a:spLocks/>
          </p:cNvSpPr>
          <p:nvPr/>
        </p:nvSpPr>
        <p:spPr bwMode="auto">
          <a:xfrm>
            <a:off x="4243388" y="5022428"/>
            <a:ext cx="265112" cy="230187"/>
          </a:xfrm>
          <a:custGeom>
            <a:avLst/>
            <a:gdLst>
              <a:gd name="T0" fmla="*/ 10 w 334"/>
              <a:gd name="T1" fmla="*/ 137 h 291"/>
              <a:gd name="T2" fmla="*/ 39 w 334"/>
              <a:gd name="T3" fmla="*/ 139 h 291"/>
              <a:gd name="T4" fmla="*/ 67 w 334"/>
              <a:gd name="T5" fmla="*/ 159 h 291"/>
              <a:gd name="T6" fmla="*/ 90 w 334"/>
              <a:gd name="T7" fmla="*/ 175 h 291"/>
              <a:gd name="T8" fmla="*/ 122 w 334"/>
              <a:gd name="T9" fmla="*/ 192 h 291"/>
              <a:gd name="T10" fmla="*/ 147 w 334"/>
              <a:gd name="T11" fmla="*/ 208 h 291"/>
              <a:gd name="T12" fmla="*/ 187 w 334"/>
              <a:gd name="T13" fmla="*/ 240 h 291"/>
              <a:gd name="T14" fmla="*/ 212 w 334"/>
              <a:gd name="T15" fmla="*/ 273 h 291"/>
              <a:gd name="T16" fmla="*/ 224 w 334"/>
              <a:gd name="T17" fmla="*/ 291 h 291"/>
              <a:gd name="T18" fmla="*/ 230 w 334"/>
              <a:gd name="T19" fmla="*/ 259 h 291"/>
              <a:gd name="T20" fmla="*/ 238 w 334"/>
              <a:gd name="T21" fmla="*/ 242 h 291"/>
              <a:gd name="T22" fmla="*/ 224 w 334"/>
              <a:gd name="T23" fmla="*/ 218 h 291"/>
              <a:gd name="T24" fmla="*/ 236 w 334"/>
              <a:gd name="T25" fmla="*/ 202 h 291"/>
              <a:gd name="T26" fmla="*/ 238 w 334"/>
              <a:gd name="T27" fmla="*/ 187 h 291"/>
              <a:gd name="T28" fmla="*/ 257 w 334"/>
              <a:gd name="T29" fmla="*/ 173 h 291"/>
              <a:gd name="T30" fmla="*/ 267 w 334"/>
              <a:gd name="T31" fmla="*/ 159 h 291"/>
              <a:gd name="T32" fmla="*/ 289 w 334"/>
              <a:gd name="T33" fmla="*/ 171 h 291"/>
              <a:gd name="T34" fmla="*/ 303 w 334"/>
              <a:gd name="T35" fmla="*/ 175 h 291"/>
              <a:gd name="T36" fmla="*/ 314 w 334"/>
              <a:gd name="T37" fmla="*/ 167 h 291"/>
              <a:gd name="T38" fmla="*/ 314 w 334"/>
              <a:gd name="T39" fmla="*/ 145 h 291"/>
              <a:gd name="T40" fmla="*/ 297 w 334"/>
              <a:gd name="T41" fmla="*/ 134 h 291"/>
              <a:gd name="T42" fmla="*/ 334 w 334"/>
              <a:gd name="T43" fmla="*/ 130 h 291"/>
              <a:gd name="T44" fmla="*/ 328 w 334"/>
              <a:gd name="T45" fmla="*/ 112 h 291"/>
              <a:gd name="T46" fmla="*/ 293 w 334"/>
              <a:gd name="T47" fmla="*/ 92 h 291"/>
              <a:gd name="T48" fmla="*/ 289 w 334"/>
              <a:gd name="T49" fmla="*/ 63 h 291"/>
              <a:gd name="T50" fmla="*/ 250 w 334"/>
              <a:gd name="T51" fmla="*/ 35 h 291"/>
              <a:gd name="T52" fmla="*/ 214 w 334"/>
              <a:gd name="T53" fmla="*/ 24 h 291"/>
              <a:gd name="T54" fmla="*/ 206 w 334"/>
              <a:gd name="T55" fmla="*/ 0 h 291"/>
              <a:gd name="T56" fmla="*/ 187 w 334"/>
              <a:gd name="T57" fmla="*/ 10 h 291"/>
              <a:gd name="T58" fmla="*/ 161 w 334"/>
              <a:gd name="T59" fmla="*/ 8 h 291"/>
              <a:gd name="T60" fmla="*/ 187 w 334"/>
              <a:gd name="T61" fmla="*/ 39 h 291"/>
              <a:gd name="T62" fmla="*/ 177 w 334"/>
              <a:gd name="T63" fmla="*/ 57 h 291"/>
              <a:gd name="T64" fmla="*/ 161 w 334"/>
              <a:gd name="T65" fmla="*/ 41 h 291"/>
              <a:gd name="T66" fmla="*/ 147 w 334"/>
              <a:gd name="T67" fmla="*/ 39 h 291"/>
              <a:gd name="T68" fmla="*/ 136 w 334"/>
              <a:gd name="T69" fmla="*/ 55 h 291"/>
              <a:gd name="T70" fmla="*/ 130 w 334"/>
              <a:gd name="T71" fmla="*/ 94 h 291"/>
              <a:gd name="T72" fmla="*/ 116 w 334"/>
              <a:gd name="T73" fmla="*/ 102 h 291"/>
              <a:gd name="T74" fmla="*/ 116 w 334"/>
              <a:gd name="T75" fmla="*/ 128 h 291"/>
              <a:gd name="T76" fmla="*/ 124 w 334"/>
              <a:gd name="T77" fmla="*/ 159 h 291"/>
              <a:gd name="T78" fmla="*/ 116 w 334"/>
              <a:gd name="T79" fmla="*/ 169 h 291"/>
              <a:gd name="T80" fmla="*/ 104 w 334"/>
              <a:gd name="T81" fmla="*/ 161 h 291"/>
              <a:gd name="T82" fmla="*/ 57 w 334"/>
              <a:gd name="T83" fmla="*/ 134 h 291"/>
              <a:gd name="T84" fmla="*/ 32 w 334"/>
              <a:gd name="T85" fmla="*/ 120 h 291"/>
              <a:gd name="T86" fmla="*/ 10 w 334"/>
              <a:gd name="T87" fmla="*/ 110 h 291"/>
              <a:gd name="T88" fmla="*/ 0 w 334"/>
              <a:gd name="T89" fmla="*/ 124 h 291"/>
              <a:gd name="T90" fmla="*/ 10 w 334"/>
              <a:gd name="T91" fmla="*/ 137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4" h="291">
                <a:moveTo>
                  <a:pt x="10" y="137"/>
                </a:moveTo>
                <a:lnTo>
                  <a:pt x="39" y="139"/>
                </a:lnTo>
                <a:lnTo>
                  <a:pt x="67" y="159"/>
                </a:lnTo>
                <a:lnTo>
                  <a:pt x="90" y="175"/>
                </a:lnTo>
                <a:lnTo>
                  <a:pt x="122" y="192"/>
                </a:lnTo>
                <a:lnTo>
                  <a:pt x="147" y="208"/>
                </a:lnTo>
                <a:lnTo>
                  <a:pt x="187" y="240"/>
                </a:lnTo>
                <a:lnTo>
                  <a:pt x="212" y="273"/>
                </a:lnTo>
                <a:lnTo>
                  <a:pt x="224" y="291"/>
                </a:lnTo>
                <a:lnTo>
                  <a:pt x="230" y="259"/>
                </a:lnTo>
                <a:lnTo>
                  <a:pt x="238" y="242"/>
                </a:lnTo>
                <a:lnTo>
                  <a:pt x="224" y="218"/>
                </a:lnTo>
                <a:lnTo>
                  <a:pt x="236" y="202"/>
                </a:lnTo>
                <a:lnTo>
                  <a:pt x="238" y="187"/>
                </a:lnTo>
                <a:lnTo>
                  <a:pt x="257" y="173"/>
                </a:lnTo>
                <a:lnTo>
                  <a:pt x="267" y="159"/>
                </a:lnTo>
                <a:lnTo>
                  <a:pt x="289" y="171"/>
                </a:lnTo>
                <a:lnTo>
                  <a:pt x="303" y="175"/>
                </a:lnTo>
                <a:lnTo>
                  <a:pt x="314" y="167"/>
                </a:lnTo>
                <a:lnTo>
                  <a:pt x="314" y="145"/>
                </a:lnTo>
                <a:lnTo>
                  <a:pt x="297" y="134"/>
                </a:lnTo>
                <a:lnTo>
                  <a:pt x="334" y="130"/>
                </a:lnTo>
                <a:lnTo>
                  <a:pt x="328" y="112"/>
                </a:lnTo>
                <a:lnTo>
                  <a:pt x="293" y="92"/>
                </a:lnTo>
                <a:lnTo>
                  <a:pt x="289" y="63"/>
                </a:lnTo>
                <a:lnTo>
                  <a:pt x="250" y="35"/>
                </a:lnTo>
                <a:lnTo>
                  <a:pt x="214" y="24"/>
                </a:lnTo>
                <a:lnTo>
                  <a:pt x="206" y="0"/>
                </a:lnTo>
                <a:lnTo>
                  <a:pt x="187" y="10"/>
                </a:lnTo>
                <a:lnTo>
                  <a:pt x="161" y="8"/>
                </a:lnTo>
                <a:lnTo>
                  <a:pt x="187" y="39"/>
                </a:lnTo>
                <a:lnTo>
                  <a:pt x="177" y="57"/>
                </a:lnTo>
                <a:lnTo>
                  <a:pt x="161" y="41"/>
                </a:lnTo>
                <a:lnTo>
                  <a:pt x="147" y="39"/>
                </a:lnTo>
                <a:lnTo>
                  <a:pt x="136" y="55"/>
                </a:lnTo>
                <a:lnTo>
                  <a:pt x="130" y="94"/>
                </a:lnTo>
                <a:lnTo>
                  <a:pt x="116" y="102"/>
                </a:lnTo>
                <a:lnTo>
                  <a:pt x="116" y="128"/>
                </a:lnTo>
                <a:lnTo>
                  <a:pt x="124" y="159"/>
                </a:lnTo>
                <a:lnTo>
                  <a:pt x="116" y="169"/>
                </a:lnTo>
                <a:lnTo>
                  <a:pt x="104" y="161"/>
                </a:lnTo>
                <a:lnTo>
                  <a:pt x="57" y="134"/>
                </a:lnTo>
                <a:lnTo>
                  <a:pt x="32" y="120"/>
                </a:lnTo>
                <a:lnTo>
                  <a:pt x="10" y="110"/>
                </a:lnTo>
                <a:lnTo>
                  <a:pt x="0" y="124"/>
                </a:lnTo>
                <a:lnTo>
                  <a:pt x="10" y="137"/>
                </a:lnTo>
                <a:close/>
              </a:path>
            </a:pathLst>
          </a:custGeom>
          <a:solidFill>
            <a:srgbClr val="FFFFFF"/>
          </a:solidFill>
          <a:ln w="9525">
            <a:solidFill>
              <a:srgbClr val="000000"/>
            </a:solidFill>
            <a:prstDash val="solid"/>
            <a:round/>
            <a:headEnd/>
            <a:tailEnd/>
          </a:ln>
        </p:spPr>
        <p:txBody>
          <a:bodyPr/>
          <a:lstStyle/>
          <a:p>
            <a:endParaRPr lang="cs-CZ"/>
          </a:p>
        </p:txBody>
      </p:sp>
      <p:sp>
        <p:nvSpPr>
          <p:cNvPr id="392" name="Freeform 400"/>
          <p:cNvSpPr>
            <a:spLocks/>
          </p:cNvSpPr>
          <p:nvPr/>
        </p:nvSpPr>
        <p:spPr bwMode="auto">
          <a:xfrm>
            <a:off x="3868738" y="4647778"/>
            <a:ext cx="533400" cy="488950"/>
          </a:xfrm>
          <a:custGeom>
            <a:avLst/>
            <a:gdLst>
              <a:gd name="T0" fmla="*/ 15 w 671"/>
              <a:gd name="T1" fmla="*/ 203 h 615"/>
              <a:gd name="T2" fmla="*/ 84 w 671"/>
              <a:gd name="T3" fmla="*/ 199 h 615"/>
              <a:gd name="T4" fmla="*/ 111 w 671"/>
              <a:gd name="T5" fmla="*/ 163 h 615"/>
              <a:gd name="T6" fmla="*/ 123 w 671"/>
              <a:gd name="T7" fmla="*/ 160 h 615"/>
              <a:gd name="T8" fmla="*/ 125 w 671"/>
              <a:gd name="T9" fmla="*/ 163 h 615"/>
              <a:gd name="T10" fmla="*/ 170 w 671"/>
              <a:gd name="T11" fmla="*/ 199 h 615"/>
              <a:gd name="T12" fmla="*/ 202 w 671"/>
              <a:gd name="T13" fmla="*/ 205 h 615"/>
              <a:gd name="T14" fmla="*/ 208 w 671"/>
              <a:gd name="T15" fmla="*/ 156 h 615"/>
              <a:gd name="T16" fmla="*/ 249 w 671"/>
              <a:gd name="T17" fmla="*/ 124 h 615"/>
              <a:gd name="T18" fmla="*/ 239 w 671"/>
              <a:gd name="T19" fmla="*/ 69 h 615"/>
              <a:gd name="T20" fmla="*/ 292 w 671"/>
              <a:gd name="T21" fmla="*/ 36 h 615"/>
              <a:gd name="T22" fmla="*/ 298 w 671"/>
              <a:gd name="T23" fmla="*/ 14 h 615"/>
              <a:gd name="T24" fmla="*/ 335 w 671"/>
              <a:gd name="T25" fmla="*/ 20 h 615"/>
              <a:gd name="T26" fmla="*/ 400 w 671"/>
              <a:gd name="T27" fmla="*/ 65 h 615"/>
              <a:gd name="T28" fmla="*/ 451 w 671"/>
              <a:gd name="T29" fmla="*/ 108 h 615"/>
              <a:gd name="T30" fmla="*/ 528 w 671"/>
              <a:gd name="T31" fmla="*/ 130 h 615"/>
              <a:gd name="T32" fmla="*/ 599 w 671"/>
              <a:gd name="T33" fmla="*/ 103 h 615"/>
              <a:gd name="T34" fmla="*/ 616 w 671"/>
              <a:gd name="T35" fmla="*/ 152 h 615"/>
              <a:gd name="T36" fmla="*/ 652 w 671"/>
              <a:gd name="T37" fmla="*/ 193 h 615"/>
              <a:gd name="T38" fmla="*/ 646 w 671"/>
              <a:gd name="T39" fmla="*/ 211 h 615"/>
              <a:gd name="T40" fmla="*/ 642 w 671"/>
              <a:gd name="T41" fmla="*/ 246 h 615"/>
              <a:gd name="T42" fmla="*/ 607 w 671"/>
              <a:gd name="T43" fmla="*/ 256 h 615"/>
              <a:gd name="T44" fmla="*/ 581 w 671"/>
              <a:gd name="T45" fmla="*/ 228 h 615"/>
              <a:gd name="T46" fmla="*/ 544 w 671"/>
              <a:gd name="T47" fmla="*/ 226 h 615"/>
              <a:gd name="T48" fmla="*/ 510 w 671"/>
              <a:gd name="T49" fmla="*/ 224 h 615"/>
              <a:gd name="T50" fmla="*/ 475 w 671"/>
              <a:gd name="T51" fmla="*/ 218 h 615"/>
              <a:gd name="T52" fmla="*/ 398 w 671"/>
              <a:gd name="T53" fmla="*/ 199 h 615"/>
              <a:gd name="T54" fmla="*/ 341 w 671"/>
              <a:gd name="T55" fmla="*/ 207 h 615"/>
              <a:gd name="T56" fmla="*/ 290 w 671"/>
              <a:gd name="T57" fmla="*/ 207 h 615"/>
              <a:gd name="T58" fmla="*/ 255 w 671"/>
              <a:gd name="T59" fmla="*/ 242 h 615"/>
              <a:gd name="T60" fmla="*/ 288 w 671"/>
              <a:gd name="T61" fmla="*/ 299 h 615"/>
              <a:gd name="T62" fmla="*/ 300 w 671"/>
              <a:gd name="T63" fmla="*/ 360 h 615"/>
              <a:gd name="T64" fmla="*/ 353 w 671"/>
              <a:gd name="T65" fmla="*/ 411 h 615"/>
              <a:gd name="T66" fmla="*/ 440 w 671"/>
              <a:gd name="T67" fmla="*/ 531 h 615"/>
              <a:gd name="T68" fmla="*/ 475 w 671"/>
              <a:gd name="T69" fmla="*/ 586 h 615"/>
              <a:gd name="T70" fmla="*/ 471 w 671"/>
              <a:gd name="T71" fmla="*/ 615 h 615"/>
              <a:gd name="T72" fmla="*/ 451 w 671"/>
              <a:gd name="T73" fmla="*/ 602 h 615"/>
              <a:gd name="T74" fmla="*/ 422 w 671"/>
              <a:gd name="T75" fmla="*/ 598 h 615"/>
              <a:gd name="T76" fmla="*/ 379 w 671"/>
              <a:gd name="T77" fmla="*/ 588 h 615"/>
              <a:gd name="T78" fmla="*/ 430 w 671"/>
              <a:gd name="T79" fmla="*/ 574 h 615"/>
              <a:gd name="T80" fmla="*/ 408 w 671"/>
              <a:gd name="T81" fmla="*/ 533 h 615"/>
              <a:gd name="T82" fmla="*/ 391 w 671"/>
              <a:gd name="T83" fmla="*/ 535 h 615"/>
              <a:gd name="T84" fmla="*/ 349 w 671"/>
              <a:gd name="T85" fmla="*/ 543 h 615"/>
              <a:gd name="T86" fmla="*/ 334 w 671"/>
              <a:gd name="T87" fmla="*/ 525 h 615"/>
              <a:gd name="T88" fmla="*/ 282 w 671"/>
              <a:gd name="T89" fmla="*/ 503 h 615"/>
              <a:gd name="T90" fmla="*/ 273 w 671"/>
              <a:gd name="T91" fmla="*/ 486 h 615"/>
              <a:gd name="T92" fmla="*/ 257 w 671"/>
              <a:gd name="T93" fmla="*/ 464 h 615"/>
              <a:gd name="T94" fmla="*/ 233 w 671"/>
              <a:gd name="T95" fmla="*/ 442 h 615"/>
              <a:gd name="T96" fmla="*/ 204 w 671"/>
              <a:gd name="T97" fmla="*/ 417 h 615"/>
              <a:gd name="T98" fmla="*/ 190 w 671"/>
              <a:gd name="T99" fmla="*/ 384 h 615"/>
              <a:gd name="T100" fmla="*/ 218 w 671"/>
              <a:gd name="T101" fmla="*/ 368 h 615"/>
              <a:gd name="T102" fmla="*/ 190 w 671"/>
              <a:gd name="T103" fmla="*/ 356 h 615"/>
              <a:gd name="T104" fmla="*/ 165 w 671"/>
              <a:gd name="T105" fmla="*/ 305 h 615"/>
              <a:gd name="T106" fmla="*/ 155 w 671"/>
              <a:gd name="T107" fmla="*/ 250 h 615"/>
              <a:gd name="T108" fmla="*/ 102 w 671"/>
              <a:gd name="T109" fmla="*/ 207 h 615"/>
              <a:gd name="T110" fmla="*/ 78 w 671"/>
              <a:gd name="T111" fmla="*/ 262 h 615"/>
              <a:gd name="T112" fmla="*/ 49 w 671"/>
              <a:gd name="T113" fmla="*/ 293 h 615"/>
              <a:gd name="T114" fmla="*/ 19 w 671"/>
              <a:gd name="T115" fmla="*/ 244 h 615"/>
              <a:gd name="T116" fmla="*/ 3 w 671"/>
              <a:gd name="T117" fmla="*/ 20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1" h="615">
                <a:moveTo>
                  <a:pt x="0" y="187"/>
                </a:moveTo>
                <a:lnTo>
                  <a:pt x="15" y="203"/>
                </a:lnTo>
                <a:lnTo>
                  <a:pt x="62" y="193"/>
                </a:lnTo>
                <a:lnTo>
                  <a:pt x="84" y="199"/>
                </a:lnTo>
                <a:lnTo>
                  <a:pt x="102" y="183"/>
                </a:lnTo>
                <a:lnTo>
                  <a:pt x="111" y="163"/>
                </a:lnTo>
                <a:lnTo>
                  <a:pt x="119" y="161"/>
                </a:lnTo>
                <a:lnTo>
                  <a:pt x="123" y="160"/>
                </a:lnTo>
                <a:lnTo>
                  <a:pt x="125" y="160"/>
                </a:lnTo>
                <a:lnTo>
                  <a:pt x="125" y="163"/>
                </a:lnTo>
                <a:lnTo>
                  <a:pt x="147" y="193"/>
                </a:lnTo>
                <a:lnTo>
                  <a:pt x="170" y="199"/>
                </a:lnTo>
                <a:lnTo>
                  <a:pt x="184" y="217"/>
                </a:lnTo>
                <a:lnTo>
                  <a:pt x="202" y="205"/>
                </a:lnTo>
                <a:lnTo>
                  <a:pt x="200" y="175"/>
                </a:lnTo>
                <a:lnTo>
                  <a:pt x="208" y="156"/>
                </a:lnTo>
                <a:lnTo>
                  <a:pt x="229" y="142"/>
                </a:lnTo>
                <a:lnTo>
                  <a:pt x="249" y="124"/>
                </a:lnTo>
                <a:lnTo>
                  <a:pt x="251" y="99"/>
                </a:lnTo>
                <a:lnTo>
                  <a:pt x="239" y="69"/>
                </a:lnTo>
                <a:lnTo>
                  <a:pt x="275" y="55"/>
                </a:lnTo>
                <a:lnTo>
                  <a:pt x="292" y="36"/>
                </a:lnTo>
                <a:lnTo>
                  <a:pt x="310" y="40"/>
                </a:lnTo>
                <a:lnTo>
                  <a:pt x="298" y="14"/>
                </a:lnTo>
                <a:lnTo>
                  <a:pt x="314" y="0"/>
                </a:lnTo>
                <a:lnTo>
                  <a:pt x="335" y="20"/>
                </a:lnTo>
                <a:lnTo>
                  <a:pt x="367" y="28"/>
                </a:lnTo>
                <a:lnTo>
                  <a:pt x="400" y="65"/>
                </a:lnTo>
                <a:lnTo>
                  <a:pt x="428" y="73"/>
                </a:lnTo>
                <a:lnTo>
                  <a:pt x="451" y="108"/>
                </a:lnTo>
                <a:lnTo>
                  <a:pt x="487" y="124"/>
                </a:lnTo>
                <a:lnTo>
                  <a:pt x="528" y="130"/>
                </a:lnTo>
                <a:lnTo>
                  <a:pt x="563" y="116"/>
                </a:lnTo>
                <a:lnTo>
                  <a:pt x="599" y="103"/>
                </a:lnTo>
                <a:lnTo>
                  <a:pt x="609" y="130"/>
                </a:lnTo>
                <a:lnTo>
                  <a:pt x="616" y="152"/>
                </a:lnTo>
                <a:lnTo>
                  <a:pt x="626" y="191"/>
                </a:lnTo>
                <a:lnTo>
                  <a:pt x="652" y="193"/>
                </a:lnTo>
                <a:lnTo>
                  <a:pt x="671" y="199"/>
                </a:lnTo>
                <a:lnTo>
                  <a:pt x="646" y="211"/>
                </a:lnTo>
                <a:lnTo>
                  <a:pt x="642" y="232"/>
                </a:lnTo>
                <a:lnTo>
                  <a:pt x="642" y="246"/>
                </a:lnTo>
                <a:lnTo>
                  <a:pt x="626" y="258"/>
                </a:lnTo>
                <a:lnTo>
                  <a:pt x="607" y="256"/>
                </a:lnTo>
                <a:lnTo>
                  <a:pt x="603" y="232"/>
                </a:lnTo>
                <a:lnTo>
                  <a:pt x="581" y="228"/>
                </a:lnTo>
                <a:lnTo>
                  <a:pt x="565" y="220"/>
                </a:lnTo>
                <a:lnTo>
                  <a:pt x="544" y="226"/>
                </a:lnTo>
                <a:lnTo>
                  <a:pt x="530" y="226"/>
                </a:lnTo>
                <a:lnTo>
                  <a:pt x="510" y="224"/>
                </a:lnTo>
                <a:lnTo>
                  <a:pt x="495" y="234"/>
                </a:lnTo>
                <a:lnTo>
                  <a:pt x="475" y="218"/>
                </a:lnTo>
                <a:lnTo>
                  <a:pt x="412" y="215"/>
                </a:lnTo>
                <a:lnTo>
                  <a:pt x="398" y="199"/>
                </a:lnTo>
                <a:lnTo>
                  <a:pt x="377" y="211"/>
                </a:lnTo>
                <a:lnTo>
                  <a:pt x="341" y="207"/>
                </a:lnTo>
                <a:lnTo>
                  <a:pt x="318" y="242"/>
                </a:lnTo>
                <a:lnTo>
                  <a:pt x="290" y="207"/>
                </a:lnTo>
                <a:lnTo>
                  <a:pt x="265" y="207"/>
                </a:lnTo>
                <a:lnTo>
                  <a:pt x="255" y="242"/>
                </a:lnTo>
                <a:lnTo>
                  <a:pt x="261" y="277"/>
                </a:lnTo>
                <a:lnTo>
                  <a:pt x="288" y="299"/>
                </a:lnTo>
                <a:lnTo>
                  <a:pt x="302" y="321"/>
                </a:lnTo>
                <a:lnTo>
                  <a:pt x="300" y="360"/>
                </a:lnTo>
                <a:lnTo>
                  <a:pt x="332" y="393"/>
                </a:lnTo>
                <a:lnTo>
                  <a:pt x="353" y="411"/>
                </a:lnTo>
                <a:lnTo>
                  <a:pt x="424" y="494"/>
                </a:lnTo>
                <a:lnTo>
                  <a:pt x="440" y="531"/>
                </a:lnTo>
                <a:lnTo>
                  <a:pt x="475" y="566"/>
                </a:lnTo>
                <a:lnTo>
                  <a:pt x="475" y="586"/>
                </a:lnTo>
                <a:lnTo>
                  <a:pt x="475" y="600"/>
                </a:lnTo>
                <a:lnTo>
                  <a:pt x="471" y="615"/>
                </a:lnTo>
                <a:lnTo>
                  <a:pt x="461" y="600"/>
                </a:lnTo>
                <a:lnTo>
                  <a:pt x="451" y="602"/>
                </a:lnTo>
                <a:lnTo>
                  <a:pt x="440" y="586"/>
                </a:lnTo>
                <a:lnTo>
                  <a:pt x="422" y="598"/>
                </a:lnTo>
                <a:lnTo>
                  <a:pt x="369" y="600"/>
                </a:lnTo>
                <a:lnTo>
                  <a:pt x="379" y="588"/>
                </a:lnTo>
                <a:lnTo>
                  <a:pt x="414" y="588"/>
                </a:lnTo>
                <a:lnTo>
                  <a:pt x="430" y="574"/>
                </a:lnTo>
                <a:lnTo>
                  <a:pt x="420" y="547"/>
                </a:lnTo>
                <a:lnTo>
                  <a:pt x="408" y="533"/>
                </a:lnTo>
                <a:lnTo>
                  <a:pt x="398" y="523"/>
                </a:lnTo>
                <a:lnTo>
                  <a:pt x="391" y="535"/>
                </a:lnTo>
                <a:lnTo>
                  <a:pt x="373" y="545"/>
                </a:lnTo>
                <a:lnTo>
                  <a:pt x="349" y="543"/>
                </a:lnTo>
                <a:lnTo>
                  <a:pt x="339" y="539"/>
                </a:lnTo>
                <a:lnTo>
                  <a:pt x="334" y="525"/>
                </a:lnTo>
                <a:lnTo>
                  <a:pt x="343" y="507"/>
                </a:lnTo>
                <a:lnTo>
                  <a:pt x="282" y="503"/>
                </a:lnTo>
                <a:lnTo>
                  <a:pt x="288" y="482"/>
                </a:lnTo>
                <a:lnTo>
                  <a:pt x="273" y="486"/>
                </a:lnTo>
                <a:lnTo>
                  <a:pt x="271" y="464"/>
                </a:lnTo>
                <a:lnTo>
                  <a:pt x="257" y="464"/>
                </a:lnTo>
                <a:lnTo>
                  <a:pt x="251" y="450"/>
                </a:lnTo>
                <a:lnTo>
                  <a:pt x="233" y="442"/>
                </a:lnTo>
                <a:lnTo>
                  <a:pt x="216" y="433"/>
                </a:lnTo>
                <a:lnTo>
                  <a:pt x="204" y="417"/>
                </a:lnTo>
                <a:lnTo>
                  <a:pt x="190" y="399"/>
                </a:lnTo>
                <a:lnTo>
                  <a:pt x="190" y="384"/>
                </a:lnTo>
                <a:lnTo>
                  <a:pt x="196" y="372"/>
                </a:lnTo>
                <a:lnTo>
                  <a:pt x="218" y="368"/>
                </a:lnTo>
                <a:lnTo>
                  <a:pt x="229" y="374"/>
                </a:lnTo>
                <a:lnTo>
                  <a:pt x="190" y="356"/>
                </a:lnTo>
                <a:lnTo>
                  <a:pt x="170" y="329"/>
                </a:lnTo>
                <a:lnTo>
                  <a:pt x="165" y="305"/>
                </a:lnTo>
                <a:lnTo>
                  <a:pt x="155" y="273"/>
                </a:lnTo>
                <a:lnTo>
                  <a:pt x="155" y="250"/>
                </a:lnTo>
                <a:lnTo>
                  <a:pt x="133" y="232"/>
                </a:lnTo>
                <a:lnTo>
                  <a:pt x="102" y="207"/>
                </a:lnTo>
                <a:lnTo>
                  <a:pt x="86" y="240"/>
                </a:lnTo>
                <a:lnTo>
                  <a:pt x="78" y="262"/>
                </a:lnTo>
                <a:lnTo>
                  <a:pt x="64" y="281"/>
                </a:lnTo>
                <a:lnTo>
                  <a:pt x="49" y="293"/>
                </a:lnTo>
                <a:lnTo>
                  <a:pt x="35" y="275"/>
                </a:lnTo>
                <a:lnTo>
                  <a:pt x="19" y="244"/>
                </a:lnTo>
                <a:lnTo>
                  <a:pt x="11" y="226"/>
                </a:lnTo>
                <a:lnTo>
                  <a:pt x="3" y="203"/>
                </a:lnTo>
                <a:lnTo>
                  <a:pt x="0" y="187"/>
                </a:lnTo>
                <a:close/>
              </a:path>
            </a:pathLst>
          </a:custGeom>
          <a:solidFill>
            <a:srgbClr val="FA0000"/>
          </a:solidFill>
          <a:ln w="9525">
            <a:solidFill>
              <a:srgbClr val="000000"/>
            </a:solidFill>
            <a:prstDash val="solid"/>
            <a:round/>
            <a:headEnd/>
            <a:tailEnd/>
          </a:ln>
        </p:spPr>
        <p:txBody>
          <a:bodyPr/>
          <a:lstStyle/>
          <a:p>
            <a:endParaRPr lang="cs-CZ"/>
          </a:p>
        </p:txBody>
      </p:sp>
      <p:sp>
        <p:nvSpPr>
          <p:cNvPr id="393" name="Freeform 401"/>
          <p:cNvSpPr>
            <a:spLocks/>
          </p:cNvSpPr>
          <p:nvPr/>
        </p:nvSpPr>
        <p:spPr bwMode="auto">
          <a:xfrm>
            <a:off x="4071938" y="4804940"/>
            <a:ext cx="361950" cy="352425"/>
          </a:xfrm>
          <a:custGeom>
            <a:avLst/>
            <a:gdLst>
              <a:gd name="T0" fmla="*/ 424 w 456"/>
              <a:gd name="T1" fmla="*/ 63 h 444"/>
              <a:gd name="T2" fmla="*/ 393 w 456"/>
              <a:gd name="T3" fmla="*/ 118 h 444"/>
              <a:gd name="T4" fmla="*/ 397 w 456"/>
              <a:gd name="T5" fmla="*/ 155 h 444"/>
              <a:gd name="T6" fmla="*/ 436 w 456"/>
              <a:gd name="T7" fmla="*/ 175 h 444"/>
              <a:gd name="T8" fmla="*/ 456 w 456"/>
              <a:gd name="T9" fmla="*/ 202 h 444"/>
              <a:gd name="T10" fmla="*/ 454 w 456"/>
              <a:gd name="T11" fmla="*/ 249 h 444"/>
              <a:gd name="T12" fmla="*/ 411 w 456"/>
              <a:gd name="T13" fmla="*/ 285 h 444"/>
              <a:gd name="T14" fmla="*/ 397 w 456"/>
              <a:gd name="T15" fmla="*/ 310 h 444"/>
              <a:gd name="T16" fmla="*/ 381 w 456"/>
              <a:gd name="T17" fmla="*/ 314 h 444"/>
              <a:gd name="T18" fmla="*/ 350 w 456"/>
              <a:gd name="T19" fmla="*/ 332 h 444"/>
              <a:gd name="T20" fmla="*/ 332 w 456"/>
              <a:gd name="T21" fmla="*/ 371 h 444"/>
              <a:gd name="T22" fmla="*/ 332 w 456"/>
              <a:gd name="T23" fmla="*/ 416 h 444"/>
              <a:gd name="T24" fmla="*/ 332 w 456"/>
              <a:gd name="T25" fmla="*/ 444 h 444"/>
              <a:gd name="T26" fmla="*/ 253 w 456"/>
              <a:gd name="T27" fmla="*/ 399 h 444"/>
              <a:gd name="T28" fmla="*/ 218 w 456"/>
              <a:gd name="T29" fmla="*/ 387 h 444"/>
              <a:gd name="T30" fmla="*/ 190 w 456"/>
              <a:gd name="T31" fmla="*/ 338 h 444"/>
              <a:gd name="T32" fmla="*/ 169 w 456"/>
              <a:gd name="T33" fmla="*/ 295 h 444"/>
              <a:gd name="T34" fmla="*/ 116 w 456"/>
              <a:gd name="T35" fmla="*/ 241 h 444"/>
              <a:gd name="T36" fmla="*/ 69 w 456"/>
              <a:gd name="T37" fmla="*/ 190 h 444"/>
              <a:gd name="T38" fmla="*/ 43 w 456"/>
              <a:gd name="T39" fmla="*/ 161 h 444"/>
              <a:gd name="T40" fmla="*/ 29 w 456"/>
              <a:gd name="T41" fmla="*/ 96 h 444"/>
              <a:gd name="T42" fmla="*/ 0 w 456"/>
              <a:gd name="T43" fmla="*/ 63 h 444"/>
              <a:gd name="T44" fmla="*/ 10 w 456"/>
              <a:gd name="T45" fmla="*/ 10 h 444"/>
              <a:gd name="T46" fmla="*/ 67 w 456"/>
              <a:gd name="T47" fmla="*/ 45 h 444"/>
              <a:gd name="T48" fmla="*/ 128 w 456"/>
              <a:gd name="T49" fmla="*/ 14 h 444"/>
              <a:gd name="T50" fmla="*/ 161 w 456"/>
              <a:gd name="T51" fmla="*/ 19 h 444"/>
              <a:gd name="T52" fmla="*/ 230 w 456"/>
              <a:gd name="T53" fmla="*/ 21 h 444"/>
              <a:gd name="T54" fmla="*/ 263 w 456"/>
              <a:gd name="T55" fmla="*/ 25 h 444"/>
              <a:gd name="T56" fmla="*/ 306 w 456"/>
              <a:gd name="T57" fmla="*/ 23 h 444"/>
              <a:gd name="T58" fmla="*/ 334 w 456"/>
              <a:gd name="T59" fmla="*/ 29 h 444"/>
              <a:gd name="T60" fmla="*/ 348 w 456"/>
              <a:gd name="T61" fmla="*/ 59 h 444"/>
              <a:gd name="T62" fmla="*/ 397 w 456"/>
              <a:gd name="T63" fmla="*/ 53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6" h="444">
                <a:moveTo>
                  <a:pt x="397" y="53"/>
                </a:moveTo>
                <a:lnTo>
                  <a:pt x="424" y="63"/>
                </a:lnTo>
                <a:lnTo>
                  <a:pt x="414" y="86"/>
                </a:lnTo>
                <a:lnTo>
                  <a:pt x="393" y="118"/>
                </a:lnTo>
                <a:lnTo>
                  <a:pt x="387" y="133"/>
                </a:lnTo>
                <a:lnTo>
                  <a:pt x="397" y="155"/>
                </a:lnTo>
                <a:lnTo>
                  <a:pt x="420" y="159"/>
                </a:lnTo>
                <a:lnTo>
                  <a:pt x="436" y="175"/>
                </a:lnTo>
                <a:lnTo>
                  <a:pt x="456" y="188"/>
                </a:lnTo>
                <a:lnTo>
                  <a:pt x="456" y="202"/>
                </a:lnTo>
                <a:lnTo>
                  <a:pt x="420" y="210"/>
                </a:lnTo>
                <a:lnTo>
                  <a:pt x="454" y="249"/>
                </a:lnTo>
                <a:lnTo>
                  <a:pt x="428" y="269"/>
                </a:lnTo>
                <a:lnTo>
                  <a:pt x="411" y="285"/>
                </a:lnTo>
                <a:lnTo>
                  <a:pt x="379" y="283"/>
                </a:lnTo>
                <a:lnTo>
                  <a:pt x="397" y="310"/>
                </a:lnTo>
                <a:lnTo>
                  <a:pt x="395" y="328"/>
                </a:lnTo>
                <a:lnTo>
                  <a:pt x="381" y="314"/>
                </a:lnTo>
                <a:lnTo>
                  <a:pt x="361" y="314"/>
                </a:lnTo>
                <a:lnTo>
                  <a:pt x="350" y="332"/>
                </a:lnTo>
                <a:lnTo>
                  <a:pt x="350" y="363"/>
                </a:lnTo>
                <a:lnTo>
                  <a:pt x="332" y="371"/>
                </a:lnTo>
                <a:lnTo>
                  <a:pt x="328" y="399"/>
                </a:lnTo>
                <a:lnTo>
                  <a:pt x="332" y="416"/>
                </a:lnTo>
                <a:lnTo>
                  <a:pt x="338" y="434"/>
                </a:lnTo>
                <a:lnTo>
                  <a:pt x="332" y="444"/>
                </a:lnTo>
                <a:lnTo>
                  <a:pt x="281" y="410"/>
                </a:lnTo>
                <a:lnTo>
                  <a:pt x="253" y="399"/>
                </a:lnTo>
                <a:lnTo>
                  <a:pt x="238" y="385"/>
                </a:lnTo>
                <a:lnTo>
                  <a:pt x="218" y="387"/>
                </a:lnTo>
                <a:lnTo>
                  <a:pt x="218" y="363"/>
                </a:lnTo>
                <a:lnTo>
                  <a:pt x="190" y="338"/>
                </a:lnTo>
                <a:lnTo>
                  <a:pt x="175" y="322"/>
                </a:lnTo>
                <a:lnTo>
                  <a:pt x="169" y="295"/>
                </a:lnTo>
                <a:lnTo>
                  <a:pt x="151" y="281"/>
                </a:lnTo>
                <a:lnTo>
                  <a:pt x="116" y="241"/>
                </a:lnTo>
                <a:lnTo>
                  <a:pt x="84" y="202"/>
                </a:lnTo>
                <a:lnTo>
                  <a:pt x="69" y="190"/>
                </a:lnTo>
                <a:lnTo>
                  <a:pt x="55" y="175"/>
                </a:lnTo>
                <a:lnTo>
                  <a:pt x="43" y="161"/>
                </a:lnTo>
                <a:lnTo>
                  <a:pt x="45" y="124"/>
                </a:lnTo>
                <a:lnTo>
                  <a:pt x="29" y="96"/>
                </a:lnTo>
                <a:lnTo>
                  <a:pt x="8" y="82"/>
                </a:lnTo>
                <a:lnTo>
                  <a:pt x="0" y="63"/>
                </a:lnTo>
                <a:lnTo>
                  <a:pt x="4" y="31"/>
                </a:lnTo>
                <a:lnTo>
                  <a:pt x="10" y="10"/>
                </a:lnTo>
                <a:lnTo>
                  <a:pt x="39" y="12"/>
                </a:lnTo>
                <a:lnTo>
                  <a:pt x="67" y="45"/>
                </a:lnTo>
                <a:lnTo>
                  <a:pt x="88" y="10"/>
                </a:lnTo>
                <a:lnTo>
                  <a:pt x="128" y="14"/>
                </a:lnTo>
                <a:lnTo>
                  <a:pt x="143" y="0"/>
                </a:lnTo>
                <a:lnTo>
                  <a:pt x="161" y="19"/>
                </a:lnTo>
                <a:lnTo>
                  <a:pt x="175" y="23"/>
                </a:lnTo>
                <a:lnTo>
                  <a:pt x="230" y="21"/>
                </a:lnTo>
                <a:lnTo>
                  <a:pt x="246" y="39"/>
                </a:lnTo>
                <a:lnTo>
                  <a:pt x="263" y="25"/>
                </a:lnTo>
                <a:lnTo>
                  <a:pt x="281" y="31"/>
                </a:lnTo>
                <a:lnTo>
                  <a:pt x="306" y="23"/>
                </a:lnTo>
                <a:lnTo>
                  <a:pt x="320" y="39"/>
                </a:lnTo>
                <a:lnTo>
                  <a:pt x="334" y="29"/>
                </a:lnTo>
                <a:lnTo>
                  <a:pt x="354" y="35"/>
                </a:lnTo>
                <a:lnTo>
                  <a:pt x="348" y="59"/>
                </a:lnTo>
                <a:lnTo>
                  <a:pt x="359" y="63"/>
                </a:lnTo>
                <a:lnTo>
                  <a:pt x="397" y="53"/>
                </a:lnTo>
                <a:close/>
              </a:path>
            </a:pathLst>
          </a:custGeom>
          <a:solidFill>
            <a:srgbClr val="FA0000"/>
          </a:solidFill>
          <a:ln w="9525">
            <a:solidFill>
              <a:srgbClr val="000000"/>
            </a:solidFill>
            <a:prstDash val="solid"/>
            <a:round/>
            <a:headEnd/>
            <a:tailEnd/>
          </a:ln>
        </p:spPr>
        <p:txBody>
          <a:bodyPr/>
          <a:lstStyle/>
          <a:p>
            <a:endParaRPr lang="cs-CZ"/>
          </a:p>
        </p:txBody>
      </p:sp>
      <p:sp>
        <p:nvSpPr>
          <p:cNvPr id="394" name="Freeform 402"/>
          <p:cNvSpPr>
            <a:spLocks/>
          </p:cNvSpPr>
          <p:nvPr/>
        </p:nvSpPr>
        <p:spPr bwMode="auto">
          <a:xfrm>
            <a:off x="4338638" y="4690640"/>
            <a:ext cx="401637" cy="523875"/>
          </a:xfrm>
          <a:custGeom>
            <a:avLst/>
            <a:gdLst>
              <a:gd name="T0" fmla="*/ 12 w 505"/>
              <a:gd name="T1" fmla="*/ 50 h 661"/>
              <a:gd name="T2" fmla="*/ 55 w 505"/>
              <a:gd name="T3" fmla="*/ 40 h 661"/>
              <a:gd name="T4" fmla="*/ 100 w 505"/>
              <a:gd name="T5" fmla="*/ 0 h 661"/>
              <a:gd name="T6" fmla="*/ 149 w 505"/>
              <a:gd name="T7" fmla="*/ 10 h 661"/>
              <a:gd name="T8" fmla="*/ 183 w 505"/>
              <a:gd name="T9" fmla="*/ 30 h 661"/>
              <a:gd name="T10" fmla="*/ 236 w 505"/>
              <a:gd name="T11" fmla="*/ 67 h 661"/>
              <a:gd name="T12" fmla="*/ 265 w 505"/>
              <a:gd name="T13" fmla="*/ 132 h 661"/>
              <a:gd name="T14" fmla="*/ 308 w 505"/>
              <a:gd name="T15" fmla="*/ 150 h 661"/>
              <a:gd name="T16" fmla="*/ 332 w 505"/>
              <a:gd name="T17" fmla="*/ 211 h 661"/>
              <a:gd name="T18" fmla="*/ 399 w 505"/>
              <a:gd name="T19" fmla="*/ 230 h 661"/>
              <a:gd name="T20" fmla="*/ 424 w 505"/>
              <a:gd name="T21" fmla="*/ 234 h 661"/>
              <a:gd name="T22" fmla="*/ 458 w 505"/>
              <a:gd name="T23" fmla="*/ 238 h 661"/>
              <a:gd name="T24" fmla="*/ 436 w 505"/>
              <a:gd name="T25" fmla="*/ 266 h 661"/>
              <a:gd name="T26" fmla="*/ 454 w 505"/>
              <a:gd name="T27" fmla="*/ 297 h 661"/>
              <a:gd name="T28" fmla="*/ 442 w 505"/>
              <a:gd name="T29" fmla="*/ 327 h 661"/>
              <a:gd name="T30" fmla="*/ 477 w 505"/>
              <a:gd name="T31" fmla="*/ 452 h 661"/>
              <a:gd name="T32" fmla="*/ 473 w 505"/>
              <a:gd name="T33" fmla="*/ 529 h 661"/>
              <a:gd name="T34" fmla="*/ 462 w 505"/>
              <a:gd name="T35" fmla="*/ 608 h 661"/>
              <a:gd name="T36" fmla="*/ 418 w 505"/>
              <a:gd name="T37" fmla="*/ 610 h 661"/>
              <a:gd name="T38" fmla="*/ 385 w 505"/>
              <a:gd name="T39" fmla="*/ 617 h 661"/>
              <a:gd name="T40" fmla="*/ 336 w 505"/>
              <a:gd name="T41" fmla="*/ 627 h 661"/>
              <a:gd name="T42" fmla="*/ 293 w 505"/>
              <a:gd name="T43" fmla="*/ 625 h 661"/>
              <a:gd name="T44" fmla="*/ 281 w 505"/>
              <a:gd name="T45" fmla="*/ 659 h 661"/>
              <a:gd name="T46" fmla="*/ 247 w 505"/>
              <a:gd name="T47" fmla="*/ 643 h 661"/>
              <a:gd name="T48" fmla="*/ 210 w 505"/>
              <a:gd name="T49" fmla="*/ 617 h 661"/>
              <a:gd name="T50" fmla="*/ 194 w 505"/>
              <a:gd name="T51" fmla="*/ 590 h 661"/>
              <a:gd name="T52" fmla="*/ 177 w 505"/>
              <a:gd name="T53" fmla="*/ 554 h 661"/>
              <a:gd name="T54" fmla="*/ 204 w 505"/>
              <a:gd name="T55" fmla="*/ 527 h 661"/>
              <a:gd name="T56" fmla="*/ 173 w 505"/>
              <a:gd name="T57" fmla="*/ 492 h 661"/>
              <a:gd name="T58" fmla="*/ 137 w 505"/>
              <a:gd name="T59" fmla="*/ 462 h 661"/>
              <a:gd name="T60" fmla="*/ 96 w 505"/>
              <a:gd name="T61" fmla="*/ 443 h 661"/>
              <a:gd name="T62" fmla="*/ 102 w 505"/>
              <a:gd name="T63" fmla="*/ 407 h 661"/>
              <a:gd name="T64" fmla="*/ 86 w 505"/>
              <a:gd name="T65" fmla="*/ 356 h 661"/>
              <a:gd name="T66" fmla="*/ 120 w 505"/>
              <a:gd name="T67" fmla="*/ 344 h 661"/>
              <a:gd name="T68" fmla="*/ 94 w 505"/>
              <a:gd name="T69" fmla="*/ 317 h 661"/>
              <a:gd name="T70" fmla="*/ 59 w 505"/>
              <a:gd name="T71" fmla="*/ 297 h 661"/>
              <a:gd name="T72" fmla="*/ 65 w 505"/>
              <a:gd name="T73" fmla="*/ 246 h 661"/>
              <a:gd name="T74" fmla="*/ 86 w 505"/>
              <a:gd name="T75" fmla="*/ 207 h 661"/>
              <a:gd name="T76" fmla="*/ 53 w 505"/>
              <a:gd name="T77" fmla="*/ 197 h 661"/>
              <a:gd name="T78" fmla="*/ 53 w 505"/>
              <a:gd name="T79" fmla="*/ 160 h 661"/>
              <a:gd name="T80" fmla="*/ 82 w 505"/>
              <a:gd name="T81" fmla="*/ 146 h 661"/>
              <a:gd name="T82" fmla="*/ 43 w 505"/>
              <a:gd name="T83" fmla="*/ 138 h 661"/>
              <a:gd name="T84" fmla="*/ 29 w 505"/>
              <a:gd name="T85" fmla="*/ 114 h 661"/>
              <a:gd name="T86" fmla="*/ 18 w 505"/>
              <a:gd name="T87" fmla="*/ 95 h 661"/>
              <a:gd name="T88" fmla="*/ 0 w 505"/>
              <a:gd name="T89" fmla="*/ 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5" h="661">
                <a:moveTo>
                  <a:pt x="0" y="44"/>
                </a:moveTo>
                <a:lnTo>
                  <a:pt x="12" y="50"/>
                </a:lnTo>
                <a:lnTo>
                  <a:pt x="29" y="32"/>
                </a:lnTo>
                <a:lnTo>
                  <a:pt x="55" y="40"/>
                </a:lnTo>
                <a:lnTo>
                  <a:pt x="71" y="30"/>
                </a:lnTo>
                <a:lnTo>
                  <a:pt x="100" y="0"/>
                </a:lnTo>
                <a:lnTo>
                  <a:pt x="132" y="0"/>
                </a:lnTo>
                <a:lnTo>
                  <a:pt x="149" y="10"/>
                </a:lnTo>
                <a:lnTo>
                  <a:pt x="169" y="20"/>
                </a:lnTo>
                <a:lnTo>
                  <a:pt x="183" y="30"/>
                </a:lnTo>
                <a:lnTo>
                  <a:pt x="206" y="30"/>
                </a:lnTo>
                <a:lnTo>
                  <a:pt x="236" y="67"/>
                </a:lnTo>
                <a:lnTo>
                  <a:pt x="249" y="103"/>
                </a:lnTo>
                <a:lnTo>
                  <a:pt x="265" y="132"/>
                </a:lnTo>
                <a:lnTo>
                  <a:pt x="279" y="144"/>
                </a:lnTo>
                <a:lnTo>
                  <a:pt x="308" y="150"/>
                </a:lnTo>
                <a:lnTo>
                  <a:pt x="318" y="169"/>
                </a:lnTo>
                <a:lnTo>
                  <a:pt x="332" y="211"/>
                </a:lnTo>
                <a:lnTo>
                  <a:pt x="373" y="230"/>
                </a:lnTo>
                <a:lnTo>
                  <a:pt x="399" y="230"/>
                </a:lnTo>
                <a:lnTo>
                  <a:pt x="413" y="242"/>
                </a:lnTo>
                <a:lnTo>
                  <a:pt x="424" y="234"/>
                </a:lnTo>
                <a:lnTo>
                  <a:pt x="442" y="220"/>
                </a:lnTo>
                <a:lnTo>
                  <a:pt x="458" y="238"/>
                </a:lnTo>
                <a:lnTo>
                  <a:pt x="448" y="256"/>
                </a:lnTo>
                <a:lnTo>
                  <a:pt x="436" y="266"/>
                </a:lnTo>
                <a:lnTo>
                  <a:pt x="446" y="285"/>
                </a:lnTo>
                <a:lnTo>
                  <a:pt x="454" y="297"/>
                </a:lnTo>
                <a:lnTo>
                  <a:pt x="452" y="317"/>
                </a:lnTo>
                <a:lnTo>
                  <a:pt x="442" y="327"/>
                </a:lnTo>
                <a:lnTo>
                  <a:pt x="442" y="401"/>
                </a:lnTo>
                <a:lnTo>
                  <a:pt x="477" y="452"/>
                </a:lnTo>
                <a:lnTo>
                  <a:pt x="505" y="478"/>
                </a:lnTo>
                <a:lnTo>
                  <a:pt x="473" y="529"/>
                </a:lnTo>
                <a:lnTo>
                  <a:pt x="462" y="554"/>
                </a:lnTo>
                <a:lnTo>
                  <a:pt x="462" y="608"/>
                </a:lnTo>
                <a:lnTo>
                  <a:pt x="436" y="608"/>
                </a:lnTo>
                <a:lnTo>
                  <a:pt x="418" y="610"/>
                </a:lnTo>
                <a:lnTo>
                  <a:pt x="401" y="610"/>
                </a:lnTo>
                <a:lnTo>
                  <a:pt x="385" y="617"/>
                </a:lnTo>
                <a:lnTo>
                  <a:pt x="350" y="617"/>
                </a:lnTo>
                <a:lnTo>
                  <a:pt x="336" y="627"/>
                </a:lnTo>
                <a:lnTo>
                  <a:pt x="318" y="621"/>
                </a:lnTo>
                <a:lnTo>
                  <a:pt x="293" y="625"/>
                </a:lnTo>
                <a:lnTo>
                  <a:pt x="283" y="641"/>
                </a:lnTo>
                <a:lnTo>
                  <a:pt x="281" y="659"/>
                </a:lnTo>
                <a:lnTo>
                  <a:pt x="257" y="661"/>
                </a:lnTo>
                <a:lnTo>
                  <a:pt x="247" y="643"/>
                </a:lnTo>
                <a:lnTo>
                  <a:pt x="236" y="633"/>
                </a:lnTo>
                <a:lnTo>
                  <a:pt x="210" y="617"/>
                </a:lnTo>
                <a:lnTo>
                  <a:pt x="196" y="610"/>
                </a:lnTo>
                <a:lnTo>
                  <a:pt x="194" y="590"/>
                </a:lnTo>
                <a:lnTo>
                  <a:pt x="192" y="566"/>
                </a:lnTo>
                <a:lnTo>
                  <a:pt x="177" y="554"/>
                </a:lnTo>
                <a:lnTo>
                  <a:pt x="216" y="551"/>
                </a:lnTo>
                <a:lnTo>
                  <a:pt x="204" y="527"/>
                </a:lnTo>
                <a:lnTo>
                  <a:pt x="175" y="515"/>
                </a:lnTo>
                <a:lnTo>
                  <a:pt x="173" y="492"/>
                </a:lnTo>
                <a:lnTo>
                  <a:pt x="157" y="472"/>
                </a:lnTo>
                <a:lnTo>
                  <a:pt x="137" y="462"/>
                </a:lnTo>
                <a:lnTo>
                  <a:pt x="120" y="452"/>
                </a:lnTo>
                <a:lnTo>
                  <a:pt x="96" y="443"/>
                </a:lnTo>
                <a:lnTo>
                  <a:pt x="88" y="417"/>
                </a:lnTo>
                <a:lnTo>
                  <a:pt x="102" y="407"/>
                </a:lnTo>
                <a:lnTo>
                  <a:pt x="116" y="393"/>
                </a:lnTo>
                <a:lnTo>
                  <a:pt x="86" y="356"/>
                </a:lnTo>
                <a:lnTo>
                  <a:pt x="104" y="350"/>
                </a:lnTo>
                <a:lnTo>
                  <a:pt x="120" y="344"/>
                </a:lnTo>
                <a:lnTo>
                  <a:pt x="116" y="331"/>
                </a:lnTo>
                <a:lnTo>
                  <a:pt x="94" y="317"/>
                </a:lnTo>
                <a:lnTo>
                  <a:pt x="84" y="303"/>
                </a:lnTo>
                <a:lnTo>
                  <a:pt x="59" y="297"/>
                </a:lnTo>
                <a:lnTo>
                  <a:pt x="51" y="276"/>
                </a:lnTo>
                <a:lnTo>
                  <a:pt x="65" y="246"/>
                </a:lnTo>
                <a:lnTo>
                  <a:pt x="82" y="226"/>
                </a:lnTo>
                <a:lnTo>
                  <a:pt x="86" y="207"/>
                </a:lnTo>
                <a:lnTo>
                  <a:pt x="67" y="199"/>
                </a:lnTo>
                <a:lnTo>
                  <a:pt x="53" y="197"/>
                </a:lnTo>
                <a:lnTo>
                  <a:pt x="47" y="181"/>
                </a:lnTo>
                <a:lnTo>
                  <a:pt x="53" y="160"/>
                </a:lnTo>
                <a:lnTo>
                  <a:pt x="69" y="156"/>
                </a:lnTo>
                <a:lnTo>
                  <a:pt x="82" y="146"/>
                </a:lnTo>
                <a:lnTo>
                  <a:pt x="69" y="140"/>
                </a:lnTo>
                <a:lnTo>
                  <a:pt x="43" y="138"/>
                </a:lnTo>
                <a:lnTo>
                  <a:pt x="31" y="136"/>
                </a:lnTo>
                <a:lnTo>
                  <a:pt x="29" y="114"/>
                </a:lnTo>
                <a:lnTo>
                  <a:pt x="27" y="103"/>
                </a:lnTo>
                <a:lnTo>
                  <a:pt x="18" y="95"/>
                </a:lnTo>
                <a:lnTo>
                  <a:pt x="14" y="63"/>
                </a:lnTo>
                <a:lnTo>
                  <a:pt x="0" y="44"/>
                </a:lnTo>
                <a:close/>
              </a:path>
            </a:pathLst>
          </a:custGeom>
          <a:solidFill>
            <a:srgbClr val="FA0000"/>
          </a:solidFill>
          <a:ln w="9525">
            <a:solidFill>
              <a:srgbClr val="000000"/>
            </a:solidFill>
            <a:prstDash val="solid"/>
            <a:round/>
            <a:headEnd/>
            <a:tailEnd/>
          </a:ln>
        </p:spPr>
        <p:txBody>
          <a:bodyPr/>
          <a:lstStyle/>
          <a:p>
            <a:endParaRPr lang="cs-CZ"/>
          </a:p>
        </p:txBody>
      </p:sp>
      <p:sp>
        <p:nvSpPr>
          <p:cNvPr id="395" name="Freeform 403"/>
          <p:cNvSpPr>
            <a:spLocks/>
          </p:cNvSpPr>
          <p:nvPr/>
        </p:nvSpPr>
        <p:spPr bwMode="auto">
          <a:xfrm>
            <a:off x="3862388" y="4619203"/>
            <a:ext cx="273050" cy="196850"/>
          </a:xfrm>
          <a:custGeom>
            <a:avLst/>
            <a:gdLst>
              <a:gd name="T0" fmla="*/ 19 w 343"/>
              <a:gd name="T1" fmla="*/ 53 h 250"/>
              <a:gd name="T2" fmla="*/ 33 w 343"/>
              <a:gd name="T3" fmla="*/ 61 h 250"/>
              <a:gd name="T4" fmla="*/ 59 w 343"/>
              <a:gd name="T5" fmla="*/ 57 h 250"/>
              <a:gd name="T6" fmla="*/ 139 w 343"/>
              <a:gd name="T7" fmla="*/ 67 h 250"/>
              <a:gd name="T8" fmla="*/ 165 w 343"/>
              <a:gd name="T9" fmla="*/ 31 h 250"/>
              <a:gd name="T10" fmla="*/ 235 w 343"/>
              <a:gd name="T11" fmla="*/ 35 h 250"/>
              <a:gd name="T12" fmla="*/ 257 w 343"/>
              <a:gd name="T13" fmla="*/ 20 h 250"/>
              <a:gd name="T14" fmla="*/ 290 w 343"/>
              <a:gd name="T15" fmla="*/ 26 h 250"/>
              <a:gd name="T16" fmla="*/ 308 w 343"/>
              <a:gd name="T17" fmla="*/ 0 h 250"/>
              <a:gd name="T18" fmla="*/ 328 w 343"/>
              <a:gd name="T19" fmla="*/ 12 h 250"/>
              <a:gd name="T20" fmla="*/ 338 w 343"/>
              <a:gd name="T21" fmla="*/ 35 h 250"/>
              <a:gd name="T22" fmla="*/ 343 w 343"/>
              <a:gd name="T23" fmla="*/ 57 h 250"/>
              <a:gd name="T24" fmla="*/ 320 w 343"/>
              <a:gd name="T25" fmla="*/ 39 h 250"/>
              <a:gd name="T26" fmla="*/ 308 w 343"/>
              <a:gd name="T27" fmla="*/ 55 h 250"/>
              <a:gd name="T28" fmla="*/ 318 w 343"/>
              <a:gd name="T29" fmla="*/ 79 h 250"/>
              <a:gd name="T30" fmla="*/ 298 w 343"/>
              <a:gd name="T31" fmla="*/ 73 h 250"/>
              <a:gd name="T32" fmla="*/ 287 w 343"/>
              <a:gd name="T33" fmla="*/ 94 h 250"/>
              <a:gd name="T34" fmla="*/ 265 w 343"/>
              <a:gd name="T35" fmla="*/ 98 h 250"/>
              <a:gd name="T36" fmla="*/ 247 w 343"/>
              <a:gd name="T37" fmla="*/ 106 h 250"/>
              <a:gd name="T38" fmla="*/ 255 w 343"/>
              <a:gd name="T39" fmla="*/ 126 h 250"/>
              <a:gd name="T40" fmla="*/ 261 w 343"/>
              <a:gd name="T41" fmla="*/ 143 h 250"/>
              <a:gd name="T42" fmla="*/ 255 w 343"/>
              <a:gd name="T43" fmla="*/ 169 h 250"/>
              <a:gd name="T44" fmla="*/ 245 w 343"/>
              <a:gd name="T45" fmla="*/ 177 h 250"/>
              <a:gd name="T46" fmla="*/ 222 w 343"/>
              <a:gd name="T47" fmla="*/ 183 h 250"/>
              <a:gd name="T48" fmla="*/ 210 w 343"/>
              <a:gd name="T49" fmla="*/ 200 h 250"/>
              <a:gd name="T50" fmla="*/ 210 w 343"/>
              <a:gd name="T51" fmla="*/ 218 h 250"/>
              <a:gd name="T52" fmla="*/ 210 w 343"/>
              <a:gd name="T53" fmla="*/ 244 h 250"/>
              <a:gd name="T54" fmla="*/ 194 w 343"/>
              <a:gd name="T55" fmla="*/ 250 h 250"/>
              <a:gd name="T56" fmla="*/ 182 w 343"/>
              <a:gd name="T57" fmla="*/ 230 h 250"/>
              <a:gd name="T58" fmla="*/ 159 w 343"/>
              <a:gd name="T59" fmla="*/ 230 h 250"/>
              <a:gd name="T60" fmla="*/ 141 w 343"/>
              <a:gd name="T61" fmla="*/ 210 h 250"/>
              <a:gd name="T62" fmla="*/ 135 w 343"/>
              <a:gd name="T63" fmla="*/ 197 h 250"/>
              <a:gd name="T64" fmla="*/ 118 w 343"/>
              <a:gd name="T65" fmla="*/ 200 h 250"/>
              <a:gd name="T66" fmla="*/ 114 w 343"/>
              <a:gd name="T67" fmla="*/ 218 h 250"/>
              <a:gd name="T68" fmla="*/ 92 w 343"/>
              <a:gd name="T69" fmla="*/ 230 h 250"/>
              <a:gd name="T70" fmla="*/ 64 w 343"/>
              <a:gd name="T71" fmla="*/ 232 h 250"/>
              <a:gd name="T72" fmla="*/ 43 w 343"/>
              <a:gd name="T73" fmla="*/ 236 h 250"/>
              <a:gd name="T74" fmla="*/ 19 w 343"/>
              <a:gd name="T75" fmla="*/ 244 h 250"/>
              <a:gd name="T76" fmla="*/ 13 w 343"/>
              <a:gd name="T77" fmla="*/ 222 h 250"/>
              <a:gd name="T78" fmla="*/ 45 w 343"/>
              <a:gd name="T79" fmla="*/ 208 h 250"/>
              <a:gd name="T80" fmla="*/ 63 w 343"/>
              <a:gd name="T81" fmla="*/ 198 h 250"/>
              <a:gd name="T82" fmla="*/ 21 w 343"/>
              <a:gd name="T83" fmla="*/ 161 h 250"/>
              <a:gd name="T84" fmla="*/ 25 w 343"/>
              <a:gd name="T85" fmla="*/ 140 h 250"/>
              <a:gd name="T86" fmla="*/ 13 w 343"/>
              <a:gd name="T87" fmla="*/ 134 h 250"/>
              <a:gd name="T88" fmla="*/ 17 w 343"/>
              <a:gd name="T89" fmla="*/ 112 h 250"/>
              <a:gd name="T90" fmla="*/ 8 w 343"/>
              <a:gd name="T91" fmla="*/ 98 h 250"/>
              <a:gd name="T92" fmla="*/ 0 w 343"/>
              <a:gd name="T93" fmla="*/ 90 h 250"/>
              <a:gd name="T94" fmla="*/ 8 w 343"/>
              <a:gd name="T95" fmla="*/ 73 h 250"/>
              <a:gd name="T96" fmla="*/ 19 w 343"/>
              <a:gd name="T97" fmla="*/ 63 h 250"/>
              <a:gd name="T98" fmla="*/ 19 w 343"/>
              <a:gd name="T99" fmla="*/ 5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3" h="250">
                <a:moveTo>
                  <a:pt x="19" y="53"/>
                </a:moveTo>
                <a:lnTo>
                  <a:pt x="33" y="61"/>
                </a:lnTo>
                <a:lnTo>
                  <a:pt x="59" y="57"/>
                </a:lnTo>
                <a:lnTo>
                  <a:pt x="139" y="67"/>
                </a:lnTo>
                <a:lnTo>
                  <a:pt x="165" y="31"/>
                </a:lnTo>
                <a:lnTo>
                  <a:pt x="235" y="35"/>
                </a:lnTo>
                <a:lnTo>
                  <a:pt x="257" y="20"/>
                </a:lnTo>
                <a:lnTo>
                  <a:pt x="290" y="26"/>
                </a:lnTo>
                <a:lnTo>
                  <a:pt x="308" y="0"/>
                </a:lnTo>
                <a:lnTo>
                  <a:pt x="328" y="12"/>
                </a:lnTo>
                <a:lnTo>
                  <a:pt x="338" y="35"/>
                </a:lnTo>
                <a:lnTo>
                  <a:pt x="343" y="57"/>
                </a:lnTo>
                <a:lnTo>
                  <a:pt x="320" y="39"/>
                </a:lnTo>
                <a:lnTo>
                  <a:pt x="308" y="55"/>
                </a:lnTo>
                <a:lnTo>
                  <a:pt x="318" y="79"/>
                </a:lnTo>
                <a:lnTo>
                  <a:pt x="298" y="73"/>
                </a:lnTo>
                <a:lnTo>
                  <a:pt x="287" y="94"/>
                </a:lnTo>
                <a:lnTo>
                  <a:pt x="265" y="98"/>
                </a:lnTo>
                <a:lnTo>
                  <a:pt x="247" y="106"/>
                </a:lnTo>
                <a:lnTo>
                  <a:pt x="255" y="126"/>
                </a:lnTo>
                <a:lnTo>
                  <a:pt x="261" y="143"/>
                </a:lnTo>
                <a:lnTo>
                  <a:pt x="255" y="169"/>
                </a:lnTo>
                <a:lnTo>
                  <a:pt x="245" y="177"/>
                </a:lnTo>
                <a:lnTo>
                  <a:pt x="222" y="183"/>
                </a:lnTo>
                <a:lnTo>
                  <a:pt x="210" y="200"/>
                </a:lnTo>
                <a:lnTo>
                  <a:pt x="210" y="218"/>
                </a:lnTo>
                <a:lnTo>
                  <a:pt x="210" y="244"/>
                </a:lnTo>
                <a:lnTo>
                  <a:pt x="194" y="250"/>
                </a:lnTo>
                <a:lnTo>
                  <a:pt x="182" y="230"/>
                </a:lnTo>
                <a:lnTo>
                  <a:pt x="159" y="230"/>
                </a:lnTo>
                <a:lnTo>
                  <a:pt x="141" y="210"/>
                </a:lnTo>
                <a:lnTo>
                  <a:pt x="135" y="197"/>
                </a:lnTo>
                <a:lnTo>
                  <a:pt x="118" y="200"/>
                </a:lnTo>
                <a:lnTo>
                  <a:pt x="114" y="218"/>
                </a:lnTo>
                <a:lnTo>
                  <a:pt x="92" y="230"/>
                </a:lnTo>
                <a:lnTo>
                  <a:pt x="64" y="232"/>
                </a:lnTo>
                <a:lnTo>
                  <a:pt x="43" y="236"/>
                </a:lnTo>
                <a:lnTo>
                  <a:pt x="19" y="244"/>
                </a:lnTo>
                <a:lnTo>
                  <a:pt x="13" y="222"/>
                </a:lnTo>
                <a:lnTo>
                  <a:pt x="45" y="208"/>
                </a:lnTo>
                <a:lnTo>
                  <a:pt x="63" y="198"/>
                </a:lnTo>
                <a:lnTo>
                  <a:pt x="21" y="161"/>
                </a:lnTo>
                <a:lnTo>
                  <a:pt x="25" y="140"/>
                </a:lnTo>
                <a:lnTo>
                  <a:pt x="13" y="134"/>
                </a:lnTo>
                <a:lnTo>
                  <a:pt x="17" y="112"/>
                </a:lnTo>
                <a:lnTo>
                  <a:pt x="8" y="98"/>
                </a:lnTo>
                <a:lnTo>
                  <a:pt x="0" y="90"/>
                </a:lnTo>
                <a:lnTo>
                  <a:pt x="8" y="73"/>
                </a:lnTo>
                <a:lnTo>
                  <a:pt x="19" y="63"/>
                </a:lnTo>
                <a:lnTo>
                  <a:pt x="19" y="53"/>
                </a:lnTo>
                <a:close/>
              </a:path>
            </a:pathLst>
          </a:custGeom>
          <a:solidFill>
            <a:srgbClr val="D0D0D0"/>
          </a:solidFill>
          <a:ln w="9525">
            <a:solidFill>
              <a:srgbClr val="000000"/>
            </a:solidFill>
            <a:prstDash val="solid"/>
            <a:round/>
            <a:headEnd/>
            <a:tailEnd/>
          </a:ln>
        </p:spPr>
        <p:txBody>
          <a:bodyPr/>
          <a:lstStyle/>
          <a:p>
            <a:endParaRPr lang="cs-CZ"/>
          </a:p>
        </p:txBody>
      </p:sp>
      <p:sp>
        <p:nvSpPr>
          <p:cNvPr id="396" name="Freeform 404"/>
          <p:cNvSpPr>
            <a:spLocks/>
          </p:cNvSpPr>
          <p:nvPr/>
        </p:nvSpPr>
        <p:spPr bwMode="auto">
          <a:xfrm>
            <a:off x="4098925" y="4384253"/>
            <a:ext cx="576263" cy="365125"/>
          </a:xfrm>
          <a:custGeom>
            <a:avLst/>
            <a:gdLst>
              <a:gd name="T0" fmla="*/ 30 w 725"/>
              <a:gd name="T1" fmla="*/ 271 h 460"/>
              <a:gd name="T2" fmla="*/ 47 w 725"/>
              <a:gd name="T3" fmla="*/ 216 h 460"/>
              <a:gd name="T4" fmla="*/ 59 w 725"/>
              <a:gd name="T5" fmla="*/ 183 h 460"/>
              <a:gd name="T6" fmla="*/ 55 w 725"/>
              <a:gd name="T7" fmla="*/ 154 h 460"/>
              <a:gd name="T8" fmla="*/ 106 w 725"/>
              <a:gd name="T9" fmla="*/ 154 h 460"/>
              <a:gd name="T10" fmla="*/ 120 w 725"/>
              <a:gd name="T11" fmla="*/ 150 h 460"/>
              <a:gd name="T12" fmla="*/ 175 w 725"/>
              <a:gd name="T13" fmla="*/ 152 h 460"/>
              <a:gd name="T14" fmla="*/ 299 w 725"/>
              <a:gd name="T15" fmla="*/ 91 h 460"/>
              <a:gd name="T16" fmla="*/ 328 w 725"/>
              <a:gd name="T17" fmla="*/ 79 h 460"/>
              <a:gd name="T18" fmla="*/ 370 w 725"/>
              <a:gd name="T19" fmla="*/ 69 h 460"/>
              <a:gd name="T20" fmla="*/ 415 w 725"/>
              <a:gd name="T21" fmla="*/ 71 h 460"/>
              <a:gd name="T22" fmla="*/ 462 w 725"/>
              <a:gd name="T23" fmla="*/ 51 h 460"/>
              <a:gd name="T24" fmla="*/ 497 w 725"/>
              <a:gd name="T25" fmla="*/ 0 h 460"/>
              <a:gd name="T26" fmla="*/ 588 w 725"/>
              <a:gd name="T27" fmla="*/ 2 h 460"/>
              <a:gd name="T28" fmla="*/ 647 w 725"/>
              <a:gd name="T29" fmla="*/ 6 h 460"/>
              <a:gd name="T30" fmla="*/ 706 w 725"/>
              <a:gd name="T31" fmla="*/ 44 h 460"/>
              <a:gd name="T32" fmla="*/ 725 w 725"/>
              <a:gd name="T33" fmla="*/ 85 h 460"/>
              <a:gd name="T34" fmla="*/ 680 w 725"/>
              <a:gd name="T35" fmla="*/ 112 h 460"/>
              <a:gd name="T36" fmla="*/ 651 w 725"/>
              <a:gd name="T37" fmla="*/ 150 h 460"/>
              <a:gd name="T38" fmla="*/ 635 w 725"/>
              <a:gd name="T39" fmla="*/ 177 h 460"/>
              <a:gd name="T40" fmla="*/ 617 w 725"/>
              <a:gd name="T41" fmla="*/ 228 h 460"/>
              <a:gd name="T42" fmla="*/ 600 w 725"/>
              <a:gd name="T43" fmla="*/ 270 h 460"/>
              <a:gd name="T44" fmla="*/ 576 w 725"/>
              <a:gd name="T45" fmla="*/ 323 h 460"/>
              <a:gd name="T46" fmla="*/ 554 w 725"/>
              <a:gd name="T47" fmla="*/ 362 h 460"/>
              <a:gd name="T48" fmla="*/ 490 w 725"/>
              <a:gd name="T49" fmla="*/ 389 h 460"/>
              <a:gd name="T50" fmla="*/ 456 w 725"/>
              <a:gd name="T51" fmla="*/ 387 h 460"/>
              <a:gd name="T52" fmla="*/ 413 w 725"/>
              <a:gd name="T53" fmla="*/ 383 h 460"/>
              <a:gd name="T54" fmla="*/ 378 w 725"/>
              <a:gd name="T55" fmla="*/ 409 h 460"/>
              <a:gd name="T56" fmla="*/ 332 w 725"/>
              <a:gd name="T57" fmla="*/ 417 h 460"/>
              <a:gd name="T58" fmla="*/ 303 w 725"/>
              <a:gd name="T59" fmla="*/ 431 h 460"/>
              <a:gd name="T60" fmla="*/ 246 w 725"/>
              <a:gd name="T61" fmla="*/ 460 h 460"/>
              <a:gd name="T62" fmla="*/ 179 w 725"/>
              <a:gd name="T63" fmla="*/ 446 h 460"/>
              <a:gd name="T64" fmla="*/ 142 w 725"/>
              <a:gd name="T65" fmla="*/ 409 h 460"/>
              <a:gd name="T66" fmla="*/ 99 w 725"/>
              <a:gd name="T67" fmla="*/ 383 h 460"/>
              <a:gd name="T68" fmla="*/ 47 w 725"/>
              <a:gd name="T69" fmla="*/ 346 h 460"/>
              <a:gd name="T70" fmla="*/ 34 w 725"/>
              <a:gd name="T71" fmla="*/ 309 h 460"/>
              <a:gd name="T72" fmla="*/ 0 w 725"/>
              <a:gd name="T73" fmla="*/ 30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25" h="460">
                <a:moveTo>
                  <a:pt x="0" y="301"/>
                </a:moveTo>
                <a:lnTo>
                  <a:pt x="30" y="271"/>
                </a:lnTo>
                <a:lnTo>
                  <a:pt x="45" y="262"/>
                </a:lnTo>
                <a:lnTo>
                  <a:pt x="47" y="216"/>
                </a:lnTo>
                <a:lnTo>
                  <a:pt x="57" y="203"/>
                </a:lnTo>
                <a:lnTo>
                  <a:pt x="59" y="183"/>
                </a:lnTo>
                <a:lnTo>
                  <a:pt x="53" y="171"/>
                </a:lnTo>
                <a:lnTo>
                  <a:pt x="55" y="154"/>
                </a:lnTo>
                <a:lnTo>
                  <a:pt x="79" y="154"/>
                </a:lnTo>
                <a:lnTo>
                  <a:pt x="106" y="154"/>
                </a:lnTo>
                <a:lnTo>
                  <a:pt x="110" y="140"/>
                </a:lnTo>
                <a:lnTo>
                  <a:pt x="120" y="150"/>
                </a:lnTo>
                <a:lnTo>
                  <a:pt x="120" y="97"/>
                </a:lnTo>
                <a:lnTo>
                  <a:pt x="175" y="152"/>
                </a:lnTo>
                <a:lnTo>
                  <a:pt x="264" y="152"/>
                </a:lnTo>
                <a:lnTo>
                  <a:pt x="299" y="91"/>
                </a:lnTo>
                <a:lnTo>
                  <a:pt x="317" y="91"/>
                </a:lnTo>
                <a:lnTo>
                  <a:pt x="328" y="79"/>
                </a:lnTo>
                <a:lnTo>
                  <a:pt x="358" y="65"/>
                </a:lnTo>
                <a:lnTo>
                  <a:pt x="370" y="69"/>
                </a:lnTo>
                <a:lnTo>
                  <a:pt x="387" y="53"/>
                </a:lnTo>
                <a:lnTo>
                  <a:pt x="415" y="71"/>
                </a:lnTo>
                <a:lnTo>
                  <a:pt x="433" y="55"/>
                </a:lnTo>
                <a:lnTo>
                  <a:pt x="462" y="51"/>
                </a:lnTo>
                <a:lnTo>
                  <a:pt x="468" y="16"/>
                </a:lnTo>
                <a:lnTo>
                  <a:pt x="497" y="0"/>
                </a:lnTo>
                <a:lnTo>
                  <a:pt x="548" y="0"/>
                </a:lnTo>
                <a:lnTo>
                  <a:pt x="588" y="2"/>
                </a:lnTo>
                <a:lnTo>
                  <a:pt x="619" y="22"/>
                </a:lnTo>
                <a:lnTo>
                  <a:pt x="647" y="6"/>
                </a:lnTo>
                <a:lnTo>
                  <a:pt x="680" y="26"/>
                </a:lnTo>
                <a:lnTo>
                  <a:pt x="706" y="44"/>
                </a:lnTo>
                <a:lnTo>
                  <a:pt x="721" y="65"/>
                </a:lnTo>
                <a:lnTo>
                  <a:pt x="725" y="85"/>
                </a:lnTo>
                <a:lnTo>
                  <a:pt x="710" y="108"/>
                </a:lnTo>
                <a:lnTo>
                  <a:pt x="680" y="112"/>
                </a:lnTo>
                <a:lnTo>
                  <a:pt x="662" y="118"/>
                </a:lnTo>
                <a:lnTo>
                  <a:pt x="651" y="150"/>
                </a:lnTo>
                <a:lnTo>
                  <a:pt x="649" y="177"/>
                </a:lnTo>
                <a:lnTo>
                  <a:pt x="635" y="177"/>
                </a:lnTo>
                <a:lnTo>
                  <a:pt x="637" y="205"/>
                </a:lnTo>
                <a:lnTo>
                  <a:pt x="617" y="228"/>
                </a:lnTo>
                <a:lnTo>
                  <a:pt x="617" y="244"/>
                </a:lnTo>
                <a:lnTo>
                  <a:pt x="600" y="270"/>
                </a:lnTo>
                <a:lnTo>
                  <a:pt x="594" y="295"/>
                </a:lnTo>
                <a:lnTo>
                  <a:pt x="576" y="323"/>
                </a:lnTo>
                <a:lnTo>
                  <a:pt x="572" y="342"/>
                </a:lnTo>
                <a:lnTo>
                  <a:pt x="554" y="362"/>
                </a:lnTo>
                <a:lnTo>
                  <a:pt x="511" y="376"/>
                </a:lnTo>
                <a:lnTo>
                  <a:pt x="490" y="389"/>
                </a:lnTo>
                <a:lnTo>
                  <a:pt x="476" y="399"/>
                </a:lnTo>
                <a:lnTo>
                  <a:pt x="456" y="387"/>
                </a:lnTo>
                <a:lnTo>
                  <a:pt x="435" y="382"/>
                </a:lnTo>
                <a:lnTo>
                  <a:pt x="413" y="383"/>
                </a:lnTo>
                <a:lnTo>
                  <a:pt x="399" y="385"/>
                </a:lnTo>
                <a:lnTo>
                  <a:pt x="378" y="409"/>
                </a:lnTo>
                <a:lnTo>
                  <a:pt x="360" y="419"/>
                </a:lnTo>
                <a:lnTo>
                  <a:pt x="332" y="417"/>
                </a:lnTo>
                <a:lnTo>
                  <a:pt x="321" y="431"/>
                </a:lnTo>
                <a:lnTo>
                  <a:pt x="303" y="431"/>
                </a:lnTo>
                <a:lnTo>
                  <a:pt x="275" y="448"/>
                </a:lnTo>
                <a:lnTo>
                  <a:pt x="246" y="460"/>
                </a:lnTo>
                <a:lnTo>
                  <a:pt x="211" y="458"/>
                </a:lnTo>
                <a:lnTo>
                  <a:pt x="179" y="446"/>
                </a:lnTo>
                <a:lnTo>
                  <a:pt x="156" y="431"/>
                </a:lnTo>
                <a:lnTo>
                  <a:pt x="142" y="409"/>
                </a:lnTo>
                <a:lnTo>
                  <a:pt x="118" y="399"/>
                </a:lnTo>
                <a:lnTo>
                  <a:pt x="99" y="383"/>
                </a:lnTo>
                <a:lnTo>
                  <a:pt x="81" y="360"/>
                </a:lnTo>
                <a:lnTo>
                  <a:pt x="47" y="346"/>
                </a:lnTo>
                <a:lnTo>
                  <a:pt x="44" y="325"/>
                </a:lnTo>
                <a:lnTo>
                  <a:pt x="34" y="309"/>
                </a:lnTo>
                <a:lnTo>
                  <a:pt x="20" y="295"/>
                </a:lnTo>
                <a:lnTo>
                  <a:pt x="0" y="301"/>
                </a:lnTo>
                <a:close/>
              </a:path>
            </a:pathLst>
          </a:custGeom>
          <a:solidFill>
            <a:srgbClr val="D0D0D0"/>
          </a:solidFill>
          <a:ln w="9525">
            <a:solidFill>
              <a:srgbClr val="000000"/>
            </a:solidFill>
            <a:prstDash val="solid"/>
            <a:round/>
            <a:headEnd/>
            <a:tailEnd/>
          </a:ln>
        </p:spPr>
        <p:txBody>
          <a:bodyPr/>
          <a:lstStyle/>
          <a:p>
            <a:endParaRPr lang="cs-CZ"/>
          </a:p>
        </p:txBody>
      </p:sp>
      <p:sp>
        <p:nvSpPr>
          <p:cNvPr id="397" name="Freeform 405"/>
          <p:cNvSpPr>
            <a:spLocks/>
          </p:cNvSpPr>
          <p:nvPr/>
        </p:nvSpPr>
        <p:spPr bwMode="auto">
          <a:xfrm>
            <a:off x="3757613" y="4079453"/>
            <a:ext cx="563562" cy="311150"/>
          </a:xfrm>
          <a:custGeom>
            <a:avLst/>
            <a:gdLst>
              <a:gd name="T0" fmla="*/ 297 w 709"/>
              <a:gd name="T1" fmla="*/ 32 h 393"/>
              <a:gd name="T2" fmla="*/ 310 w 709"/>
              <a:gd name="T3" fmla="*/ 26 h 393"/>
              <a:gd name="T4" fmla="*/ 330 w 709"/>
              <a:gd name="T5" fmla="*/ 20 h 393"/>
              <a:gd name="T6" fmla="*/ 354 w 709"/>
              <a:gd name="T7" fmla="*/ 40 h 393"/>
              <a:gd name="T8" fmla="*/ 409 w 709"/>
              <a:gd name="T9" fmla="*/ 45 h 393"/>
              <a:gd name="T10" fmla="*/ 420 w 709"/>
              <a:gd name="T11" fmla="*/ 73 h 393"/>
              <a:gd name="T12" fmla="*/ 442 w 709"/>
              <a:gd name="T13" fmla="*/ 81 h 393"/>
              <a:gd name="T14" fmla="*/ 456 w 709"/>
              <a:gd name="T15" fmla="*/ 116 h 393"/>
              <a:gd name="T16" fmla="*/ 485 w 709"/>
              <a:gd name="T17" fmla="*/ 140 h 393"/>
              <a:gd name="T18" fmla="*/ 511 w 709"/>
              <a:gd name="T19" fmla="*/ 128 h 393"/>
              <a:gd name="T20" fmla="*/ 568 w 709"/>
              <a:gd name="T21" fmla="*/ 124 h 393"/>
              <a:gd name="T22" fmla="*/ 589 w 709"/>
              <a:gd name="T23" fmla="*/ 130 h 393"/>
              <a:gd name="T24" fmla="*/ 603 w 709"/>
              <a:gd name="T25" fmla="*/ 161 h 393"/>
              <a:gd name="T26" fmla="*/ 625 w 709"/>
              <a:gd name="T27" fmla="*/ 167 h 393"/>
              <a:gd name="T28" fmla="*/ 637 w 709"/>
              <a:gd name="T29" fmla="*/ 179 h 393"/>
              <a:gd name="T30" fmla="*/ 656 w 709"/>
              <a:gd name="T31" fmla="*/ 201 h 393"/>
              <a:gd name="T32" fmla="*/ 680 w 709"/>
              <a:gd name="T33" fmla="*/ 216 h 393"/>
              <a:gd name="T34" fmla="*/ 694 w 709"/>
              <a:gd name="T35" fmla="*/ 234 h 393"/>
              <a:gd name="T36" fmla="*/ 709 w 709"/>
              <a:gd name="T37" fmla="*/ 250 h 393"/>
              <a:gd name="T38" fmla="*/ 688 w 709"/>
              <a:gd name="T39" fmla="*/ 254 h 393"/>
              <a:gd name="T40" fmla="*/ 666 w 709"/>
              <a:gd name="T41" fmla="*/ 285 h 393"/>
              <a:gd name="T42" fmla="*/ 644 w 709"/>
              <a:gd name="T43" fmla="*/ 293 h 393"/>
              <a:gd name="T44" fmla="*/ 646 w 709"/>
              <a:gd name="T45" fmla="*/ 328 h 393"/>
              <a:gd name="T46" fmla="*/ 621 w 709"/>
              <a:gd name="T47" fmla="*/ 348 h 393"/>
              <a:gd name="T48" fmla="*/ 605 w 709"/>
              <a:gd name="T49" fmla="*/ 370 h 393"/>
              <a:gd name="T50" fmla="*/ 572 w 709"/>
              <a:gd name="T51" fmla="*/ 376 h 393"/>
              <a:gd name="T52" fmla="*/ 532 w 709"/>
              <a:gd name="T53" fmla="*/ 377 h 393"/>
              <a:gd name="T54" fmla="*/ 519 w 709"/>
              <a:gd name="T55" fmla="*/ 391 h 393"/>
              <a:gd name="T56" fmla="*/ 507 w 709"/>
              <a:gd name="T57" fmla="*/ 381 h 393"/>
              <a:gd name="T58" fmla="*/ 483 w 709"/>
              <a:gd name="T59" fmla="*/ 360 h 393"/>
              <a:gd name="T60" fmla="*/ 446 w 709"/>
              <a:gd name="T61" fmla="*/ 370 h 393"/>
              <a:gd name="T62" fmla="*/ 430 w 709"/>
              <a:gd name="T63" fmla="*/ 366 h 393"/>
              <a:gd name="T64" fmla="*/ 415 w 709"/>
              <a:gd name="T65" fmla="*/ 360 h 393"/>
              <a:gd name="T66" fmla="*/ 373 w 709"/>
              <a:gd name="T67" fmla="*/ 338 h 393"/>
              <a:gd name="T68" fmla="*/ 326 w 709"/>
              <a:gd name="T69" fmla="*/ 336 h 393"/>
              <a:gd name="T70" fmla="*/ 310 w 709"/>
              <a:gd name="T71" fmla="*/ 350 h 393"/>
              <a:gd name="T72" fmla="*/ 297 w 709"/>
              <a:gd name="T73" fmla="*/ 370 h 393"/>
              <a:gd name="T74" fmla="*/ 269 w 709"/>
              <a:gd name="T75" fmla="*/ 393 h 393"/>
              <a:gd name="T76" fmla="*/ 212 w 709"/>
              <a:gd name="T77" fmla="*/ 387 h 393"/>
              <a:gd name="T78" fmla="*/ 167 w 709"/>
              <a:gd name="T79" fmla="*/ 366 h 393"/>
              <a:gd name="T80" fmla="*/ 140 w 709"/>
              <a:gd name="T81" fmla="*/ 334 h 393"/>
              <a:gd name="T82" fmla="*/ 128 w 709"/>
              <a:gd name="T83" fmla="*/ 321 h 393"/>
              <a:gd name="T84" fmla="*/ 86 w 709"/>
              <a:gd name="T85" fmla="*/ 281 h 393"/>
              <a:gd name="T86" fmla="*/ 65 w 709"/>
              <a:gd name="T87" fmla="*/ 262 h 393"/>
              <a:gd name="T88" fmla="*/ 53 w 709"/>
              <a:gd name="T89" fmla="*/ 246 h 393"/>
              <a:gd name="T90" fmla="*/ 41 w 709"/>
              <a:gd name="T91" fmla="*/ 220 h 393"/>
              <a:gd name="T92" fmla="*/ 28 w 709"/>
              <a:gd name="T93" fmla="*/ 191 h 393"/>
              <a:gd name="T94" fmla="*/ 22 w 709"/>
              <a:gd name="T95" fmla="*/ 163 h 393"/>
              <a:gd name="T96" fmla="*/ 4 w 709"/>
              <a:gd name="T97" fmla="*/ 146 h 393"/>
              <a:gd name="T98" fmla="*/ 4 w 709"/>
              <a:gd name="T99" fmla="*/ 124 h 393"/>
              <a:gd name="T100" fmla="*/ 20 w 709"/>
              <a:gd name="T101" fmla="*/ 138 h 393"/>
              <a:gd name="T102" fmla="*/ 39 w 709"/>
              <a:gd name="T103" fmla="*/ 134 h 393"/>
              <a:gd name="T104" fmla="*/ 65 w 709"/>
              <a:gd name="T105" fmla="*/ 112 h 393"/>
              <a:gd name="T106" fmla="*/ 116 w 709"/>
              <a:gd name="T107" fmla="*/ 99 h 393"/>
              <a:gd name="T108" fmla="*/ 136 w 709"/>
              <a:gd name="T109" fmla="*/ 89 h 393"/>
              <a:gd name="T110" fmla="*/ 169 w 709"/>
              <a:gd name="T111" fmla="*/ 59 h 393"/>
              <a:gd name="T112" fmla="*/ 210 w 709"/>
              <a:gd name="T113" fmla="*/ 43 h 393"/>
              <a:gd name="T114" fmla="*/ 230 w 709"/>
              <a:gd name="T115" fmla="*/ 28 h 393"/>
              <a:gd name="T116" fmla="*/ 238 w 709"/>
              <a:gd name="T117" fmla="*/ 0 h 393"/>
              <a:gd name="T118" fmla="*/ 257 w 709"/>
              <a:gd name="T119" fmla="*/ 22 h 393"/>
              <a:gd name="T120" fmla="*/ 277 w 709"/>
              <a:gd name="T121" fmla="*/ 38 h 393"/>
              <a:gd name="T122" fmla="*/ 295 w 709"/>
              <a:gd name="T123" fmla="*/ 42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9" h="393">
                <a:moveTo>
                  <a:pt x="295" y="36"/>
                </a:moveTo>
                <a:lnTo>
                  <a:pt x="297" y="34"/>
                </a:lnTo>
                <a:lnTo>
                  <a:pt x="297" y="34"/>
                </a:lnTo>
                <a:lnTo>
                  <a:pt x="297" y="32"/>
                </a:lnTo>
                <a:lnTo>
                  <a:pt x="301" y="30"/>
                </a:lnTo>
                <a:lnTo>
                  <a:pt x="307" y="28"/>
                </a:lnTo>
                <a:lnTo>
                  <a:pt x="310" y="26"/>
                </a:lnTo>
                <a:lnTo>
                  <a:pt x="310" y="26"/>
                </a:lnTo>
                <a:lnTo>
                  <a:pt x="314" y="22"/>
                </a:lnTo>
                <a:lnTo>
                  <a:pt x="318" y="20"/>
                </a:lnTo>
                <a:lnTo>
                  <a:pt x="324" y="20"/>
                </a:lnTo>
                <a:lnTo>
                  <a:pt x="330" y="20"/>
                </a:lnTo>
                <a:lnTo>
                  <a:pt x="338" y="30"/>
                </a:lnTo>
                <a:lnTo>
                  <a:pt x="344" y="32"/>
                </a:lnTo>
                <a:lnTo>
                  <a:pt x="348" y="34"/>
                </a:lnTo>
                <a:lnTo>
                  <a:pt x="354" y="40"/>
                </a:lnTo>
                <a:lnTo>
                  <a:pt x="360" y="43"/>
                </a:lnTo>
                <a:lnTo>
                  <a:pt x="375" y="47"/>
                </a:lnTo>
                <a:lnTo>
                  <a:pt x="393" y="47"/>
                </a:lnTo>
                <a:lnTo>
                  <a:pt x="409" y="45"/>
                </a:lnTo>
                <a:lnTo>
                  <a:pt x="415" y="51"/>
                </a:lnTo>
                <a:lnTo>
                  <a:pt x="419" y="57"/>
                </a:lnTo>
                <a:lnTo>
                  <a:pt x="420" y="65"/>
                </a:lnTo>
                <a:lnTo>
                  <a:pt x="420" y="73"/>
                </a:lnTo>
                <a:lnTo>
                  <a:pt x="422" y="73"/>
                </a:lnTo>
                <a:lnTo>
                  <a:pt x="424" y="75"/>
                </a:lnTo>
                <a:lnTo>
                  <a:pt x="432" y="79"/>
                </a:lnTo>
                <a:lnTo>
                  <a:pt x="442" y="81"/>
                </a:lnTo>
                <a:lnTo>
                  <a:pt x="448" y="85"/>
                </a:lnTo>
                <a:lnTo>
                  <a:pt x="450" y="95"/>
                </a:lnTo>
                <a:lnTo>
                  <a:pt x="452" y="106"/>
                </a:lnTo>
                <a:lnTo>
                  <a:pt x="456" y="116"/>
                </a:lnTo>
                <a:lnTo>
                  <a:pt x="464" y="124"/>
                </a:lnTo>
                <a:lnTo>
                  <a:pt x="468" y="130"/>
                </a:lnTo>
                <a:lnTo>
                  <a:pt x="474" y="134"/>
                </a:lnTo>
                <a:lnTo>
                  <a:pt x="485" y="140"/>
                </a:lnTo>
                <a:lnTo>
                  <a:pt x="495" y="140"/>
                </a:lnTo>
                <a:lnTo>
                  <a:pt x="503" y="138"/>
                </a:lnTo>
                <a:lnTo>
                  <a:pt x="509" y="134"/>
                </a:lnTo>
                <a:lnTo>
                  <a:pt x="511" y="128"/>
                </a:lnTo>
                <a:lnTo>
                  <a:pt x="513" y="120"/>
                </a:lnTo>
                <a:lnTo>
                  <a:pt x="519" y="116"/>
                </a:lnTo>
                <a:lnTo>
                  <a:pt x="544" y="120"/>
                </a:lnTo>
                <a:lnTo>
                  <a:pt x="568" y="124"/>
                </a:lnTo>
                <a:lnTo>
                  <a:pt x="574" y="126"/>
                </a:lnTo>
                <a:lnTo>
                  <a:pt x="582" y="128"/>
                </a:lnTo>
                <a:lnTo>
                  <a:pt x="587" y="130"/>
                </a:lnTo>
                <a:lnTo>
                  <a:pt x="589" y="130"/>
                </a:lnTo>
                <a:lnTo>
                  <a:pt x="591" y="138"/>
                </a:lnTo>
                <a:lnTo>
                  <a:pt x="595" y="146"/>
                </a:lnTo>
                <a:lnTo>
                  <a:pt x="599" y="155"/>
                </a:lnTo>
                <a:lnTo>
                  <a:pt x="603" y="161"/>
                </a:lnTo>
                <a:lnTo>
                  <a:pt x="611" y="163"/>
                </a:lnTo>
                <a:lnTo>
                  <a:pt x="619" y="165"/>
                </a:lnTo>
                <a:lnTo>
                  <a:pt x="623" y="167"/>
                </a:lnTo>
                <a:lnTo>
                  <a:pt x="625" y="167"/>
                </a:lnTo>
                <a:lnTo>
                  <a:pt x="627" y="171"/>
                </a:lnTo>
                <a:lnTo>
                  <a:pt x="631" y="175"/>
                </a:lnTo>
                <a:lnTo>
                  <a:pt x="635" y="179"/>
                </a:lnTo>
                <a:lnTo>
                  <a:pt x="637" y="179"/>
                </a:lnTo>
                <a:lnTo>
                  <a:pt x="641" y="187"/>
                </a:lnTo>
                <a:lnTo>
                  <a:pt x="644" y="193"/>
                </a:lnTo>
                <a:lnTo>
                  <a:pt x="648" y="197"/>
                </a:lnTo>
                <a:lnTo>
                  <a:pt x="656" y="201"/>
                </a:lnTo>
                <a:lnTo>
                  <a:pt x="666" y="209"/>
                </a:lnTo>
                <a:lnTo>
                  <a:pt x="676" y="214"/>
                </a:lnTo>
                <a:lnTo>
                  <a:pt x="678" y="216"/>
                </a:lnTo>
                <a:lnTo>
                  <a:pt x="680" y="216"/>
                </a:lnTo>
                <a:lnTo>
                  <a:pt x="684" y="222"/>
                </a:lnTo>
                <a:lnTo>
                  <a:pt x="686" y="226"/>
                </a:lnTo>
                <a:lnTo>
                  <a:pt x="690" y="230"/>
                </a:lnTo>
                <a:lnTo>
                  <a:pt x="694" y="234"/>
                </a:lnTo>
                <a:lnTo>
                  <a:pt x="698" y="238"/>
                </a:lnTo>
                <a:lnTo>
                  <a:pt x="701" y="242"/>
                </a:lnTo>
                <a:lnTo>
                  <a:pt x="707" y="246"/>
                </a:lnTo>
                <a:lnTo>
                  <a:pt x="709" y="250"/>
                </a:lnTo>
                <a:lnTo>
                  <a:pt x="707" y="254"/>
                </a:lnTo>
                <a:lnTo>
                  <a:pt x="703" y="256"/>
                </a:lnTo>
                <a:lnTo>
                  <a:pt x="696" y="254"/>
                </a:lnTo>
                <a:lnTo>
                  <a:pt x="688" y="254"/>
                </a:lnTo>
                <a:lnTo>
                  <a:pt x="678" y="258"/>
                </a:lnTo>
                <a:lnTo>
                  <a:pt x="672" y="266"/>
                </a:lnTo>
                <a:lnTo>
                  <a:pt x="668" y="275"/>
                </a:lnTo>
                <a:lnTo>
                  <a:pt x="666" y="285"/>
                </a:lnTo>
                <a:lnTo>
                  <a:pt x="662" y="289"/>
                </a:lnTo>
                <a:lnTo>
                  <a:pt x="654" y="293"/>
                </a:lnTo>
                <a:lnTo>
                  <a:pt x="646" y="293"/>
                </a:lnTo>
                <a:lnTo>
                  <a:pt x="644" y="293"/>
                </a:lnTo>
                <a:lnTo>
                  <a:pt x="643" y="293"/>
                </a:lnTo>
                <a:lnTo>
                  <a:pt x="643" y="311"/>
                </a:lnTo>
                <a:lnTo>
                  <a:pt x="643" y="321"/>
                </a:lnTo>
                <a:lnTo>
                  <a:pt x="646" y="328"/>
                </a:lnTo>
                <a:lnTo>
                  <a:pt x="639" y="334"/>
                </a:lnTo>
                <a:lnTo>
                  <a:pt x="633" y="340"/>
                </a:lnTo>
                <a:lnTo>
                  <a:pt x="627" y="344"/>
                </a:lnTo>
                <a:lnTo>
                  <a:pt x="621" y="348"/>
                </a:lnTo>
                <a:lnTo>
                  <a:pt x="615" y="350"/>
                </a:lnTo>
                <a:lnTo>
                  <a:pt x="613" y="362"/>
                </a:lnTo>
                <a:lnTo>
                  <a:pt x="611" y="366"/>
                </a:lnTo>
                <a:lnTo>
                  <a:pt x="605" y="370"/>
                </a:lnTo>
                <a:lnTo>
                  <a:pt x="603" y="374"/>
                </a:lnTo>
                <a:lnTo>
                  <a:pt x="599" y="377"/>
                </a:lnTo>
                <a:lnTo>
                  <a:pt x="589" y="381"/>
                </a:lnTo>
                <a:lnTo>
                  <a:pt x="572" y="376"/>
                </a:lnTo>
                <a:lnTo>
                  <a:pt x="554" y="374"/>
                </a:lnTo>
                <a:lnTo>
                  <a:pt x="546" y="374"/>
                </a:lnTo>
                <a:lnTo>
                  <a:pt x="538" y="376"/>
                </a:lnTo>
                <a:lnTo>
                  <a:pt x="532" y="377"/>
                </a:lnTo>
                <a:lnTo>
                  <a:pt x="529" y="377"/>
                </a:lnTo>
                <a:lnTo>
                  <a:pt x="527" y="383"/>
                </a:lnTo>
                <a:lnTo>
                  <a:pt x="525" y="385"/>
                </a:lnTo>
                <a:lnTo>
                  <a:pt x="519" y="391"/>
                </a:lnTo>
                <a:lnTo>
                  <a:pt x="515" y="389"/>
                </a:lnTo>
                <a:lnTo>
                  <a:pt x="513" y="387"/>
                </a:lnTo>
                <a:lnTo>
                  <a:pt x="511" y="385"/>
                </a:lnTo>
                <a:lnTo>
                  <a:pt x="507" y="381"/>
                </a:lnTo>
                <a:lnTo>
                  <a:pt x="501" y="372"/>
                </a:lnTo>
                <a:lnTo>
                  <a:pt x="491" y="364"/>
                </a:lnTo>
                <a:lnTo>
                  <a:pt x="485" y="362"/>
                </a:lnTo>
                <a:lnTo>
                  <a:pt x="483" y="360"/>
                </a:lnTo>
                <a:lnTo>
                  <a:pt x="481" y="360"/>
                </a:lnTo>
                <a:lnTo>
                  <a:pt x="468" y="366"/>
                </a:lnTo>
                <a:lnTo>
                  <a:pt x="452" y="370"/>
                </a:lnTo>
                <a:lnTo>
                  <a:pt x="446" y="370"/>
                </a:lnTo>
                <a:lnTo>
                  <a:pt x="442" y="370"/>
                </a:lnTo>
                <a:lnTo>
                  <a:pt x="436" y="368"/>
                </a:lnTo>
                <a:lnTo>
                  <a:pt x="432" y="368"/>
                </a:lnTo>
                <a:lnTo>
                  <a:pt x="430" y="366"/>
                </a:lnTo>
                <a:lnTo>
                  <a:pt x="424" y="364"/>
                </a:lnTo>
                <a:lnTo>
                  <a:pt x="419" y="362"/>
                </a:lnTo>
                <a:lnTo>
                  <a:pt x="417" y="360"/>
                </a:lnTo>
                <a:lnTo>
                  <a:pt x="415" y="360"/>
                </a:lnTo>
                <a:lnTo>
                  <a:pt x="413" y="356"/>
                </a:lnTo>
                <a:lnTo>
                  <a:pt x="407" y="352"/>
                </a:lnTo>
                <a:lnTo>
                  <a:pt x="391" y="344"/>
                </a:lnTo>
                <a:lnTo>
                  <a:pt x="373" y="338"/>
                </a:lnTo>
                <a:lnTo>
                  <a:pt x="365" y="336"/>
                </a:lnTo>
                <a:lnTo>
                  <a:pt x="360" y="334"/>
                </a:lnTo>
                <a:lnTo>
                  <a:pt x="330" y="334"/>
                </a:lnTo>
                <a:lnTo>
                  <a:pt x="326" y="336"/>
                </a:lnTo>
                <a:lnTo>
                  <a:pt x="320" y="340"/>
                </a:lnTo>
                <a:lnTo>
                  <a:pt x="316" y="342"/>
                </a:lnTo>
                <a:lnTo>
                  <a:pt x="314" y="344"/>
                </a:lnTo>
                <a:lnTo>
                  <a:pt x="310" y="350"/>
                </a:lnTo>
                <a:lnTo>
                  <a:pt x="308" y="354"/>
                </a:lnTo>
                <a:lnTo>
                  <a:pt x="307" y="356"/>
                </a:lnTo>
                <a:lnTo>
                  <a:pt x="303" y="358"/>
                </a:lnTo>
                <a:lnTo>
                  <a:pt x="297" y="370"/>
                </a:lnTo>
                <a:lnTo>
                  <a:pt x="289" y="383"/>
                </a:lnTo>
                <a:lnTo>
                  <a:pt x="283" y="387"/>
                </a:lnTo>
                <a:lnTo>
                  <a:pt x="277" y="391"/>
                </a:lnTo>
                <a:lnTo>
                  <a:pt x="269" y="393"/>
                </a:lnTo>
                <a:lnTo>
                  <a:pt x="267" y="393"/>
                </a:lnTo>
                <a:lnTo>
                  <a:pt x="240" y="391"/>
                </a:lnTo>
                <a:lnTo>
                  <a:pt x="226" y="391"/>
                </a:lnTo>
                <a:lnTo>
                  <a:pt x="212" y="387"/>
                </a:lnTo>
                <a:lnTo>
                  <a:pt x="202" y="379"/>
                </a:lnTo>
                <a:lnTo>
                  <a:pt x="191" y="374"/>
                </a:lnTo>
                <a:lnTo>
                  <a:pt x="179" y="370"/>
                </a:lnTo>
                <a:lnTo>
                  <a:pt x="167" y="366"/>
                </a:lnTo>
                <a:lnTo>
                  <a:pt x="159" y="356"/>
                </a:lnTo>
                <a:lnTo>
                  <a:pt x="149" y="348"/>
                </a:lnTo>
                <a:lnTo>
                  <a:pt x="147" y="340"/>
                </a:lnTo>
                <a:lnTo>
                  <a:pt x="140" y="334"/>
                </a:lnTo>
                <a:lnTo>
                  <a:pt x="136" y="328"/>
                </a:lnTo>
                <a:lnTo>
                  <a:pt x="134" y="324"/>
                </a:lnTo>
                <a:lnTo>
                  <a:pt x="132" y="324"/>
                </a:lnTo>
                <a:lnTo>
                  <a:pt x="128" y="321"/>
                </a:lnTo>
                <a:lnTo>
                  <a:pt x="120" y="309"/>
                </a:lnTo>
                <a:lnTo>
                  <a:pt x="110" y="299"/>
                </a:lnTo>
                <a:lnTo>
                  <a:pt x="98" y="289"/>
                </a:lnTo>
                <a:lnTo>
                  <a:pt x="86" y="281"/>
                </a:lnTo>
                <a:lnTo>
                  <a:pt x="83" y="273"/>
                </a:lnTo>
                <a:lnTo>
                  <a:pt x="75" y="269"/>
                </a:lnTo>
                <a:lnTo>
                  <a:pt x="71" y="266"/>
                </a:lnTo>
                <a:lnTo>
                  <a:pt x="65" y="262"/>
                </a:lnTo>
                <a:lnTo>
                  <a:pt x="61" y="260"/>
                </a:lnTo>
                <a:lnTo>
                  <a:pt x="59" y="258"/>
                </a:lnTo>
                <a:lnTo>
                  <a:pt x="57" y="252"/>
                </a:lnTo>
                <a:lnTo>
                  <a:pt x="53" y="246"/>
                </a:lnTo>
                <a:lnTo>
                  <a:pt x="45" y="234"/>
                </a:lnTo>
                <a:lnTo>
                  <a:pt x="45" y="230"/>
                </a:lnTo>
                <a:lnTo>
                  <a:pt x="43" y="224"/>
                </a:lnTo>
                <a:lnTo>
                  <a:pt x="41" y="220"/>
                </a:lnTo>
                <a:lnTo>
                  <a:pt x="39" y="218"/>
                </a:lnTo>
                <a:lnTo>
                  <a:pt x="35" y="209"/>
                </a:lnTo>
                <a:lnTo>
                  <a:pt x="29" y="197"/>
                </a:lnTo>
                <a:lnTo>
                  <a:pt x="28" y="191"/>
                </a:lnTo>
                <a:lnTo>
                  <a:pt x="28" y="183"/>
                </a:lnTo>
                <a:lnTo>
                  <a:pt x="26" y="175"/>
                </a:lnTo>
                <a:lnTo>
                  <a:pt x="24" y="167"/>
                </a:lnTo>
                <a:lnTo>
                  <a:pt x="22" y="163"/>
                </a:lnTo>
                <a:lnTo>
                  <a:pt x="18" y="159"/>
                </a:lnTo>
                <a:lnTo>
                  <a:pt x="16" y="154"/>
                </a:lnTo>
                <a:lnTo>
                  <a:pt x="10" y="152"/>
                </a:lnTo>
                <a:lnTo>
                  <a:pt x="4" y="146"/>
                </a:lnTo>
                <a:lnTo>
                  <a:pt x="0" y="138"/>
                </a:lnTo>
                <a:lnTo>
                  <a:pt x="2" y="132"/>
                </a:lnTo>
                <a:lnTo>
                  <a:pt x="2" y="126"/>
                </a:lnTo>
                <a:lnTo>
                  <a:pt x="4" y="124"/>
                </a:lnTo>
                <a:lnTo>
                  <a:pt x="6" y="124"/>
                </a:lnTo>
                <a:lnTo>
                  <a:pt x="12" y="128"/>
                </a:lnTo>
                <a:lnTo>
                  <a:pt x="18" y="136"/>
                </a:lnTo>
                <a:lnTo>
                  <a:pt x="20" y="138"/>
                </a:lnTo>
                <a:lnTo>
                  <a:pt x="22" y="138"/>
                </a:lnTo>
                <a:lnTo>
                  <a:pt x="28" y="136"/>
                </a:lnTo>
                <a:lnTo>
                  <a:pt x="33" y="136"/>
                </a:lnTo>
                <a:lnTo>
                  <a:pt x="39" y="134"/>
                </a:lnTo>
                <a:lnTo>
                  <a:pt x="45" y="130"/>
                </a:lnTo>
                <a:lnTo>
                  <a:pt x="49" y="124"/>
                </a:lnTo>
                <a:lnTo>
                  <a:pt x="55" y="118"/>
                </a:lnTo>
                <a:lnTo>
                  <a:pt x="65" y="112"/>
                </a:lnTo>
                <a:lnTo>
                  <a:pt x="75" y="108"/>
                </a:lnTo>
                <a:lnTo>
                  <a:pt x="98" y="102"/>
                </a:lnTo>
                <a:lnTo>
                  <a:pt x="108" y="100"/>
                </a:lnTo>
                <a:lnTo>
                  <a:pt x="116" y="99"/>
                </a:lnTo>
                <a:lnTo>
                  <a:pt x="122" y="97"/>
                </a:lnTo>
                <a:lnTo>
                  <a:pt x="126" y="95"/>
                </a:lnTo>
                <a:lnTo>
                  <a:pt x="132" y="91"/>
                </a:lnTo>
                <a:lnTo>
                  <a:pt x="136" y="89"/>
                </a:lnTo>
                <a:lnTo>
                  <a:pt x="143" y="75"/>
                </a:lnTo>
                <a:lnTo>
                  <a:pt x="151" y="67"/>
                </a:lnTo>
                <a:lnTo>
                  <a:pt x="163" y="61"/>
                </a:lnTo>
                <a:lnTo>
                  <a:pt x="169" y="59"/>
                </a:lnTo>
                <a:lnTo>
                  <a:pt x="179" y="57"/>
                </a:lnTo>
                <a:lnTo>
                  <a:pt x="193" y="51"/>
                </a:lnTo>
                <a:lnTo>
                  <a:pt x="204" y="47"/>
                </a:lnTo>
                <a:lnTo>
                  <a:pt x="210" y="43"/>
                </a:lnTo>
                <a:lnTo>
                  <a:pt x="216" y="42"/>
                </a:lnTo>
                <a:lnTo>
                  <a:pt x="222" y="40"/>
                </a:lnTo>
                <a:lnTo>
                  <a:pt x="228" y="38"/>
                </a:lnTo>
                <a:lnTo>
                  <a:pt x="230" y="28"/>
                </a:lnTo>
                <a:lnTo>
                  <a:pt x="230" y="16"/>
                </a:lnTo>
                <a:lnTo>
                  <a:pt x="230" y="6"/>
                </a:lnTo>
                <a:lnTo>
                  <a:pt x="234" y="2"/>
                </a:lnTo>
                <a:lnTo>
                  <a:pt x="238" y="0"/>
                </a:lnTo>
                <a:lnTo>
                  <a:pt x="246" y="4"/>
                </a:lnTo>
                <a:lnTo>
                  <a:pt x="251" y="10"/>
                </a:lnTo>
                <a:lnTo>
                  <a:pt x="253" y="16"/>
                </a:lnTo>
                <a:lnTo>
                  <a:pt x="257" y="22"/>
                </a:lnTo>
                <a:lnTo>
                  <a:pt x="265" y="30"/>
                </a:lnTo>
                <a:lnTo>
                  <a:pt x="269" y="34"/>
                </a:lnTo>
                <a:lnTo>
                  <a:pt x="273" y="36"/>
                </a:lnTo>
                <a:lnTo>
                  <a:pt x="277" y="38"/>
                </a:lnTo>
                <a:lnTo>
                  <a:pt x="279" y="38"/>
                </a:lnTo>
                <a:lnTo>
                  <a:pt x="285" y="38"/>
                </a:lnTo>
                <a:lnTo>
                  <a:pt x="291" y="42"/>
                </a:lnTo>
                <a:lnTo>
                  <a:pt x="295" y="42"/>
                </a:lnTo>
                <a:lnTo>
                  <a:pt x="295" y="40"/>
                </a:lnTo>
                <a:lnTo>
                  <a:pt x="295" y="36"/>
                </a:lnTo>
                <a:close/>
              </a:path>
            </a:pathLst>
          </a:custGeom>
          <a:solidFill>
            <a:srgbClr val="D0D0D0"/>
          </a:solidFill>
          <a:ln w="9525">
            <a:solidFill>
              <a:srgbClr val="000000"/>
            </a:solidFill>
            <a:prstDash val="solid"/>
            <a:round/>
            <a:headEnd/>
            <a:tailEnd/>
          </a:ln>
        </p:spPr>
        <p:txBody>
          <a:bodyPr/>
          <a:lstStyle/>
          <a:p>
            <a:endParaRPr lang="cs-CZ"/>
          </a:p>
        </p:txBody>
      </p:sp>
      <p:sp>
        <p:nvSpPr>
          <p:cNvPr id="398" name="Freeform 406"/>
          <p:cNvSpPr>
            <a:spLocks/>
          </p:cNvSpPr>
          <p:nvPr/>
        </p:nvSpPr>
        <p:spPr bwMode="auto">
          <a:xfrm>
            <a:off x="3933825" y="3593678"/>
            <a:ext cx="806450" cy="719137"/>
          </a:xfrm>
          <a:custGeom>
            <a:avLst/>
            <a:gdLst>
              <a:gd name="T0" fmla="*/ 755 w 1016"/>
              <a:gd name="T1" fmla="*/ 55 h 906"/>
              <a:gd name="T2" fmla="*/ 904 w 1016"/>
              <a:gd name="T3" fmla="*/ 122 h 906"/>
              <a:gd name="T4" fmla="*/ 927 w 1016"/>
              <a:gd name="T5" fmla="*/ 199 h 906"/>
              <a:gd name="T6" fmla="*/ 943 w 1016"/>
              <a:gd name="T7" fmla="*/ 305 h 906"/>
              <a:gd name="T8" fmla="*/ 906 w 1016"/>
              <a:gd name="T9" fmla="*/ 377 h 906"/>
              <a:gd name="T10" fmla="*/ 925 w 1016"/>
              <a:gd name="T11" fmla="*/ 405 h 906"/>
              <a:gd name="T12" fmla="*/ 943 w 1016"/>
              <a:gd name="T13" fmla="*/ 438 h 906"/>
              <a:gd name="T14" fmla="*/ 953 w 1016"/>
              <a:gd name="T15" fmla="*/ 523 h 906"/>
              <a:gd name="T16" fmla="*/ 994 w 1016"/>
              <a:gd name="T17" fmla="*/ 576 h 906"/>
              <a:gd name="T18" fmla="*/ 1006 w 1016"/>
              <a:gd name="T19" fmla="*/ 601 h 906"/>
              <a:gd name="T20" fmla="*/ 1006 w 1016"/>
              <a:gd name="T21" fmla="*/ 617 h 906"/>
              <a:gd name="T22" fmla="*/ 898 w 1016"/>
              <a:gd name="T23" fmla="*/ 814 h 906"/>
              <a:gd name="T24" fmla="*/ 810 w 1016"/>
              <a:gd name="T25" fmla="*/ 863 h 906"/>
              <a:gd name="T26" fmla="*/ 711 w 1016"/>
              <a:gd name="T27" fmla="*/ 873 h 906"/>
              <a:gd name="T28" fmla="*/ 678 w 1016"/>
              <a:gd name="T29" fmla="*/ 865 h 906"/>
              <a:gd name="T30" fmla="*/ 623 w 1016"/>
              <a:gd name="T31" fmla="*/ 884 h 906"/>
              <a:gd name="T32" fmla="*/ 611 w 1016"/>
              <a:gd name="T33" fmla="*/ 902 h 906"/>
              <a:gd name="T34" fmla="*/ 607 w 1016"/>
              <a:gd name="T35" fmla="*/ 904 h 906"/>
              <a:gd name="T36" fmla="*/ 580 w 1016"/>
              <a:gd name="T37" fmla="*/ 877 h 906"/>
              <a:gd name="T38" fmla="*/ 564 w 1016"/>
              <a:gd name="T39" fmla="*/ 861 h 906"/>
              <a:gd name="T40" fmla="*/ 538 w 1016"/>
              <a:gd name="T41" fmla="*/ 851 h 906"/>
              <a:gd name="T42" fmla="*/ 483 w 1016"/>
              <a:gd name="T43" fmla="*/ 849 h 906"/>
              <a:gd name="T44" fmla="*/ 440 w 1016"/>
              <a:gd name="T45" fmla="*/ 816 h 906"/>
              <a:gd name="T46" fmla="*/ 399 w 1016"/>
              <a:gd name="T47" fmla="*/ 776 h 906"/>
              <a:gd name="T48" fmla="*/ 371 w 1016"/>
              <a:gd name="T49" fmla="*/ 751 h 906"/>
              <a:gd name="T50" fmla="*/ 334 w 1016"/>
              <a:gd name="T51" fmla="*/ 729 h 906"/>
              <a:gd name="T52" fmla="*/ 295 w 1016"/>
              <a:gd name="T53" fmla="*/ 721 h 906"/>
              <a:gd name="T54" fmla="*/ 287 w 1016"/>
              <a:gd name="T55" fmla="*/ 735 h 906"/>
              <a:gd name="T56" fmla="*/ 269 w 1016"/>
              <a:gd name="T57" fmla="*/ 749 h 906"/>
              <a:gd name="T58" fmla="*/ 238 w 1016"/>
              <a:gd name="T59" fmla="*/ 729 h 906"/>
              <a:gd name="T60" fmla="*/ 224 w 1016"/>
              <a:gd name="T61" fmla="*/ 696 h 906"/>
              <a:gd name="T62" fmla="*/ 198 w 1016"/>
              <a:gd name="T63" fmla="*/ 684 h 906"/>
              <a:gd name="T64" fmla="*/ 189 w 1016"/>
              <a:gd name="T65" fmla="*/ 656 h 906"/>
              <a:gd name="T66" fmla="*/ 165 w 1016"/>
              <a:gd name="T67" fmla="*/ 654 h 906"/>
              <a:gd name="T68" fmla="*/ 132 w 1016"/>
              <a:gd name="T69" fmla="*/ 653 h 906"/>
              <a:gd name="T70" fmla="*/ 106 w 1016"/>
              <a:gd name="T71" fmla="*/ 629 h 906"/>
              <a:gd name="T72" fmla="*/ 86 w 1016"/>
              <a:gd name="T73" fmla="*/ 633 h 906"/>
              <a:gd name="T74" fmla="*/ 75 w 1016"/>
              <a:gd name="T75" fmla="*/ 653 h 906"/>
              <a:gd name="T76" fmla="*/ 83 w 1016"/>
              <a:gd name="T77" fmla="*/ 570 h 906"/>
              <a:gd name="T78" fmla="*/ 59 w 1016"/>
              <a:gd name="T79" fmla="*/ 525 h 906"/>
              <a:gd name="T80" fmla="*/ 45 w 1016"/>
              <a:gd name="T81" fmla="*/ 505 h 906"/>
              <a:gd name="T82" fmla="*/ 45 w 1016"/>
              <a:gd name="T83" fmla="*/ 466 h 906"/>
              <a:gd name="T84" fmla="*/ 29 w 1016"/>
              <a:gd name="T85" fmla="*/ 387 h 906"/>
              <a:gd name="T86" fmla="*/ 2 w 1016"/>
              <a:gd name="T87" fmla="*/ 336 h 906"/>
              <a:gd name="T88" fmla="*/ 16 w 1016"/>
              <a:gd name="T89" fmla="*/ 301 h 906"/>
              <a:gd name="T90" fmla="*/ 14 w 1016"/>
              <a:gd name="T91" fmla="*/ 222 h 906"/>
              <a:gd name="T92" fmla="*/ 35 w 1016"/>
              <a:gd name="T93" fmla="*/ 185 h 906"/>
              <a:gd name="T94" fmla="*/ 37 w 1016"/>
              <a:gd name="T95" fmla="*/ 150 h 906"/>
              <a:gd name="T96" fmla="*/ 100 w 1016"/>
              <a:gd name="T97" fmla="*/ 128 h 906"/>
              <a:gd name="T98" fmla="*/ 124 w 1016"/>
              <a:gd name="T99" fmla="*/ 110 h 906"/>
              <a:gd name="T100" fmla="*/ 177 w 1016"/>
              <a:gd name="T101" fmla="*/ 97 h 906"/>
              <a:gd name="T102" fmla="*/ 226 w 1016"/>
              <a:gd name="T103" fmla="*/ 57 h 906"/>
              <a:gd name="T104" fmla="*/ 273 w 1016"/>
              <a:gd name="T105" fmla="*/ 30 h 906"/>
              <a:gd name="T106" fmla="*/ 320 w 1016"/>
              <a:gd name="T107" fmla="*/ 8 h 906"/>
              <a:gd name="T108" fmla="*/ 377 w 1016"/>
              <a:gd name="T109" fmla="*/ 2 h 906"/>
              <a:gd name="T110" fmla="*/ 428 w 1016"/>
              <a:gd name="T111" fmla="*/ 16 h 906"/>
              <a:gd name="T112" fmla="*/ 422 w 1016"/>
              <a:gd name="T113" fmla="*/ 34 h 906"/>
              <a:gd name="T114" fmla="*/ 426 w 1016"/>
              <a:gd name="T115" fmla="*/ 61 h 906"/>
              <a:gd name="T116" fmla="*/ 477 w 1016"/>
              <a:gd name="T117" fmla="*/ 65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16" h="906">
                <a:moveTo>
                  <a:pt x="521" y="51"/>
                </a:moveTo>
                <a:lnTo>
                  <a:pt x="588" y="63"/>
                </a:lnTo>
                <a:lnTo>
                  <a:pt x="692" y="71"/>
                </a:lnTo>
                <a:lnTo>
                  <a:pt x="755" y="55"/>
                </a:lnTo>
                <a:lnTo>
                  <a:pt x="817" y="36"/>
                </a:lnTo>
                <a:lnTo>
                  <a:pt x="853" y="40"/>
                </a:lnTo>
                <a:lnTo>
                  <a:pt x="888" y="73"/>
                </a:lnTo>
                <a:lnTo>
                  <a:pt x="904" y="122"/>
                </a:lnTo>
                <a:lnTo>
                  <a:pt x="910" y="146"/>
                </a:lnTo>
                <a:lnTo>
                  <a:pt x="918" y="167"/>
                </a:lnTo>
                <a:lnTo>
                  <a:pt x="922" y="183"/>
                </a:lnTo>
                <a:lnTo>
                  <a:pt x="927" y="199"/>
                </a:lnTo>
                <a:lnTo>
                  <a:pt x="943" y="224"/>
                </a:lnTo>
                <a:lnTo>
                  <a:pt x="949" y="277"/>
                </a:lnTo>
                <a:lnTo>
                  <a:pt x="947" y="291"/>
                </a:lnTo>
                <a:lnTo>
                  <a:pt x="943" y="305"/>
                </a:lnTo>
                <a:lnTo>
                  <a:pt x="931" y="326"/>
                </a:lnTo>
                <a:lnTo>
                  <a:pt x="918" y="346"/>
                </a:lnTo>
                <a:lnTo>
                  <a:pt x="904" y="370"/>
                </a:lnTo>
                <a:lnTo>
                  <a:pt x="906" y="377"/>
                </a:lnTo>
                <a:lnTo>
                  <a:pt x="910" y="385"/>
                </a:lnTo>
                <a:lnTo>
                  <a:pt x="914" y="389"/>
                </a:lnTo>
                <a:lnTo>
                  <a:pt x="920" y="393"/>
                </a:lnTo>
                <a:lnTo>
                  <a:pt x="925" y="405"/>
                </a:lnTo>
                <a:lnTo>
                  <a:pt x="933" y="415"/>
                </a:lnTo>
                <a:lnTo>
                  <a:pt x="935" y="421"/>
                </a:lnTo>
                <a:lnTo>
                  <a:pt x="937" y="427"/>
                </a:lnTo>
                <a:lnTo>
                  <a:pt x="943" y="438"/>
                </a:lnTo>
                <a:lnTo>
                  <a:pt x="943" y="460"/>
                </a:lnTo>
                <a:lnTo>
                  <a:pt x="945" y="482"/>
                </a:lnTo>
                <a:lnTo>
                  <a:pt x="947" y="503"/>
                </a:lnTo>
                <a:lnTo>
                  <a:pt x="953" y="523"/>
                </a:lnTo>
                <a:lnTo>
                  <a:pt x="957" y="535"/>
                </a:lnTo>
                <a:lnTo>
                  <a:pt x="965" y="546"/>
                </a:lnTo>
                <a:lnTo>
                  <a:pt x="984" y="562"/>
                </a:lnTo>
                <a:lnTo>
                  <a:pt x="994" y="576"/>
                </a:lnTo>
                <a:lnTo>
                  <a:pt x="1000" y="582"/>
                </a:lnTo>
                <a:lnTo>
                  <a:pt x="1004" y="590"/>
                </a:lnTo>
                <a:lnTo>
                  <a:pt x="1004" y="596"/>
                </a:lnTo>
                <a:lnTo>
                  <a:pt x="1006" y="601"/>
                </a:lnTo>
                <a:lnTo>
                  <a:pt x="1006" y="605"/>
                </a:lnTo>
                <a:lnTo>
                  <a:pt x="1006" y="609"/>
                </a:lnTo>
                <a:lnTo>
                  <a:pt x="1006" y="613"/>
                </a:lnTo>
                <a:lnTo>
                  <a:pt x="1006" y="617"/>
                </a:lnTo>
                <a:lnTo>
                  <a:pt x="1016" y="654"/>
                </a:lnTo>
                <a:lnTo>
                  <a:pt x="971" y="692"/>
                </a:lnTo>
                <a:lnTo>
                  <a:pt x="927" y="743"/>
                </a:lnTo>
                <a:lnTo>
                  <a:pt x="898" y="814"/>
                </a:lnTo>
                <a:lnTo>
                  <a:pt x="908" y="855"/>
                </a:lnTo>
                <a:lnTo>
                  <a:pt x="902" y="888"/>
                </a:lnTo>
                <a:lnTo>
                  <a:pt x="868" y="888"/>
                </a:lnTo>
                <a:lnTo>
                  <a:pt x="810" y="863"/>
                </a:lnTo>
                <a:lnTo>
                  <a:pt x="774" y="843"/>
                </a:lnTo>
                <a:lnTo>
                  <a:pt x="719" y="859"/>
                </a:lnTo>
                <a:lnTo>
                  <a:pt x="715" y="867"/>
                </a:lnTo>
                <a:lnTo>
                  <a:pt x="711" y="873"/>
                </a:lnTo>
                <a:lnTo>
                  <a:pt x="709" y="875"/>
                </a:lnTo>
                <a:lnTo>
                  <a:pt x="705" y="875"/>
                </a:lnTo>
                <a:lnTo>
                  <a:pt x="694" y="873"/>
                </a:lnTo>
                <a:lnTo>
                  <a:pt x="678" y="865"/>
                </a:lnTo>
                <a:lnTo>
                  <a:pt x="650" y="869"/>
                </a:lnTo>
                <a:lnTo>
                  <a:pt x="639" y="873"/>
                </a:lnTo>
                <a:lnTo>
                  <a:pt x="627" y="878"/>
                </a:lnTo>
                <a:lnTo>
                  <a:pt x="623" y="884"/>
                </a:lnTo>
                <a:lnTo>
                  <a:pt x="621" y="890"/>
                </a:lnTo>
                <a:lnTo>
                  <a:pt x="619" y="894"/>
                </a:lnTo>
                <a:lnTo>
                  <a:pt x="613" y="900"/>
                </a:lnTo>
                <a:lnTo>
                  <a:pt x="611" y="902"/>
                </a:lnTo>
                <a:lnTo>
                  <a:pt x="611" y="904"/>
                </a:lnTo>
                <a:lnTo>
                  <a:pt x="609" y="906"/>
                </a:lnTo>
                <a:lnTo>
                  <a:pt x="607" y="906"/>
                </a:lnTo>
                <a:lnTo>
                  <a:pt x="607" y="904"/>
                </a:lnTo>
                <a:lnTo>
                  <a:pt x="603" y="902"/>
                </a:lnTo>
                <a:lnTo>
                  <a:pt x="595" y="892"/>
                </a:lnTo>
                <a:lnTo>
                  <a:pt x="586" y="880"/>
                </a:lnTo>
                <a:lnTo>
                  <a:pt x="580" y="877"/>
                </a:lnTo>
                <a:lnTo>
                  <a:pt x="576" y="875"/>
                </a:lnTo>
                <a:lnTo>
                  <a:pt x="572" y="867"/>
                </a:lnTo>
                <a:lnTo>
                  <a:pt x="568" y="863"/>
                </a:lnTo>
                <a:lnTo>
                  <a:pt x="564" y="861"/>
                </a:lnTo>
                <a:lnTo>
                  <a:pt x="556" y="859"/>
                </a:lnTo>
                <a:lnTo>
                  <a:pt x="550" y="855"/>
                </a:lnTo>
                <a:lnTo>
                  <a:pt x="544" y="851"/>
                </a:lnTo>
                <a:lnTo>
                  <a:pt x="538" y="851"/>
                </a:lnTo>
                <a:lnTo>
                  <a:pt x="531" y="853"/>
                </a:lnTo>
                <a:lnTo>
                  <a:pt x="517" y="853"/>
                </a:lnTo>
                <a:lnTo>
                  <a:pt x="499" y="851"/>
                </a:lnTo>
                <a:lnTo>
                  <a:pt x="483" y="849"/>
                </a:lnTo>
                <a:lnTo>
                  <a:pt x="468" y="843"/>
                </a:lnTo>
                <a:lnTo>
                  <a:pt x="460" y="833"/>
                </a:lnTo>
                <a:lnTo>
                  <a:pt x="452" y="823"/>
                </a:lnTo>
                <a:lnTo>
                  <a:pt x="440" y="816"/>
                </a:lnTo>
                <a:lnTo>
                  <a:pt x="428" y="810"/>
                </a:lnTo>
                <a:lnTo>
                  <a:pt x="419" y="796"/>
                </a:lnTo>
                <a:lnTo>
                  <a:pt x="409" y="784"/>
                </a:lnTo>
                <a:lnTo>
                  <a:pt x="399" y="776"/>
                </a:lnTo>
                <a:lnTo>
                  <a:pt x="383" y="770"/>
                </a:lnTo>
                <a:lnTo>
                  <a:pt x="375" y="765"/>
                </a:lnTo>
                <a:lnTo>
                  <a:pt x="373" y="759"/>
                </a:lnTo>
                <a:lnTo>
                  <a:pt x="371" y="751"/>
                </a:lnTo>
                <a:lnTo>
                  <a:pt x="365" y="743"/>
                </a:lnTo>
                <a:lnTo>
                  <a:pt x="358" y="737"/>
                </a:lnTo>
                <a:lnTo>
                  <a:pt x="352" y="733"/>
                </a:lnTo>
                <a:lnTo>
                  <a:pt x="334" y="729"/>
                </a:lnTo>
                <a:lnTo>
                  <a:pt x="318" y="727"/>
                </a:lnTo>
                <a:lnTo>
                  <a:pt x="301" y="725"/>
                </a:lnTo>
                <a:lnTo>
                  <a:pt x="297" y="721"/>
                </a:lnTo>
                <a:lnTo>
                  <a:pt x="295" y="721"/>
                </a:lnTo>
                <a:lnTo>
                  <a:pt x="295" y="721"/>
                </a:lnTo>
                <a:lnTo>
                  <a:pt x="293" y="725"/>
                </a:lnTo>
                <a:lnTo>
                  <a:pt x="289" y="729"/>
                </a:lnTo>
                <a:lnTo>
                  <a:pt x="287" y="735"/>
                </a:lnTo>
                <a:lnTo>
                  <a:pt x="285" y="737"/>
                </a:lnTo>
                <a:lnTo>
                  <a:pt x="281" y="743"/>
                </a:lnTo>
                <a:lnTo>
                  <a:pt x="275" y="745"/>
                </a:lnTo>
                <a:lnTo>
                  <a:pt x="269" y="749"/>
                </a:lnTo>
                <a:lnTo>
                  <a:pt x="263" y="751"/>
                </a:lnTo>
                <a:lnTo>
                  <a:pt x="252" y="745"/>
                </a:lnTo>
                <a:lnTo>
                  <a:pt x="244" y="739"/>
                </a:lnTo>
                <a:lnTo>
                  <a:pt x="238" y="729"/>
                </a:lnTo>
                <a:lnTo>
                  <a:pt x="228" y="719"/>
                </a:lnTo>
                <a:lnTo>
                  <a:pt x="226" y="711"/>
                </a:lnTo>
                <a:lnTo>
                  <a:pt x="226" y="706"/>
                </a:lnTo>
                <a:lnTo>
                  <a:pt x="224" y="696"/>
                </a:lnTo>
                <a:lnTo>
                  <a:pt x="222" y="692"/>
                </a:lnTo>
                <a:lnTo>
                  <a:pt x="218" y="690"/>
                </a:lnTo>
                <a:lnTo>
                  <a:pt x="210" y="686"/>
                </a:lnTo>
                <a:lnTo>
                  <a:pt x="198" y="684"/>
                </a:lnTo>
                <a:lnTo>
                  <a:pt x="195" y="674"/>
                </a:lnTo>
                <a:lnTo>
                  <a:pt x="195" y="664"/>
                </a:lnTo>
                <a:lnTo>
                  <a:pt x="193" y="658"/>
                </a:lnTo>
                <a:lnTo>
                  <a:pt x="189" y="656"/>
                </a:lnTo>
                <a:lnTo>
                  <a:pt x="183" y="654"/>
                </a:lnTo>
                <a:lnTo>
                  <a:pt x="177" y="653"/>
                </a:lnTo>
                <a:lnTo>
                  <a:pt x="171" y="653"/>
                </a:lnTo>
                <a:lnTo>
                  <a:pt x="165" y="654"/>
                </a:lnTo>
                <a:lnTo>
                  <a:pt x="157" y="656"/>
                </a:lnTo>
                <a:lnTo>
                  <a:pt x="145" y="656"/>
                </a:lnTo>
                <a:lnTo>
                  <a:pt x="138" y="654"/>
                </a:lnTo>
                <a:lnTo>
                  <a:pt x="132" y="653"/>
                </a:lnTo>
                <a:lnTo>
                  <a:pt x="128" y="649"/>
                </a:lnTo>
                <a:lnTo>
                  <a:pt x="120" y="641"/>
                </a:lnTo>
                <a:lnTo>
                  <a:pt x="114" y="635"/>
                </a:lnTo>
                <a:lnTo>
                  <a:pt x="106" y="629"/>
                </a:lnTo>
                <a:lnTo>
                  <a:pt x="100" y="625"/>
                </a:lnTo>
                <a:lnTo>
                  <a:pt x="96" y="625"/>
                </a:lnTo>
                <a:lnTo>
                  <a:pt x="92" y="629"/>
                </a:lnTo>
                <a:lnTo>
                  <a:pt x="86" y="633"/>
                </a:lnTo>
                <a:lnTo>
                  <a:pt x="83" y="639"/>
                </a:lnTo>
                <a:lnTo>
                  <a:pt x="79" y="643"/>
                </a:lnTo>
                <a:lnTo>
                  <a:pt x="77" y="647"/>
                </a:lnTo>
                <a:lnTo>
                  <a:pt x="75" y="653"/>
                </a:lnTo>
                <a:lnTo>
                  <a:pt x="77" y="639"/>
                </a:lnTo>
                <a:lnTo>
                  <a:pt x="79" y="621"/>
                </a:lnTo>
                <a:lnTo>
                  <a:pt x="83" y="586"/>
                </a:lnTo>
                <a:lnTo>
                  <a:pt x="83" y="570"/>
                </a:lnTo>
                <a:lnTo>
                  <a:pt x="79" y="554"/>
                </a:lnTo>
                <a:lnTo>
                  <a:pt x="73" y="541"/>
                </a:lnTo>
                <a:lnTo>
                  <a:pt x="61" y="531"/>
                </a:lnTo>
                <a:lnTo>
                  <a:pt x="59" y="525"/>
                </a:lnTo>
                <a:lnTo>
                  <a:pt x="57" y="519"/>
                </a:lnTo>
                <a:lnTo>
                  <a:pt x="55" y="515"/>
                </a:lnTo>
                <a:lnTo>
                  <a:pt x="49" y="511"/>
                </a:lnTo>
                <a:lnTo>
                  <a:pt x="45" y="505"/>
                </a:lnTo>
                <a:lnTo>
                  <a:pt x="41" y="499"/>
                </a:lnTo>
                <a:lnTo>
                  <a:pt x="41" y="495"/>
                </a:lnTo>
                <a:lnTo>
                  <a:pt x="43" y="487"/>
                </a:lnTo>
                <a:lnTo>
                  <a:pt x="45" y="466"/>
                </a:lnTo>
                <a:lnTo>
                  <a:pt x="41" y="446"/>
                </a:lnTo>
                <a:lnTo>
                  <a:pt x="39" y="417"/>
                </a:lnTo>
                <a:lnTo>
                  <a:pt x="35" y="401"/>
                </a:lnTo>
                <a:lnTo>
                  <a:pt x="29" y="387"/>
                </a:lnTo>
                <a:lnTo>
                  <a:pt x="28" y="374"/>
                </a:lnTo>
                <a:lnTo>
                  <a:pt x="22" y="360"/>
                </a:lnTo>
                <a:lnTo>
                  <a:pt x="12" y="346"/>
                </a:lnTo>
                <a:lnTo>
                  <a:pt x="2" y="336"/>
                </a:lnTo>
                <a:lnTo>
                  <a:pt x="0" y="326"/>
                </a:lnTo>
                <a:lnTo>
                  <a:pt x="2" y="317"/>
                </a:lnTo>
                <a:lnTo>
                  <a:pt x="8" y="309"/>
                </a:lnTo>
                <a:lnTo>
                  <a:pt x="16" y="301"/>
                </a:lnTo>
                <a:lnTo>
                  <a:pt x="18" y="287"/>
                </a:lnTo>
                <a:lnTo>
                  <a:pt x="18" y="271"/>
                </a:lnTo>
                <a:lnTo>
                  <a:pt x="16" y="238"/>
                </a:lnTo>
                <a:lnTo>
                  <a:pt x="14" y="222"/>
                </a:lnTo>
                <a:lnTo>
                  <a:pt x="16" y="208"/>
                </a:lnTo>
                <a:lnTo>
                  <a:pt x="22" y="199"/>
                </a:lnTo>
                <a:lnTo>
                  <a:pt x="33" y="193"/>
                </a:lnTo>
                <a:lnTo>
                  <a:pt x="35" y="185"/>
                </a:lnTo>
                <a:lnTo>
                  <a:pt x="33" y="175"/>
                </a:lnTo>
                <a:lnTo>
                  <a:pt x="31" y="165"/>
                </a:lnTo>
                <a:lnTo>
                  <a:pt x="33" y="157"/>
                </a:lnTo>
                <a:lnTo>
                  <a:pt x="37" y="150"/>
                </a:lnTo>
                <a:lnTo>
                  <a:pt x="43" y="144"/>
                </a:lnTo>
                <a:lnTo>
                  <a:pt x="61" y="134"/>
                </a:lnTo>
                <a:lnTo>
                  <a:pt x="83" y="130"/>
                </a:lnTo>
                <a:lnTo>
                  <a:pt x="100" y="128"/>
                </a:lnTo>
                <a:lnTo>
                  <a:pt x="106" y="124"/>
                </a:lnTo>
                <a:lnTo>
                  <a:pt x="112" y="118"/>
                </a:lnTo>
                <a:lnTo>
                  <a:pt x="118" y="112"/>
                </a:lnTo>
                <a:lnTo>
                  <a:pt x="124" y="110"/>
                </a:lnTo>
                <a:lnTo>
                  <a:pt x="136" y="106"/>
                </a:lnTo>
                <a:lnTo>
                  <a:pt x="151" y="102"/>
                </a:lnTo>
                <a:lnTo>
                  <a:pt x="165" y="100"/>
                </a:lnTo>
                <a:lnTo>
                  <a:pt x="177" y="97"/>
                </a:lnTo>
                <a:lnTo>
                  <a:pt x="189" y="93"/>
                </a:lnTo>
                <a:lnTo>
                  <a:pt x="198" y="89"/>
                </a:lnTo>
                <a:lnTo>
                  <a:pt x="210" y="71"/>
                </a:lnTo>
                <a:lnTo>
                  <a:pt x="226" y="57"/>
                </a:lnTo>
                <a:lnTo>
                  <a:pt x="234" y="47"/>
                </a:lnTo>
                <a:lnTo>
                  <a:pt x="248" y="40"/>
                </a:lnTo>
                <a:lnTo>
                  <a:pt x="259" y="34"/>
                </a:lnTo>
                <a:lnTo>
                  <a:pt x="273" y="30"/>
                </a:lnTo>
                <a:lnTo>
                  <a:pt x="289" y="20"/>
                </a:lnTo>
                <a:lnTo>
                  <a:pt x="297" y="16"/>
                </a:lnTo>
                <a:lnTo>
                  <a:pt x="305" y="14"/>
                </a:lnTo>
                <a:lnTo>
                  <a:pt x="320" y="8"/>
                </a:lnTo>
                <a:lnTo>
                  <a:pt x="336" y="4"/>
                </a:lnTo>
                <a:lnTo>
                  <a:pt x="346" y="2"/>
                </a:lnTo>
                <a:lnTo>
                  <a:pt x="356" y="0"/>
                </a:lnTo>
                <a:lnTo>
                  <a:pt x="377" y="2"/>
                </a:lnTo>
                <a:lnTo>
                  <a:pt x="397" y="6"/>
                </a:lnTo>
                <a:lnTo>
                  <a:pt x="417" y="12"/>
                </a:lnTo>
                <a:lnTo>
                  <a:pt x="422" y="14"/>
                </a:lnTo>
                <a:lnTo>
                  <a:pt x="428" y="16"/>
                </a:lnTo>
                <a:lnTo>
                  <a:pt x="432" y="20"/>
                </a:lnTo>
                <a:lnTo>
                  <a:pt x="434" y="26"/>
                </a:lnTo>
                <a:lnTo>
                  <a:pt x="426" y="30"/>
                </a:lnTo>
                <a:lnTo>
                  <a:pt x="422" y="34"/>
                </a:lnTo>
                <a:lnTo>
                  <a:pt x="419" y="38"/>
                </a:lnTo>
                <a:lnTo>
                  <a:pt x="417" y="45"/>
                </a:lnTo>
                <a:lnTo>
                  <a:pt x="422" y="53"/>
                </a:lnTo>
                <a:lnTo>
                  <a:pt x="426" y="61"/>
                </a:lnTo>
                <a:lnTo>
                  <a:pt x="430" y="69"/>
                </a:lnTo>
                <a:lnTo>
                  <a:pt x="438" y="77"/>
                </a:lnTo>
                <a:lnTo>
                  <a:pt x="458" y="71"/>
                </a:lnTo>
                <a:lnTo>
                  <a:pt x="477" y="65"/>
                </a:lnTo>
                <a:lnTo>
                  <a:pt x="499" y="57"/>
                </a:lnTo>
                <a:lnTo>
                  <a:pt x="521" y="51"/>
                </a:lnTo>
                <a:close/>
              </a:path>
            </a:pathLst>
          </a:custGeom>
          <a:solidFill>
            <a:srgbClr val="0066CC"/>
          </a:solidFill>
          <a:ln w="9525">
            <a:solidFill>
              <a:srgbClr val="000000"/>
            </a:solidFill>
            <a:prstDash val="solid"/>
            <a:round/>
            <a:headEnd/>
            <a:tailEnd/>
          </a:ln>
        </p:spPr>
        <p:txBody>
          <a:bodyPr/>
          <a:lstStyle/>
          <a:p>
            <a:endParaRPr lang="cs-CZ"/>
          </a:p>
        </p:txBody>
      </p:sp>
      <p:grpSp>
        <p:nvGrpSpPr>
          <p:cNvPr id="399" name="Group 407"/>
          <p:cNvGrpSpPr>
            <a:grpSpLocks/>
          </p:cNvGrpSpPr>
          <p:nvPr/>
        </p:nvGrpSpPr>
        <p:grpSpPr bwMode="auto">
          <a:xfrm>
            <a:off x="4164013" y="4265190"/>
            <a:ext cx="463550" cy="239713"/>
            <a:chOff x="2615" y="2751"/>
            <a:chExt cx="292" cy="151"/>
          </a:xfrm>
        </p:grpSpPr>
        <p:sp>
          <p:nvSpPr>
            <p:cNvPr id="400" name="Freeform 408"/>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 name="T110" fmla="*/ 4 w 583"/>
                <a:gd name="T111" fmla="*/ 1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lnTo>
                    <a:pt x="4" y="157"/>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01" name="Freeform 409"/>
            <p:cNvSpPr>
              <a:spLocks/>
            </p:cNvSpPr>
            <p:nvPr/>
          </p:nvSpPr>
          <p:spPr bwMode="auto">
            <a:xfrm>
              <a:off x="2615" y="2751"/>
              <a:ext cx="292" cy="151"/>
            </a:xfrm>
            <a:custGeom>
              <a:avLst/>
              <a:gdLst>
                <a:gd name="T0" fmla="*/ 4 w 583"/>
                <a:gd name="T1" fmla="*/ 157 h 303"/>
                <a:gd name="T2" fmla="*/ 18 w 583"/>
                <a:gd name="T3" fmla="*/ 145 h 303"/>
                <a:gd name="T4" fmla="*/ 37 w 583"/>
                <a:gd name="T5" fmla="*/ 140 h 303"/>
                <a:gd name="T6" fmla="*/ 63 w 583"/>
                <a:gd name="T7" fmla="*/ 145 h 303"/>
                <a:gd name="T8" fmla="*/ 84 w 583"/>
                <a:gd name="T9" fmla="*/ 145 h 303"/>
                <a:gd name="T10" fmla="*/ 100 w 583"/>
                <a:gd name="T11" fmla="*/ 120 h 303"/>
                <a:gd name="T12" fmla="*/ 126 w 583"/>
                <a:gd name="T13" fmla="*/ 98 h 303"/>
                <a:gd name="T14" fmla="*/ 135 w 583"/>
                <a:gd name="T15" fmla="*/ 90 h 303"/>
                <a:gd name="T16" fmla="*/ 128 w 583"/>
                <a:gd name="T17" fmla="*/ 69 h 303"/>
                <a:gd name="T18" fmla="*/ 131 w 583"/>
                <a:gd name="T19" fmla="*/ 55 h 303"/>
                <a:gd name="T20" fmla="*/ 147 w 583"/>
                <a:gd name="T21" fmla="*/ 55 h 303"/>
                <a:gd name="T22" fmla="*/ 161 w 583"/>
                <a:gd name="T23" fmla="*/ 30 h 303"/>
                <a:gd name="T24" fmla="*/ 175 w 583"/>
                <a:gd name="T25" fmla="*/ 18 h 303"/>
                <a:gd name="T26" fmla="*/ 192 w 583"/>
                <a:gd name="T27" fmla="*/ 20 h 303"/>
                <a:gd name="T28" fmla="*/ 196 w 583"/>
                <a:gd name="T29" fmla="*/ 10 h 303"/>
                <a:gd name="T30" fmla="*/ 253 w 583"/>
                <a:gd name="T31" fmla="*/ 6 h 303"/>
                <a:gd name="T32" fmla="*/ 279 w 583"/>
                <a:gd name="T33" fmla="*/ 20 h 303"/>
                <a:gd name="T34" fmla="*/ 320 w 583"/>
                <a:gd name="T35" fmla="*/ 65 h 303"/>
                <a:gd name="T36" fmla="*/ 330 w 583"/>
                <a:gd name="T37" fmla="*/ 47 h 303"/>
                <a:gd name="T38" fmla="*/ 342 w 583"/>
                <a:gd name="T39" fmla="*/ 32 h 303"/>
                <a:gd name="T40" fmla="*/ 379 w 583"/>
                <a:gd name="T41" fmla="*/ 20 h 303"/>
                <a:gd name="T42" fmla="*/ 418 w 583"/>
                <a:gd name="T43" fmla="*/ 32 h 303"/>
                <a:gd name="T44" fmla="*/ 434 w 583"/>
                <a:gd name="T45" fmla="*/ 14 h 303"/>
                <a:gd name="T46" fmla="*/ 487 w 583"/>
                <a:gd name="T47" fmla="*/ 0 h 303"/>
                <a:gd name="T48" fmla="*/ 583 w 583"/>
                <a:gd name="T49" fmla="*/ 47 h 303"/>
                <a:gd name="T50" fmla="*/ 583 w 583"/>
                <a:gd name="T51" fmla="*/ 73 h 303"/>
                <a:gd name="T52" fmla="*/ 576 w 583"/>
                <a:gd name="T53" fmla="*/ 92 h 303"/>
                <a:gd name="T54" fmla="*/ 568 w 583"/>
                <a:gd name="T55" fmla="*/ 124 h 303"/>
                <a:gd name="T56" fmla="*/ 564 w 583"/>
                <a:gd name="T57" fmla="*/ 159 h 303"/>
                <a:gd name="T58" fmla="*/ 538 w 583"/>
                <a:gd name="T59" fmla="*/ 173 h 303"/>
                <a:gd name="T60" fmla="*/ 511 w 583"/>
                <a:gd name="T61" fmla="*/ 161 h 303"/>
                <a:gd name="T62" fmla="*/ 497 w 583"/>
                <a:gd name="T63" fmla="*/ 155 h 303"/>
                <a:gd name="T64" fmla="*/ 462 w 583"/>
                <a:gd name="T65" fmla="*/ 151 h 303"/>
                <a:gd name="T66" fmla="*/ 412 w 583"/>
                <a:gd name="T67" fmla="*/ 149 h 303"/>
                <a:gd name="T68" fmla="*/ 383 w 583"/>
                <a:gd name="T69" fmla="*/ 169 h 303"/>
                <a:gd name="T70" fmla="*/ 377 w 583"/>
                <a:gd name="T71" fmla="*/ 183 h 303"/>
                <a:gd name="T72" fmla="*/ 375 w 583"/>
                <a:gd name="T73" fmla="*/ 202 h 303"/>
                <a:gd name="T74" fmla="*/ 348 w 583"/>
                <a:gd name="T75" fmla="*/ 206 h 303"/>
                <a:gd name="T76" fmla="*/ 330 w 583"/>
                <a:gd name="T77" fmla="*/ 220 h 303"/>
                <a:gd name="T78" fmla="*/ 304 w 583"/>
                <a:gd name="T79" fmla="*/ 208 h 303"/>
                <a:gd name="T80" fmla="*/ 293 w 583"/>
                <a:gd name="T81" fmla="*/ 206 h 303"/>
                <a:gd name="T82" fmla="*/ 285 w 583"/>
                <a:gd name="T83" fmla="*/ 216 h 303"/>
                <a:gd name="T84" fmla="*/ 267 w 583"/>
                <a:gd name="T85" fmla="*/ 220 h 303"/>
                <a:gd name="T86" fmla="*/ 257 w 583"/>
                <a:gd name="T87" fmla="*/ 234 h 303"/>
                <a:gd name="T88" fmla="*/ 243 w 583"/>
                <a:gd name="T89" fmla="*/ 234 h 303"/>
                <a:gd name="T90" fmla="*/ 232 w 583"/>
                <a:gd name="T91" fmla="*/ 246 h 303"/>
                <a:gd name="T92" fmla="*/ 214 w 583"/>
                <a:gd name="T93" fmla="*/ 244 h 303"/>
                <a:gd name="T94" fmla="*/ 200 w 583"/>
                <a:gd name="T95" fmla="*/ 259 h 303"/>
                <a:gd name="T96" fmla="*/ 181 w 583"/>
                <a:gd name="T97" fmla="*/ 303 h 303"/>
                <a:gd name="T98" fmla="*/ 90 w 583"/>
                <a:gd name="T99" fmla="*/ 303 h 303"/>
                <a:gd name="T100" fmla="*/ 29 w 583"/>
                <a:gd name="T101" fmla="*/ 242 h 303"/>
                <a:gd name="T102" fmla="*/ 19 w 583"/>
                <a:gd name="T103" fmla="*/ 228 h 303"/>
                <a:gd name="T104" fmla="*/ 10 w 583"/>
                <a:gd name="T105" fmla="*/ 200 h 303"/>
                <a:gd name="T106" fmla="*/ 0 w 583"/>
                <a:gd name="T107" fmla="*/ 181 h 303"/>
                <a:gd name="T108" fmla="*/ 4 w 583"/>
                <a:gd name="T109" fmla="*/ 159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3" h="303">
                  <a:moveTo>
                    <a:pt x="4" y="157"/>
                  </a:moveTo>
                  <a:lnTo>
                    <a:pt x="18" y="145"/>
                  </a:lnTo>
                  <a:lnTo>
                    <a:pt x="37" y="140"/>
                  </a:lnTo>
                  <a:lnTo>
                    <a:pt x="63" y="145"/>
                  </a:lnTo>
                  <a:lnTo>
                    <a:pt x="84" y="145"/>
                  </a:lnTo>
                  <a:lnTo>
                    <a:pt x="100" y="120"/>
                  </a:lnTo>
                  <a:lnTo>
                    <a:pt x="126" y="98"/>
                  </a:lnTo>
                  <a:lnTo>
                    <a:pt x="135" y="90"/>
                  </a:lnTo>
                  <a:lnTo>
                    <a:pt x="128" y="69"/>
                  </a:lnTo>
                  <a:lnTo>
                    <a:pt x="131" y="55"/>
                  </a:lnTo>
                  <a:lnTo>
                    <a:pt x="147" y="55"/>
                  </a:lnTo>
                  <a:lnTo>
                    <a:pt x="161" y="30"/>
                  </a:lnTo>
                  <a:lnTo>
                    <a:pt x="175" y="18"/>
                  </a:lnTo>
                  <a:lnTo>
                    <a:pt x="192" y="20"/>
                  </a:lnTo>
                  <a:lnTo>
                    <a:pt x="196" y="10"/>
                  </a:lnTo>
                  <a:lnTo>
                    <a:pt x="253" y="6"/>
                  </a:lnTo>
                  <a:lnTo>
                    <a:pt x="279" y="20"/>
                  </a:lnTo>
                  <a:lnTo>
                    <a:pt x="320" y="65"/>
                  </a:lnTo>
                  <a:lnTo>
                    <a:pt x="330" y="47"/>
                  </a:lnTo>
                  <a:lnTo>
                    <a:pt x="342" y="32"/>
                  </a:lnTo>
                  <a:lnTo>
                    <a:pt x="379" y="20"/>
                  </a:lnTo>
                  <a:lnTo>
                    <a:pt x="418" y="32"/>
                  </a:lnTo>
                  <a:lnTo>
                    <a:pt x="434" y="14"/>
                  </a:lnTo>
                  <a:lnTo>
                    <a:pt x="487" y="0"/>
                  </a:lnTo>
                  <a:lnTo>
                    <a:pt x="583" y="47"/>
                  </a:lnTo>
                  <a:lnTo>
                    <a:pt x="583" y="73"/>
                  </a:lnTo>
                  <a:lnTo>
                    <a:pt x="576" y="92"/>
                  </a:lnTo>
                  <a:lnTo>
                    <a:pt x="568" y="124"/>
                  </a:lnTo>
                  <a:lnTo>
                    <a:pt x="564" y="159"/>
                  </a:lnTo>
                  <a:lnTo>
                    <a:pt x="538" y="173"/>
                  </a:lnTo>
                  <a:lnTo>
                    <a:pt x="511" y="161"/>
                  </a:lnTo>
                  <a:lnTo>
                    <a:pt x="497" y="155"/>
                  </a:lnTo>
                  <a:lnTo>
                    <a:pt x="462" y="151"/>
                  </a:lnTo>
                  <a:lnTo>
                    <a:pt x="412" y="149"/>
                  </a:lnTo>
                  <a:lnTo>
                    <a:pt x="383" y="169"/>
                  </a:lnTo>
                  <a:lnTo>
                    <a:pt x="377" y="183"/>
                  </a:lnTo>
                  <a:lnTo>
                    <a:pt x="375" y="202"/>
                  </a:lnTo>
                  <a:lnTo>
                    <a:pt x="348" y="206"/>
                  </a:lnTo>
                  <a:lnTo>
                    <a:pt x="330" y="220"/>
                  </a:lnTo>
                  <a:lnTo>
                    <a:pt x="304" y="208"/>
                  </a:lnTo>
                  <a:lnTo>
                    <a:pt x="293" y="206"/>
                  </a:lnTo>
                  <a:lnTo>
                    <a:pt x="285" y="216"/>
                  </a:lnTo>
                  <a:lnTo>
                    <a:pt x="267" y="220"/>
                  </a:lnTo>
                  <a:lnTo>
                    <a:pt x="257" y="234"/>
                  </a:lnTo>
                  <a:lnTo>
                    <a:pt x="243" y="234"/>
                  </a:lnTo>
                  <a:lnTo>
                    <a:pt x="232" y="246"/>
                  </a:lnTo>
                  <a:lnTo>
                    <a:pt x="214" y="244"/>
                  </a:lnTo>
                  <a:lnTo>
                    <a:pt x="200" y="259"/>
                  </a:lnTo>
                  <a:lnTo>
                    <a:pt x="181" y="303"/>
                  </a:lnTo>
                  <a:lnTo>
                    <a:pt x="90" y="303"/>
                  </a:lnTo>
                  <a:lnTo>
                    <a:pt x="29" y="242"/>
                  </a:lnTo>
                  <a:lnTo>
                    <a:pt x="19" y="228"/>
                  </a:lnTo>
                  <a:lnTo>
                    <a:pt x="10" y="200"/>
                  </a:lnTo>
                  <a:lnTo>
                    <a:pt x="0" y="181"/>
                  </a:lnTo>
                  <a:lnTo>
                    <a:pt x="4" y="159"/>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02" name="Freeform 410"/>
          <p:cNvSpPr>
            <a:spLocks/>
          </p:cNvSpPr>
          <p:nvPr/>
        </p:nvSpPr>
        <p:spPr bwMode="auto">
          <a:xfrm>
            <a:off x="3536950" y="4341390"/>
            <a:ext cx="657225" cy="333375"/>
          </a:xfrm>
          <a:custGeom>
            <a:avLst/>
            <a:gdLst>
              <a:gd name="T0" fmla="*/ 813 w 827"/>
              <a:gd name="T1" fmla="*/ 207 h 421"/>
              <a:gd name="T2" fmla="*/ 827 w 827"/>
              <a:gd name="T3" fmla="*/ 195 h 421"/>
              <a:gd name="T4" fmla="*/ 806 w 827"/>
              <a:gd name="T5" fmla="*/ 126 h 421"/>
              <a:gd name="T6" fmla="*/ 794 w 827"/>
              <a:gd name="T7" fmla="*/ 85 h 421"/>
              <a:gd name="T8" fmla="*/ 784 w 827"/>
              <a:gd name="T9" fmla="*/ 46 h 421"/>
              <a:gd name="T10" fmla="*/ 717 w 827"/>
              <a:gd name="T11" fmla="*/ 36 h 421"/>
              <a:gd name="T12" fmla="*/ 674 w 827"/>
              <a:gd name="T13" fmla="*/ 14 h 421"/>
              <a:gd name="T14" fmla="*/ 611 w 827"/>
              <a:gd name="T15" fmla="*/ 0 h 421"/>
              <a:gd name="T16" fmla="*/ 576 w 827"/>
              <a:gd name="T17" fmla="*/ 34 h 421"/>
              <a:gd name="T18" fmla="*/ 534 w 827"/>
              <a:gd name="T19" fmla="*/ 65 h 421"/>
              <a:gd name="T20" fmla="*/ 485 w 827"/>
              <a:gd name="T21" fmla="*/ 53 h 421"/>
              <a:gd name="T22" fmla="*/ 452 w 827"/>
              <a:gd name="T23" fmla="*/ 42 h 421"/>
              <a:gd name="T24" fmla="*/ 434 w 827"/>
              <a:gd name="T25" fmla="*/ 65 h 421"/>
              <a:gd name="T26" fmla="*/ 417 w 827"/>
              <a:gd name="T27" fmla="*/ 83 h 421"/>
              <a:gd name="T28" fmla="*/ 411 w 827"/>
              <a:gd name="T29" fmla="*/ 108 h 421"/>
              <a:gd name="T30" fmla="*/ 383 w 827"/>
              <a:gd name="T31" fmla="*/ 116 h 421"/>
              <a:gd name="T32" fmla="*/ 358 w 827"/>
              <a:gd name="T33" fmla="*/ 132 h 421"/>
              <a:gd name="T34" fmla="*/ 363 w 827"/>
              <a:gd name="T35" fmla="*/ 203 h 421"/>
              <a:gd name="T36" fmla="*/ 363 w 827"/>
              <a:gd name="T37" fmla="*/ 232 h 421"/>
              <a:gd name="T38" fmla="*/ 340 w 827"/>
              <a:gd name="T39" fmla="*/ 216 h 421"/>
              <a:gd name="T40" fmla="*/ 291 w 827"/>
              <a:gd name="T41" fmla="*/ 205 h 421"/>
              <a:gd name="T42" fmla="*/ 248 w 827"/>
              <a:gd name="T43" fmla="*/ 222 h 421"/>
              <a:gd name="T44" fmla="*/ 214 w 827"/>
              <a:gd name="T45" fmla="*/ 230 h 421"/>
              <a:gd name="T46" fmla="*/ 183 w 827"/>
              <a:gd name="T47" fmla="*/ 240 h 421"/>
              <a:gd name="T48" fmla="*/ 149 w 827"/>
              <a:gd name="T49" fmla="*/ 250 h 421"/>
              <a:gd name="T50" fmla="*/ 126 w 827"/>
              <a:gd name="T51" fmla="*/ 230 h 421"/>
              <a:gd name="T52" fmla="*/ 90 w 827"/>
              <a:gd name="T53" fmla="*/ 238 h 421"/>
              <a:gd name="T54" fmla="*/ 67 w 827"/>
              <a:gd name="T55" fmla="*/ 258 h 421"/>
              <a:gd name="T56" fmla="*/ 25 w 827"/>
              <a:gd name="T57" fmla="*/ 224 h 421"/>
              <a:gd name="T58" fmla="*/ 4 w 827"/>
              <a:gd name="T59" fmla="*/ 262 h 421"/>
              <a:gd name="T60" fmla="*/ 14 w 827"/>
              <a:gd name="T61" fmla="*/ 309 h 421"/>
              <a:gd name="T62" fmla="*/ 25 w 827"/>
              <a:gd name="T63" fmla="*/ 323 h 421"/>
              <a:gd name="T64" fmla="*/ 47 w 827"/>
              <a:gd name="T65" fmla="*/ 336 h 421"/>
              <a:gd name="T66" fmla="*/ 84 w 827"/>
              <a:gd name="T67" fmla="*/ 334 h 421"/>
              <a:gd name="T68" fmla="*/ 137 w 827"/>
              <a:gd name="T69" fmla="*/ 346 h 421"/>
              <a:gd name="T70" fmla="*/ 212 w 827"/>
              <a:gd name="T71" fmla="*/ 325 h 421"/>
              <a:gd name="T72" fmla="*/ 261 w 827"/>
              <a:gd name="T73" fmla="*/ 311 h 421"/>
              <a:gd name="T74" fmla="*/ 285 w 827"/>
              <a:gd name="T75" fmla="*/ 352 h 421"/>
              <a:gd name="T76" fmla="*/ 328 w 827"/>
              <a:gd name="T77" fmla="*/ 387 h 421"/>
              <a:gd name="T78" fmla="*/ 403 w 827"/>
              <a:gd name="T79" fmla="*/ 393 h 421"/>
              <a:gd name="T80" fmla="*/ 493 w 827"/>
              <a:gd name="T81" fmla="*/ 413 h 421"/>
              <a:gd name="T82" fmla="*/ 570 w 827"/>
              <a:gd name="T83" fmla="*/ 383 h 421"/>
              <a:gd name="T84" fmla="*/ 662 w 827"/>
              <a:gd name="T85" fmla="*/ 372 h 421"/>
              <a:gd name="T86" fmla="*/ 713 w 827"/>
              <a:gd name="T87" fmla="*/ 350 h 421"/>
              <a:gd name="T88" fmla="*/ 754 w 827"/>
              <a:gd name="T89" fmla="*/ 315 h 421"/>
              <a:gd name="T90" fmla="*/ 764 w 827"/>
              <a:gd name="T91" fmla="*/ 260 h 421"/>
              <a:gd name="T92" fmla="*/ 754 w 827"/>
              <a:gd name="T93" fmla="*/ 22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27" h="421">
                <a:moveTo>
                  <a:pt x="760" y="207"/>
                </a:moveTo>
                <a:lnTo>
                  <a:pt x="813" y="207"/>
                </a:lnTo>
                <a:lnTo>
                  <a:pt x="815" y="195"/>
                </a:lnTo>
                <a:lnTo>
                  <a:pt x="827" y="195"/>
                </a:lnTo>
                <a:lnTo>
                  <a:pt x="827" y="148"/>
                </a:lnTo>
                <a:lnTo>
                  <a:pt x="806" y="126"/>
                </a:lnTo>
                <a:lnTo>
                  <a:pt x="808" y="106"/>
                </a:lnTo>
                <a:lnTo>
                  <a:pt x="794" y="85"/>
                </a:lnTo>
                <a:lnTo>
                  <a:pt x="792" y="61"/>
                </a:lnTo>
                <a:lnTo>
                  <a:pt x="784" y="46"/>
                </a:lnTo>
                <a:lnTo>
                  <a:pt x="764" y="30"/>
                </a:lnTo>
                <a:lnTo>
                  <a:pt x="717" y="36"/>
                </a:lnTo>
                <a:lnTo>
                  <a:pt x="692" y="30"/>
                </a:lnTo>
                <a:lnTo>
                  <a:pt x="674" y="14"/>
                </a:lnTo>
                <a:lnTo>
                  <a:pt x="639" y="0"/>
                </a:lnTo>
                <a:lnTo>
                  <a:pt x="611" y="0"/>
                </a:lnTo>
                <a:lnTo>
                  <a:pt x="593" y="10"/>
                </a:lnTo>
                <a:lnTo>
                  <a:pt x="576" y="34"/>
                </a:lnTo>
                <a:lnTo>
                  <a:pt x="562" y="57"/>
                </a:lnTo>
                <a:lnTo>
                  <a:pt x="534" y="65"/>
                </a:lnTo>
                <a:lnTo>
                  <a:pt x="509" y="61"/>
                </a:lnTo>
                <a:lnTo>
                  <a:pt x="485" y="53"/>
                </a:lnTo>
                <a:lnTo>
                  <a:pt x="464" y="46"/>
                </a:lnTo>
                <a:lnTo>
                  <a:pt x="452" y="42"/>
                </a:lnTo>
                <a:lnTo>
                  <a:pt x="450" y="61"/>
                </a:lnTo>
                <a:lnTo>
                  <a:pt x="434" y="65"/>
                </a:lnTo>
                <a:lnTo>
                  <a:pt x="430" y="77"/>
                </a:lnTo>
                <a:lnTo>
                  <a:pt x="417" y="83"/>
                </a:lnTo>
                <a:lnTo>
                  <a:pt x="413" y="93"/>
                </a:lnTo>
                <a:lnTo>
                  <a:pt x="411" y="108"/>
                </a:lnTo>
                <a:lnTo>
                  <a:pt x="399" y="114"/>
                </a:lnTo>
                <a:lnTo>
                  <a:pt x="383" y="116"/>
                </a:lnTo>
                <a:lnTo>
                  <a:pt x="371" y="122"/>
                </a:lnTo>
                <a:lnTo>
                  <a:pt x="358" y="132"/>
                </a:lnTo>
                <a:lnTo>
                  <a:pt x="354" y="165"/>
                </a:lnTo>
                <a:lnTo>
                  <a:pt x="363" y="203"/>
                </a:lnTo>
                <a:lnTo>
                  <a:pt x="369" y="213"/>
                </a:lnTo>
                <a:lnTo>
                  <a:pt x="363" y="232"/>
                </a:lnTo>
                <a:lnTo>
                  <a:pt x="348" y="236"/>
                </a:lnTo>
                <a:lnTo>
                  <a:pt x="340" y="216"/>
                </a:lnTo>
                <a:lnTo>
                  <a:pt x="301" y="214"/>
                </a:lnTo>
                <a:lnTo>
                  <a:pt x="291" y="205"/>
                </a:lnTo>
                <a:lnTo>
                  <a:pt x="289" y="216"/>
                </a:lnTo>
                <a:lnTo>
                  <a:pt x="248" y="222"/>
                </a:lnTo>
                <a:lnTo>
                  <a:pt x="220" y="216"/>
                </a:lnTo>
                <a:lnTo>
                  <a:pt x="214" y="230"/>
                </a:lnTo>
                <a:lnTo>
                  <a:pt x="200" y="230"/>
                </a:lnTo>
                <a:lnTo>
                  <a:pt x="183" y="240"/>
                </a:lnTo>
                <a:lnTo>
                  <a:pt x="181" y="250"/>
                </a:lnTo>
                <a:lnTo>
                  <a:pt x="149" y="250"/>
                </a:lnTo>
                <a:lnTo>
                  <a:pt x="137" y="236"/>
                </a:lnTo>
                <a:lnTo>
                  <a:pt x="126" y="230"/>
                </a:lnTo>
                <a:lnTo>
                  <a:pt x="100" y="230"/>
                </a:lnTo>
                <a:lnTo>
                  <a:pt x="90" y="238"/>
                </a:lnTo>
                <a:lnTo>
                  <a:pt x="79" y="248"/>
                </a:lnTo>
                <a:lnTo>
                  <a:pt x="67" y="258"/>
                </a:lnTo>
                <a:lnTo>
                  <a:pt x="41" y="230"/>
                </a:lnTo>
                <a:lnTo>
                  <a:pt x="25" y="224"/>
                </a:lnTo>
                <a:lnTo>
                  <a:pt x="0" y="228"/>
                </a:lnTo>
                <a:lnTo>
                  <a:pt x="4" y="262"/>
                </a:lnTo>
                <a:lnTo>
                  <a:pt x="2" y="291"/>
                </a:lnTo>
                <a:lnTo>
                  <a:pt x="14" y="309"/>
                </a:lnTo>
                <a:lnTo>
                  <a:pt x="18" y="321"/>
                </a:lnTo>
                <a:lnTo>
                  <a:pt x="25" y="323"/>
                </a:lnTo>
                <a:lnTo>
                  <a:pt x="37" y="323"/>
                </a:lnTo>
                <a:lnTo>
                  <a:pt x="47" y="336"/>
                </a:lnTo>
                <a:lnTo>
                  <a:pt x="63" y="325"/>
                </a:lnTo>
                <a:lnTo>
                  <a:pt x="84" y="334"/>
                </a:lnTo>
                <a:lnTo>
                  <a:pt x="118" y="344"/>
                </a:lnTo>
                <a:lnTo>
                  <a:pt x="137" y="346"/>
                </a:lnTo>
                <a:lnTo>
                  <a:pt x="173" y="334"/>
                </a:lnTo>
                <a:lnTo>
                  <a:pt x="212" y="325"/>
                </a:lnTo>
                <a:lnTo>
                  <a:pt x="240" y="323"/>
                </a:lnTo>
                <a:lnTo>
                  <a:pt x="261" y="311"/>
                </a:lnTo>
                <a:lnTo>
                  <a:pt x="273" y="332"/>
                </a:lnTo>
                <a:lnTo>
                  <a:pt x="285" y="352"/>
                </a:lnTo>
                <a:lnTo>
                  <a:pt x="299" y="368"/>
                </a:lnTo>
                <a:lnTo>
                  <a:pt x="328" y="387"/>
                </a:lnTo>
                <a:lnTo>
                  <a:pt x="344" y="387"/>
                </a:lnTo>
                <a:lnTo>
                  <a:pt x="403" y="393"/>
                </a:lnTo>
                <a:lnTo>
                  <a:pt x="436" y="407"/>
                </a:lnTo>
                <a:lnTo>
                  <a:pt x="493" y="413"/>
                </a:lnTo>
                <a:lnTo>
                  <a:pt x="546" y="421"/>
                </a:lnTo>
                <a:lnTo>
                  <a:pt x="570" y="383"/>
                </a:lnTo>
                <a:lnTo>
                  <a:pt x="640" y="385"/>
                </a:lnTo>
                <a:lnTo>
                  <a:pt x="662" y="372"/>
                </a:lnTo>
                <a:lnTo>
                  <a:pt x="690" y="376"/>
                </a:lnTo>
                <a:lnTo>
                  <a:pt x="713" y="350"/>
                </a:lnTo>
                <a:lnTo>
                  <a:pt x="735" y="323"/>
                </a:lnTo>
                <a:lnTo>
                  <a:pt x="754" y="315"/>
                </a:lnTo>
                <a:lnTo>
                  <a:pt x="754" y="270"/>
                </a:lnTo>
                <a:lnTo>
                  <a:pt x="764" y="260"/>
                </a:lnTo>
                <a:lnTo>
                  <a:pt x="764" y="246"/>
                </a:lnTo>
                <a:lnTo>
                  <a:pt x="754" y="222"/>
                </a:lnTo>
                <a:lnTo>
                  <a:pt x="760" y="207"/>
                </a:lnTo>
                <a:close/>
              </a:path>
            </a:pathLst>
          </a:custGeom>
          <a:solidFill>
            <a:srgbClr val="FA0000"/>
          </a:solidFill>
          <a:ln w="9525">
            <a:solidFill>
              <a:srgbClr val="000000"/>
            </a:solidFill>
            <a:prstDash val="solid"/>
            <a:round/>
            <a:headEnd/>
            <a:tailEnd/>
          </a:ln>
        </p:spPr>
        <p:txBody>
          <a:bodyPr/>
          <a:lstStyle/>
          <a:p>
            <a:endParaRPr lang="cs-CZ"/>
          </a:p>
        </p:txBody>
      </p:sp>
      <p:sp>
        <p:nvSpPr>
          <p:cNvPr id="403" name="Freeform 411"/>
          <p:cNvSpPr>
            <a:spLocks/>
          </p:cNvSpPr>
          <p:nvPr/>
        </p:nvSpPr>
        <p:spPr bwMode="auto">
          <a:xfrm>
            <a:off x="3213100" y="4495378"/>
            <a:ext cx="387350" cy="225425"/>
          </a:xfrm>
          <a:custGeom>
            <a:avLst/>
            <a:gdLst>
              <a:gd name="T0" fmla="*/ 486 w 488"/>
              <a:gd name="T1" fmla="*/ 139 h 285"/>
              <a:gd name="T2" fmla="*/ 476 w 488"/>
              <a:gd name="T3" fmla="*/ 133 h 285"/>
              <a:gd name="T4" fmla="*/ 460 w 488"/>
              <a:gd name="T5" fmla="*/ 141 h 285"/>
              <a:gd name="T6" fmla="*/ 444 w 488"/>
              <a:gd name="T7" fmla="*/ 126 h 285"/>
              <a:gd name="T8" fmla="*/ 425 w 488"/>
              <a:gd name="T9" fmla="*/ 126 h 285"/>
              <a:gd name="T10" fmla="*/ 409 w 488"/>
              <a:gd name="T11" fmla="*/ 98 h 285"/>
              <a:gd name="T12" fmla="*/ 409 w 488"/>
              <a:gd name="T13" fmla="*/ 59 h 285"/>
              <a:gd name="T14" fmla="*/ 409 w 488"/>
              <a:gd name="T15" fmla="*/ 33 h 285"/>
              <a:gd name="T16" fmla="*/ 379 w 488"/>
              <a:gd name="T17" fmla="*/ 25 h 285"/>
              <a:gd name="T18" fmla="*/ 352 w 488"/>
              <a:gd name="T19" fmla="*/ 8 h 285"/>
              <a:gd name="T20" fmla="*/ 326 w 488"/>
              <a:gd name="T21" fmla="*/ 4 h 285"/>
              <a:gd name="T22" fmla="*/ 199 w 488"/>
              <a:gd name="T23" fmla="*/ 16 h 285"/>
              <a:gd name="T24" fmla="*/ 187 w 488"/>
              <a:gd name="T25" fmla="*/ 0 h 285"/>
              <a:gd name="T26" fmla="*/ 173 w 488"/>
              <a:gd name="T27" fmla="*/ 8 h 285"/>
              <a:gd name="T28" fmla="*/ 159 w 488"/>
              <a:gd name="T29" fmla="*/ 16 h 285"/>
              <a:gd name="T30" fmla="*/ 132 w 488"/>
              <a:gd name="T31" fmla="*/ 8 h 285"/>
              <a:gd name="T32" fmla="*/ 116 w 488"/>
              <a:gd name="T33" fmla="*/ 14 h 285"/>
              <a:gd name="T34" fmla="*/ 118 w 488"/>
              <a:gd name="T35" fmla="*/ 41 h 285"/>
              <a:gd name="T36" fmla="*/ 57 w 488"/>
              <a:gd name="T37" fmla="*/ 84 h 285"/>
              <a:gd name="T38" fmla="*/ 57 w 488"/>
              <a:gd name="T39" fmla="*/ 110 h 285"/>
              <a:gd name="T40" fmla="*/ 4 w 488"/>
              <a:gd name="T41" fmla="*/ 157 h 285"/>
              <a:gd name="T42" fmla="*/ 0 w 488"/>
              <a:gd name="T43" fmla="*/ 202 h 285"/>
              <a:gd name="T44" fmla="*/ 10 w 488"/>
              <a:gd name="T45" fmla="*/ 226 h 285"/>
              <a:gd name="T46" fmla="*/ 24 w 488"/>
              <a:gd name="T47" fmla="*/ 200 h 285"/>
              <a:gd name="T48" fmla="*/ 38 w 488"/>
              <a:gd name="T49" fmla="*/ 177 h 285"/>
              <a:gd name="T50" fmla="*/ 81 w 488"/>
              <a:gd name="T51" fmla="*/ 177 h 285"/>
              <a:gd name="T52" fmla="*/ 83 w 488"/>
              <a:gd name="T53" fmla="*/ 206 h 285"/>
              <a:gd name="T54" fmla="*/ 73 w 488"/>
              <a:gd name="T55" fmla="*/ 236 h 285"/>
              <a:gd name="T56" fmla="*/ 87 w 488"/>
              <a:gd name="T57" fmla="*/ 249 h 285"/>
              <a:gd name="T58" fmla="*/ 100 w 488"/>
              <a:gd name="T59" fmla="*/ 249 h 285"/>
              <a:gd name="T60" fmla="*/ 118 w 488"/>
              <a:gd name="T61" fmla="*/ 259 h 285"/>
              <a:gd name="T62" fmla="*/ 152 w 488"/>
              <a:gd name="T63" fmla="*/ 263 h 285"/>
              <a:gd name="T64" fmla="*/ 179 w 488"/>
              <a:gd name="T65" fmla="*/ 267 h 285"/>
              <a:gd name="T66" fmla="*/ 197 w 488"/>
              <a:gd name="T67" fmla="*/ 269 h 285"/>
              <a:gd name="T68" fmla="*/ 212 w 488"/>
              <a:gd name="T69" fmla="*/ 251 h 285"/>
              <a:gd name="T70" fmla="*/ 226 w 488"/>
              <a:gd name="T71" fmla="*/ 238 h 285"/>
              <a:gd name="T72" fmla="*/ 228 w 488"/>
              <a:gd name="T73" fmla="*/ 216 h 285"/>
              <a:gd name="T74" fmla="*/ 246 w 488"/>
              <a:gd name="T75" fmla="*/ 208 h 285"/>
              <a:gd name="T76" fmla="*/ 264 w 488"/>
              <a:gd name="T77" fmla="*/ 200 h 285"/>
              <a:gd name="T78" fmla="*/ 275 w 488"/>
              <a:gd name="T79" fmla="*/ 224 h 285"/>
              <a:gd name="T80" fmla="*/ 275 w 488"/>
              <a:gd name="T81" fmla="*/ 242 h 285"/>
              <a:gd name="T82" fmla="*/ 317 w 488"/>
              <a:gd name="T83" fmla="*/ 285 h 285"/>
              <a:gd name="T84" fmla="*/ 330 w 488"/>
              <a:gd name="T85" fmla="*/ 271 h 285"/>
              <a:gd name="T86" fmla="*/ 340 w 488"/>
              <a:gd name="T87" fmla="*/ 251 h 285"/>
              <a:gd name="T88" fmla="*/ 350 w 488"/>
              <a:gd name="T89" fmla="*/ 222 h 285"/>
              <a:gd name="T90" fmla="*/ 368 w 488"/>
              <a:gd name="T91" fmla="*/ 202 h 285"/>
              <a:gd name="T92" fmla="*/ 387 w 488"/>
              <a:gd name="T93" fmla="*/ 214 h 285"/>
              <a:gd name="T94" fmla="*/ 403 w 488"/>
              <a:gd name="T95" fmla="*/ 220 h 285"/>
              <a:gd name="T96" fmla="*/ 425 w 488"/>
              <a:gd name="T97" fmla="*/ 224 h 285"/>
              <a:gd name="T98" fmla="*/ 450 w 488"/>
              <a:gd name="T99" fmla="*/ 232 h 285"/>
              <a:gd name="T100" fmla="*/ 458 w 488"/>
              <a:gd name="T101" fmla="*/ 220 h 285"/>
              <a:gd name="T102" fmla="*/ 448 w 488"/>
              <a:gd name="T103" fmla="*/ 200 h 285"/>
              <a:gd name="T104" fmla="*/ 450 w 488"/>
              <a:gd name="T105" fmla="*/ 186 h 285"/>
              <a:gd name="T106" fmla="*/ 470 w 488"/>
              <a:gd name="T107" fmla="*/ 179 h 285"/>
              <a:gd name="T108" fmla="*/ 488 w 488"/>
              <a:gd name="T109" fmla="*/ 181 h 285"/>
              <a:gd name="T110" fmla="*/ 486 w 488"/>
              <a:gd name="T111" fmla="*/ 139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8" h="285">
                <a:moveTo>
                  <a:pt x="486" y="139"/>
                </a:moveTo>
                <a:lnTo>
                  <a:pt x="476" y="133"/>
                </a:lnTo>
                <a:lnTo>
                  <a:pt x="460" y="141"/>
                </a:lnTo>
                <a:lnTo>
                  <a:pt x="444" y="126"/>
                </a:lnTo>
                <a:lnTo>
                  <a:pt x="425" y="126"/>
                </a:lnTo>
                <a:lnTo>
                  <a:pt x="409" y="98"/>
                </a:lnTo>
                <a:lnTo>
                  <a:pt x="409" y="59"/>
                </a:lnTo>
                <a:lnTo>
                  <a:pt x="409" y="33"/>
                </a:lnTo>
                <a:lnTo>
                  <a:pt x="379" y="25"/>
                </a:lnTo>
                <a:lnTo>
                  <a:pt x="352" y="8"/>
                </a:lnTo>
                <a:lnTo>
                  <a:pt x="326" y="4"/>
                </a:lnTo>
                <a:lnTo>
                  <a:pt x="199" y="16"/>
                </a:lnTo>
                <a:lnTo>
                  <a:pt x="187" y="0"/>
                </a:lnTo>
                <a:lnTo>
                  <a:pt x="173" y="8"/>
                </a:lnTo>
                <a:lnTo>
                  <a:pt x="159" y="16"/>
                </a:lnTo>
                <a:lnTo>
                  <a:pt x="132" y="8"/>
                </a:lnTo>
                <a:lnTo>
                  <a:pt x="116" y="14"/>
                </a:lnTo>
                <a:lnTo>
                  <a:pt x="118" y="41"/>
                </a:lnTo>
                <a:lnTo>
                  <a:pt x="57" y="84"/>
                </a:lnTo>
                <a:lnTo>
                  <a:pt x="57" y="110"/>
                </a:lnTo>
                <a:lnTo>
                  <a:pt x="4" y="157"/>
                </a:lnTo>
                <a:lnTo>
                  <a:pt x="0" y="202"/>
                </a:lnTo>
                <a:lnTo>
                  <a:pt x="10" y="226"/>
                </a:lnTo>
                <a:lnTo>
                  <a:pt x="24" y="200"/>
                </a:lnTo>
                <a:lnTo>
                  <a:pt x="38" y="177"/>
                </a:lnTo>
                <a:lnTo>
                  <a:pt x="81" y="177"/>
                </a:lnTo>
                <a:lnTo>
                  <a:pt x="83" y="206"/>
                </a:lnTo>
                <a:lnTo>
                  <a:pt x="73" y="236"/>
                </a:lnTo>
                <a:lnTo>
                  <a:pt x="87" y="249"/>
                </a:lnTo>
                <a:lnTo>
                  <a:pt x="100" y="249"/>
                </a:lnTo>
                <a:lnTo>
                  <a:pt x="118" y="259"/>
                </a:lnTo>
                <a:lnTo>
                  <a:pt x="152" y="263"/>
                </a:lnTo>
                <a:lnTo>
                  <a:pt x="179" y="267"/>
                </a:lnTo>
                <a:lnTo>
                  <a:pt x="197" y="269"/>
                </a:lnTo>
                <a:lnTo>
                  <a:pt x="212" y="251"/>
                </a:lnTo>
                <a:lnTo>
                  <a:pt x="226" y="238"/>
                </a:lnTo>
                <a:lnTo>
                  <a:pt x="228" y="216"/>
                </a:lnTo>
                <a:lnTo>
                  <a:pt x="246" y="208"/>
                </a:lnTo>
                <a:lnTo>
                  <a:pt x="264" y="200"/>
                </a:lnTo>
                <a:lnTo>
                  <a:pt x="275" y="224"/>
                </a:lnTo>
                <a:lnTo>
                  <a:pt x="275" y="242"/>
                </a:lnTo>
                <a:lnTo>
                  <a:pt x="317" y="285"/>
                </a:lnTo>
                <a:lnTo>
                  <a:pt x="330" y="271"/>
                </a:lnTo>
                <a:lnTo>
                  <a:pt x="340" y="251"/>
                </a:lnTo>
                <a:lnTo>
                  <a:pt x="350" y="222"/>
                </a:lnTo>
                <a:lnTo>
                  <a:pt x="368" y="202"/>
                </a:lnTo>
                <a:lnTo>
                  <a:pt x="387" y="214"/>
                </a:lnTo>
                <a:lnTo>
                  <a:pt x="403" y="220"/>
                </a:lnTo>
                <a:lnTo>
                  <a:pt x="425" y="224"/>
                </a:lnTo>
                <a:lnTo>
                  <a:pt x="450" y="232"/>
                </a:lnTo>
                <a:lnTo>
                  <a:pt x="458" y="220"/>
                </a:lnTo>
                <a:lnTo>
                  <a:pt x="448" y="200"/>
                </a:lnTo>
                <a:lnTo>
                  <a:pt x="450" y="186"/>
                </a:lnTo>
                <a:lnTo>
                  <a:pt x="470" y="179"/>
                </a:lnTo>
                <a:lnTo>
                  <a:pt x="488" y="181"/>
                </a:lnTo>
                <a:lnTo>
                  <a:pt x="486" y="139"/>
                </a:lnTo>
                <a:close/>
              </a:path>
            </a:pathLst>
          </a:custGeom>
          <a:solidFill>
            <a:srgbClr val="FF0000"/>
          </a:solidFill>
          <a:ln w="9525">
            <a:solidFill>
              <a:srgbClr val="000000"/>
            </a:solidFill>
            <a:prstDash val="solid"/>
            <a:round/>
            <a:headEnd/>
            <a:tailEnd/>
          </a:ln>
        </p:spPr>
        <p:txBody>
          <a:bodyPr/>
          <a:lstStyle/>
          <a:p>
            <a:endParaRPr lang="cs-CZ"/>
          </a:p>
        </p:txBody>
      </p:sp>
      <p:sp>
        <p:nvSpPr>
          <p:cNvPr id="404" name="Freeform 412"/>
          <p:cNvSpPr>
            <a:spLocks/>
          </p:cNvSpPr>
          <p:nvPr/>
        </p:nvSpPr>
        <p:spPr bwMode="auto">
          <a:xfrm>
            <a:off x="4468813" y="5512965"/>
            <a:ext cx="39687" cy="53975"/>
          </a:xfrm>
          <a:custGeom>
            <a:avLst/>
            <a:gdLst>
              <a:gd name="T0" fmla="*/ 31 w 49"/>
              <a:gd name="T1" fmla="*/ 67 h 67"/>
              <a:gd name="T2" fmla="*/ 49 w 49"/>
              <a:gd name="T3" fmla="*/ 61 h 67"/>
              <a:gd name="T4" fmla="*/ 45 w 49"/>
              <a:gd name="T5" fmla="*/ 39 h 67"/>
              <a:gd name="T6" fmla="*/ 27 w 49"/>
              <a:gd name="T7" fmla="*/ 10 h 67"/>
              <a:gd name="T8" fmla="*/ 14 w 49"/>
              <a:gd name="T9" fmla="*/ 0 h 67"/>
              <a:gd name="T10" fmla="*/ 0 w 49"/>
              <a:gd name="T11" fmla="*/ 10 h 67"/>
              <a:gd name="T12" fmla="*/ 12 w 49"/>
              <a:gd name="T13" fmla="*/ 39 h 67"/>
              <a:gd name="T14" fmla="*/ 31 w 49"/>
              <a:gd name="T15" fmla="*/ 67 h 6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 h="67">
                <a:moveTo>
                  <a:pt x="31" y="67"/>
                </a:moveTo>
                <a:lnTo>
                  <a:pt x="49" y="61"/>
                </a:lnTo>
                <a:lnTo>
                  <a:pt x="45" y="39"/>
                </a:lnTo>
                <a:lnTo>
                  <a:pt x="27" y="10"/>
                </a:lnTo>
                <a:lnTo>
                  <a:pt x="14" y="0"/>
                </a:lnTo>
                <a:lnTo>
                  <a:pt x="0" y="10"/>
                </a:lnTo>
                <a:lnTo>
                  <a:pt x="12" y="39"/>
                </a:lnTo>
                <a:lnTo>
                  <a:pt x="31" y="67"/>
                </a:lnTo>
                <a:close/>
              </a:path>
            </a:pathLst>
          </a:custGeom>
          <a:solidFill>
            <a:srgbClr val="FFFFFF"/>
          </a:solidFill>
          <a:ln w="9525">
            <a:solidFill>
              <a:srgbClr val="000000"/>
            </a:solidFill>
            <a:prstDash val="solid"/>
            <a:round/>
            <a:headEnd/>
            <a:tailEnd/>
          </a:ln>
        </p:spPr>
        <p:txBody>
          <a:bodyPr/>
          <a:lstStyle/>
          <a:p>
            <a:endParaRPr lang="cs-CZ"/>
          </a:p>
        </p:txBody>
      </p:sp>
      <p:sp>
        <p:nvSpPr>
          <p:cNvPr id="405" name="Freeform 413"/>
          <p:cNvSpPr>
            <a:spLocks/>
          </p:cNvSpPr>
          <p:nvPr/>
        </p:nvSpPr>
        <p:spPr bwMode="auto">
          <a:xfrm>
            <a:off x="4548188" y="5686003"/>
            <a:ext cx="42862" cy="36512"/>
          </a:xfrm>
          <a:custGeom>
            <a:avLst/>
            <a:gdLst>
              <a:gd name="T0" fmla="*/ 18 w 53"/>
              <a:gd name="T1" fmla="*/ 45 h 45"/>
              <a:gd name="T2" fmla="*/ 43 w 53"/>
              <a:gd name="T3" fmla="*/ 43 h 45"/>
              <a:gd name="T4" fmla="*/ 53 w 53"/>
              <a:gd name="T5" fmla="*/ 33 h 45"/>
              <a:gd name="T6" fmla="*/ 41 w 53"/>
              <a:gd name="T7" fmla="*/ 22 h 45"/>
              <a:gd name="T8" fmla="*/ 34 w 53"/>
              <a:gd name="T9" fmla="*/ 2 h 45"/>
              <a:gd name="T10" fmla="*/ 22 w 53"/>
              <a:gd name="T11" fmla="*/ 0 h 45"/>
              <a:gd name="T12" fmla="*/ 8 w 53"/>
              <a:gd name="T13" fmla="*/ 12 h 45"/>
              <a:gd name="T14" fmla="*/ 0 w 53"/>
              <a:gd name="T15" fmla="*/ 31 h 45"/>
              <a:gd name="T16" fmla="*/ 18 w 53"/>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 h="45">
                <a:moveTo>
                  <a:pt x="18" y="45"/>
                </a:moveTo>
                <a:lnTo>
                  <a:pt x="43" y="43"/>
                </a:lnTo>
                <a:lnTo>
                  <a:pt x="53" y="33"/>
                </a:lnTo>
                <a:lnTo>
                  <a:pt x="41" y="22"/>
                </a:lnTo>
                <a:lnTo>
                  <a:pt x="34" y="2"/>
                </a:lnTo>
                <a:lnTo>
                  <a:pt x="22" y="0"/>
                </a:lnTo>
                <a:lnTo>
                  <a:pt x="8" y="12"/>
                </a:lnTo>
                <a:lnTo>
                  <a:pt x="0" y="31"/>
                </a:lnTo>
                <a:lnTo>
                  <a:pt x="18" y="45"/>
                </a:lnTo>
                <a:close/>
              </a:path>
            </a:pathLst>
          </a:custGeom>
          <a:solidFill>
            <a:srgbClr val="FFFFFF"/>
          </a:solidFill>
          <a:ln w="9525">
            <a:solidFill>
              <a:srgbClr val="000000"/>
            </a:solidFill>
            <a:prstDash val="solid"/>
            <a:round/>
            <a:headEnd/>
            <a:tailEnd/>
          </a:ln>
        </p:spPr>
        <p:txBody>
          <a:bodyPr/>
          <a:lstStyle/>
          <a:p>
            <a:endParaRPr lang="cs-CZ"/>
          </a:p>
        </p:txBody>
      </p:sp>
      <p:sp>
        <p:nvSpPr>
          <p:cNvPr id="406" name="Freeform 414"/>
          <p:cNvSpPr>
            <a:spLocks/>
          </p:cNvSpPr>
          <p:nvPr/>
        </p:nvSpPr>
        <p:spPr bwMode="auto">
          <a:xfrm>
            <a:off x="4522788" y="5200228"/>
            <a:ext cx="593725" cy="555625"/>
          </a:xfrm>
          <a:custGeom>
            <a:avLst/>
            <a:gdLst>
              <a:gd name="T0" fmla="*/ 727 w 746"/>
              <a:gd name="T1" fmla="*/ 0 h 699"/>
              <a:gd name="T2" fmla="*/ 746 w 746"/>
              <a:gd name="T3" fmla="*/ 23 h 699"/>
              <a:gd name="T4" fmla="*/ 725 w 746"/>
              <a:gd name="T5" fmla="*/ 77 h 699"/>
              <a:gd name="T6" fmla="*/ 721 w 746"/>
              <a:gd name="T7" fmla="*/ 134 h 699"/>
              <a:gd name="T8" fmla="*/ 705 w 746"/>
              <a:gd name="T9" fmla="*/ 179 h 699"/>
              <a:gd name="T10" fmla="*/ 668 w 746"/>
              <a:gd name="T11" fmla="*/ 159 h 699"/>
              <a:gd name="T12" fmla="*/ 619 w 746"/>
              <a:gd name="T13" fmla="*/ 159 h 699"/>
              <a:gd name="T14" fmla="*/ 577 w 746"/>
              <a:gd name="T15" fmla="*/ 141 h 699"/>
              <a:gd name="T16" fmla="*/ 540 w 746"/>
              <a:gd name="T17" fmla="*/ 171 h 699"/>
              <a:gd name="T18" fmla="*/ 495 w 746"/>
              <a:gd name="T19" fmla="*/ 167 h 699"/>
              <a:gd name="T20" fmla="*/ 458 w 746"/>
              <a:gd name="T21" fmla="*/ 196 h 699"/>
              <a:gd name="T22" fmla="*/ 420 w 746"/>
              <a:gd name="T23" fmla="*/ 228 h 699"/>
              <a:gd name="T24" fmla="*/ 456 w 746"/>
              <a:gd name="T25" fmla="*/ 247 h 699"/>
              <a:gd name="T26" fmla="*/ 497 w 746"/>
              <a:gd name="T27" fmla="*/ 283 h 699"/>
              <a:gd name="T28" fmla="*/ 450 w 746"/>
              <a:gd name="T29" fmla="*/ 271 h 699"/>
              <a:gd name="T30" fmla="*/ 440 w 746"/>
              <a:gd name="T31" fmla="*/ 283 h 699"/>
              <a:gd name="T32" fmla="*/ 461 w 746"/>
              <a:gd name="T33" fmla="*/ 312 h 699"/>
              <a:gd name="T34" fmla="*/ 438 w 746"/>
              <a:gd name="T35" fmla="*/ 312 h 699"/>
              <a:gd name="T36" fmla="*/ 405 w 746"/>
              <a:gd name="T37" fmla="*/ 287 h 699"/>
              <a:gd name="T38" fmla="*/ 416 w 746"/>
              <a:gd name="T39" fmla="*/ 316 h 699"/>
              <a:gd name="T40" fmla="*/ 401 w 746"/>
              <a:gd name="T41" fmla="*/ 336 h 699"/>
              <a:gd name="T42" fmla="*/ 363 w 746"/>
              <a:gd name="T43" fmla="*/ 295 h 699"/>
              <a:gd name="T44" fmla="*/ 322 w 746"/>
              <a:gd name="T45" fmla="*/ 263 h 699"/>
              <a:gd name="T46" fmla="*/ 289 w 746"/>
              <a:gd name="T47" fmla="*/ 269 h 699"/>
              <a:gd name="T48" fmla="*/ 300 w 746"/>
              <a:gd name="T49" fmla="*/ 346 h 699"/>
              <a:gd name="T50" fmla="*/ 330 w 746"/>
              <a:gd name="T51" fmla="*/ 397 h 699"/>
              <a:gd name="T52" fmla="*/ 391 w 746"/>
              <a:gd name="T53" fmla="*/ 454 h 699"/>
              <a:gd name="T54" fmla="*/ 361 w 746"/>
              <a:gd name="T55" fmla="*/ 464 h 699"/>
              <a:gd name="T56" fmla="*/ 334 w 746"/>
              <a:gd name="T57" fmla="*/ 454 h 699"/>
              <a:gd name="T58" fmla="*/ 349 w 746"/>
              <a:gd name="T59" fmla="*/ 499 h 699"/>
              <a:gd name="T60" fmla="*/ 302 w 746"/>
              <a:gd name="T61" fmla="*/ 503 h 699"/>
              <a:gd name="T62" fmla="*/ 336 w 746"/>
              <a:gd name="T63" fmla="*/ 536 h 699"/>
              <a:gd name="T64" fmla="*/ 397 w 746"/>
              <a:gd name="T65" fmla="*/ 558 h 699"/>
              <a:gd name="T66" fmla="*/ 436 w 746"/>
              <a:gd name="T67" fmla="*/ 583 h 699"/>
              <a:gd name="T68" fmla="*/ 475 w 746"/>
              <a:gd name="T69" fmla="*/ 603 h 699"/>
              <a:gd name="T70" fmla="*/ 499 w 746"/>
              <a:gd name="T71" fmla="*/ 638 h 699"/>
              <a:gd name="T72" fmla="*/ 503 w 746"/>
              <a:gd name="T73" fmla="*/ 699 h 699"/>
              <a:gd name="T74" fmla="*/ 442 w 746"/>
              <a:gd name="T75" fmla="*/ 678 h 699"/>
              <a:gd name="T76" fmla="*/ 395 w 746"/>
              <a:gd name="T77" fmla="*/ 658 h 699"/>
              <a:gd name="T78" fmla="*/ 369 w 746"/>
              <a:gd name="T79" fmla="*/ 617 h 699"/>
              <a:gd name="T80" fmla="*/ 340 w 746"/>
              <a:gd name="T81" fmla="*/ 607 h 699"/>
              <a:gd name="T82" fmla="*/ 279 w 746"/>
              <a:gd name="T83" fmla="*/ 607 h 699"/>
              <a:gd name="T84" fmla="*/ 196 w 746"/>
              <a:gd name="T85" fmla="*/ 609 h 699"/>
              <a:gd name="T86" fmla="*/ 153 w 746"/>
              <a:gd name="T87" fmla="*/ 601 h 699"/>
              <a:gd name="T88" fmla="*/ 118 w 746"/>
              <a:gd name="T89" fmla="*/ 599 h 699"/>
              <a:gd name="T90" fmla="*/ 76 w 746"/>
              <a:gd name="T91" fmla="*/ 538 h 699"/>
              <a:gd name="T92" fmla="*/ 116 w 746"/>
              <a:gd name="T93" fmla="*/ 524 h 699"/>
              <a:gd name="T94" fmla="*/ 76 w 746"/>
              <a:gd name="T95" fmla="*/ 503 h 699"/>
              <a:gd name="T96" fmla="*/ 51 w 746"/>
              <a:gd name="T97" fmla="*/ 477 h 699"/>
              <a:gd name="T98" fmla="*/ 12 w 746"/>
              <a:gd name="T99" fmla="*/ 446 h 699"/>
              <a:gd name="T100" fmla="*/ 0 w 746"/>
              <a:gd name="T101" fmla="*/ 401 h 699"/>
              <a:gd name="T102" fmla="*/ 33 w 746"/>
              <a:gd name="T103" fmla="*/ 344 h 699"/>
              <a:gd name="T104" fmla="*/ 90 w 746"/>
              <a:gd name="T105" fmla="*/ 263 h 699"/>
              <a:gd name="T106" fmla="*/ 88 w 746"/>
              <a:gd name="T107" fmla="*/ 224 h 699"/>
              <a:gd name="T108" fmla="*/ 90 w 746"/>
              <a:gd name="T109" fmla="*/ 212 h 699"/>
              <a:gd name="T110" fmla="*/ 147 w 746"/>
              <a:gd name="T111" fmla="*/ 200 h 699"/>
              <a:gd name="T112" fmla="*/ 275 w 746"/>
              <a:gd name="T113" fmla="*/ 149 h 699"/>
              <a:gd name="T114" fmla="*/ 348 w 746"/>
              <a:gd name="T115" fmla="*/ 108 h 699"/>
              <a:gd name="T116" fmla="*/ 442 w 746"/>
              <a:gd name="T117" fmla="*/ 88 h 699"/>
              <a:gd name="T118" fmla="*/ 520 w 746"/>
              <a:gd name="T119" fmla="*/ 57 h 699"/>
              <a:gd name="T120" fmla="*/ 587 w 746"/>
              <a:gd name="T121" fmla="*/ 84 h 699"/>
              <a:gd name="T122" fmla="*/ 680 w 746"/>
              <a:gd name="T123" fmla="*/ 71 h 699"/>
              <a:gd name="T124" fmla="*/ 695 w 746"/>
              <a:gd name="T125" fmla="*/ 2 h 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6" h="699">
                <a:moveTo>
                  <a:pt x="695" y="2"/>
                </a:moveTo>
                <a:lnTo>
                  <a:pt x="727" y="0"/>
                </a:lnTo>
                <a:lnTo>
                  <a:pt x="729" y="16"/>
                </a:lnTo>
                <a:lnTo>
                  <a:pt x="746" y="23"/>
                </a:lnTo>
                <a:lnTo>
                  <a:pt x="742" y="53"/>
                </a:lnTo>
                <a:lnTo>
                  <a:pt x="725" y="77"/>
                </a:lnTo>
                <a:lnTo>
                  <a:pt x="725" y="108"/>
                </a:lnTo>
                <a:lnTo>
                  <a:pt x="721" y="134"/>
                </a:lnTo>
                <a:lnTo>
                  <a:pt x="719" y="151"/>
                </a:lnTo>
                <a:lnTo>
                  <a:pt x="705" y="179"/>
                </a:lnTo>
                <a:lnTo>
                  <a:pt x="689" y="167"/>
                </a:lnTo>
                <a:lnTo>
                  <a:pt x="668" y="159"/>
                </a:lnTo>
                <a:lnTo>
                  <a:pt x="650" y="157"/>
                </a:lnTo>
                <a:lnTo>
                  <a:pt x="619" y="159"/>
                </a:lnTo>
                <a:lnTo>
                  <a:pt x="591" y="149"/>
                </a:lnTo>
                <a:lnTo>
                  <a:pt x="577" y="141"/>
                </a:lnTo>
                <a:lnTo>
                  <a:pt x="550" y="159"/>
                </a:lnTo>
                <a:lnTo>
                  <a:pt x="540" y="171"/>
                </a:lnTo>
                <a:lnTo>
                  <a:pt x="511" y="171"/>
                </a:lnTo>
                <a:lnTo>
                  <a:pt x="495" y="167"/>
                </a:lnTo>
                <a:lnTo>
                  <a:pt x="479" y="189"/>
                </a:lnTo>
                <a:lnTo>
                  <a:pt x="458" y="196"/>
                </a:lnTo>
                <a:lnTo>
                  <a:pt x="434" y="206"/>
                </a:lnTo>
                <a:lnTo>
                  <a:pt x="420" y="228"/>
                </a:lnTo>
                <a:lnTo>
                  <a:pt x="432" y="244"/>
                </a:lnTo>
                <a:lnTo>
                  <a:pt x="456" y="247"/>
                </a:lnTo>
                <a:lnTo>
                  <a:pt x="479" y="259"/>
                </a:lnTo>
                <a:lnTo>
                  <a:pt x="497" y="283"/>
                </a:lnTo>
                <a:lnTo>
                  <a:pt x="477" y="279"/>
                </a:lnTo>
                <a:lnTo>
                  <a:pt x="450" y="271"/>
                </a:lnTo>
                <a:lnTo>
                  <a:pt x="436" y="271"/>
                </a:lnTo>
                <a:lnTo>
                  <a:pt x="440" y="283"/>
                </a:lnTo>
                <a:lnTo>
                  <a:pt x="456" y="293"/>
                </a:lnTo>
                <a:lnTo>
                  <a:pt x="461" y="312"/>
                </a:lnTo>
                <a:lnTo>
                  <a:pt x="461" y="328"/>
                </a:lnTo>
                <a:lnTo>
                  <a:pt x="438" y="312"/>
                </a:lnTo>
                <a:lnTo>
                  <a:pt x="424" y="297"/>
                </a:lnTo>
                <a:lnTo>
                  <a:pt x="405" y="287"/>
                </a:lnTo>
                <a:lnTo>
                  <a:pt x="397" y="299"/>
                </a:lnTo>
                <a:lnTo>
                  <a:pt x="416" y="316"/>
                </a:lnTo>
                <a:lnTo>
                  <a:pt x="424" y="334"/>
                </a:lnTo>
                <a:lnTo>
                  <a:pt x="401" y="336"/>
                </a:lnTo>
                <a:lnTo>
                  <a:pt x="379" y="312"/>
                </a:lnTo>
                <a:lnTo>
                  <a:pt x="363" y="295"/>
                </a:lnTo>
                <a:lnTo>
                  <a:pt x="344" y="279"/>
                </a:lnTo>
                <a:lnTo>
                  <a:pt x="322" y="263"/>
                </a:lnTo>
                <a:lnTo>
                  <a:pt x="310" y="247"/>
                </a:lnTo>
                <a:lnTo>
                  <a:pt x="289" y="269"/>
                </a:lnTo>
                <a:lnTo>
                  <a:pt x="289" y="306"/>
                </a:lnTo>
                <a:lnTo>
                  <a:pt x="300" y="346"/>
                </a:lnTo>
                <a:lnTo>
                  <a:pt x="322" y="369"/>
                </a:lnTo>
                <a:lnTo>
                  <a:pt x="330" y="397"/>
                </a:lnTo>
                <a:lnTo>
                  <a:pt x="375" y="422"/>
                </a:lnTo>
                <a:lnTo>
                  <a:pt x="391" y="454"/>
                </a:lnTo>
                <a:lnTo>
                  <a:pt x="381" y="468"/>
                </a:lnTo>
                <a:lnTo>
                  <a:pt x="361" y="464"/>
                </a:lnTo>
                <a:lnTo>
                  <a:pt x="344" y="440"/>
                </a:lnTo>
                <a:lnTo>
                  <a:pt x="334" y="454"/>
                </a:lnTo>
                <a:lnTo>
                  <a:pt x="346" y="477"/>
                </a:lnTo>
                <a:lnTo>
                  <a:pt x="349" y="499"/>
                </a:lnTo>
                <a:lnTo>
                  <a:pt x="326" y="505"/>
                </a:lnTo>
                <a:lnTo>
                  <a:pt x="302" y="503"/>
                </a:lnTo>
                <a:lnTo>
                  <a:pt x="310" y="526"/>
                </a:lnTo>
                <a:lnTo>
                  <a:pt x="336" y="536"/>
                </a:lnTo>
                <a:lnTo>
                  <a:pt x="369" y="548"/>
                </a:lnTo>
                <a:lnTo>
                  <a:pt x="397" y="558"/>
                </a:lnTo>
                <a:lnTo>
                  <a:pt x="412" y="570"/>
                </a:lnTo>
                <a:lnTo>
                  <a:pt x="436" y="583"/>
                </a:lnTo>
                <a:lnTo>
                  <a:pt x="456" y="595"/>
                </a:lnTo>
                <a:lnTo>
                  <a:pt x="475" y="603"/>
                </a:lnTo>
                <a:lnTo>
                  <a:pt x="495" y="609"/>
                </a:lnTo>
                <a:lnTo>
                  <a:pt x="499" y="638"/>
                </a:lnTo>
                <a:lnTo>
                  <a:pt x="505" y="674"/>
                </a:lnTo>
                <a:lnTo>
                  <a:pt x="503" y="699"/>
                </a:lnTo>
                <a:lnTo>
                  <a:pt x="475" y="680"/>
                </a:lnTo>
                <a:lnTo>
                  <a:pt x="442" y="678"/>
                </a:lnTo>
                <a:lnTo>
                  <a:pt x="412" y="658"/>
                </a:lnTo>
                <a:lnTo>
                  <a:pt x="395" y="658"/>
                </a:lnTo>
                <a:lnTo>
                  <a:pt x="381" y="638"/>
                </a:lnTo>
                <a:lnTo>
                  <a:pt x="369" y="617"/>
                </a:lnTo>
                <a:lnTo>
                  <a:pt x="351" y="623"/>
                </a:lnTo>
                <a:lnTo>
                  <a:pt x="340" y="607"/>
                </a:lnTo>
                <a:lnTo>
                  <a:pt x="308" y="601"/>
                </a:lnTo>
                <a:lnTo>
                  <a:pt x="279" y="607"/>
                </a:lnTo>
                <a:lnTo>
                  <a:pt x="241" y="605"/>
                </a:lnTo>
                <a:lnTo>
                  <a:pt x="196" y="609"/>
                </a:lnTo>
                <a:lnTo>
                  <a:pt x="173" y="607"/>
                </a:lnTo>
                <a:lnTo>
                  <a:pt x="153" y="601"/>
                </a:lnTo>
                <a:lnTo>
                  <a:pt x="133" y="615"/>
                </a:lnTo>
                <a:lnTo>
                  <a:pt x="118" y="599"/>
                </a:lnTo>
                <a:lnTo>
                  <a:pt x="98" y="562"/>
                </a:lnTo>
                <a:lnTo>
                  <a:pt x="76" y="538"/>
                </a:lnTo>
                <a:lnTo>
                  <a:pt x="108" y="534"/>
                </a:lnTo>
                <a:lnTo>
                  <a:pt x="116" y="524"/>
                </a:lnTo>
                <a:lnTo>
                  <a:pt x="98" y="505"/>
                </a:lnTo>
                <a:lnTo>
                  <a:pt x="76" y="503"/>
                </a:lnTo>
                <a:lnTo>
                  <a:pt x="67" y="521"/>
                </a:lnTo>
                <a:lnTo>
                  <a:pt x="51" y="477"/>
                </a:lnTo>
                <a:lnTo>
                  <a:pt x="23" y="458"/>
                </a:lnTo>
                <a:lnTo>
                  <a:pt x="12" y="446"/>
                </a:lnTo>
                <a:lnTo>
                  <a:pt x="10" y="414"/>
                </a:lnTo>
                <a:lnTo>
                  <a:pt x="0" y="401"/>
                </a:lnTo>
                <a:lnTo>
                  <a:pt x="25" y="369"/>
                </a:lnTo>
                <a:lnTo>
                  <a:pt x="33" y="344"/>
                </a:lnTo>
                <a:lnTo>
                  <a:pt x="53" y="326"/>
                </a:lnTo>
                <a:lnTo>
                  <a:pt x="90" y="263"/>
                </a:lnTo>
                <a:lnTo>
                  <a:pt x="92" y="238"/>
                </a:lnTo>
                <a:lnTo>
                  <a:pt x="88" y="224"/>
                </a:lnTo>
                <a:lnTo>
                  <a:pt x="76" y="206"/>
                </a:lnTo>
                <a:lnTo>
                  <a:pt x="90" y="212"/>
                </a:lnTo>
                <a:lnTo>
                  <a:pt x="120" y="196"/>
                </a:lnTo>
                <a:lnTo>
                  <a:pt x="147" y="200"/>
                </a:lnTo>
                <a:lnTo>
                  <a:pt x="230" y="145"/>
                </a:lnTo>
                <a:lnTo>
                  <a:pt x="275" y="149"/>
                </a:lnTo>
                <a:lnTo>
                  <a:pt x="312" y="108"/>
                </a:lnTo>
                <a:lnTo>
                  <a:pt x="348" y="108"/>
                </a:lnTo>
                <a:lnTo>
                  <a:pt x="377" y="94"/>
                </a:lnTo>
                <a:lnTo>
                  <a:pt x="442" y="88"/>
                </a:lnTo>
                <a:lnTo>
                  <a:pt x="461" y="71"/>
                </a:lnTo>
                <a:lnTo>
                  <a:pt x="520" y="57"/>
                </a:lnTo>
                <a:lnTo>
                  <a:pt x="542" y="75"/>
                </a:lnTo>
                <a:lnTo>
                  <a:pt x="587" y="84"/>
                </a:lnTo>
                <a:lnTo>
                  <a:pt x="627" y="92"/>
                </a:lnTo>
                <a:lnTo>
                  <a:pt x="680" y="71"/>
                </a:lnTo>
                <a:lnTo>
                  <a:pt x="695" y="33"/>
                </a:lnTo>
                <a:lnTo>
                  <a:pt x="695" y="2"/>
                </a:lnTo>
                <a:close/>
              </a:path>
            </a:pathLst>
          </a:custGeom>
          <a:solidFill>
            <a:srgbClr val="FA0000"/>
          </a:solidFill>
          <a:ln w="9525">
            <a:solidFill>
              <a:srgbClr val="000000"/>
            </a:solidFill>
            <a:prstDash val="solid"/>
            <a:round/>
            <a:headEnd/>
            <a:tailEnd/>
          </a:ln>
        </p:spPr>
        <p:txBody>
          <a:bodyPr/>
          <a:lstStyle/>
          <a:p>
            <a:endParaRPr lang="cs-CZ"/>
          </a:p>
        </p:txBody>
      </p:sp>
      <p:sp>
        <p:nvSpPr>
          <p:cNvPr id="407" name="Oval 415"/>
          <p:cNvSpPr>
            <a:spLocks noChangeArrowheads="1"/>
          </p:cNvSpPr>
          <p:nvPr/>
        </p:nvSpPr>
        <p:spPr bwMode="auto">
          <a:xfrm>
            <a:off x="4865688" y="5714578"/>
            <a:ext cx="25400" cy="25400"/>
          </a:xfrm>
          <a:prstGeom prst="ellipse">
            <a:avLst/>
          </a:prstGeom>
          <a:solidFill>
            <a:srgbClr val="FFFFFF"/>
          </a:solidFill>
          <a:ln w="9525">
            <a:solidFill>
              <a:srgbClr val="000000"/>
            </a:solidFill>
            <a:round/>
            <a:headEnd/>
            <a:tailEnd/>
          </a:ln>
        </p:spPr>
        <p:txBody>
          <a:bodyPr/>
          <a:lstStyle/>
          <a:p>
            <a:endParaRPr lang="cs-CZ"/>
          </a:p>
        </p:txBody>
      </p:sp>
      <p:sp>
        <p:nvSpPr>
          <p:cNvPr id="408" name="Freeform 416"/>
          <p:cNvSpPr>
            <a:spLocks/>
          </p:cNvSpPr>
          <p:nvPr/>
        </p:nvSpPr>
        <p:spPr bwMode="auto">
          <a:xfrm>
            <a:off x="4803775" y="5592340"/>
            <a:ext cx="176213" cy="125413"/>
          </a:xfrm>
          <a:custGeom>
            <a:avLst/>
            <a:gdLst>
              <a:gd name="T0" fmla="*/ 0 w 222"/>
              <a:gd name="T1" fmla="*/ 24 h 159"/>
              <a:gd name="T2" fmla="*/ 36 w 222"/>
              <a:gd name="T3" fmla="*/ 37 h 159"/>
              <a:gd name="T4" fmla="*/ 48 w 222"/>
              <a:gd name="T5" fmla="*/ 51 h 159"/>
              <a:gd name="T6" fmla="*/ 52 w 222"/>
              <a:gd name="T7" fmla="*/ 65 h 159"/>
              <a:gd name="T8" fmla="*/ 77 w 222"/>
              <a:gd name="T9" fmla="*/ 63 h 159"/>
              <a:gd name="T10" fmla="*/ 91 w 222"/>
              <a:gd name="T11" fmla="*/ 81 h 159"/>
              <a:gd name="T12" fmla="*/ 103 w 222"/>
              <a:gd name="T13" fmla="*/ 96 h 159"/>
              <a:gd name="T14" fmla="*/ 132 w 222"/>
              <a:gd name="T15" fmla="*/ 100 h 159"/>
              <a:gd name="T16" fmla="*/ 150 w 222"/>
              <a:gd name="T17" fmla="*/ 98 h 159"/>
              <a:gd name="T18" fmla="*/ 164 w 222"/>
              <a:gd name="T19" fmla="*/ 112 h 159"/>
              <a:gd name="T20" fmla="*/ 185 w 222"/>
              <a:gd name="T21" fmla="*/ 153 h 159"/>
              <a:gd name="T22" fmla="*/ 205 w 222"/>
              <a:gd name="T23" fmla="*/ 159 h 159"/>
              <a:gd name="T24" fmla="*/ 217 w 222"/>
              <a:gd name="T25" fmla="*/ 149 h 159"/>
              <a:gd name="T26" fmla="*/ 222 w 222"/>
              <a:gd name="T27" fmla="*/ 124 h 159"/>
              <a:gd name="T28" fmla="*/ 199 w 222"/>
              <a:gd name="T29" fmla="*/ 108 h 159"/>
              <a:gd name="T30" fmla="*/ 173 w 222"/>
              <a:gd name="T31" fmla="*/ 96 h 159"/>
              <a:gd name="T32" fmla="*/ 160 w 222"/>
              <a:gd name="T33" fmla="*/ 77 h 159"/>
              <a:gd name="T34" fmla="*/ 150 w 222"/>
              <a:gd name="T35" fmla="*/ 47 h 159"/>
              <a:gd name="T36" fmla="*/ 105 w 222"/>
              <a:gd name="T37" fmla="*/ 39 h 159"/>
              <a:gd name="T38" fmla="*/ 79 w 222"/>
              <a:gd name="T39" fmla="*/ 30 h 159"/>
              <a:gd name="T40" fmla="*/ 50 w 222"/>
              <a:gd name="T41" fmla="*/ 6 h 159"/>
              <a:gd name="T42" fmla="*/ 24 w 222"/>
              <a:gd name="T43" fmla="*/ 0 h 159"/>
              <a:gd name="T44" fmla="*/ 0 w 222"/>
              <a:gd name="T45" fmla="*/ 2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2" h="159">
                <a:moveTo>
                  <a:pt x="0" y="24"/>
                </a:moveTo>
                <a:lnTo>
                  <a:pt x="36" y="37"/>
                </a:lnTo>
                <a:lnTo>
                  <a:pt x="48" y="51"/>
                </a:lnTo>
                <a:lnTo>
                  <a:pt x="52" y="65"/>
                </a:lnTo>
                <a:lnTo>
                  <a:pt x="77" y="63"/>
                </a:lnTo>
                <a:lnTo>
                  <a:pt x="91" y="81"/>
                </a:lnTo>
                <a:lnTo>
                  <a:pt x="103" y="96"/>
                </a:lnTo>
                <a:lnTo>
                  <a:pt x="132" y="100"/>
                </a:lnTo>
                <a:lnTo>
                  <a:pt x="150" y="98"/>
                </a:lnTo>
                <a:lnTo>
                  <a:pt x="164" y="112"/>
                </a:lnTo>
                <a:lnTo>
                  <a:pt x="185" y="153"/>
                </a:lnTo>
                <a:lnTo>
                  <a:pt x="205" y="159"/>
                </a:lnTo>
                <a:lnTo>
                  <a:pt x="217" y="149"/>
                </a:lnTo>
                <a:lnTo>
                  <a:pt x="222" y="124"/>
                </a:lnTo>
                <a:lnTo>
                  <a:pt x="199" y="108"/>
                </a:lnTo>
                <a:lnTo>
                  <a:pt x="173" y="96"/>
                </a:lnTo>
                <a:lnTo>
                  <a:pt x="160" y="77"/>
                </a:lnTo>
                <a:lnTo>
                  <a:pt x="150" y="47"/>
                </a:lnTo>
                <a:lnTo>
                  <a:pt x="105" y="39"/>
                </a:lnTo>
                <a:lnTo>
                  <a:pt x="79" y="30"/>
                </a:lnTo>
                <a:lnTo>
                  <a:pt x="50" y="6"/>
                </a:lnTo>
                <a:lnTo>
                  <a:pt x="24" y="0"/>
                </a:lnTo>
                <a:lnTo>
                  <a:pt x="0" y="24"/>
                </a:lnTo>
                <a:close/>
              </a:path>
            </a:pathLst>
          </a:custGeom>
          <a:solidFill>
            <a:srgbClr val="FFFFFF"/>
          </a:solidFill>
          <a:ln w="9525">
            <a:solidFill>
              <a:srgbClr val="000000"/>
            </a:solidFill>
            <a:prstDash val="solid"/>
            <a:round/>
            <a:headEnd/>
            <a:tailEnd/>
          </a:ln>
        </p:spPr>
        <p:txBody>
          <a:bodyPr/>
          <a:lstStyle/>
          <a:p>
            <a:endParaRPr lang="cs-CZ"/>
          </a:p>
        </p:txBody>
      </p:sp>
      <p:sp>
        <p:nvSpPr>
          <p:cNvPr id="409" name="Freeform 417"/>
          <p:cNvSpPr>
            <a:spLocks/>
          </p:cNvSpPr>
          <p:nvPr/>
        </p:nvSpPr>
        <p:spPr bwMode="auto">
          <a:xfrm>
            <a:off x="4987925" y="5708228"/>
            <a:ext cx="38100" cy="38100"/>
          </a:xfrm>
          <a:custGeom>
            <a:avLst/>
            <a:gdLst>
              <a:gd name="T0" fmla="*/ 0 w 47"/>
              <a:gd name="T1" fmla="*/ 6 h 48"/>
              <a:gd name="T2" fmla="*/ 18 w 47"/>
              <a:gd name="T3" fmla="*/ 32 h 48"/>
              <a:gd name="T4" fmla="*/ 24 w 47"/>
              <a:gd name="T5" fmla="*/ 48 h 48"/>
              <a:gd name="T6" fmla="*/ 40 w 47"/>
              <a:gd name="T7" fmla="*/ 48 h 48"/>
              <a:gd name="T8" fmla="*/ 47 w 47"/>
              <a:gd name="T9" fmla="*/ 34 h 48"/>
              <a:gd name="T10" fmla="*/ 32 w 47"/>
              <a:gd name="T11" fmla="*/ 12 h 48"/>
              <a:gd name="T12" fmla="*/ 16 w 47"/>
              <a:gd name="T13" fmla="*/ 0 h 48"/>
              <a:gd name="T14" fmla="*/ 0 w 47"/>
              <a:gd name="T15" fmla="*/ 6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8">
                <a:moveTo>
                  <a:pt x="0" y="6"/>
                </a:moveTo>
                <a:lnTo>
                  <a:pt x="18" y="32"/>
                </a:lnTo>
                <a:lnTo>
                  <a:pt x="24" y="48"/>
                </a:lnTo>
                <a:lnTo>
                  <a:pt x="40" y="48"/>
                </a:lnTo>
                <a:lnTo>
                  <a:pt x="47" y="34"/>
                </a:lnTo>
                <a:lnTo>
                  <a:pt x="32" y="12"/>
                </a:lnTo>
                <a:lnTo>
                  <a:pt x="16" y="0"/>
                </a:lnTo>
                <a:lnTo>
                  <a:pt x="0" y="6"/>
                </a:lnTo>
                <a:close/>
              </a:path>
            </a:pathLst>
          </a:custGeom>
          <a:solidFill>
            <a:srgbClr val="FFFFFF"/>
          </a:solidFill>
          <a:ln w="9525">
            <a:solidFill>
              <a:srgbClr val="000000"/>
            </a:solidFill>
            <a:prstDash val="solid"/>
            <a:round/>
            <a:headEnd/>
            <a:tailEnd/>
          </a:ln>
        </p:spPr>
        <p:txBody>
          <a:bodyPr/>
          <a:lstStyle/>
          <a:p>
            <a:endParaRPr lang="cs-CZ"/>
          </a:p>
        </p:txBody>
      </p:sp>
      <p:sp>
        <p:nvSpPr>
          <p:cNvPr id="410" name="Freeform 418"/>
          <p:cNvSpPr>
            <a:spLocks/>
          </p:cNvSpPr>
          <p:nvPr/>
        </p:nvSpPr>
        <p:spPr bwMode="auto">
          <a:xfrm>
            <a:off x="4929188" y="5346278"/>
            <a:ext cx="31750" cy="31750"/>
          </a:xfrm>
          <a:custGeom>
            <a:avLst/>
            <a:gdLst>
              <a:gd name="T0" fmla="*/ 6 w 41"/>
              <a:gd name="T1" fmla="*/ 29 h 39"/>
              <a:gd name="T2" fmla="*/ 23 w 41"/>
              <a:gd name="T3" fmla="*/ 39 h 39"/>
              <a:gd name="T4" fmla="*/ 33 w 41"/>
              <a:gd name="T5" fmla="*/ 29 h 39"/>
              <a:gd name="T6" fmla="*/ 41 w 41"/>
              <a:gd name="T7" fmla="*/ 13 h 39"/>
              <a:gd name="T8" fmla="*/ 27 w 41"/>
              <a:gd name="T9" fmla="*/ 0 h 39"/>
              <a:gd name="T10" fmla="*/ 6 w 41"/>
              <a:gd name="T11" fmla="*/ 5 h 39"/>
              <a:gd name="T12" fmla="*/ 0 w 41"/>
              <a:gd name="T13" fmla="*/ 17 h 39"/>
              <a:gd name="T14" fmla="*/ 6 w 41"/>
              <a:gd name="T15" fmla="*/ 2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9">
                <a:moveTo>
                  <a:pt x="6" y="29"/>
                </a:moveTo>
                <a:lnTo>
                  <a:pt x="23" y="39"/>
                </a:lnTo>
                <a:lnTo>
                  <a:pt x="33" y="29"/>
                </a:lnTo>
                <a:lnTo>
                  <a:pt x="41" y="13"/>
                </a:lnTo>
                <a:lnTo>
                  <a:pt x="27" y="0"/>
                </a:lnTo>
                <a:lnTo>
                  <a:pt x="6" y="5"/>
                </a:lnTo>
                <a:lnTo>
                  <a:pt x="0" y="17"/>
                </a:lnTo>
                <a:lnTo>
                  <a:pt x="6" y="29"/>
                </a:lnTo>
                <a:close/>
              </a:path>
            </a:pathLst>
          </a:custGeom>
          <a:solidFill>
            <a:srgbClr val="FFFFFF"/>
          </a:solidFill>
          <a:ln w="9525">
            <a:solidFill>
              <a:srgbClr val="000000"/>
            </a:solidFill>
            <a:prstDash val="solid"/>
            <a:round/>
            <a:headEnd/>
            <a:tailEnd/>
          </a:ln>
        </p:spPr>
        <p:txBody>
          <a:bodyPr/>
          <a:lstStyle/>
          <a:p>
            <a:endParaRPr lang="cs-CZ"/>
          </a:p>
        </p:txBody>
      </p:sp>
      <p:sp>
        <p:nvSpPr>
          <p:cNvPr id="411" name="Freeform 419"/>
          <p:cNvSpPr>
            <a:spLocks/>
          </p:cNvSpPr>
          <p:nvPr/>
        </p:nvSpPr>
        <p:spPr bwMode="auto">
          <a:xfrm>
            <a:off x="4994275" y="5439940"/>
            <a:ext cx="31750" cy="34925"/>
          </a:xfrm>
          <a:custGeom>
            <a:avLst/>
            <a:gdLst>
              <a:gd name="T0" fmla="*/ 4 w 39"/>
              <a:gd name="T1" fmla="*/ 18 h 44"/>
              <a:gd name="T2" fmla="*/ 0 w 39"/>
              <a:gd name="T3" fmla="*/ 30 h 44"/>
              <a:gd name="T4" fmla="*/ 8 w 39"/>
              <a:gd name="T5" fmla="*/ 44 h 44"/>
              <a:gd name="T6" fmla="*/ 34 w 39"/>
              <a:gd name="T7" fmla="*/ 32 h 44"/>
              <a:gd name="T8" fmla="*/ 39 w 39"/>
              <a:gd name="T9" fmla="*/ 18 h 44"/>
              <a:gd name="T10" fmla="*/ 34 w 39"/>
              <a:gd name="T11" fmla="*/ 2 h 44"/>
              <a:gd name="T12" fmla="*/ 20 w 39"/>
              <a:gd name="T13" fmla="*/ 0 h 44"/>
              <a:gd name="T14" fmla="*/ 4 w 39"/>
              <a:gd name="T15" fmla="*/ 18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4">
                <a:moveTo>
                  <a:pt x="4" y="18"/>
                </a:moveTo>
                <a:lnTo>
                  <a:pt x="0" y="30"/>
                </a:lnTo>
                <a:lnTo>
                  <a:pt x="8" y="44"/>
                </a:lnTo>
                <a:lnTo>
                  <a:pt x="34" y="32"/>
                </a:lnTo>
                <a:lnTo>
                  <a:pt x="39" y="18"/>
                </a:lnTo>
                <a:lnTo>
                  <a:pt x="34" y="2"/>
                </a:lnTo>
                <a:lnTo>
                  <a:pt x="20" y="0"/>
                </a:lnTo>
                <a:lnTo>
                  <a:pt x="4" y="18"/>
                </a:lnTo>
                <a:close/>
              </a:path>
            </a:pathLst>
          </a:custGeom>
          <a:solidFill>
            <a:srgbClr val="FFFFFF"/>
          </a:solidFill>
          <a:ln w="9525">
            <a:solidFill>
              <a:srgbClr val="000000"/>
            </a:solidFill>
            <a:prstDash val="solid"/>
            <a:round/>
            <a:headEnd/>
            <a:tailEnd/>
          </a:ln>
        </p:spPr>
        <p:txBody>
          <a:bodyPr/>
          <a:lstStyle/>
          <a:p>
            <a:endParaRPr lang="cs-CZ"/>
          </a:p>
        </p:txBody>
      </p:sp>
      <p:sp>
        <p:nvSpPr>
          <p:cNvPr id="412" name="Freeform 420"/>
          <p:cNvSpPr>
            <a:spLocks/>
          </p:cNvSpPr>
          <p:nvPr/>
        </p:nvSpPr>
        <p:spPr bwMode="auto">
          <a:xfrm>
            <a:off x="4905375" y="6019378"/>
            <a:ext cx="290513" cy="90487"/>
          </a:xfrm>
          <a:custGeom>
            <a:avLst/>
            <a:gdLst>
              <a:gd name="T0" fmla="*/ 0 w 366"/>
              <a:gd name="T1" fmla="*/ 75 h 114"/>
              <a:gd name="T2" fmla="*/ 73 w 366"/>
              <a:gd name="T3" fmla="*/ 67 h 114"/>
              <a:gd name="T4" fmla="*/ 126 w 366"/>
              <a:gd name="T5" fmla="*/ 73 h 114"/>
              <a:gd name="T6" fmla="*/ 138 w 366"/>
              <a:gd name="T7" fmla="*/ 85 h 114"/>
              <a:gd name="T8" fmla="*/ 157 w 366"/>
              <a:gd name="T9" fmla="*/ 85 h 114"/>
              <a:gd name="T10" fmla="*/ 177 w 366"/>
              <a:gd name="T11" fmla="*/ 114 h 114"/>
              <a:gd name="T12" fmla="*/ 216 w 366"/>
              <a:gd name="T13" fmla="*/ 101 h 114"/>
              <a:gd name="T14" fmla="*/ 244 w 366"/>
              <a:gd name="T15" fmla="*/ 89 h 114"/>
              <a:gd name="T16" fmla="*/ 261 w 366"/>
              <a:gd name="T17" fmla="*/ 91 h 114"/>
              <a:gd name="T18" fmla="*/ 289 w 366"/>
              <a:gd name="T19" fmla="*/ 77 h 114"/>
              <a:gd name="T20" fmla="*/ 299 w 366"/>
              <a:gd name="T21" fmla="*/ 81 h 114"/>
              <a:gd name="T22" fmla="*/ 320 w 366"/>
              <a:gd name="T23" fmla="*/ 67 h 114"/>
              <a:gd name="T24" fmla="*/ 340 w 366"/>
              <a:gd name="T25" fmla="*/ 77 h 114"/>
              <a:gd name="T26" fmla="*/ 352 w 366"/>
              <a:gd name="T27" fmla="*/ 73 h 114"/>
              <a:gd name="T28" fmla="*/ 352 w 366"/>
              <a:gd name="T29" fmla="*/ 51 h 114"/>
              <a:gd name="T30" fmla="*/ 366 w 366"/>
              <a:gd name="T31" fmla="*/ 36 h 114"/>
              <a:gd name="T32" fmla="*/ 346 w 366"/>
              <a:gd name="T33" fmla="*/ 36 h 114"/>
              <a:gd name="T34" fmla="*/ 324 w 366"/>
              <a:gd name="T35" fmla="*/ 42 h 114"/>
              <a:gd name="T36" fmla="*/ 307 w 366"/>
              <a:gd name="T37" fmla="*/ 53 h 114"/>
              <a:gd name="T38" fmla="*/ 289 w 366"/>
              <a:gd name="T39" fmla="*/ 40 h 114"/>
              <a:gd name="T40" fmla="*/ 269 w 366"/>
              <a:gd name="T41" fmla="*/ 24 h 114"/>
              <a:gd name="T42" fmla="*/ 224 w 366"/>
              <a:gd name="T43" fmla="*/ 40 h 114"/>
              <a:gd name="T44" fmla="*/ 197 w 366"/>
              <a:gd name="T45" fmla="*/ 28 h 114"/>
              <a:gd name="T46" fmla="*/ 171 w 366"/>
              <a:gd name="T47" fmla="*/ 14 h 114"/>
              <a:gd name="T48" fmla="*/ 146 w 366"/>
              <a:gd name="T49" fmla="*/ 24 h 114"/>
              <a:gd name="T50" fmla="*/ 132 w 366"/>
              <a:gd name="T51" fmla="*/ 36 h 114"/>
              <a:gd name="T52" fmla="*/ 98 w 366"/>
              <a:gd name="T53" fmla="*/ 34 h 114"/>
              <a:gd name="T54" fmla="*/ 81 w 366"/>
              <a:gd name="T55" fmla="*/ 22 h 114"/>
              <a:gd name="T56" fmla="*/ 75 w 366"/>
              <a:gd name="T57" fmla="*/ 8 h 114"/>
              <a:gd name="T58" fmla="*/ 49 w 366"/>
              <a:gd name="T59" fmla="*/ 6 h 114"/>
              <a:gd name="T60" fmla="*/ 26 w 366"/>
              <a:gd name="T61" fmla="*/ 0 h 114"/>
              <a:gd name="T62" fmla="*/ 14 w 366"/>
              <a:gd name="T63" fmla="*/ 4 h 114"/>
              <a:gd name="T64" fmla="*/ 10 w 366"/>
              <a:gd name="T65" fmla="*/ 14 h 114"/>
              <a:gd name="T66" fmla="*/ 2 w 366"/>
              <a:gd name="T67" fmla="*/ 26 h 114"/>
              <a:gd name="T68" fmla="*/ 6 w 366"/>
              <a:gd name="T69" fmla="*/ 50 h 114"/>
              <a:gd name="T70" fmla="*/ 0 w 366"/>
              <a:gd name="T71" fmla="*/ 7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6" h="114">
                <a:moveTo>
                  <a:pt x="0" y="75"/>
                </a:moveTo>
                <a:lnTo>
                  <a:pt x="73" y="67"/>
                </a:lnTo>
                <a:lnTo>
                  <a:pt x="126" y="73"/>
                </a:lnTo>
                <a:lnTo>
                  <a:pt x="138" y="85"/>
                </a:lnTo>
                <a:lnTo>
                  <a:pt x="157" y="85"/>
                </a:lnTo>
                <a:lnTo>
                  <a:pt x="177" y="114"/>
                </a:lnTo>
                <a:lnTo>
                  <a:pt x="216" y="101"/>
                </a:lnTo>
                <a:lnTo>
                  <a:pt x="244" y="89"/>
                </a:lnTo>
                <a:lnTo>
                  <a:pt x="261" y="91"/>
                </a:lnTo>
                <a:lnTo>
                  <a:pt x="289" y="77"/>
                </a:lnTo>
                <a:lnTo>
                  <a:pt x="299" y="81"/>
                </a:lnTo>
                <a:lnTo>
                  <a:pt x="320" y="67"/>
                </a:lnTo>
                <a:lnTo>
                  <a:pt x="340" y="77"/>
                </a:lnTo>
                <a:lnTo>
                  <a:pt x="352" y="73"/>
                </a:lnTo>
                <a:lnTo>
                  <a:pt x="352" y="51"/>
                </a:lnTo>
                <a:lnTo>
                  <a:pt x="366" y="36"/>
                </a:lnTo>
                <a:lnTo>
                  <a:pt x="346" y="36"/>
                </a:lnTo>
                <a:lnTo>
                  <a:pt x="324" y="42"/>
                </a:lnTo>
                <a:lnTo>
                  <a:pt x="307" y="53"/>
                </a:lnTo>
                <a:lnTo>
                  <a:pt x="289" y="40"/>
                </a:lnTo>
                <a:lnTo>
                  <a:pt x="269" y="24"/>
                </a:lnTo>
                <a:lnTo>
                  <a:pt x="224" y="40"/>
                </a:lnTo>
                <a:lnTo>
                  <a:pt x="197" y="28"/>
                </a:lnTo>
                <a:lnTo>
                  <a:pt x="171" y="14"/>
                </a:lnTo>
                <a:lnTo>
                  <a:pt x="146" y="24"/>
                </a:lnTo>
                <a:lnTo>
                  <a:pt x="132" y="36"/>
                </a:lnTo>
                <a:lnTo>
                  <a:pt x="98" y="34"/>
                </a:lnTo>
                <a:lnTo>
                  <a:pt x="81" y="22"/>
                </a:lnTo>
                <a:lnTo>
                  <a:pt x="75" y="8"/>
                </a:lnTo>
                <a:lnTo>
                  <a:pt x="49" y="6"/>
                </a:lnTo>
                <a:lnTo>
                  <a:pt x="26" y="0"/>
                </a:lnTo>
                <a:lnTo>
                  <a:pt x="14" y="4"/>
                </a:lnTo>
                <a:lnTo>
                  <a:pt x="10" y="14"/>
                </a:lnTo>
                <a:lnTo>
                  <a:pt x="2" y="26"/>
                </a:lnTo>
                <a:lnTo>
                  <a:pt x="6" y="50"/>
                </a:lnTo>
                <a:lnTo>
                  <a:pt x="0" y="75"/>
                </a:lnTo>
                <a:close/>
              </a:path>
            </a:pathLst>
          </a:custGeom>
          <a:solidFill>
            <a:srgbClr val="FFFFFF"/>
          </a:solidFill>
          <a:ln w="9525">
            <a:solidFill>
              <a:srgbClr val="000000"/>
            </a:solidFill>
            <a:prstDash val="solid"/>
            <a:round/>
            <a:headEnd/>
            <a:tailEnd/>
          </a:ln>
        </p:spPr>
        <p:txBody>
          <a:bodyPr/>
          <a:lstStyle/>
          <a:p>
            <a:endParaRPr lang="cs-CZ"/>
          </a:p>
        </p:txBody>
      </p:sp>
      <p:sp>
        <p:nvSpPr>
          <p:cNvPr id="413" name="Freeform 421"/>
          <p:cNvSpPr>
            <a:spLocks/>
          </p:cNvSpPr>
          <p:nvPr/>
        </p:nvSpPr>
        <p:spPr bwMode="auto">
          <a:xfrm>
            <a:off x="4630738" y="5684415"/>
            <a:ext cx="242887" cy="244475"/>
          </a:xfrm>
          <a:custGeom>
            <a:avLst/>
            <a:gdLst>
              <a:gd name="T0" fmla="*/ 67 w 307"/>
              <a:gd name="T1" fmla="*/ 169 h 306"/>
              <a:gd name="T2" fmla="*/ 61 w 307"/>
              <a:gd name="T3" fmla="*/ 220 h 306"/>
              <a:gd name="T4" fmla="*/ 75 w 307"/>
              <a:gd name="T5" fmla="*/ 249 h 306"/>
              <a:gd name="T6" fmla="*/ 101 w 307"/>
              <a:gd name="T7" fmla="*/ 267 h 306"/>
              <a:gd name="T8" fmla="*/ 116 w 307"/>
              <a:gd name="T9" fmla="*/ 222 h 306"/>
              <a:gd name="T10" fmla="*/ 146 w 307"/>
              <a:gd name="T11" fmla="*/ 246 h 306"/>
              <a:gd name="T12" fmla="*/ 156 w 307"/>
              <a:gd name="T13" fmla="*/ 259 h 306"/>
              <a:gd name="T14" fmla="*/ 165 w 307"/>
              <a:gd name="T15" fmla="*/ 273 h 306"/>
              <a:gd name="T16" fmla="*/ 171 w 307"/>
              <a:gd name="T17" fmla="*/ 287 h 306"/>
              <a:gd name="T18" fmla="*/ 173 w 307"/>
              <a:gd name="T19" fmla="*/ 306 h 306"/>
              <a:gd name="T20" fmla="*/ 191 w 307"/>
              <a:gd name="T21" fmla="*/ 301 h 306"/>
              <a:gd name="T22" fmla="*/ 199 w 307"/>
              <a:gd name="T23" fmla="*/ 259 h 306"/>
              <a:gd name="T24" fmla="*/ 228 w 307"/>
              <a:gd name="T25" fmla="*/ 285 h 306"/>
              <a:gd name="T26" fmla="*/ 238 w 307"/>
              <a:gd name="T27" fmla="*/ 287 h 306"/>
              <a:gd name="T28" fmla="*/ 262 w 307"/>
              <a:gd name="T29" fmla="*/ 301 h 306"/>
              <a:gd name="T30" fmla="*/ 268 w 307"/>
              <a:gd name="T31" fmla="*/ 269 h 306"/>
              <a:gd name="T32" fmla="*/ 260 w 307"/>
              <a:gd name="T33" fmla="*/ 226 h 306"/>
              <a:gd name="T34" fmla="*/ 236 w 307"/>
              <a:gd name="T35" fmla="*/ 183 h 306"/>
              <a:gd name="T36" fmla="*/ 214 w 307"/>
              <a:gd name="T37" fmla="*/ 143 h 306"/>
              <a:gd name="T38" fmla="*/ 211 w 307"/>
              <a:gd name="T39" fmla="*/ 126 h 306"/>
              <a:gd name="T40" fmla="*/ 240 w 307"/>
              <a:gd name="T41" fmla="*/ 145 h 306"/>
              <a:gd name="T42" fmla="*/ 264 w 307"/>
              <a:gd name="T43" fmla="*/ 163 h 306"/>
              <a:gd name="T44" fmla="*/ 279 w 307"/>
              <a:gd name="T45" fmla="*/ 151 h 306"/>
              <a:gd name="T46" fmla="*/ 301 w 307"/>
              <a:gd name="T47" fmla="*/ 143 h 306"/>
              <a:gd name="T48" fmla="*/ 307 w 307"/>
              <a:gd name="T49" fmla="*/ 130 h 306"/>
              <a:gd name="T50" fmla="*/ 289 w 307"/>
              <a:gd name="T51" fmla="*/ 114 h 306"/>
              <a:gd name="T52" fmla="*/ 268 w 307"/>
              <a:gd name="T53" fmla="*/ 106 h 306"/>
              <a:gd name="T54" fmla="*/ 248 w 307"/>
              <a:gd name="T55" fmla="*/ 80 h 306"/>
              <a:gd name="T56" fmla="*/ 248 w 307"/>
              <a:gd name="T57" fmla="*/ 65 h 306"/>
              <a:gd name="T58" fmla="*/ 279 w 307"/>
              <a:gd name="T59" fmla="*/ 57 h 306"/>
              <a:gd name="T60" fmla="*/ 270 w 307"/>
              <a:gd name="T61" fmla="*/ 47 h 306"/>
              <a:gd name="T62" fmla="*/ 250 w 307"/>
              <a:gd name="T63" fmla="*/ 47 h 306"/>
              <a:gd name="T64" fmla="*/ 216 w 307"/>
              <a:gd name="T65" fmla="*/ 39 h 306"/>
              <a:gd name="T66" fmla="*/ 193 w 307"/>
              <a:gd name="T67" fmla="*/ 35 h 306"/>
              <a:gd name="T68" fmla="*/ 169 w 307"/>
              <a:gd name="T69" fmla="*/ 25 h 306"/>
              <a:gd name="T70" fmla="*/ 134 w 307"/>
              <a:gd name="T71" fmla="*/ 31 h 306"/>
              <a:gd name="T72" fmla="*/ 89 w 307"/>
              <a:gd name="T73" fmla="*/ 2 h 306"/>
              <a:gd name="T74" fmla="*/ 77 w 307"/>
              <a:gd name="T75" fmla="*/ 0 h 306"/>
              <a:gd name="T76" fmla="*/ 59 w 307"/>
              <a:gd name="T77" fmla="*/ 24 h 306"/>
              <a:gd name="T78" fmla="*/ 42 w 307"/>
              <a:gd name="T79" fmla="*/ 39 h 306"/>
              <a:gd name="T80" fmla="*/ 28 w 307"/>
              <a:gd name="T81" fmla="*/ 31 h 306"/>
              <a:gd name="T82" fmla="*/ 14 w 307"/>
              <a:gd name="T83" fmla="*/ 53 h 306"/>
              <a:gd name="T84" fmla="*/ 6 w 307"/>
              <a:gd name="T85" fmla="*/ 75 h 306"/>
              <a:gd name="T86" fmla="*/ 0 w 307"/>
              <a:gd name="T87" fmla="*/ 100 h 306"/>
              <a:gd name="T88" fmla="*/ 8 w 307"/>
              <a:gd name="T89" fmla="*/ 128 h 306"/>
              <a:gd name="T90" fmla="*/ 32 w 307"/>
              <a:gd name="T91" fmla="*/ 139 h 306"/>
              <a:gd name="T92" fmla="*/ 59 w 307"/>
              <a:gd name="T93" fmla="*/ 155 h 306"/>
              <a:gd name="T94" fmla="*/ 67 w 307"/>
              <a:gd name="T95" fmla="*/ 16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 h="306">
                <a:moveTo>
                  <a:pt x="67" y="169"/>
                </a:moveTo>
                <a:lnTo>
                  <a:pt x="61" y="220"/>
                </a:lnTo>
                <a:lnTo>
                  <a:pt x="75" y="249"/>
                </a:lnTo>
                <a:lnTo>
                  <a:pt x="101" y="267"/>
                </a:lnTo>
                <a:lnTo>
                  <a:pt x="116" y="222"/>
                </a:lnTo>
                <a:lnTo>
                  <a:pt x="146" y="246"/>
                </a:lnTo>
                <a:lnTo>
                  <a:pt x="156" y="259"/>
                </a:lnTo>
                <a:lnTo>
                  <a:pt x="165" y="273"/>
                </a:lnTo>
                <a:lnTo>
                  <a:pt x="171" y="287"/>
                </a:lnTo>
                <a:lnTo>
                  <a:pt x="173" y="306"/>
                </a:lnTo>
                <a:lnTo>
                  <a:pt x="191" y="301"/>
                </a:lnTo>
                <a:lnTo>
                  <a:pt x="199" y="259"/>
                </a:lnTo>
                <a:lnTo>
                  <a:pt x="228" y="285"/>
                </a:lnTo>
                <a:lnTo>
                  <a:pt x="238" y="287"/>
                </a:lnTo>
                <a:lnTo>
                  <a:pt x="262" y="301"/>
                </a:lnTo>
                <a:lnTo>
                  <a:pt x="268" y="269"/>
                </a:lnTo>
                <a:lnTo>
                  <a:pt x="260" y="226"/>
                </a:lnTo>
                <a:lnTo>
                  <a:pt x="236" y="183"/>
                </a:lnTo>
                <a:lnTo>
                  <a:pt x="214" y="143"/>
                </a:lnTo>
                <a:lnTo>
                  <a:pt x="211" y="126"/>
                </a:lnTo>
                <a:lnTo>
                  <a:pt x="240" y="145"/>
                </a:lnTo>
                <a:lnTo>
                  <a:pt x="264" y="163"/>
                </a:lnTo>
                <a:lnTo>
                  <a:pt x="279" y="151"/>
                </a:lnTo>
                <a:lnTo>
                  <a:pt x="301" y="143"/>
                </a:lnTo>
                <a:lnTo>
                  <a:pt x="307" y="130"/>
                </a:lnTo>
                <a:lnTo>
                  <a:pt x="289" y="114"/>
                </a:lnTo>
                <a:lnTo>
                  <a:pt x="268" y="106"/>
                </a:lnTo>
                <a:lnTo>
                  <a:pt x="248" y="80"/>
                </a:lnTo>
                <a:lnTo>
                  <a:pt x="248" y="65"/>
                </a:lnTo>
                <a:lnTo>
                  <a:pt x="279" y="57"/>
                </a:lnTo>
                <a:lnTo>
                  <a:pt x="270" y="47"/>
                </a:lnTo>
                <a:lnTo>
                  <a:pt x="250" y="47"/>
                </a:lnTo>
                <a:lnTo>
                  <a:pt x="216" y="39"/>
                </a:lnTo>
                <a:lnTo>
                  <a:pt x="193" y="35"/>
                </a:lnTo>
                <a:lnTo>
                  <a:pt x="169" y="25"/>
                </a:lnTo>
                <a:lnTo>
                  <a:pt x="134" y="31"/>
                </a:lnTo>
                <a:lnTo>
                  <a:pt x="89" y="2"/>
                </a:lnTo>
                <a:lnTo>
                  <a:pt x="77" y="0"/>
                </a:lnTo>
                <a:lnTo>
                  <a:pt x="59" y="24"/>
                </a:lnTo>
                <a:lnTo>
                  <a:pt x="42" y="39"/>
                </a:lnTo>
                <a:lnTo>
                  <a:pt x="28" y="31"/>
                </a:lnTo>
                <a:lnTo>
                  <a:pt x="14" y="53"/>
                </a:lnTo>
                <a:lnTo>
                  <a:pt x="6" y="75"/>
                </a:lnTo>
                <a:lnTo>
                  <a:pt x="0" y="100"/>
                </a:lnTo>
                <a:lnTo>
                  <a:pt x="8" y="128"/>
                </a:lnTo>
                <a:lnTo>
                  <a:pt x="32" y="139"/>
                </a:lnTo>
                <a:lnTo>
                  <a:pt x="59" y="155"/>
                </a:lnTo>
                <a:lnTo>
                  <a:pt x="67" y="169"/>
                </a:lnTo>
                <a:close/>
              </a:path>
            </a:pathLst>
          </a:custGeom>
          <a:solidFill>
            <a:srgbClr val="FFFFFF"/>
          </a:solidFill>
          <a:ln w="9525">
            <a:solidFill>
              <a:srgbClr val="000000"/>
            </a:solidFill>
            <a:prstDash val="solid"/>
            <a:round/>
            <a:headEnd/>
            <a:tailEnd/>
          </a:ln>
        </p:spPr>
        <p:txBody>
          <a:bodyPr/>
          <a:lstStyle/>
          <a:p>
            <a:endParaRPr lang="cs-CZ"/>
          </a:p>
        </p:txBody>
      </p:sp>
      <p:sp>
        <p:nvSpPr>
          <p:cNvPr id="414" name="Freeform 422"/>
          <p:cNvSpPr>
            <a:spLocks/>
          </p:cNvSpPr>
          <p:nvPr/>
        </p:nvSpPr>
        <p:spPr bwMode="auto">
          <a:xfrm>
            <a:off x="5068888" y="5800303"/>
            <a:ext cx="20637" cy="41275"/>
          </a:xfrm>
          <a:custGeom>
            <a:avLst/>
            <a:gdLst>
              <a:gd name="T0" fmla="*/ 4 w 26"/>
              <a:gd name="T1" fmla="*/ 16 h 51"/>
              <a:gd name="T2" fmla="*/ 0 w 26"/>
              <a:gd name="T3" fmla="*/ 46 h 51"/>
              <a:gd name="T4" fmla="*/ 16 w 26"/>
              <a:gd name="T5" fmla="*/ 51 h 51"/>
              <a:gd name="T6" fmla="*/ 24 w 26"/>
              <a:gd name="T7" fmla="*/ 38 h 51"/>
              <a:gd name="T8" fmla="*/ 26 w 26"/>
              <a:gd name="T9" fmla="*/ 14 h 51"/>
              <a:gd name="T10" fmla="*/ 20 w 26"/>
              <a:gd name="T11" fmla="*/ 0 h 51"/>
              <a:gd name="T12" fmla="*/ 4 w 26"/>
              <a:gd name="T13" fmla="*/ 16 h 51"/>
            </a:gdLst>
            <a:ahLst/>
            <a:cxnLst>
              <a:cxn ang="0">
                <a:pos x="T0" y="T1"/>
              </a:cxn>
              <a:cxn ang="0">
                <a:pos x="T2" y="T3"/>
              </a:cxn>
              <a:cxn ang="0">
                <a:pos x="T4" y="T5"/>
              </a:cxn>
              <a:cxn ang="0">
                <a:pos x="T6" y="T7"/>
              </a:cxn>
              <a:cxn ang="0">
                <a:pos x="T8" y="T9"/>
              </a:cxn>
              <a:cxn ang="0">
                <a:pos x="T10" y="T11"/>
              </a:cxn>
              <a:cxn ang="0">
                <a:pos x="T12" y="T13"/>
              </a:cxn>
            </a:cxnLst>
            <a:rect l="0" t="0" r="r" b="b"/>
            <a:pathLst>
              <a:path w="26" h="51">
                <a:moveTo>
                  <a:pt x="4" y="16"/>
                </a:moveTo>
                <a:lnTo>
                  <a:pt x="0" y="46"/>
                </a:lnTo>
                <a:lnTo>
                  <a:pt x="16" y="51"/>
                </a:lnTo>
                <a:lnTo>
                  <a:pt x="24" y="38"/>
                </a:lnTo>
                <a:lnTo>
                  <a:pt x="26" y="14"/>
                </a:lnTo>
                <a:lnTo>
                  <a:pt x="20" y="0"/>
                </a:lnTo>
                <a:lnTo>
                  <a:pt x="4" y="16"/>
                </a:lnTo>
                <a:close/>
              </a:path>
            </a:pathLst>
          </a:custGeom>
          <a:solidFill>
            <a:srgbClr val="FFFFFF"/>
          </a:solidFill>
          <a:ln w="9525">
            <a:solidFill>
              <a:srgbClr val="000000"/>
            </a:solidFill>
            <a:prstDash val="solid"/>
            <a:round/>
            <a:headEnd/>
            <a:tailEnd/>
          </a:ln>
        </p:spPr>
        <p:txBody>
          <a:bodyPr/>
          <a:lstStyle/>
          <a:p>
            <a:endParaRPr lang="cs-CZ"/>
          </a:p>
        </p:txBody>
      </p:sp>
      <p:sp>
        <p:nvSpPr>
          <p:cNvPr id="415" name="Freeform 423"/>
          <p:cNvSpPr>
            <a:spLocks/>
          </p:cNvSpPr>
          <p:nvPr/>
        </p:nvSpPr>
        <p:spPr bwMode="auto">
          <a:xfrm>
            <a:off x="5092700" y="5605040"/>
            <a:ext cx="41275" cy="58738"/>
          </a:xfrm>
          <a:custGeom>
            <a:avLst/>
            <a:gdLst>
              <a:gd name="T0" fmla="*/ 6 w 51"/>
              <a:gd name="T1" fmla="*/ 0 h 72"/>
              <a:gd name="T2" fmla="*/ 37 w 51"/>
              <a:gd name="T3" fmla="*/ 0 h 72"/>
              <a:gd name="T4" fmla="*/ 45 w 51"/>
              <a:gd name="T5" fmla="*/ 17 h 72"/>
              <a:gd name="T6" fmla="*/ 51 w 51"/>
              <a:gd name="T7" fmla="*/ 33 h 72"/>
              <a:gd name="T8" fmla="*/ 41 w 51"/>
              <a:gd name="T9" fmla="*/ 49 h 72"/>
              <a:gd name="T10" fmla="*/ 35 w 51"/>
              <a:gd name="T11" fmla="*/ 65 h 72"/>
              <a:gd name="T12" fmla="*/ 24 w 51"/>
              <a:gd name="T13" fmla="*/ 72 h 72"/>
              <a:gd name="T14" fmla="*/ 14 w 51"/>
              <a:gd name="T15" fmla="*/ 57 h 72"/>
              <a:gd name="T16" fmla="*/ 16 w 51"/>
              <a:gd name="T17" fmla="*/ 35 h 72"/>
              <a:gd name="T18" fmla="*/ 0 w 51"/>
              <a:gd name="T19" fmla="*/ 15 h 72"/>
              <a:gd name="T20" fmla="*/ 6 w 51"/>
              <a:gd name="T2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72">
                <a:moveTo>
                  <a:pt x="6" y="0"/>
                </a:moveTo>
                <a:lnTo>
                  <a:pt x="37" y="0"/>
                </a:lnTo>
                <a:lnTo>
                  <a:pt x="45" y="17"/>
                </a:lnTo>
                <a:lnTo>
                  <a:pt x="51" y="33"/>
                </a:lnTo>
                <a:lnTo>
                  <a:pt x="41" y="49"/>
                </a:lnTo>
                <a:lnTo>
                  <a:pt x="35" y="65"/>
                </a:lnTo>
                <a:lnTo>
                  <a:pt x="24" y="72"/>
                </a:lnTo>
                <a:lnTo>
                  <a:pt x="14" y="57"/>
                </a:lnTo>
                <a:lnTo>
                  <a:pt x="16" y="35"/>
                </a:lnTo>
                <a:lnTo>
                  <a:pt x="0" y="15"/>
                </a:lnTo>
                <a:lnTo>
                  <a:pt x="6" y="0"/>
                </a:lnTo>
                <a:close/>
              </a:path>
            </a:pathLst>
          </a:custGeom>
          <a:solidFill>
            <a:srgbClr val="FFFFFF"/>
          </a:solidFill>
          <a:ln w="9525">
            <a:solidFill>
              <a:srgbClr val="000000"/>
            </a:solidFill>
            <a:prstDash val="solid"/>
            <a:round/>
            <a:headEnd/>
            <a:tailEnd/>
          </a:ln>
        </p:spPr>
        <p:txBody>
          <a:bodyPr/>
          <a:lstStyle/>
          <a:p>
            <a:endParaRPr lang="cs-CZ"/>
          </a:p>
        </p:txBody>
      </p:sp>
      <p:sp>
        <p:nvSpPr>
          <p:cNvPr id="416" name="Freeform 424"/>
          <p:cNvSpPr>
            <a:spLocks/>
          </p:cNvSpPr>
          <p:nvPr/>
        </p:nvSpPr>
        <p:spPr bwMode="auto">
          <a:xfrm>
            <a:off x="5330825" y="5857453"/>
            <a:ext cx="49213" cy="76200"/>
          </a:xfrm>
          <a:custGeom>
            <a:avLst/>
            <a:gdLst>
              <a:gd name="T0" fmla="*/ 55 w 60"/>
              <a:gd name="T1" fmla="*/ 43 h 96"/>
              <a:gd name="T2" fmla="*/ 60 w 60"/>
              <a:gd name="T3" fmla="*/ 33 h 96"/>
              <a:gd name="T4" fmla="*/ 57 w 60"/>
              <a:gd name="T5" fmla="*/ 0 h 96"/>
              <a:gd name="T6" fmla="*/ 27 w 60"/>
              <a:gd name="T7" fmla="*/ 20 h 96"/>
              <a:gd name="T8" fmla="*/ 5 w 60"/>
              <a:gd name="T9" fmla="*/ 51 h 96"/>
              <a:gd name="T10" fmla="*/ 0 w 60"/>
              <a:gd name="T11" fmla="*/ 71 h 96"/>
              <a:gd name="T12" fmla="*/ 5 w 60"/>
              <a:gd name="T13" fmla="*/ 96 h 96"/>
              <a:gd name="T14" fmla="*/ 39 w 60"/>
              <a:gd name="T15" fmla="*/ 73 h 96"/>
              <a:gd name="T16" fmla="*/ 51 w 60"/>
              <a:gd name="T17" fmla="*/ 57 h 96"/>
              <a:gd name="T18" fmla="*/ 55 w 60"/>
              <a:gd name="T19" fmla="*/ 4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96">
                <a:moveTo>
                  <a:pt x="55" y="43"/>
                </a:moveTo>
                <a:lnTo>
                  <a:pt x="60" y="33"/>
                </a:lnTo>
                <a:lnTo>
                  <a:pt x="57" y="0"/>
                </a:lnTo>
                <a:lnTo>
                  <a:pt x="27" y="20"/>
                </a:lnTo>
                <a:lnTo>
                  <a:pt x="5" y="51"/>
                </a:lnTo>
                <a:lnTo>
                  <a:pt x="0" y="71"/>
                </a:lnTo>
                <a:lnTo>
                  <a:pt x="5" y="96"/>
                </a:lnTo>
                <a:lnTo>
                  <a:pt x="39" y="73"/>
                </a:lnTo>
                <a:lnTo>
                  <a:pt x="51" y="57"/>
                </a:lnTo>
                <a:lnTo>
                  <a:pt x="55" y="43"/>
                </a:lnTo>
                <a:close/>
              </a:path>
            </a:pathLst>
          </a:custGeom>
          <a:solidFill>
            <a:srgbClr val="FFFFFF"/>
          </a:solidFill>
          <a:ln w="9525">
            <a:solidFill>
              <a:srgbClr val="000000"/>
            </a:solidFill>
            <a:prstDash val="solid"/>
            <a:round/>
            <a:headEnd/>
            <a:tailEnd/>
          </a:ln>
        </p:spPr>
        <p:txBody>
          <a:bodyPr/>
          <a:lstStyle/>
          <a:p>
            <a:endParaRPr lang="cs-CZ"/>
          </a:p>
        </p:txBody>
      </p:sp>
      <p:sp>
        <p:nvSpPr>
          <p:cNvPr id="417" name="Freeform 425"/>
          <p:cNvSpPr>
            <a:spLocks/>
          </p:cNvSpPr>
          <p:nvPr/>
        </p:nvSpPr>
        <p:spPr bwMode="auto">
          <a:xfrm>
            <a:off x="5086350" y="5500265"/>
            <a:ext cx="79375" cy="52388"/>
          </a:xfrm>
          <a:custGeom>
            <a:avLst/>
            <a:gdLst>
              <a:gd name="T0" fmla="*/ 16 w 100"/>
              <a:gd name="T1" fmla="*/ 53 h 67"/>
              <a:gd name="T2" fmla="*/ 41 w 100"/>
              <a:gd name="T3" fmla="*/ 39 h 67"/>
              <a:gd name="T4" fmla="*/ 49 w 100"/>
              <a:gd name="T5" fmla="*/ 51 h 67"/>
              <a:gd name="T6" fmla="*/ 45 w 100"/>
              <a:gd name="T7" fmla="*/ 67 h 67"/>
              <a:gd name="T8" fmla="*/ 71 w 100"/>
              <a:gd name="T9" fmla="*/ 65 h 67"/>
              <a:gd name="T10" fmla="*/ 83 w 100"/>
              <a:gd name="T11" fmla="*/ 55 h 67"/>
              <a:gd name="T12" fmla="*/ 100 w 100"/>
              <a:gd name="T13" fmla="*/ 55 h 67"/>
              <a:gd name="T14" fmla="*/ 83 w 100"/>
              <a:gd name="T15" fmla="*/ 20 h 67"/>
              <a:gd name="T16" fmla="*/ 59 w 100"/>
              <a:gd name="T17" fmla="*/ 0 h 67"/>
              <a:gd name="T18" fmla="*/ 32 w 100"/>
              <a:gd name="T19" fmla="*/ 16 h 67"/>
              <a:gd name="T20" fmla="*/ 6 w 100"/>
              <a:gd name="T21" fmla="*/ 32 h 67"/>
              <a:gd name="T22" fmla="*/ 0 w 100"/>
              <a:gd name="T23" fmla="*/ 51 h 67"/>
              <a:gd name="T24" fmla="*/ 16 w 100"/>
              <a:gd name="T25" fmla="*/ 5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 h="67">
                <a:moveTo>
                  <a:pt x="16" y="53"/>
                </a:moveTo>
                <a:lnTo>
                  <a:pt x="41" y="39"/>
                </a:lnTo>
                <a:lnTo>
                  <a:pt x="49" y="51"/>
                </a:lnTo>
                <a:lnTo>
                  <a:pt x="45" y="67"/>
                </a:lnTo>
                <a:lnTo>
                  <a:pt x="71" y="65"/>
                </a:lnTo>
                <a:lnTo>
                  <a:pt x="83" y="55"/>
                </a:lnTo>
                <a:lnTo>
                  <a:pt x="100" y="55"/>
                </a:lnTo>
                <a:lnTo>
                  <a:pt x="83" y="20"/>
                </a:lnTo>
                <a:lnTo>
                  <a:pt x="59" y="0"/>
                </a:lnTo>
                <a:lnTo>
                  <a:pt x="32" y="16"/>
                </a:lnTo>
                <a:lnTo>
                  <a:pt x="6" y="32"/>
                </a:lnTo>
                <a:lnTo>
                  <a:pt x="0" y="51"/>
                </a:lnTo>
                <a:lnTo>
                  <a:pt x="16" y="53"/>
                </a:lnTo>
                <a:close/>
              </a:path>
            </a:pathLst>
          </a:custGeom>
          <a:solidFill>
            <a:srgbClr val="FFFFFF"/>
          </a:solidFill>
          <a:ln w="9525">
            <a:solidFill>
              <a:srgbClr val="000000"/>
            </a:solidFill>
            <a:prstDash val="solid"/>
            <a:round/>
            <a:headEnd/>
            <a:tailEnd/>
          </a:ln>
        </p:spPr>
        <p:txBody>
          <a:bodyPr/>
          <a:lstStyle/>
          <a:p>
            <a:endParaRPr lang="cs-CZ"/>
          </a:p>
        </p:txBody>
      </p:sp>
      <p:sp>
        <p:nvSpPr>
          <p:cNvPr id="418" name="Freeform 426"/>
          <p:cNvSpPr>
            <a:spLocks/>
          </p:cNvSpPr>
          <p:nvPr/>
        </p:nvSpPr>
        <p:spPr bwMode="auto">
          <a:xfrm>
            <a:off x="4344988" y="3517478"/>
            <a:ext cx="244475" cy="133350"/>
          </a:xfrm>
          <a:custGeom>
            <a:avLst/>
            <a:gdLst>
              <a:gd name="T0" fmla="*/ 0 w 306"/>
              <a:gd name="T1" fmla="*/ 139 h 169"/>
              <a:gd name="T2" fmla="*/ 27 w 306"/>
              <a:gd name="T3" fmla="*/ 110 h 169"/>
              <a:gd name="T4" fmla="*/ 23 w 306"/>
              <a:gd name="T5" fmla="*/ 75 h 169"/>
              <a:gd name="T6" fmla="*/ 47 w 306"/>
              <a:gd name="T7" fmla="*/ 57 h 169"/>
              <a:gd name="T8" fmla="*/ 94 w 306"/>
              <a:gd name="T9" fmla="*/ 61 h 169"/>
              <a:gd name="T10" fmla="*/ 139 w 306"/>
              <a:gd name="T11" fmla="*/ 59 h 169"/>
              <a:gd name="T12" fmla="*/ 145 w 306"/>
              <a:gd name="T13" fmla="*/ 26 h 169"/>
              <a:gd name="T14" fmla="*/ 153 w 306"/>
              <a:gd name="T15" fmla="*/ 0 h 169"/>
              <a:gd name="T16" fmla="*/ 182 w 306"/>
              <a:gd name="T17" fmla="*/ 10 h 169"/>
              <a:gd name="T18" fmla="*/ 210 w 306"/>
              <a:gd name="T19" fmla="*/ 20 h 169"/>
              <a:gd name="T20" fmla="*/ 285 w 306"/>
              <a:gd name="T21" fmla="*/ 22 h 169"/>
              <a:gd name="T22" fmla="*/ 302 w 306"/>
              <a:gd name="T23" fmla="*/ 61 h 169"/>
              <a:gd name="T24" fmla="*/ 304 w 306"/>
              <a:gd name="T25" fmla="*/ 106 h 169"/>
              <a:gd name="T26" fmla="*/ 306 w 306"/>
              <a:gd name="T27" fmla="*/ 132 h 169"/>
              <a:gd name="T28" fmla="*/ 167 w 306"/>
              <a:gd name="T29" fmla="*/ 169 h 169"/>
              <a:gd name="T30" fmla="*/ 61 w 306"/>
              <a:gd name="T31" fmla="*/ 159 h 169"/>
              <a:gd name="T32" fmla="*/ 0 w 306"/>
              <a:gd name="T33" fmla="*/ 13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6" h="169">
                <a:moveTo>
                  <a:pt x="0" y="139"/>
                </a:moveTo>
                <a:lnTo>
                  <a:pt x="27" y="110"/>
                </a:lnTo>
                <a:lnTo>
                  <a:pt x="23" y="75"/>
                </a:lnTo>
                <a:lnTo>
                  <a:pt x="47" y="57"/>
                </a:lnTo>
                <a:lnTo>
                  <a:pt x="94" y="61"/>
                </a:lnTo>
                <a:lnTo>
                  <a:pt x="139" y="59"/>
                </a:lnTo>
                <a:lnTo>
                  <a:pt x="145" y="26"/>
                </a:lnTo>
                <a:lnTo>
                  <a:pt x="153" y="0"/>
                </a:lnTo>
                <a:lnTo>
                  <a:pt x="182" y="10"/>
                </a:lnTo>
                <a:lnTo>
                  <a:pt x="210" y="20"/>
                </a:lnTo>
                <a:lnTo>
                  <a:pt x="285" y="22"/>
                </a:lnTo>
                <a:lnTo>
                  <a:pt x="302" y="61"/>
                </a:lnTo>
                <a:lnTo>
                  <a:pt x="304" y="106"/>
                </a:lnTo>
                <a:lnTo>
                  <a:pt x="306" y="132"/>
                </a:lnTo>
                <a:lnTo>
                  <a:pt x="167" y="169"/>
                </a:lnTo>
                <a:lnTo>
                  <a:pt x="61" y="159"/>
                </a:lnTo>
                <a:lnTo>
                  <a:pt x="0" y="139"/>
                </a:lnTo>
                <a:close/>
              </a:path>
            </a:pathLst>
          </a:custGeom>
          <a:solidFill>
            <a:srgbClr val="FFFFFF"/>
          </a:solidFill>
          <a:ln w="9525">
            <a:solidFill>
              <a:srgbClr val="000000"/>
            </a:solidFill>
            <a:prstDash val="solid"/>
            <a:round/>
            <a:headEnd/>
            <a:tailEnd/>
          </a:ln>
        </p:spPr>
        <p:txBody>
          <a:bodyPr/>
          <a:lstStyle/>
          <a:p>
            <a:endParaRPr lang="cs-CZ"/>
          </a:p>
        </p:txBody>
      </p:sp>
      <p:sp>
        <p:nvSpPr>
          <p:cNvPr id="419" name="Freeform 427"/>
          <p:cNvSpPr>
            <a:spLocks/>
          </p:cNvSpPr>
          <p:nvPr/>
        </p:nvSpPr>
        <p:spPr bwMode="auto">
          <a:xfrm>
            <a:off x="4433888" y="3338090"/>
            <a:ext cx="431800" cy="331788"/>
          </a:xfrm>
          <a:custGeom>
            <a:avLst/>
            <a:gdLst>
              <a:gd name="T0" fmla="*/ 43 w 542"/>
              <a:gd name="T1" fmla="*/ 222 h 419"/>
              <a:gd name="T2" fmla="*/ 100 w 542"/>
              <a:gd name="T3" fmla="*/ 248 h 419"/>
              <a:gd name="T4" fmla="*/ 169 w 542"/>
              <a:gd name="T5" fmla="*/ 248 h 419"/>
              <a:gd name="T6" fmla="*/ 188 w 542"/>
              <a:gd name="T7" fmla="*/ 287 h 419"/>
              <a:gd name="T8" fmla="*/ 192 w 542"/>
              <a:gd name="T9" fmla="*/ 350 h 419"/>
              <a:gd name="T10" fmla="*/ 234 w 542"/>
              <a:gd name="T11" fmla="*/ 371 h 419"/>
              <a:gd name="T12" fmla="*/ 261 w 542"/>
              <a:gd name="T13" fmla="*/ 407 h 419"/>
              <a:gd name="T14" fmla="*/ 273 w 542"/>
              <a:gd name="T15" fmla="*/ 419 h 419"/>
              <a:gd name="T16" fmla="*/ 322 w 542"/>
              <a:gd name="T17" fmla="*/ 407 h 419"/>
              <a:gd name="T18" fmla="*/ 355 w 542"/>
              <a:gd name="T19" fmla="*/ 405 h 419"/>
              <a:gd name="T20" fmla="*/ 365 w 542"/>
              <a:gd name="T21" fmla="*/ 397 h 419"/>
              <a:gd name="T22" fmla="*/ 379 w 542"/>
              <a:gd name="T23" fmla="*/ 397 h 419"/>
              <a:gd name="T24" fmla="*/ 387 w 542"/>
              <a:gd name="T25" fmla="*/ 363 h 419"/>
              <a:gd name="T26" fmla="*/ 424 w 542"/>
              <a:gd name="T27" fmla="*/ 340 h 419"/>
              <a:gd name="T28" fmla="*/ 452 w 542"/>
              <a:gd name="T29" fmla="*/ 348 h 419"/>
              <a:gd name="T30" fmla="*/ 467 w 542"/>
              <a:gd name="T31" fmla="*/ 360 h 419"/>
              <a:gd name="T32" fmla="*/ 469 w 542"/>
              <a:gd name="T33" fmla="*/ 336 h 419"/>
              <a:gd name="T34" fmla="*/ 450 w 542"/>
              <a:gd name="T35" fmla="*/ 310 h 419"/>
              <a:gd name="T36" fmla="*/ 460 w 542"/>
              <a:gd name="T37" fmla="*/ 281 h 419"/>
              <a:gd name="T38" fmla="*/ 469 w 542"/>
              <a:gd name="T39" fmla="*/ 253 h 419"/>
              <a:gd name="T40" fmla="*/ 473 w 542"/>
              <a:gd name="T41" fmla="*/ 210 h 419"/>
              <a:gd name="T42" fmla="*/ 511 w 542"/>
              <a:gd name="T43" fmla="*/ 185 h 419"/>
              <a:gd name="T44" fmla="*/ 536 w 542"/>
              <a:gd name="T45" fmla="*/ 181 h 419"/>
              <a:gd name="T46" fmla="*/ 542 w 542"/>
              <a:gd name="T47" fmla="*/ 163 h 419"/>
              <a:gd name="T48" fmla="*/ 507 w 542"/>
              <a:gd name="T49" fmla="*/ 153 h 419"/>
              <a:gd name="T50" fmla="*/ 499 w 542"/>
              <a:gd name="T51" fmla="*/ 126 h 419"/>
              <a:gd name="T52" fmla="*/ 520 w 542"/>
              <a:gd name="T53" fmla="*/ 108 h 419"/>
              <a:gd name="T54" fmla="*/ 520 w 542"/>
              <a:gd name="T55" fmla="*/ 96 h 419"/>
              <a:gd name="T56" fmla="*/ 499 w 542"/>
              <a:gd name="T57" fmla="*/ 90 h 419"/>
              <a:gd name="T58" fmla="*/ 442 w 542"/>
              <a:gd name="T59" fmla="*/ 57 h 419"/>
              <a:gd name="T60" fmla="*/ 397 w 542"/>
              <a:gd name="T61" fmla="*/ 35 h 419"/>
              <a:gd name="T62" fmla="*/ 367 w 542"/>
              <a:gd name="T63" fmla="*/ 22 h 419"/>
              <a:gd name="T64" fmla="*/ 334 w 542"/>
              <a:gd name="T65" fmla="*/ 0 h 419"/>
              <a:gd name="T66" fmla="*/ 310 w 542"/>
              <a:gd name="T67" fmla="*/ 24 h 419"/>
              <a:gd name="T68" fmla="*/ 293 w 542"/>
              <a:gd name="T69" fmla="*/ 37 h 419"/>
              <a:gd name="T70" fmla="*/ 257 w 542"/>
              <a:gd name="T71" fmla="*/ 28 h 419"/>
              <a:gd name="T72" fmla="*/ 218 w 542"/>
              <a:gd name="T73" fmla="*/ 24 h 419"/>
              <a:gd name="T74" fmla="*/ 161 w 542"/>
              <a:gd name="T75" fmla="*/ 31 h 419"/>
              <a:gd name="T76" fmla="*/ 155 w 542"/>
              <a:gd name="T77" fmla="*/ 41 h 419"/>
              <a:gd name="T78" fmla="*/ 133 w 542"/>
              <a:gd name="T79" fmla="*/ 31 h 419"/>
              <a:gd name="T80" fmla="*/ 86 w 542"/>
              <a:gd name="T81" fmla="*/ 49 h 419"/>
              <a:gd name="T82" fmla="*/ 41 w 542"/>
              <a:gd name="T83" fmla="*/ 73 h 419"/>
              <a:gd name="T84" fmla="*/ 19 w 542"/>
              <a:gd name="T85" fmla="*/ 100 h 419"/>
              <a:gd name="T86" fmla="*/ 0 w 542"/>
              <a:gd name="T87" fmla="*/ 106 h 419"/>
              <a:gd name="T88" fmla="*/ 10 w 542"/>
              <a:gd name="T89" fmla="*/ 143 h 419"/>
              <a:gd name="T90" fmla="*/ 19 w 542"/>
              <a:gd name="T91" fmla="*/ 185 h 419"/>
              <a:gd name="T92" fmla="*/ 25 w 542"/>
              <a:gd name="T93" fmla="*/ 210 h 419"/>
              <a:gd name="T94" fmla="*/ 43 w 542"/>
              <a:gd name="T95" fmla="*/ 222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2" h="419">
                <a:moveTo>
                  <a:pt x="43" y="222"/>
                </a:moveTo>
                <a:lnTo>
                  <a:pt x="100" y="248"/>
                </a:lnTo>
                <a:lnTo>
                  <a:pt x="169" y="248"/>
                </a:lnTo>
                <a:lnTo>
                  <a:pt x="188" y="287"/>
                </a:lnTo>
                <a:lnTo>
                  <a:pt x="192" y="350"/>
                </a:lnTo>
                <a:lnTo>
                  <a:pt x="234" y="371"/>
                </a:lnTo>
                <a:lnTo>
                  <a:pt x="261" y="407"/>
                </a:lnTo>
                <a:lnTo>
                  <a:pt x="273" y="419"/>
                </a:lnTo>
                <a:lnTo>
                  <a:pt x="322" y="407"/>
                </a:lnTo>
                <a:lnTo>
                  <a:pt x="355" y="405"/>
                </a:lnTo>
                <a:lnTo>
                  <a:pt x="365" y="397"/>
                </a:lnTo>
                <a:lnTo>
                  <a:pt x="379" y="397"/>
                </a:lnTo>
                <a:lnTo>
                  <a:pt x="387" y="363"/>
                </a:lnTo>
                <a:lnTo>
                  <a:pt x="424" y="340"/>
                </a:lnTo>
                <a:lnTo>
                  <a:pt x="452" y="348"/>
                </a:lnTo>
                <a:lnTo>
                  <a:pt x="467" y="360"/>
                </a:lnTo>
                <a:lnTo>
                  <a:pt x="469" y="336"/>
                </a:lnTo>
                <a:lnTo>
                  <a:pt x="450" y="310"/>
                </a:lnTo>
                <a:lnTo>
                  <a:pt x="460" y="281"/>
                </a:lnTo>
                <a:lnTo>
                  <a:pt x="469" y="253"/>
                </a:lnTo>
                <a:lnTo>
                  <a:pt x="473" y="210"/>
                </a:lnTo>
                <a:lnTo>
                  <a:pt x="511" y="185"/>
                </a:lnTo>
                <a:lnTo>
                  <a:pt x="536" y="181"/>
                </a:lnTo>
                <a:lnTo>
                  <a:pt x="542" y="163"/>
                </a:lnTo>
                <a:lnTo>
                  <a:pt x="507" y="153"/>
                </a:lnTo>
                <a:lnTo>
                  <a:pt x="499" y="126"/>
                </a:lnTo>
                <a:lnTo>
                  <a:pt x="520" y="108"/>
                </a:lnTo>
                <a:lnTo>
                  <a:pt x="520" y="96"/>
                </a:lnTo>
                <a:lnTo>
                  <a:pt x="499" y="90"/>
                </a:lnTo>
                <a:lnTo>
                  <a:pt x="442" y="57"/>
                </a:lnTo>
                <a:lnTo>
                  <a:pt x="397" y="35"/>
                </a:lnTo>
                <a:lnTo>
                  <a:pt x="367" y="22"/>
                </a:lnTo>
                <a:lnTo>
                  <a:pt x="334" y="0"/>
                </a:lnTo>
                <a:lnTo>
                  <a:pt x="310" y="24"/>
                </a:lnTo>
                <a:lnTo>
                  <a:pt x="293" y="37"/>
                </a:lnTo>
                <a:lnTo>
                  <a:pt x="257" y="28"/>
                </a:lnTo>
                <a:lnTo>
                  <a:pt x="218" y="24"/>
                </a:lnTo>
                <a:lnTo>
                  <a:pt x="161" y="31"/>
                </a:lnTo>
                <a:lnTo>
                  <a:pt x="155" y="41"/>
                </a:lnTo>
                <a:lnTo>
                  <a:pt x="133" y="31"/>
                </a:lnTo>
                <a:lnTo>
                  <a:pt x="86" y="49"/>
                </a:lnTo>
                <a:lnTo>
                  <a:pt x="41" y="73"/>
                </a:lnTo>
                <a:lnTo>
                  <a:pt x="19" y="100"/>
                </a:lnTo>
                <a:lnTo>
                  <a:pt x="0" y="106"/>
                </a:lnTo>
                <a:lnTo>
                  <a:pt x="10" y="143"/>
                </a:lnTo>
                <a:lnTo>
                  <a:pt x="19" y="185"/>
                </a:lnTo>
                <a:lnTo>
                  <a:pt x="25" y="210"/>
                </a:lnTo>
                <a:lnTo>
                  <a:pt x="43" y="222"/>
                </a:lnTo>
                <a:close/>
              </a:path>
            </a:pathLst>
          </a:custGeom>
          <a:solidFill>
            <a:srgbClr val="D0D0D0"/>
          </a:solidFill>
          <a:ln w="9525">
            <a:solidFill>
              <a:srgbClr val="000000"/>
            </a:solidFill>
            <a:prstDash val="solid"/>
            <a:round/>
            <a:headEnd/>
            <a:tailEnd/>
          </a:ln>
        </p:spPr>
        <p:txBody>
          <a:bodyPr/>
          <a:lstStyle/>
          <a:p>
            <a:endParaRPr lang="cs-CZ"/>
          </a:p>
        </p:txBody>
      </p:sp>
      <p:grpSp>
        <p:nvGrpSpPr>
          <p:cNvPr id="420" name="Group 428"/>
          <p:cNvGrpSpPr>
            <a:grpSpLocks/>
          </p:cNvGrpSpPr>
          <p:nvPr/>
        </p:nvGrpSpPr>
        <p:grpSpPr bwMode="auto">
          <a:xfrm>
            <a:off x="4408488" y="3476203"/>
            <a:ext cx="33337" cy="85725"/>
            <a:chOff x="2769" y="2254"/>
            <a:chExt cx="21" cy="54"/>
          </a:xfrm>
        </p:grpSpPr>
        <p:sp>
          <p:nvSpPr>
            <p:cNvPr id="421" name="Freeform 429"/>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 name="T10" fmla="*/ 0 w 44"/>
                <a:gd name="T11" fmla="*/ 108 h 108"/>
              </a:gdLst>
              <a:ahLst/>
              <a:cxnLst>
                <a:cxn ang="0">
                  <a:pos x="T0" y="T1"/>
                </a:cxn>
                <a:cxn ang="0">
                  <a:pos x="T2" y="T3"/>
                </a:cxn>
                <a:cxn ang="0">
                  <a:pos x="T4" y="T5"/>
                </a:cxn>
                <a:cxn ang="0">
                  <a:pos x="T6" y="T7"/>
                </a:cxn>
                <a:cxn ang="0">
                  <a:pos x="T8" y="T9"/>
                </a:cxn>
                <a:cxn ang="0">
                  <a:pos x="T10" y="T11"/>
                </a:cxn>
              </a:cxnLst>
              <a:rect l="0" t="0" r="r" b="b"/>
              <a:pathLst>
                <a:path w="44" h="108">
                  <a:moveTo>
                    <a:pt x="0" y="108"/>
                  </a:moveTo>
                  <a:lnTo>
                    <a:pt x="24" y="80"/>
                  </a:lnTo>
                  <a:lnTo>
                    <a:pt x="36" y="61"/>
                  </a:lnTo>
                  <a:lnTo>
                    <a:pt x="44" y="14"/>
                  </a:lnTo>
                  <a:lnTo>
                    <a:pt x="44" y="0"/>
                  </a:lnTo>
                  <a:lnTo>
                    <a:pt x="0" y="10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22" name="Freeform 430"/>
            <p:cNvSpPr>
              <a:spLocks/>
            </p:cNvSpPr>
            <p:nvPr/>
          </p:nvSpPr>
          <p:spPr bwMode="auto">
            <a:xfrm>
              <a:off x="2769" y="2254"/>
              <a:ext cx="21" cy="54"/>
            </a:xfrm>
            <a:custGeom>
              <a:avLst/>
              <a:gdLst>
                <a:gd name="T0" fmla="*/ 0 w 44"/>
                <a:gd name="T1" fmla="*/ 108 h 108"/>
                <a:gd name="T2" fmla="*/ 24 w 44"/>
                <a:gd name="T3" fmla="*/ 80 h 108"/>
                <a:gd name="T4" fmla="*/ 36 w 44"/>
                <a:gd name="T5" fmla="*/ 61 h 108"/>
                <a:gd name="T6" fmla="*/ 44 w 44"/>
                <a:gd name="T7" fmla="*/ 14 h 108"/>
                <a:gd name="T8" fmla="*/ 44 w 44"/>
                <a:gd name="T9" fmla="*/ 0 h 108"/>
              </a:gdLst>
              <a:ahLst/>
              <a:cxnLst>
                <a:cxn ang="0">
                  <a:pos x="T0" y="T1"/>
                </a:cxn>
                <a:cxn ang="0">
                  <a:pos x="T2" y="T3"/>
                </a:cxn>
                <a:cxn ang="0">
                  <a:pos x="T4" y="T5"/>
                </a:cxn>
                <a:cxn ang="0">
                  <a:pos x="T6" y="T7"/>
                </a:cxn>
                <a:cxn ang="0">
                  <a:pos x="T8" y="T9"/>
                </a:cxn>
              </a:cxnLst>
              <a:rect l="0" t="0" r="r" b="b"/>
              <a:pathLst>
                <a:path w="44" h="108">
                  <a:moveTo>
                    <a:pt x="0" y="108"/>
                  </a:moveTo>
                  <a:lnTo>
                    <a:pt x="24" y="80"/>
                  </a:lnTo>
                  <a:lnTo>
                    <a:pt x="36" y="61"/>
                  </a:lnTo>
                  <a:lnTo>
                    <a:pt x="44" y="14"/>
                  </a:lnTo>
                  <a:lnTo>
                    <a:pt x="44"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23" name="Freeform 431"/>
          <p:cNvSpPr>
            <a:spLocks/>
          </p:cNvSpPr>
          <p:nvPr/>
        </p:nvSpPr>
        <p:spPr bwMode="auto">
          <a:xfrm>
            <a:off x="4557713" y="2917403"/>
            <a:ext cx="339725" cy="265112"/>
          </a:xfrm>
          <a:custGeom>
            <a:avLst/>
            <a:gdLst>
              <a:gd name="T0" fmla="*/ 108 w 428"/>
              <a:gd name="T1" fmla="*/ 312 h 334"/>
              <a:gd name="T2" fmla="*/ 139 w 428"/>
              <a:gd name="T3" fmla="*/ 288 h 334"/>
              <a:gd name="T4" fmla="*/ 177 w 428"/>
              <a:gd name="T5" fmla="*/ 277 h 334"/>
              <a:gd name="T6" fmla="*/ 202 w 428"/>
              <a:gd name="T7" fmla="*/ 275 h 334"/>
              <a:gd name="T8" fmla="*/ 224 w 428"/>
              <a:gd name="T9" fmla="*/ 288 h 334"/>
              <a:gd name="T10" fmla="*/ 248 w 428"/>
              <a:gd name="T11" fmla="*/ 288 h 334"/>
              <a:gd name="T12" fmla="*/ 275 w 428"/>
              <a:gd name="T13" fmla="*/ 314 h 334"/>
              <a:gd name="T14" fmla="*/ 310 w 428"/>
              <a:gd name="T15" fmla="*/ 334 h 334"/>
              <a:gd name="T16" fmla="*/ 367 w 428"/>
              <a:gd name="T17" fmla="*/ 308 h 334"/>
              <a:gd name="T18" fmla="*/ 379 w 428"/>
              <a:gd name="T19" fmla="*/ 306 h 334"/>
              <a:gd name="T20" fmla="*/ 383 w 428"/>
              <a:gd name="T21" fmla="*/ 249 h 334"/>
              <a:gd name="T22" fmla="*/ 399 w 428"/>
              <a:gd name="T23" fmla="*/ 255 h 334"/>
              <a:gd name="T24" fmla="*/ 415 w 428"/>
              <a:gd name="T25" fmla="*/ 269 h 334"/>
              <a:gd name="T26" fmla="*/ 428 w 428"/>
              <a:gd name="T27" fmla="*/ 261 h 334"/>
              <a:gd name="T28" fmla="*/ 428 w 428"/>
              <a:gd name="T29" fmla="*/ 235 h 334"/>
              <a:gd name="T30" fmla="*/ 413 w 428"/>
              <a:gd name="T31" fmla="*/ 222 h 334"/>
              <a:gd name="T32" fmla="*/ 395 w 428"/>
              <a:gd name="T33" fmla="*/ 216 h 334"/>
              <a:gd name="T34" fmla="*/ 362 w 428"/>
              <a:gd name="T35" fmla="*/ 220 h 334"/>
              <a:gd name="T36" fmla="*/ 360 w 428"/>
              <a:gd name="T37" fmla="*/ 200 h 334"/>
              <a:gd name="T38" fmla="*/ 377 w 428"/>
              <a:gd name="T39" fmla="*/ 184 h 334"/>
              <a:gd name="T40" fmla="*/ 385 w 428"/>
              <a:gd name="T41" fmla="*/ 161 h 334"/>
              <a:gd name="T42" fmla="*/ 385 w 428"/>
              <a:gd name="T43" fmla="*/ 149 h 334"/>
              <a:gd name="T44" fmla="*/ 371 w 428"/>
              <a:gd name="T45" fmla="*/ 137 h 334"/>
              <a:gd name="T46" fmla="*/ 371 w 428"/>
              <a:gd name="T47" fmla="*/ 114 h 334"/>
              <a:gd name="T48" fmla="*/ 360 w 428"/>
              <a:gd name="T49" fmla="*/ 84 h 334"/>
              <a:gd name="T50" fmla="*/ 367 w 428"/>
              <a:gd name="T51" fmla="*/ 68 h 334"/>
              <a:gd name="T52" fmla="*/ 371 w 428"/>
              <a:gd name="T53" fmla="*/ 55 h 334"/>
              <a:gd name="T54" fmla="*/ 391 w 428"/>
              <a:gd name="T55" fmla="*/ 27 h 334"/>
              <a:gd name="T56" fmla="*/ 393 w 428"/>
              <a:gd name="T57" fmla="*/ 7 h 334"/>
              <a:gd name="T58" fmla="*/ 379 w 428"/>
              <a:gd name="T59" fmla="*/ 0 h 334"/>
              <a:gd name="T60" fmla="*/ 358 w 428"/>
              <a:gd name="T61" fmla="*/ 0 h 334"/>
              <a:gd name="T62" fmla="*/ 344 w 428"/>
              <a:gd name="T63" fmla="*/ 19 h 334"/>
              <a:gd name="T64" fmla="*/ 308 w 428"/>
              <a:gd name="T65" fmla="*/ 21 h 334"/>
              <a:gd name="T66" fmla="*/ 271 w 428"/>
              <a:gd name="T67" fmla="*/ 31 h 334"/>
              <a:gd name="T68" fmla="*/ 253 w 428"/>
              <a:gd name="T69" fmla="*/ 21 h 334"/>
              <a:gd name="T70" fmla="*/ 224 w 428"/>
              <a:gd name="T71" fmla="*/ 19 h 334"/>
              <a:gd name="T72" fmla="*/ 214 w 428"/>
              <a:gd name="T73" fmla="*/ 19 h 334"/>
              <a:gd name="T74" fmla="*/ 193 w 428"/>
              <a:gd name="T75" fmla="*/ 11 h 334"/>
              <a:gd name="T76" fmla="*/ 171 w 428"/>
              <a:gd name="T77" fmla="*/ 17 h 334"/>
              <a:gd name="T78" fmla="*/ 155 w 428"/>
              <a:gd name="T79" fmla="*/ 27 h 334"/>
              <a:gd name="T80" fmla="*/ 145 w 428"/>
              <a:gd name="T81" fmla="*/ 41 h 334"/>
              <a:gd name="T82" fmla="*/ 120 w 428"/>
              <a:gd name="T83" fmla="*/ 41 h 334"/>
              <a:gd name="T84" fmla="*/ 98 w 428"/>
              <a:gd name="T85" fmla="*/ 41 h 334"/>
              <a:gd name="T86" fmla="*/ 82 w 428"/>
              <a:gd name="T87" fmla="*/ 53 h 334"/>
              <a:gd name="T88" fmla="*/ 65 w 428"/>
              <a:gd name="T89" fmla="*/ 62 h 334"/>
              <a:gd name="T90" fmla="*/ 55 w 428"/>
              <a:gd name="T91" fmla="*/ 72 h 334"/>
              <a:gd name="T92" fmla="*/ 43 w 428"/>
              <a:gd name="T93" fmla="*/ 84 h 334"/>
              <a:gd name="T94" fmla="*/ 33 w 428"/>
              <a:gd name="T95" fmla="*/ 96 h 334"/>
              <a:gd name="T96" fmla="*/ 20 w 428"/>
              <a:gd name="T97" fmla="*/ 102 h 334"/>
              <a:gd name="T98" fmla="*/ 6 w 428"/>
              <a:gd name="T99" fmla="*/ 114 h 334"/>
              <a:gd name="T100" fmla="*/ 0 w 428"/>
              <a:gd name="T101" fmla="*/ 129 h 334"/>
              <a:gd name="T102" fmla="*/ 12 w 428"/>
              <a:gd name="T103" fmla="*/ 163 h 334"/>
              <a:gd name="T104" fmla="*/ 27 w 428"/>
              <a:gd name="T105" fmla="*/ 180 h 334"/>
              <a:gd name="T106" fmla="*/ 14 w 428"/>
              <a:gd name="T107" fmla="*/ 200 h 334"/>
              <a:gd name="T108" fmla="*/ 26 w 428"/>
              <a:gd name="T109" fmla="*/ 212 h 334"/>
              <a:gd name="T110" fmla="*/ 31 w 428"/>
              <a:gd name="T111" fmla="*/ 227 h 334"/>
              <a:gd name="T112" fmla="*/ 35 w 428"/>
              <a:gd name="T113" fmla="*/ 241 h 334"/>
              <a:gd name="T114" fmla="*/ 65 w 428"/>
              <a:gd name="T115" fmla="*/ 247 h 334"/>
              <a:gd name="T116" fmla="*/ 86 w 428"/>
              <a:gd name="T117" fmla="*/ 247 h 334"/>
              <a:gd name="T118" fmla="*/ 104 w 428"/>
              <a:gd name="T119" fmla="*/ 235 h 334"/>
              <a:gd name="T120" fmla="*/ 108 w 428"/>
              <a:gd name="T121" fmla="*/ 249 h 334"/>
              <a:gd name="T122" fmla="*/ 108 w 428"/>
              <a:gd name="T123" fmla="*/ 290 h 334"/>
              <a:gd name="T124" fmla="*/ 108 w 428"/>
              <a:gd name="T125"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8" h="334">
                <a:moveTo>
                  <a:pt x="108" y="312"/>
                </a:moveTo>
                <a:lnTo>
                  <a:pt x="139" y="288"/>
                </a:lnTo>
                <a:lnTo>
                  <a:pt x="177" y="277"/>
                </a:lnTo>
                <a:lnTo>
                  <a:pt x="202" y="275"/>
                </a:lnTo>
                <a:lnTo>
                  <a:pt x="224" y="288"/>
                </a:lnTo>
                <a:lnTo>
                  <a:pt x="248" y="288"/>
                </a:lnTo>
                <a:lnTo>
                  <a:pt x="275" y="314"/>
                </a:lnTo>
                <a:lnTo>
                  <a:pt x="310" y="334"/>
                </a:lnTo>
                <a:lnTo>
                  <a:pt x="367" y="308"/>
                </a:lnTo>
                <a:lnTo>
                  <a:pt x="379" y="306"/>
                </a:lnTo>
                <a:lnTo>
                  <a:pt x="383" y="249"/>
                </a:lnTo>
                <a:lnTo>
                  <a:pt x="399" y="255"/>
                </a:lnTo>
                <a:lnTo>
                  <a:pt x="415" y="269"/>
                </a:lnTo>
                <a:lnTo>
                  <a:pt x="428" y="261"/>
                </a:lnTo>
                <a:lnTo>
                  <a:pt x="428" y="235"/>
                </a:lnTo>
                <a:lnTo>
                  <a:pt x="413" y="222"/>
                </a:lnTo>
                <a:lnTo>
                  <a:pt x="395" y="216"/>
                </a:lnTo>
                <a:lnTo>
                  <a:pt x="362" y="220"/>
                </a:lnTo>
                <a:lnTo>
                  <a:pt x="360" y="200"/>
                </a:lnTo>
                <a:lnTo>
                  <a:pt x="377" y="184"/>
                </a:lnTo>
                <a:lnTo>
                  <a:pt x="385" y="161"/>
                </a:lnTo>
                <a:lnTo>
                  <a:pt x="385" y="149"/>
                </a:lnTo>
                <a:lnTo>
                  <a:pt x="371" y="137"/>
                </a:lnTo>
                <a:lnTo>
                  <a:pt x="371" y="114"/>
                </a:lnTo>
                <a:lnTo>
                  <a:pt x="360" y="84"/>
                </a:lnTo>
                <a:lnTo>
                  <a:pt x="367" y="68"/>
                </a:lnTo>
                <a:lnTo>
                  <a:pt x="371" y="55"/>
                </a:lnTo>
                <a:lnTo>
                  <a:pt x="391" y="27"/>
                </a:lnTo>
                <a:lnTo>
                  <a:pt x="393" y="7"/>
                </a:lnTo>
                <a:lnTo>
                  <a:pt x="379" y="0"/>
                </a:lnTo>
                <a:lnTo>
                  <a:pt x="358" y="0"/>
                </a:lnTo>
                <a:lnTo>
                  <a:pt x="344" y="19"/>
                </a:lnTo>
                <a:lnTo>
                  <a:pt x="308" y="21"/>
                </a:lnTo>
                <a:lnTo>
                  <a:pt x="271" y="31"/>
                </a:lnTo>
                <a:lnTo>
                  <a:pt x="253" y="21"/>
                </a:lnTo>
                <a:lnTo>
                  <a:pt x="224" y="19"/>
                </a:lnTo>
                <a:lnTo>
                  <a:pt x="214" y="19"/>
                </a:lnTo>
                <a:lnTo>
                  <a:pt x="193" y="11"/>
                </a:lnTo>
                <a:lnTo>
                  <a:pt x="171" y="17"/>
                </a:lnTo>
                <a:lnTo>
                  <a:pt x="155" y="27"/>
                </a:lnTo>
                <a:lnTo>
                  <a:pt x="145" y="41"/>
                </a:lnTo>
                <a:lnTo>
                  <a:pt x="120" y="41"/>
                </a:lnTo>
                <a:lnTo>
                  <a:pt x="98" y="41"/>
                </a:lnTo>
                <a:lnTo>
                  <a:pt x="82" y="53"/>
                </a:lnTo>
                <a:lnTo>
                  <a:pt x="65" y="62"/>
                </a:lnTo>
                <a:lnTo>
                  <a:pt x="55" y="72"/>
                </a:lnTo>
                <a:lnTo>
                  <a:pt x="43" y="84"/>
                </a:lnTo>
                <a:lnTo>
                  <a:pt x="33" y="96"/>
                </a:lnTo>
                <a:lnTo>
                  <a:pt x="20" y="102"/>
                </a:lnTo>
                <a:lnTo>
                  <a:pt x="6" y="114"/>
                </a:lnTo>
                <a:lnTo>
                  <a:pt x="0" y="129"/>
                </a:lnTo>
                <a:lnTo>
                  <a:pt x="12" y="163"/>
                </a:lnTo>
                <a:lnTo>
                  <a:pt x="27" y="180"/>
                </a:lnTo>
                <a:lnTo>
                  <a:pt x="14" y="200"/>
                </a:lnTo>
                <a:lnTo>
                  <a:pt x="26" y="212"/>
                </a:lnTo>
                <a:lnTo>
                  <a:pt x="31" y="227"/>
                </a:lnTo>
                <a:lnTo>
                  <a:pt x="35" y="241"/>
                </a:lnTo>
                <a:lnTo>
                  <a:pt x="65" y="247"/>
                </a:lnTo>
                <a:lnTo>
                  <a:pt x="86" y="247"/>
                </a:lnTo>
                <a:lnTo>
                  <a:pt x="104" y="235"/>
                </a:lnTo>
                <a:lnTo>
                  <a:pt x="108" y="249"/>
                </a:lnTo>
                <a:lnTo>
                  <a:pt x="108" y="290"/>
                </a:lnTo>
                <a:lnTo>
                  <a:pt x="108" y="312"/>
                </a:lnTo>
                <a:close/>
              </a:path>
            </a:pathLst>
          </a:custGeom>
          <a:solidFill>
            <a:srgbClr val="E93011"/>
          </a:solidFill>
          <a:ln w="9525">
            <a:solidFill>
              <a:srgbClr val="000000"/>
            </a:solidFill>
            <a:prstDash val="solid"/>
            <a:round/>
            <a:headEnd/>
            <a:tailEnd/>
          </a:ln>
        </p:spPr>
        <p:txBody>
          <a:bodyPr/>
          <a:lstStyle/>
          <a:p>
            <a:endParaRPr lang="cs-CZ"/>
          </a:p>
        </p:txBody>
      </p:sp>
      <p:sp>
        <p:nvSpPr>
          <p:cNvPr id="424" name="Freeform 432"/>
          <p:cNvSpPr>
            <a:spLocks/>
          </p:cNvSpPr>
          <p:nvPr/>
        </p:nvSpPr>
        <p:spPr bwMode="auto">
          <a:xfrm>
            <a:off x="2006600" y="1525165"/>
            <a:ext cx="539750" cy="487363"/>
          </a:xfrm>
          <a:custGeom>
            <a:avLst/>
            <a:gdLst>
              <a:gd name="T0" fmla="*/ 162 w 680"/>
              <a:gd name="T1" fmla="*/ 560 h 615"/>
              <a:gd name="T2" fmla="*/ 234 w 680"/>
              <a:gd name="T3" fmla="*/ 601 h 615"/>
              <a:gd name="T4" fmla="*/ 287 w 680"/>
              <a:gd name="T5" fmla="*/ 599 h 615"/>
              <a:gd name="T6" fmla="*/ 327 w 680"/>
              <a:gd name="T7" fmla="*/ 584 h 615"/>
              <a:gd name="T8" fmla="*/ 380 w 680"/>
              <a:gd name="T9" fmla="*/ 605 h 615"/>
              <a:gd name="T10" fmla="*/ 460 w 680"/>
              <a:gd name="T11" fmla="*/ 591 h 615"/>
              <a:gd name="T12" fmla="*/ 503 w 680"/>
              <a:gd name="T13" fmla="*/ 595 h 615"/>
              <a:gd name="T14" fmla="*/ 543 w 680"/>
              <a:gd name="T15" fmla="*/ 597 h 615"/>
              <a:gd name="T16" fmla="*/ 574 w 680"/>
              <a:gd name="T17" fmla="*/ 550 h 615"/>
              <a:gd name="T18" fmla="*/ 639 w 680"/>
              <a:gd name="T19" fmla="*/ 534 h 615"/>
              <a:gd name="T20" fmla="*/ 649 w 680"/>
              <a:gd name="T21" fmla="*/ 489 h 615"/>
              <a:gd name="T22" fmla="*/ 657 w 680"/>
              <a:gd name="T23" fmla="*/ 477 h 615"/>
              <a:gd name="T24" fmla="*/ 665 w 680"/>
              <a:gd name="T25" fmla="*/ 462 h 615"/>
              <a:gd name="T26" fmla="*/ 647 w 680"/>
              <a:gd name="T27" fmla="*/ 424 h 615"/>
              <a:gd name="T28" fmla="*/ 643 w 680"/>
              <a:gd name="T29" fmla="*/ 358 h 615"/>
              <a:gd name="T30" fmla="*/ 649 w 680"/>
              <a:gd name="T31" fmla="*/ 309 h 615"/>
              <a:gd name="T32" fmla="*/ 610 w 680"/>
              <a:gd name="T33" fmla="*/ 301 h 615"/>
              <a:gd name="T34" fmla="*/ 604 w 680"/>
              <a:gd name="T35" fmla="*/ 232 h 615"/>
              <a:gd name="T36" fmla="*/ 545 w 680"/>
              <a:gd name="T37" fmla="*/ 279 h 615"/>
              <a:gd name="T38" fmla="*/ 490 w 680"/>
              <a:gd name="T39" fmla="*/ 259 h 615"/>
              <a:gd name="T40" fmla="*/ 450 w 680"/>
              <a:gd name="T41" fmla="*/ 228 h 615"/>
              <a:gd name="T42" fmla="*/ 433 w 680"/>
              <a:gd name="T43" fmla="*/ 226 h 615"/>
              <a:gd name="T44" fmla="*/ 362 w 680"/>
              <a:gd name="T45" fmla="*/ 224 h 615"/>
              <a:gd name="T46" fmla="*/ 340 w 680"/>
              <a:gd name="T47" fmla="*/ 145 h 615"/>
              <a:gd name="T48" fmla="*/ 293 w 680"/>
              <a:gd name="T49" fmla="*/ 218 h 615"/>
              <a:gd name="T50" fmla="*/ 258 w 680"/>
              <a:gd name="T51" fmla="*/ 206 h 615"/>
              <a:gd name="T52" fmla="*/ 224 w 680"/>
              <a:gd name="T53" fmla="*/ 240 h 615"/>
              <a:gd name="T54" fmla="*/ 236 w 680"/>
              <a:gd name="T55" fmla="*/ 191 h 615"/>
              <a:gd name="T56" fmla="*/ 254 w 680"/>
              <a:gd name="T57" fmla="*/ 140 h 615"/>
              <a:gd name="T58" fmla="*/ 250 w 680"/>
              <a:gd name="T59" fmla="*/ 51 h 615"/>
              <a:gd name="T60" fmla="*/ 213 w 680"/>
              <a:gd name="T61" fmla="*/ 0 h 615"/>
              <a:gd name="T62" fmla="*/ 224 w 680"/>
              <a:gd name="T63" fmla="*/ 35 h 615"/>
              <a:gd name="T64" fmla="*/ 221 w 680"/>
              <a:gd name="T65" fmla="*/ 90 h 615"/>
              <a:gd name="T66" fmla="*/ 183 w 680"/>
              <a:gd name="T67" fmla="*/ 73 h 615"/>
              <a:gd name="T68" fmla="*/ 173 w 680"/>
              <a:gd name="T69" fmla="*/ 31 h 615"/>
              <a:gd name="T70" fmla="*/ 144 w 680"/>
              <a:gd name="T71" fmla="*/ 51 h 615"/>
              <a:gd name="T72" fmla="*/ 138 w 680"/>
              <a:gd name="T73" fmla="*/ 92 h 615"/>
              <a:gd name="T74" fmla="*/ 103 w 680"/>
              <a:gd name="T75" fmla="*/ 57 h 615"/>
              <a:gd name="T76" fmla="*/ 75 w 680"/>
              <a:gd name="T77" fmla="*/ 77 h 615"/>
              <a:gd name="T78" fmla="*/ 65 w 680"/>
              <a:gd name="T79" fmla="*/ 88 h 615"/>
              <a:gd name="T80" fmla="*/ 118 w 680"/>
              <a:gd name="T81" fmla="*/ 124 h 615"/>
              <a:gd name="T82" fmla="*/ 171 w 680"/>
              <a:gd name="T83" fmla="*/ 138 h 615"/>
              <a:gd name="T84" fmla="*/ 199 w 680"/>
              <a:gd name="T85" fmla="*/ 183 h 615"/>
              <a:gd name="T86" fmla="*/ 136 w 680"/>
              <a:gd name="T87" fmla="*/ 202 h 615"/>
              <a:gd name="T88" fmla="*/ 175 w 680"/>
              <a:gd name="T89" fmla="*/ 230 h 615"/>
              <a:gd name="T90" fmla="*/ 87 w 680"/>
              <a:gd name="T91" fmla="*/ 200 h 615"/>
              <a:gd name="T92" fmla="*/ 8 w 680"/>
              <a:gd name="T93" fmla="*/ 197 h 615"/>
              <a:gd name="T94" fmla="*/ 75 w 680"/>
              <a:gd name="T95" fmla="*/ 238 h 615"/>
              <a:gd name="T96" fmla="*/ 93 w 680"/>
              <a:gd name="T97" fmla="*/ 289 h 615"/>
              <a:gd name="T98" fmla="*/ 87 w 680"/>
              <a:gd name="T99" fmla="*/ 334 h 615"/>
              <a:gd name="T100" fmla="*/ 53 w 680"/>
              <a:gd name="T101" fmla="*/ 362 h 615"/>
              <a:gd name="T102" fmla="*/ 0 w 680"/>
              <a:gd name="T103" fmla="*/ 364 h 615"/>
              <a:gd name="T104" fmla="*/ 83 w 680"/>
              <a:gd name="T105" fmla="*/ 438 h 615"/>
              <a:gd name="T106" fmla="*/ 128 w 680"/>
              <a:gd name="T107" fmla="*/ 52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0" h="615">
                <a:moveTo>
                  <a:pt x="128" y="529"/>
                </a:moveTo>
                <a:lnTo>
                  <a:pt x="148" y="536"/>
                </a:lnTo>
                <a:lnTo>
                  <a:pt x="162" y="560"/>
                </a:lnTo>
                <a:lnTo>
                  <a:pt x="177" y="582"/>
                </a:lnTo>
                <a:lnTo>
                  <a:pt x="199" y="597"/>
                </a:lnTo>
                <a:lnTo>
                  <a:pt x="234" y="601"/>
                </a:lnTo>
                <a:lnTo>
                  <a:pt x="248" y="615"/>
                </a:lnTo>
                <a:lnTo>
                  <a:pt x="266" y="595"/>
                </a:lnTo>
                <a:lnTo>
                  <a:pt x="287" y="599"/>
                </a:lnTo>
                <a:lnTo>
                  <a:pt x="307" y="589"/>
                </a:lnTo>
                <a:lnTo>
                  <a:pt x="319" y="595"/>
                </a:lnTo>
                <a:lnTo>
                  <a:pt x="327" y="584"/>
                </a:lnTo>
                <a:lnTo>
                  <a:pt x="338" y="582"/>
                </a:lnTo>
                <a:lnTo>
                  <a:pt x="364" y="603"/>
                </a:lnTo>
                <a:lnTo>
                  <a:pt x="380" y="605"/>
                </a:lnTo>
                <a:lnTo>
                  <a:pt x="405" y="601"/>
                </a:lnTo>
                <a:lnTo>
                  <a:pt x="433" y="591"/>
                </a:lnTo>
                <a:lnTo>
                  <a:pt x="460" y="591"/>
                </a:lnTo>
                <a:lnTo>
                  <a:pt x="480" y="578"/>
                </a:lnTo>
                <a:lnTo>
                  <a:pt x="492" y="568"/>
                </a:lnTo>
                <a:lnTo>
                  <a:pt x="503" y="595"/>
                </a:lnTo>
                <a:lnTo>
                  <a:pt x="500" y="615"/>
                </a:lnTo>
                <a:lnTo>
                  <a:pt x="519" y="601"/>
                </a:lnTo>
                <a:lnTo>
                  <a:pt x="543" y="597"/>
                </a:lnTo>
                <a:lnTo>
                  <a:pt x="557" y="582"/>
                </a:lnTo>
                <a:lnTo>
                  <a:pt x="566" y="566"/>
                </a:lnTo>
                <a:lnTo>
                  <a:pt x="574" y="550"/>
                </a:lnTo>
                <a:lnTo>
                  <a:pt x="594" y="550"/>
                </a:lnTo>
                <a:lnTo>
                  <a:pt x="623" y="552"/>
                </a:lnTo>
                <a:lnTo>
                  <a:pt x="639" y="534"/>
                </a:lnTo>
                <a:lnTo>
                  <a:pt x="663" y="513"/>
                </a:lnTo>
                <a:lnTo>
                  <a:pt x="649" y="499"/>
                </a:lnTo>
                <a:lnTo>
                  <a:pt x="649" y="489"/>
                </a:lnTo>
                <a:lnTo>
                  <a:pt x="651" y="479"/>
                </a:lnTo>
                <a:lnTo>
                  <a:pt x="653" y="477"/>
                </a:lnTo>
                <a:lnTo>
                  <a:pt x="657" y="477"/>
                </a:lnTo>
                <a:lnTo>
                  <a:pt x="663" y="468"/>
                </a:lnTo>
                <a:lnTo>
                  <a:pt x="665" y="464"/>
                </a:lnTo>
                <a:lnTo>
                  <a:pt x="665" y="462"/>
                </a:lnTo>
                <a:lnTo>
                  <a:pt x="669" y="440"/>
                </a:lnTo>
                <a:lnTo>
                  <a:pt x="661" y="424"/>
                </a:lnTo>
                <a:lnTo>
                  <a:pt x="647" y="424"/>
                </a:lnTo>
                <a:lnTo>
                  <a:pt x="635" y="399"/>
                </a:lnTo>
                <a:lnTo>
                  <a:pt x="615" y="381"/>
                </a:lnTo>
                <a:lnTo>
                  <a:pt x="643" y="358"/>
                </a:lnTo>
                <a:lnTo>
                  <a:pt x="633" y="344"/>
                </a:lnTo>
                <a:lnTo>
                  <a:pt x="623" y="328"/>
                </a:lnTo>
                <a:lnTo>
                  <a:pt x="649" y="309"/>
                </a:lnTo>
                <a:lnTo>
                  <a:pt x="680" y="301"/>
                </a:lnTo>
                <a:lnTo>
                  <a:pt x="661" y="295"/>
                </a:lnTo>
                <a:lnTo>
                  <a:pt x="610" y="301"/>
                </a:lnTo>
                <a:lnTo>
                  <a:pt x="604" y="283"/>
                </a:lnTo>
                <a:lnTo>
                  <a:pt x="610" y="255"/>
                </a:lnTo>
                <a:lnTo>
                  <a:pt x="604" y="232"/>
                </a:lnTo>
                <a:lnTo>
                  <a:pt x="574" y="228"/>
                </a:lnTo>
                <a:lnTo>
                  <a:pt x="566" y="255"/>
                </a:lnTo>
                <a:lnTo>
                  <a:pt x="545" y="279"/>
                </a:lnTo>
                <a:lnTo>
                  <a:pt x="525" y="265"/>
                </a:lnTo>
                <a:lnTo>
                  <a:pt x="507" y="250"/>
                </a:lnTo>
                <a:lnTo>
                  <a:pt x="490" y="259"/>
                </a:lnTo>
                <a:lnTo>
                  <a:pt x="474" y="242"/>
                </a:lnTo>
                <a:lnTo>
                  <a:pt x="462" y="216"/>
                </a:lnTo>
                <a:lnTo>
                  <a:pt x="450" y="228"/>
                </a:lnTo>
                <a:lnTo>
                  <a:pt x="439" y="269"/>
                </a:lnTo>
                <a:lnTo>
                  <a:pt x="423" y="281"/>
                </a:lnTo>
                <a:lnTo>
                  <a:pt x="433" y="226"/>
                </a:lnTo>
                <a:lnTo>
                  <a:pt x="403" y="197"/>
                </a:lnTo>
                <a:lnTo>
                  <a:pt x="380" y="198"/>
                </a:lnTo>
                <a:lnTo>
                  <a:pt x="362" y="224"/>
                </a:lnTo>
                <a:lnTo>
                  <a:pt x="350" y="216"/>
                </a:lnTo>
                <a:lnTo>
                  <a:pt x="354" y="171"/>
                </a:lnTo>
                <a:lnTo>
                  <a:pt x="340" y="145"/>
                </a:lnTo>
                <a:lnTo>
                  <a:pt x="321" y="159"/>
                </a:lnTo>
                <a:lnTo>
                  <a:pt x="307" y="193"/>
                </a:lnTo>
                <a:lnTo>
                  <a:pt x="293" y="218"/>
                </a:lnTo>
                <a:lnTo>
                  <a:pt x="281" y="228"/>
                </a:lnTo>
                <a:lnTo>
                  <a:pt x="277" y="200"/>
                </a:lnTo>
                <a:lnTo>
                  <a:pt x="258" y="206"/>
                </a:lnTo>
                <a:lnTo>
                  <a:pt x="250" y="224"/>
                </a:lnTo>
                <a:lnTo>
                  <a:pt x="244" y="234"/>
                </a:lnTo>
                <a:lnTo>
                  <a:pt x="224" y="240"/>
                </a:lnTo>
                <a:lnTo>
                  <a:pt x="207" y="242"/>
                </a:lnTo>
                <a:lnTo>
                  <a:pt x="222" y="208"/>
                </a:lnTo>
                <a:lnTo>
                  <a:pt x="236" y="191"/>
                </a:lnTo>
                <a:lnTo>
                  <a:pt x="226" y="163"/>
                </a:lnTo>
                <a:lnTo>
                  <a:pt x="242" y="153"/>
                </a:lnTo>
                <a:lnTo>
                  <a:pt x="254" y="140"/>
                </a:lnTo>
                <a:lnTo>
                  <a:pt x="266" y="124"/>
                </a:lnTo>
                <a:lnTo>
                  <a:pt x="258" y="104"/>
                </a:lnTo>
                <a:lnTo>
                  <a:pt x="250" y="51"/>
                </a:lnTo>
                <a:lnTo>
                  <a:pt x="246" y="20"/>
                </a:lnTo>
                <a:lnTo>
                  <a:pt x="230" y="6"/>
                </a:lnTo>
                <a:lnTo>
                  <a:pt x="213" y="0"/>
                </a:lnTo>
                <a:lnTo>
                  <a:pt x="205" y="12"/>
                </a:lnTo>
                <a:lnTo>
                  <a:pt x="215" y="22"/>
                </a:lnTo>
                <a:lnTo>
                  <a:pt x="224" y="35"/>
                </a:lnTo>
                <a:lnTo>
                  <a:pt x="211" y="41"/>
                </a:lnTo>
                <a:lnTo>
                  <a:pt x="217" y="63"/>
                </a:lnTo>
                <a:lnTo>
                  <a:pt x="221" y="90"/>
                </a:lnTo>
                <a:lnTo>
                  <a:pt x="199" y="102"/>
                </a:lnTo>
                <a:lnTo>
                  <a:pt x="189" y="88"/>
                </a:lnTo>
                <a:lnTo>
                  <a:pt x="183" y="73"/>
                </a:lnTo>
                <a:lnTo>
                  <a:pt x="175" y="57"/>
                </a:lnTo>
                <a:lnTo>
                  <a:pt x="187" y="47"/>
                </a:lnTo>
                <a:lnTo>
                  <a:pt x="173" y="31"/>
                </a:lnTo>
                <a:lnTo>
                  <a:pt x="165" y="20"/>
                </a:lnTo>
                <a:lnTo>
                  <a:pt x="146" y="33"/>
                </a:lnTo>
                <a:lnTo>
                  <a:pt x="144" y="51"/>
                </a:lnTo>
                <a:lnTo>
                  <a:pt x="118" y="57"/>
                </a:lnTo>
                <a:lnTo>
                  <a:pt x="146" y="73"/>
                </a:lnTo>
                <a:lnTo>
                  <a:pt x="138" y="92"/>
                </a:lnTo>
                <a:lnTo>
                  <a:pt x="114" y="98"/>
                </a:lnTo>
                <a:lnTo>
                  <a:pt x="110" y="75"/>
                </a:lnTo>
                <a:lnTo>
                  <a:pt x="103" y="57"/>
                </a:lnTo>
                <a:lnTo>
                  <a:pt x="97" y="73"/>
                </a:lnTo>
                <a:lnTo>
                  <a:pt x="81" y="94"/>
                </a:lnTo>
                <a:lnTo>
                  <a:pt x="75" y="77"/>
                </a:lnTo>
                <a:lnTo>
                  <a:pt x="65" y="63"/>
                </a:lnTo>
                <a:lnTo>
                  <a:pt x="46" y="73"/>
                </a:lnTo>
                <a:lnTo>
                  <a:pt x="65" y="88"/>
                </a:lnTo>
                <a:lnTo>
                  <a:pt x="79" y="102"/>
                </a:lnTo>
                <a:lnTo>
                  <a:pt x="89" y="118"/>
                </a:lnTo>
                <a:lnTo>
                  <a:pt x="118" y="124"/>
                </a:lnTo>
                <a:lnTo>
                  <a:pt x="130" y="132"/>
                </a:lnTo>
                <a:lnTo>
                  <a:pt x="156" y="120"/>
                </a:lnTo>
                <a:lnTo>
                  <a:pt x="171" y="138"/>
                </a:lnTo>
                <a:lnTo>
                  <a:pt x="175" y="153"/>
                </a:lnTo>
                <a:lnTo>
                  <a:pt x="183" y="171"/>
                </a:lnTo>
                <a:lnTo>
                  <a:pt x="199" y="183"/>
                </a:lnTo>
                <a:lnTo>
                  <a:pt x="173" y="193"/>
                </a:lnTo>
                <a:lnTo>
                  <a:pt x="136" y="189"/>
                </a:lnTo>
                <a:lnTo>
                  <a:pt x="136" y="202"/>
                </a:lnTo>
                <a:lnTo>
                  <a:pt x="148" y="218"/>
                </a:lnTo>
                <a:lnTo>
                  <a:pt x="162" y="226"/>
                </a:lnTo>
                <a:lnTo>
                  <a:pt x="175" y="230"/>
                </a:lnTo>
                <a:lnTo>
                  <a:pt x="154" y="242"/>
                </a:lnTo>
                <a:lnTo>
                  <a:pt x="124" y="230"/>
                </a:lnTo>
                <a:lnTo>
                  <a:pt x="87" y="200"/>
                </a:lnTo>
                <a:lnTo>
                  <a:pt x="59" y="198"/>
                </a:lnTo>
                <a:lnTo>
                  <a:pt x="32" y="183"/>
                </a:lnTo>
                <a:lnTo>
                  <a:pt x="8" y="197"/>
                </a:lnTo>
                <a:lnTo>
                  <a:pt x="32" y="216"/>
                </a:lnTo>
                <a:lnTo>
                  <a:pt x="67" y="220"/>
                </a:lnTo>
                <a:lnTo>
                  <a:pt x="75" y="238"/>
                </a:lnTo>
                <a:lnTo>
                  <a:pt x="99" y="246"/>
                </a:lnTo>
                <a:lnTo>
                  <a:pt x="99" y="269"/>
                </a:lnTo>
                <a:lnTo>
                  <a:pt x="93" y="289"/>
                </a:lnTo>
                <a:lnTo>
                  <a:pt x="103" y="307"/>
                </a:lnTo>
                <a:lnTo>
                  <a:pt x="109" y="320"/>
                </a:lnTo>
                <a:lnTo>
                  <a:pt x="87" y="334"/>
                </a:lnTo>
                <a:lnTo>
                  <a:pt x="75" y="336"/>
                </a:lnTo>
                <a:lnTo>
                  <a:pt x="87" y="358"/>
                </a:lnTo>
                <a:lnTo>
                  <a:pt x="53" y="362"/>
                </a:lnTo>
                <a:lnTo>
                  <a:pt x="28" y="362"/>
                </a:lnTo>
                <a:lnTo>
                  <a:pt x="8" y="346"/>
                </a:lnTo>
                <a:lnTo>
                  <a:pt x="0" y="364"/>
                </a:lnTo>
                <a:lnTo>
                  <a:pt x="4" y="387"/>
                </a:lnTo>
                <a:lnTo>
                  <a:pt x="42" y="407"/>
                </a:lnTo>
                <a:lnTo>
                  <a:pt x="83" y="438"/>
                </a:lnTo>
                <a:lnTo>
                  <a:pt x="107" y="460"/>
                </a:lnTo>
                <a:lnTo>
                  <a:pt x="116" y="495"/>
                </a:lnTo>
                <a:lnTo>
                  <a:pt x="128" y="529"/>
                </a:lnTo>
                <a:close/>
              </a:path>
            </a:pathLst>
          </a:custGeom>
          <a:solidFill>
            <a:srgbClr val="FFFFFF"/>
          </a:solidFill>
          <a:ln w="9525">
            <a:solidFill>
              <a:srgbClr val="000000"/>
            </a:solidFill>
            <a:prstDash val="solid"/>
            <a:round/>
            <a:headEnd/>
            <a:tailEnd/>
          </a:ln>
        </p:spPr>
        <p:txBody>
          <a:bodyPr/>
          <a:lstStyle/>
          <a:p>
            <a:endParaRPr lang="cs-CZ"/>
          </a:p>
        </p:txBody>
      </p:sp>
      <p:sp>
        <p:nvSpPr>
          <p:cNvPr id="425" name="Oval 433"/>
          <p:cNvSpPr>
            <a:spLocks noChangeArrowheads="1"/>
          </p:cNvSpPr>
          <p:nvPr/>
        </p:nvSpPr>
        <p:spPr bwMode="auto">
          <a:xfrm>
            <a:off x="2044700" y="1822028"/>
            <a:ext cx="25400" cy="26987"/>
          </a:xfrm>
          <a:prstGeom prst="ellipse">
            <a:avLst/>
          </a:prstGeom>
          <a:solidFill>
            <a:srgbClr val="FFFFFF"/>
          </a:solidFill>
          <a:ln w="9525">
            <a:solidFill>
              <a:srgbClr val="000000"/>
            </a:solidFill>
            <a:round/>
            <a:headEnd/>
            <a:tailEnd/>
          </a:ln>
        </p:spPr>
        <p:txBody>
          <a:bodyPr/>
          <a:lstStyle/>
          <a:p>
            <a:endParaRPr lang="cs-CZ"/>
          </a:p>
        </p:txBody>
      </p:sp>
      <p:sp>
        <p:nvSpPr>
          <p:cNvPr id="426" name="Oval 434"/>
          <p:cNvSpPr>
            <a:spLocks noChangeArrowheads="1"/>
          </p:cNvSpPr>
          <p:nvPr/>
        </p:nvSpPr>
        <p:spPr bwMode="auto">
          <a:xfrm>
            <a:off x="1604963" y="5322465"/>
            <a:ext cx="25400" cy="23813"/>
          </a:xfrm>
          <a:prstGeom prst="ellipse">
            <a:avLst/>
          </a:prstGeom>
          <a:solidFill>
            <a:srgbClr val="FFFFFF"/>
          </a:solidFill>
          <a:ln w="9525">
            <a:solidFill>
              <a:srgbClr val="000000"/>
            </a:solidFill>
            <a:round/>
            <a:headEnd/>
            <a:tailEnd/>
          </a:ln>
        </p:spPr>
        <p:txBody>
          <a:bodyPr/>
          <a:lstStyle/>
          <a:p>
            <a:endParaRPr lang="cs-CZ"/>
          </a:p>
        </p:txBody>
      </p:sp>
      <p:sp>
        <p:nvSpPr>
          <p:cNvPr id="427" name="Freeform 435"/>
          <p:cNvSpPr>
            <a:spLocks/>
          </p:cNvSpPr>
          <p:nvPr/>
        </p:nvSpPr>
        <p:spPr bwMode="auto">
          <a:xfrm>
            <a:off x="3228975" y="4149303"/>
            <a:ext cx="61913" cy="92075"/>
          </a:xfrm>
          <a:custGeom>
            <a:avLst/>
            <a:gdLst>
              <a:gd name="T0" fmla="*/ 0 w 78"/>
              <a:gd name="T1" fmla="*/ 96 h 116"/>
              <a:gd name="T2" fmla="*/ 45 w 78"/>
              <a:gd name="T3" fmla="*/ 94 h 116"/>
              <a:gd name="T4" fmla="*/ 73 w 78"/>
              <a:gd name="T5" fmla="*/ 116 h 116"/>
              <a:gd name="T6" fmla="*/ 75 w 78"/>
              <a:gd name="T7" fmla="*/ 94 h 116"/>
              <a:gd name="T8" fmla="*/ 78 w 78"/>
              <a:gd name="T9" fmla="*/ 53 h 116"/>
              <a:gd name="T10" fmla="*/ 59 w 78"/>
              <a:gd name="T11" fmla="*/ 37 h 116"/>
              <a:gd name="T12" fmla="*/ 73 w 78"/>
              <a:gd name="T13" fmla="*/ 11 h 116"/>
              <a:gd name="T14" fmla="*/ 37 w 78"/>
              <a:gd name="T15" fmla="*/ 0 h 116"/>
              <a:gd name="T16" fmla="*/ 12 w 78"/>
              <a:gd name="T17" fmla="*/ 19 h 116"/>
              <a:gd name="T18" fmla="*/ 6 w 78"/>
              <a:gd name="T19" fmla="*/ 49 h 116"/>
              <a:gd name="T20" fmla="*/ 0 w 78"/>
              <a:gd name="T21" fmla="*/ 76 h 116"/>
              <a:gd name="T22" fmla="*/ 0 w 78"/>
              <a:gd name="T23"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116">
                <a:moveTo>
                  <a:pt x="0" y="96"/>
                </a:moveTo>
                <a:lnTo>
                  <a:pt x="45" y="94"/>
                </a:lnTo>
                <a:lnTo>
                  <a:pt x="73" y="116"/>
                </a:lnTo>
                <a:lnTo>
                  <a:pt x="75" y="94"/>
                </a:lnTo>
                <a:lnTo>
                  <a:pt x="78" y="53"/>
                </a:lnTo>
                <a:lnTo>
                  <a:pt x="59" y="37"/>
                </a:lnTo>
                <a:lnTo>
                  <a:pt x="73" y="11"/>
                </a:lnTo>
                <a:lnTo>
                  <a:pt x="37" y="0"/>
                </a:lnTo>
                <a:lnTo>
                  <a:pt x="12" y="19"/>
                </a:lnTo>
                <a:lnTo>
                  <a:pt x="6" y="49"/>
                </a:lnTo>
                <a:lnTo>
                  <a:pt x="0" y="76"/>
                </a:lnTo>
                <a:lnTo>
                  <a:pt x="0" y="96"/>
                </a:lnTo>
                <a:close/>
              </a:path>
            </a:pathLst>
          </a:custGeom>
          <a:solidFill>
            <a:srgbClr val="FFFFFF"/>
          </a:solidFill>
          <a:ln w="9525">
            <a:solidFill>
              <a:srgbClr val="000000"/>
            </a:solidFill>
            <a:prstDash val="solid"/>
            <a:round/>
            <a:headEnd/>
            <a:tailEnd/>
          </a:ln>
        </p:spPr>
        <p:txBody>
          <a:bodyPr/>
          <a:lstStyle/>
          <a:p>
            <a:endParaRPr lang="cs-CZ"/>
          </a:p>
        </p:txBody>
      </p:sp>
      <p:sp>
        <p:nvSpPr>
          <p:cNvPr id="428" name="Oval 436"/>
          <p:cNvSpPr>
            <a:spLocks noChangeArrowheads="1"/>
          </p:cNvSpPr>
          <p:nvPr/>
        </p:nvSpPr>
        <p:spPr bwMode="auto">
          <a:xfrm>
            <a:off x="3257550" y="4203278"/>
            <a:ext cx="22225" cy="25400"/>
          </a:xfrm>
          <a:prstGeom prst="ellipse">
            <a:avLst/>
          </a:prstGeom>
          <a:solidFill>
            <a:srgbClr val="FFFFFF"/>
          </a:solidFill>
          <a:ln w="9525">
            <a:solidFill>
              <a:srgbClr val="000000"/>
            </a:solidFill>
            <a:round/>
            <a:headEnd/>
            <a:tailEnd/>
          </a:ln>
        </p:spPr>
        <p:txBody>
          <a:bodyPr/>
          <a:lstStyle/>
          <a:p>
            <a:endParaRPr lang="cs-CZ"/>
          </a:p>
        </p:txBody>
      </p:sp>
      <p:sp>
        <p:nvSpPr>
          <p:cNvPr id="429" name="Oval 437"/>
          <p:cNvSpPr>
            <a:spLocks noChangeArrowheads="1"/>
          </p:cNvSpPr>
          <p:nvPr/>
        </p:nvSpPr>
        <p:spPr bwMode="auto">
          <a:xfrm>
            <a:off x="3176588" y="3900065"/>
            <a:ext cx="23812" cy="23813"/>
          </a:xfrm>
          <a:prstGeom prst="ellipse">
            <a:avLst/>
          </a:prstGeom>
          <a:solidFill>
            <a:srgbClr val="FFFFFF"/>
          </a:solidFill>
          <a:ln w="9525">
            <a:solidFill>
              <a:srgbClr val="000000"/>
            </a:solidFill>
            <a:round/>
            <a:headEnd/>
            <a:tailEnd/>
          </a:ln>
        </p:spPr>
        <p:txBody>
          <a:bodyPr/>
          <a:lstStyle/>
          <a:p>
            <a:endParaRPr lang="cs-CZ"/>
          </a:p>
        </p:txBody>
      </p:sp>
      <p:sp>
        <p:nvSpPr>
          <p:cNvPr id="430" name="Freeform 438"/>
          <p:cNvSpPr>
            <a:spLocks/>
          </p:cNvSpPr>
          <p:nvPr/>
        </p:nvSpPr>
        <p:spPr bwMode="auto">
          <a:xfrm>
            <a:off x="2921000" y="5420890"/>
            <a:ext cx="39688" cy="31750"/>
          </a:xfrm>
          <a:custGeom>
            <a:avLst/>
            <a:gdLst>
              <a:gd name="T0" fmla="*/ 18 w 49"/>
              <a:gd name="T1" fmla="*/ 27 h 39"/>
              <a:gd name="T2" fmla="*/ 37 w 49"/>
              <a:gd name="T3" fmla="*/ 39 h 39"/>
              <a:gd name="T4" fmla="*/ 49 w 49"/>
              <a:gd name="T5" fmla="*/ 20 h 39"/>
              <a:gd name="T6" fmla="*/ 25 w 49"/>
              <a:gd name="T7" fmla="*/ 0 h 39"/>
              <a:gd name="T8" fmla="*/ 0 w 49"/>
              <a:gd name="T9" fmla="*/ 10 h 39"/>
              <a:gd name="T10" fmla="*/ 18 w 49"/>
              <a:gd name="T11" fmla="*/ 27 h 39"/>
            </a:gdLst>
            <a:ahLst/>
            <a:cxnLst>
              <a:cxn ang="0">
                <a:pos x="T0" y="T1"/>
              </a:cxn>
              <a:cxn ang="0">
                <a:pos x="T2" y="T3"/>
              </a:cxn>
              <a:cxn ang="0">
                <a:pos x="T4" y="T5"/>
              </a:cxn>
              <a:cxn ang="0">
                <a:pos x="T6" y="T7"/>
              </a:cxn>
              <a:cxn ang="0">
                <a:pos x="T8" y="T9"/>
              </a:cxn>
              <a:cxn ang="0">
                <a:pos x="T10" y="T11"/>
              </a:cxn>
            </a:cxnLst>
            <a:rect l="0" t="0" r="r" b="b"/>
            <a:pathLst>
              <a:path w="49" h="39">
                <a:moveTo>
                  <a:pt x="18" y="27"/>
                </a:moveTo>
                <a:lnTo>
                  <a:pt x="37" y="39"/>
                </a:lnTo>
                <a:lnTo>
                  <a:pt x="49" y="20"/>
                </a:lnTo>
                <a:lnTo>
                  <a:pt x="25" y="0"/>
                </a:lnTo>
                <a:lnTo>
                  <a:pt x="0" y="10"/>
                </a:lnTo>
                <a:lnTo>
                  <a:pt x="18" y="27"/>
                </a:lnTo>
                <a:close/>
              </a:path>
            </a:pathLst>
          </a:custGeom>
          <a:solidFill>
            <a:srgbClr val="FFFFFF"/>
          </a:solidFill>
          <a:ln w="9525">
            <a:solidFill>
              <a:srgbClr val="000000"/>
            </a:solidFill>
            <a:prstDash val="solid"/>
            <a:round/>
            <a:headEnd/>
            <a:tailEnd/>
          </a:ln>
        </p:spPr>
        <p:txBody>
          <a:bodyPr/>
          <a:lstStyle/>
          <a:p>
            <a:endParaRPr lang="cs-CZ"/>
          </a:p>
        </p:txBody>
      </p:sp>
      <p:sp>
        <p:nvSpPr>
          <p:cNvPr id="431" name="Freeform 439"/>
          <p:cNvSpPr>
            <a:spLocks/>
          </p:cNvSpPr>
          <p:nvPr/>
        </p:nvSpPr>
        <p:spPr bwMode="auto">
          <a:xfrm>
            <a:off x="2651125" y="5508203"/>
            <a:ext cx="34925" cy="41275"/>
          </a:xfrm>
          <a:custGeom>
            <a:avLst/>
            <a:gdLst>
              <a:gd name="T0" fmla="*/ 0 w 43"/>
              <a:gd name="T1" fmla="*/ 39 h 51"/>
              <a:gd name="T2" fmla="*/ 18 w 43"/>
              <a:gd name="T3" fmla="*/ 51 h 51"/>
              <a:gd name="T4" fmla="*/ 31 w 43"/>
              <a:gd name="T5" fmla="*/ 31 h 51"/>
              <a:gd name="T6" fmla="*/ 43 w 43"/>
              <a:gd name="T7" fmla="*/ 12 h 51"/>
              <a:gd name="T8" fmla="*/ 27 w 43"/>
              <a:gd name="T9" fmla="*/ 0 h 51"/>
              <a:gd name="T10" fmla="*/ 8 w 43"/>
              <a:gd name="T11" fmla="*/ 14 h 51"/>
              <a:gd name="T12" fmla="*/ 0 w 43"/>
              <a:gd name="T13" fmla="*/ 39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0" y="39"/>
                </a:moveTo>
                <a:lnTo>
                  <a:pt x="18" y="51"/>
                </a:lnTo>
                <a:lnTo>
                  <a:pt x="31" y="31"/>
                </a:lnTo>
                <a:lnTo>
                  <a:pt x="43" y="12"/>
                </a:lnTo>
                <a:lnTo>
                  <a:pt x="27" y="0"/>
                </a:lnTo>
                <a:lnTo>
                  <a:pt x="8" y="14"/>
                </a:lnTo>
                <a:lnTo>
                  <a:pt x="0" y="39"/>
                </a:lnTo>
                <a:close/>
              </a:path>
            </a:pathLst>
          </a:custGeom>
          <a:solidFill>
            <a:srgbClr val="FFFFFF"/>
          </a:solidFill>
          <a:ln w="9525">
            <a:solidFill>
              <a:srgbClr val="000000"/>
            </a:solidFill>
            <a:prstDash val="solid"/>
            <a:round/>
            <a:headEnd/>
            <a:tailEnd/>
          </a:ln>
        </p:spPr>
        <p:txBody>
          <a:bodyPr/>
          <a:lstStyle/>
          <a:p>
            <a:endParaRPr lang="cs-CZ"/>
          </a:p>
        </p:txBody>
      </p:sp>
      <p:sp>
        <p:nvSpPr>
          <p:cNvPr id="432" name="Freeform 440"/>
          <p:cNvSpPr>
            <a:spLocks/>
          </p:cNvSpPr>
          <p:nvPr/>
        </p:nvSpPr>
        <p:spPr bwMode="auto">
          <a:xfrm>
            <a:off x="2774950" y="5420890"/>
            <a:ext cx="101600" cy="90488"/>
          </a:xfrm>
          <a:custGeom>
            <a:avLst/>
            <a:gdLst>
              <a:gd name="T0" fmla="*/ 8 w 128"/>
              <a:gd name="T1" fmla="*/ 69 h 114"/>
              <a:gd name="T2" fmla="*/ 49 w 128"/>
              <a:gd name="T3" fmla="*/ 75 h 114"/>
              <a:gd name="T4" fmla="*/ 87 w 128"/>
              <a:gd name="T5" fmla="*/ 114 h 114"/>
              <a:gd name="T6" fmla="*/ 124 w 128"/>
              <a:gd name="T7" fmla="*/ 69 h 114"/>
              <a:gd name="T8" fmla="*/ 128 w 128"/>
              <a:gd name="T9" fmla="*/ 55 h 114"/>
              <a:gd name="T10" fmla="*/ 106 w 128"/>
              <a:gd name="T11" fmla="*/ 39 h 114"/>
              <a:gd name="T12" fmla="*/ 98 w 128"/>
              <a:gd name="T13" fmla="*/ 23 h 114"/>
              <a:gd name="T14" fmla="*/ 96 w 128"/>
              <a:gd name="T15" fmla="*/ 0 h 114"/>
              <a:gd name="T16" fmla="*/ 30 w 128"/>
              <a:gd name="T17" fmla="*/ 31 h 114"/>
              <a:gd name="T18" fmla="*/ 0 w 128"/>
              <a:gd name="T19" fmla="*/ 53 h 114"/>
              <a:gd name="T20" fmla="*/ 8 w 128"/>
              <a:gd name="T21" fmla="*/ 6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14">
                <a:moveTo>
                  <a:pt x="8" y="69"/>
                </a:moveTo>
                <a:lnTo>
                  <a:pt x="49" y="75"/>
                </a:lnTo>
                <a:lnTo>
                  <a:pt x="87" y="114"/>
                </a:lnTo>
                <a:lnTo>
                  <a:pt x="124" y="69"/>
                </a:lnTo>
                <a:lnTo>
                  <a:pt x="128" y="55"/>
                </a:lnTo>
                <a:lnTo>
                  <a:pt x="106" y="39"/>
                </a:lnTo>
                <a:lnTo>
                  <a:pt x="98" y="23"/>
                </a:lnTo>
                <a:lnTo>
                  <a:pt x="96" y="0"/>
                </a:lnTo>
                <a:lnTo>
                  <a:pt x="30" y="31"/>
                </a:lnTo>
                <a:lnTo>
                  <a:pt x="0" y="53"/>
                </a:lnTo>
                <a:lnTo>
                  <a:pt x="8" y="69"/>
                </a:lnTo>
                <a:close/>
              </a:path>
            </a:pathLst>
          </a:custGeom>
          <a:solidFill>
            <a:srgbClr val="FFFFFF"/>
          </a:solidFill>
          <a:ln w="9525">
            <a:solidFill>
              <a:srgbClr val="000000"/>
            </a:solidFill>
            <a:prstDash val="solid"/>
            <a:round/>
            <a:headEnd/>
            <a:tailEnd/>
          </a:ln>
        </p:spPr>
        <p:txBody>
          <a:bodyPr/>
          <a:lstStyle/>
          <a:p>
            <a:endParaRPr lang="cs-CZ"/>
          </a:p>
        </p:txBody>
      </p:sp>
      <p:sp>
        <p:nvSpPr>
          <p:cNvPr id="433" name="Freeform 441"/>
          <p:cNvSpPr>
            <a:spLocks/>
          </p:cNvSpPr>
          <p:nvPr/>
        </p:nvSpPr>
        <p:spPr bwMode="auto">
          <a:xfrm>
            <a:off x="3402013" y="5131965"/>
            <a:ext cx="95250" cy="203200"/>
          </a:xfrm>
          <a:custGeom>
            <a:avLst/>
            <a:gdLst>
              <a:gd name="T0" fmla="*/ 102 w 120"/>
              <a:gd name="T1" fmla="*/ 0 h 258"/>
              <a:gd name="T2" fmla="*/ 75 w 120"/>
              <a:gd name="T3" fmla="*/ 34 h 258"/>
              <a:gd name="T4" fmla="*/ 55 w 120"/>
              <a:gd name="T5" fmla="*/ 44 h 258"/>
              <a:gd name="T6" fmla="*/ 37 w 120"/>
              <a:gd name="T7" fmla="*/ 59 h 258"/>
              <a:gd name="T8" fmla="*/ 18 w 120"/>
              <a:gd name="T9" fmla="*/ 59 h 258"/>
              <a:gd name="T10" fmla="*/ 4 w 120"/>
              <a:gd name="T11" fmla="*/ 83 h 258"/>
              <a:gd name="T12" fmla="*/ 0 w 120"/>
              <a:gd name="T13" fmla="*/ 124 h 258"/>
              <a:gd name="T14" fmla="*/ 10 w 120"/>
              <a:gd name="T15" fmla="*/ 148 h 258"/>
              <a:gd name="T16" fmla="*/ 14 w 120"/>
              <a:gd name="T17" fmla="*/ 203 h 258"/>
              <a:gd name="T18" fmla="*/ 37 w 120"/>
              <a:gd name="T19" fmla="*/ 234 h 258"/>
              <a:gd name="T20" fmla="*/ 69 w 120"/>
              <a:gd name="T21" fmla="*/ 258 h 258"/>
              <a:gd name="T22" fmla="*/ 65 w 120"/>
              <a:gd name="T23" fmla="*/ 258 h 258"/>
              <a:gd name="T24" fmla="*/ 88 w 120"/>
              <a:gd name="T25" fmla="*/ 213 h 258"/>
              <a:gd name="T26" fmla="*/ 110 w 120"/>
              <a:gd name="T27" fmla="*/ 152 h 258"/>
              <a:gd name="T28" fmla="*/ 120 w 120"/>
              <a:gd name="T29" fmla="*/ 116 h 258"/>
              <a:gd name="T30" fmla="*/ 100 w 120"/>
              <a:gd name="T31" fmla="*/ 61 h 258"/>
              <a:gd name="T32" fmla="*/ 102 w 120"/>
              <a:gd name="T33"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258">
                <a:moveTo>
                  <a:pt x="102" y="0"/>
                </a:moveTo>
                <a:lnTo>
                  <a:pt x="75" y="34"/>
                </a:lnTo>
                <a:lnTo>
                  <a:pt x="55" y="44"/>
                </a:lnTo>
                <a:lnTo>
                  <a:pt x="37" y="59"/>
                </a:lnTo>
                <a:lnTo>
                  <a:pt x="18" y="59"/>
                </a:lnTo>
                <a:lnTo>
                  <a:pt x="4" y="83"/>
                </a:lnTo>
                <a:lnTo>
                  <a:pt x="0" y="124"/>
                </a:lnTo>
                <a:lnTo>
                  <a:pt x="10" y="148"/>
                </a:lnTo>
                <a:lnTo>
                  <a:pt x="14" y="203"/>
                </a:lnTo>
                <a:lnTo>
                  <a:pt x="37" y="234"/>
                </a:lnTo>
                <a:lnTo>
                  <a:pt x="69" y="258"/>
                </a:lnTo>
                <a:lnTo>
                  <a:pt x="65" y="258"/>
                </a:lnTo>
                <a:lnTo>
                  <a:pt x="88" y="213"/>
                </a:lnTo>
                <a:lnTo>
                  <a:pt x="110" y="152"/>
                </a:lnTo>
                <a:lnTo>
                  <a:pt x="120" y="116"/>
                </a:lnTo>
                <a:lnTo>
                  <a:pt x="100" y="61"/>
                </a:lnTo>
                <a:lnTo>
                  <a:pt x="102" y="0"/>
                </a:lnTo>
                <a:close/>
              </a:path>
            </a:pathLst>
          </a:custGeom>
          <a:solidFill>
            <a:srgbClr val="FFFFFF"/>
          </a:solidFill>
          <a:ln w="9525">
            <a:solidFill>
              <a:srgbClr val="000000"/>
            </a:solidFill>
            <a:prstDash val="solid"/>
            <a:round/>
            <a:headEnd/>
            <a:tailEnd/>
          </a:ln>
        </p:spPr>
        <p:txBody>
          <a:bodyPr/>
          <a:lstStyle/>
          <a:p>
            <a:endParaRPr lang="cs-CZ"/>
          </a:p>
        </p:txBody>
      </p:sp>
      <p:sp>
        <p:nvSpPr>
          <p:cNvPr id="434" name="Freeform 442"/>
          <p:cNvSpPr>
            <a:spLocks/>
          </p:cNvSpPr>
          <p:nvPr/>
        </p:nvSpPr>
        <p:spPr bwMode="auto">
          <a:xfrm>
            <a:off x="3343275" y="5352628"/>
            <a:ext cx="153988" cy="303212"/>
          </a:xfrm>
          <a:custGeom>
            <a:avLst/>
            <a:gdLst>
              <a:gd name="T0" fmla="*/ 12 w 195"/>
              <a:gd name="T1" fmla="*/ 40 h 382"/>
              <a:gd name="T2" fmla="*/ 46 w 195"/>
              <a:gd name="T3" fmla="*/ 59 h 382"/>
              <a:gd name="T4" fmla="*/ 89 w 195"/>
              <a:gd name="T5" fmla="*/ 28 h 382"/>
              <a:gd name="T6" fmla="*/ 120 w 195"/>
              <a:gd name="T7" fmla="*/ 6 h 382"/>
              <a:gd name="T8" fmla="*/ 144 w 195"/>
              <a:gd name="T9" fmla="*/ 0 h 382"/>
              <a:gd name="T10" fmla="*/ 181 w 195"/>
              <a:gd name="T11" fmla="*/ 44 h 382"/>
              <a:gd name="T12" fmla="*/ 185 w 195"/>
              <a:gd name="T13" fmla="*/ 81 h 382"/>
              <a:gd name="T14" fmla="*/ 195 w 195"/>
              <a:gd name="T15" fmla="*/ 120 h 382"/>
              <a:gd name="T16" fmla="*/ 175 w 195"/>
              <a:gd name="T17" fmla="*/ 152 h 382"/>
              <a:gd name="T18" fmla="*/ 181 w 195"/>
              <a:gd name="T19" fmla="*/ 185 h 382"/>
              <a:gd name="T20" fmla="*/ 177 w 195"/>
              <a:gd name="T21" fmla="*/ 274 h 382"/>
              <a:gd name="T22" fmla="*/ 169 w 195"/>
              <a:gd name="T23" fmla="*/ 311 h 382"/>
              <a:gd name="T24" fmla="*/ 150 w 195"/>
              <a:gd name="T25" fmla="*/ 340 h 382"/>
              <a:gd name="T26" fmla="*/ 116 w 195"/>
              <a:gd name="T27" fmla="*/ 334 h 382"/>
              <a:gd name="T28" fmla="*/ 85 w 195"/>
              <a:gd name="T29" fmla="*/ 362 h 382"/>
              <a:gd name="T30" fmla="*/ 53 w 195"/>
              <a:gd name="T31" fmla="*/ 382 h 382"/>
              <a:gd name="T32" fmla="*/ 28 w 195"/>
              <a:gd name="T33" fmla="*/ 338 h 382"/>
              <a:gd name="T34" fmla="*/ 20 w 195"/>
              <a:gd name="T35" fmla="*/ 313 h 382"/>
              <a:gd name="T36" fmla="*/ 18 w 195"/>
              <a:gd name="T37" fmla="*/ 274 h 382"/>
              <a:gd name="T38" fmla="*/ 18 w 195"/>
              <a:gd name="T39" fmla="*/ 246 h 382"/>
              <a:gd name="T40" fmla="*/ 32 w 195"/>
              <a:gd name="T41" fmla="*/ 211 h 382"/>
              <a:gd name="T42" fmla="*/ 38 w 195"/>
              <a:gd name="T43" fmla="*/ 160 h 382"/>
              <a:gd name="T44" fmla="*/ 32 w 195"/>
              <a:gd name="T45" fmla="*/ 116 h 382"/>
              <a:gd name="T46" fmla="*/ 20 w 195"/>
              <a:gd name="T47" fmla="*/ 95 h 382"/>
              <a:gd name="T48" fmla="*/ 0 w 195"/>
              <a:gd name="T49" fmla="*/ 77 h 382"/>
              <a:gd name="T50" fmla="*/ 12 w 195"/>
              <a:gd name="T51" fmla="*/ 4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5" h="382">
                <a:moveTo>
                  <a:pt x="12" y="40"/>
                </a:moveTo>
                <a:lnTo>
                  <a:pt x="46" y="59"/>
                </a:lnTo>
                <a:lnTo>
                  <a:pt x="89" y="28"/>
                </a:lnTo>
                <a:lnTo>
                  <a:pt x="120" y="6"/>
                </a:lnTo>
                <a:lnTo>
                  <a:pt x="144" y="0"/>
                </a:lnTo>
                <a:lnTo>
                  <a:pt x="181" y="44"/>
                </a:lnTo>
                <a:lnTo>
                  <a:pt x="185" y="81"/>
                </a:lnTo>
                <a:lnTo>
                  <a:pt x="195" y="120"/>
                </a:lnTo>
                <a:lnTo>
                  <a:pt x="175" y="152"/>
                </a:lnTo>
                <a:lnTo>
                  <a:pt x="181" y="185"/>
                </a:lnTo>
                <a:lnTo>
                  <a:pt x="177" y="274"/>
                </a:lnTo>
                <a:lnTo>
                  <a:pt x="169" y="311"/>
                </a:lnTo>
                <a:lnTo>
                  <a:pt x="150" y="340"/>
                </a:lnTo>
                <a:lnTo>
                  <a:pt x="116" y="334"/>
                </a:lnTo>
                <a:lnTo>
                  <a:pt x="85" y="362"/>
                </a:lnTo>
                <a:lnTo>
                  <a:pt x="53" y="382"/>
                </a:lnTo>
                <a:lnTo>
                  <a:pt x="28" y="338"/>
                </a:lnTo>
                <a:lnTo>
                  <a:pt x="20" y="313"/>
                </a:lnTo>
                <a:lnTo>
                  <a:pt x="18" y="274"/>
                </a:lnTo>
                <a:lnTo>
                  <a:pt x="18" y="246"/>
                </a:lnTo>
                <a:lnTo>
                  <a:pt x="32" y="211"/>
                </a:lnTo>
                <a:lnTo>
                  <a:pt x="38" y="160"/>
                </a:lnTo>
                <a:lnTo>
                  <a:pt x="32" y="116"/>
                </a:lnTo>
                <a:lnTo>
                  <a:pt x="20" y="95"/>
                </a:lnTo>
                <a:lnTo>
                  <a:pt x="0" y="77"/>
                </a:lnTo>
                <a:lnTo>
                  <a:pt x="12" y="40"/>
                </a:lnTo>
                <a:close/>
              </a:path>
            </a:pathLst>
          </a:custGeom>
          <a:solidFill>
            <a:srgbClr val="FFFFFF"/>
          </a:solidFill>
          <a:ln w="9525">
            <a:solidFill>
              <a:srgbClr val="000000"/>
            </a:solidFill>
            <a:prstDash val="solid"/>
            <a:round/>
            <a:headEnd/>
            <a:tailEnd/>
          </a:ln>
        </p:spPr>
        <p:txBody>
          <a:bodyPr/>
          <a:lstStyle/>
          <a:p>
            <a:endParaRPr lang="cs-CZ"/>
          </a:p>
        </p:txBody>
      </p:sp>
      <p:sp>
        <p:nvSpPr>
          <p:cNvPr id="435" name="Freeform 443"/>
          <p:cNvSpPr>
            <a:spLocks/>
          </p:cNvSpPr>
          <p:nvPr/>
        </p:nvSpPr>
        <p:spPr bwMode="auto">
          <a:xfrm>
            <a:off x="2327275" y="3277765"/>
            <a:ext cx="185738" cy="201613"/>
          </a:xfrm>
          <a:custGeom>
            <a:avLst/>
            <a:gdLst>
              <a:gd name="T0" fmla="*/ 0 w 234"/>
              <a:gd name="T1" fmla="*/ 106 h 256"/>
              <a:gd name="T2" fmla="*/ 20 w 234"/>
              <a:gd name="T3" fmla="*/ 126 h 256"/>
              <a:gd name="T4" fmla="*/ 30 w 234"/>
              <a:gd name="T5" fmla="*/ 152 h 256"/>
              <a:gd name="T6" fmla="*/ 34 w 234"/>
              <a:gd name="T7" fmla="*/ 175 h 256"/>
              <a:gd name="T8" fmla="*/ 45 w 234"/>
              <a:gd name="T9" fmla="*/ 189 h 256"/>
              <a:gd name="T10" fmla="*/ 63 w 234"/>
              <a:gd name="T11" fmla="*/ 179 h 256"/>
              <a:gd name="T12" fmla="*/ 85 w 234"/>
              <a:gd name="T13" fmla="*/ 165 h 256"/>
              <a:gd name="T14" fmla="*/ 108 w 234"/>
              <a:gd name="T15" fmla="*/ 162 h 256"/>
              <a:gd name="T16" fmla="*/ 138 w 234"/>
              <a:gd name="T17" fmla="*/ 169 h 256"/>
              <a:gd name="T18" fmla="*/ 157 w 234"/>
              <a:gd name="T19" fmla="*/ 187 h 256"/>
              <a:gd name="T20" fmla="*/ 153 w 234"/>
              <a:gd name="T21" fmla="*/ 207 h 256"/>
              <a:gd name="T22" fmla="*/ 146 w 234"/>
              <a:gd name="T23" fmla="*/ 230 h 256"/>
              <a:gd name="T24" fmla="*/ 136 w 234"/>
              <a:gd name="T25" fmla="*/ 248 h 256"/>
              <a:gd name="T26" fmla="*/ 150 w 234"/>
              <a:gd name="T27" fmla="*/ 256 h 256"/>
              <a:gd name="T28" fmla="*/ 163 w 234"/>
              <a:gd name="T29" fmla="*/ 242 h 256"/>
              <a:gd name="T30" fmla="*/ 177 w 234"/>
              <a:gd name="T31" fmla="*/ 248 h 256"/>
              <a:gd name="T32" fmla="*/ 185 w 234"/>
              <a:gd name="T33" fmla="*/ 220 h 256"/>
              <a:gd name="T34" fmla="*/ 210 w 234"/>
              <a:gd name="T35" fmla="*/ 232 h 256"/>
              <a:gd name="T36" fmla="*/ 216 w 234"/>
              <a:gd name="T37" fmla="*/ 220 h 256"/>
              <a:gd name="T38" fmla="*/ 214 w 234"/>
              <a:gd name="T39" fmla="*/ 195 h 256"/>
              <a:gd name="T40" fmla="*/ 232 w 234"/>
              <a:gd name="T41" fmla="*/ 189 h 256"/>
              <a:gd name="T42" fmla="*/ 234 w 234"/>
              <a:gd name="T43" fmla="*/ 167 h 256"/>
              <a:gd name="T44" fmla="*/ 201 w 234"/>
              <a:gd name="T45" fmla="*/ 150 h 256"/>
              <a:gd name="T46" fmla="*/ 205 w 234"/>
              <a:gd name="T47" fmla="*/ 134 h 256"/>
              <a:gd name="T48" fmla="*/ 220 w 234"/>
              <a:gd name="T49" fmla="*/ 134 h 256"/>
              <a:gd name="T50" fmla="*/ 222 w 234"/>
              <a:gd name="T51" fmla="*/ 101 h 256"/>
              <a:gd name="T52" fmla="*/ 210 w 234"/>
              <a:gd name="T53" fmla="*/ 79 h 256"/>
              <a:gd name="T54" fmla="*/ 203 w 234"/>
              <a:gd name="T55" fmla="*/ 55 h 256"/>
              <a:gd name="T56" fmla="*/ 175 w 234"/>
              <a:gd name="T57" fmla="*/ 46 h 256"/>
              <a:gd name="T58" fmla="*/ 138 w 234"/>
              <a:gd name="T59" fmla="*/ 50 h 256"/>
              <a:gd name="T60" fmla="*/ 120 w 234"/>
              <a:gd name="T61" fmla="*/ 50 h 256"/>
              <a:gd name="T62" fmla="*/ 110 w 234"/>
              <a:gd name="T63" fmla="*/ 36 h 256"/>
              <a:gd name="T64" fmla="*/ 122 w 234"/>
              <a:gd name="T65" fmla="*/ 22 h 256"/>
              <a:gd name="T66" fmla="*/ 116 w 234"/>
              <a:gd name="T67" fmla="*/ 0 h 256"/>
              <a:gd name="T68" fmla="*/ 104 w 234"/>
              <a:gd name="T69" fmla="*/ 8 h 256"/>
              <a:gd name="T70" fmla="*/ 87 w 234"/>
              <a:gd name="T71" fmla="*/ 28 h 256"/>
              <a:gd name="T72" fmla="*/ 79 w 234"/>
              <a:gd name="T73" fmla="*/ 51 h 256"/>
              <a:gd name="T74" fmla="*/ 65 w 234"/>
              <a:gd name="T75" fmla="*/ 75 h 256"/>
              <a:gd name="T76" fmla="*/ 49 w 234"/>
              <a:gd name="T77" fmla="*/ 87 h 256"/>
              <a:gd name="T78" fmla="*/ 40 w 234"/>
              <a:gd name="T79" fmla="*/ 85 h 256"/>
              <a:gd name="T80" fmla="*/ 20 w 234"/>
              <a:gd name="T81" fmla="*/ 103 h 256"/>
              <a:gd name="T82" fmla="*/ 0 w 234"/>
              <a:gd name="T83" fmla="*/ 10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4" h="256">
                <a:moveTo>
                  <a:pt x="0" y="106"/>
                </a:moveTo>
                <a:lnTo>
                  <a:pt x="20" y="126"/>
                </a:lnTo>
                <a:lnTo>
                  <a:pt x="30" y="152"/>
                </a:lnTo>
                <a:lnTo>
                  <a:pt x="34" y="175"/>
                </a:lnTo>
                <a:lnTo>
                  <a:pt x="45" y="189"/>
                </a:lnTo>
                <a:lnTo>
                  <a:pt x="63" y="179"/>
                </a:lnTo>
                <a:lnTo>
                  <a:pt x="85" y="165"/>
                </a:lnTo>
                <a:lnTo>
                  <a:pt x="108" y="162"/>
                </a:lnTo>
                <a:lnTo>
                  <a:pt x="138" y="169"/>
                </a:lnTo>
                <a:lnTo>
                  <a:pt x="157" y="187"/>
                </a:lnTo>
                <a:lnTo>
                  <a:pt x="153" y="207"/>
                </a:lnTo>
                <a:lnTo>
                  <a:pt x="146" y="230"/>
                </a:lnTo>
                <a:lnTo>
                  <a:pt x="136" y="248"/>
                </a:lnTo>
                <a:lnTo>
                  <a:pt x="150" y="256"/>
                </a:lnTo>
                <a:lnTo>
                  <a:pt x="163" y="242"/>
                </a:lnTo>
                <a:lnTo>
                  <a:pt x="177" y="248"/>
                </a:lnTo>
                <a:lnTo>
                  <a:pt x="185" y="220"/>
                </a:lnTo>
                <a:lnTo>
                  <a:pt x="210" y="232"/>
                </a:lnTo>
                <a:lnTo>
                  <a:pt x="216" y="220"/>
                </a:lnTo>
                <a:lnTo>
                  <a:pt x="214" y="195"/>
                </a:lnTo>
                <a:lnTo>
                  <a:pt x="232" y="189"/>
                </a:lnTo>
                <a:lnTo>
                  <a:pt x="234" y="167"/>
                </a:lnTo>
                <a:lnTo>
                  <a:pt x="201" y="150"/>
                </a:lnTo>
                <a:lnTo>
                  <a:pt x="205" y="134"/>
                </a:lnTo>
                <a:lnTo>
                  <a:pt x="220" y="134"/>
                </a:lnTo>
                <a:lnTo>
                  <a:pt x="222" y="101"/>
                </a:lnTo>
                <a:lnTo>
                  <a:pt x="210" y="79"/>
                </a:lnTo>
                <a:lnTo>
                  <a:pt x="203" y="55"/>
                </a:lnTo>
                <a:lnTo>
                  <a:pt x="175" y="46"/>
                </a:lnTo>
                <a:lnTo>
                  <a:pt x="138" y="50"/>
                </a:lnTo>
                <a:lnTo>
                  <a:pt x="120" y="50"/>
                </a:lnTo>
                <a:lnTo>
                  <a:pt x="110" y="36"/>
                </a:lnTo>
                <a:lnTo>
                  <a:pt x="122" y="22"/>
                </a:lnTo>
                <a:lnTo>
                  <a:pt x="116" y="0"/>
                </a:lnTo>
                <a:lnTo>
                  <a:pt x="104" y="8"/>
                </a:lnTo>
                <a:lnTo>
                  <a:pt x="87" y="28"/>
                </a:lnTo>
                <a:lnTo>
                  <a:pt x="79" y="51"/>
                </a:lnTo>
                <a:lnTo>
                  <a:pt x="65" y="75"/>
                </a:lnTo>
                <a:lnTo>
                  <a:pt x="49" y="87"/>
                </a:lnTo>
                <a:lnTo>
                  <a:pt x="40" y="85"/>
                </a:lnTo>
                <a:lnTo>
                  <a:pt x="20" y="103"/>
                </a:lnTo>
                <a:lnTo>
                  <a:pt x="0" y="106"/>
                </a:lnTo>
                <a:close/>
              </a:path>
            </a:pathLst>
          </a:custGeom>
          <a:solidFill>
            <a:srgbClr val="D0D0D0"/>
          </a:solidFill>
          <a:ln w="9525">
            <a:solidFill>
              <a:srgbClr val="000000"/>
            </a:solidFill>
            <a:prstDash val="solid"/>
            <a:round/>
            <a:headEnd/>
            <a:tailEnd/>
          </a:ln>
        </p:spPr>
        <p:txBody>
          <a:bodyPr/>
          <a:lstStyle/>
          <a:p>
            <a:endParaRPr lang="cs-CZ"/>
          </a:p>
        </p:txBody>
      </p:sp>
      <p:grpSp>
        <p:nvGrpSpPr>
          <p:cNvPr id="436" name="Group 444"/>
          <p:cNvGrpSpPr>
            <a:grpSpLocks/>
          </p:cNvGrpSpPr>
          <p:nvPr/>
        </p:nvGrpSpPr>
        <p:grpSpPr bwMode="auto">
          <a:xfrm>
            <a:off x="2686050" y="2422103"/>
            <a:ext cx="65088" cy="82550"/>
            <a:chOff x="1684" y="1590"/>
            <a:chExt cx="41" cy="52"/>
          </a:xfrm>
        </p:grpSpPr>
        <p:sp>
          <p:nvSpPr>
            <p:cNvPr id="437" name="Freeform 445"/>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 name="T36" fmla="*/ 39 w 83"/>
                <a:gd name="T3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lnTo>
                    <a:pt x="39"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38" name="Freeform 446"/>
            <p:cNvSpPr>
              <a:spLocks/>
            </p:cNvSpPr>
            <p:nvPr/>
          </p:nvSpPr>
          <p:spPr bwMode="auto">
            <a:xfrm>
              <a:off x="1684" y="1590"/>
              <a:ext cx="41" cy="52"/>
            </a:xfrm>
            <a:custGeom>
              <a:avLst/>
              <a:gdLst>
                <a:gd name="T0" fmla="*/ 39 w 83"/>
                <a:gd name="T1" fmla="*/ 104 h 104"/>
                <a:gd name="T2" fmla="*/ 55 w 83"/>
                <a:gd name="T3" fmla="*/ 86 h 104"/>
                <a:gd name="T4" fmla="*/ 53 w 83"/>
                <a:gd name="T5" fmla="*/ 65 h 104"/>
                <a:gd name="T6" fmla="*/ 57 w 83"/>
                <a:gd name="T7" fmla="*/ 53 h 104"/>
                <a:gd name="T8" fmla="*/ 69 w 83"/>
                <a:gd name="T9" fmla="*/ 41 h 104"/>
                <a:gd name="T10" fmla="*/ 81 w 83"/>
                <a:gd name="T11" fmla="*/ 29 h 104"/>
                <a:gd name="T12" fmla="*/ 83 w 83"/>
                <a:gd name="T13" fmla="*/ 0 h 104"/>
                <a:gd name="T14" fmla="*/ 59 w 83"/>
                <a:gd name="T15" fmla="*/ 12 h 104"/>
                <a:gd name="T16" fmla="*/ 57 w 83"/>
                <a:gd name="T17" fmla="*/ 0 h 104"/>
                <a:gd name="T18" fmla="*/ 41 w 83"/>
                <a:gd name="T19" fmla="*/ 4 h 104"/>
                <a:gd name="T20" fmla="*/ 20 w 83"/>
                <a:gd name="T21" fmla="*/ 8 h 104"/>
                <a:gd name="T22" fmla="*/ 8 w 83"/>
                <a:gd name="T23" fmla="*/ 15 h 104"/>
                <a:gd name="T24" fmla="*/ 0 w 83"/>
                <a:gd name="T25" fmla="*/ 27 h 104"/>
                <a:gd name="T26" fmla="*/ 10 w 83"/>
                <a:gd name="T27" fmla="*/ 41 h 104"/>
                <a:gd name="T28" fmla="*/ 26 w 83"/>
                <a:gd name="T29" fmla="*/ 43 h 104"/>
                <a:gd name="T30" fmla="*/ 35 w 83"/>
                <a:gd name="T31" fmla="*/ 61 h 104"/>
                <a:gd name="T32" fmla="*/ 35 w 83"/>
                <a:gd name="T33" fmla="*/ 74 h 104"/>
                <a:gd name="T34" fmla="*/ 41 w 83"/>
                <a:gd name="T35" fmla="*/ 9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04">
                  <a:moveTo>
                    <a:pt x="39" y="104"/>
                  </a:moveTo>
                  <a:lnTo>
                    <a:pt x="55" y="86"/>
                  </a:lnTo>
                  <a:lnTo>
                    <a:pt x="53" y="65"/>
                  </a:lnTo>
                  <a:lnTo>
                    <a:pt x="57" y="53"/>
                  </a:lnTo>
                  <a:lnTo>
                    <a:pt x="69" y="41"/>
                  </a:lnTo>
                  <a:lnTo>
                    <a:pt x="81" y="29"/>
                  </a:lnTo>
                  <a:lnTo>
                    <a:pt x="83" y="0"/>
                  </a:lnTo>
                  <a:lnTo>
                    <a:pt x="59" y="12"/>
                  </a:lnTo>
                  <a:lnTo>
                    <a:pt x="57" y="0"/>
                  </a:lnTo>
                  <a:lnTo>
                    <a:pt x="41" y="4"/>
                  </a:lnTo>
                  <a:lnTo>
                    <a:pt x="20" y="8"/>
                  </a:lnTo>
                  <a:lnTo>
                    <a:pt x="8" y="15"/>
                  </a:lnTo>
                  <a:lnTo>
                    <a:pt x="0" y="27"/>
                  </a:lnTo>
                  <a:lnTo>
                    <a:pt x="10" y="41"/>
                  </a:lnTo>
                  <a:lnTo>
                    <a:pt x="26" y="43"/>
                  </a:lnTo>
                  <a:lnTo>
                    <a:pt x="35" y="61"/>
                  </a:lnTo>
                  <a:lnTo>
                    <a:pt x="35" y="74"/>
                  </a:lnTo>
                  <a:lnTo>
                    <a:pt x="41"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39" name="Freeform 447"/>
          <p:cNvSpPr>
            <a:spLocks/>
          </p:cNvSpPr>
          <p:nvPr/>
        </p:nvSpPr>
        <p:spPr bwMode="auto">
          <a:xfrm>
            <a:off x="2690813" y="2503065"/>
            <a:ext cx="17462" cy="34925"/>
          </a:xfrm>
          <a:custGeom>
            <a:avLst/>
            <a:gdLst>
              <a:gd name="T0" fmla="*/ 2 w 22"/>
              <a:gd name="T1" fmla="*/ 2 h 43"/>
              <a:gd name="T2" fmla="*/ 0 w 22"/>
              <a:gd name="T3" fmla="*/ 22 h 43"/>
              <a:gd name="T4" fmla="*/ 0 w 22"/>
              <a:gd name="T5" fmla="*/ 43 h 43"/>
              <a:gd name="T6" fmla="*/ 20 w 22"/>
              <a:gd name="T7" fmla="*/ 35 h 43"/>
              <a:gd name="T8" fmla="*/ 22 w 22"/>
              <a:gd name="T9" fmla="*/ 20 h 43"/>
              <a:gd name="T10" fmla="*/ 16 w 22"/>
              <a:gd name="T11" fmla="*/ 0 h 43"/>
              <a:gd name="T12" fmla="*/ 2 w 22"/>
              <a:gd name="T13" fmla="*/ 2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 y="2"/>
                </a:moveTo>
                <a:lnTo>
                  <a:pt x="0" y="22"/>
                </a:lnTo>
                <a:lnTo>
                  <a:pt x="0" y="43"/>
                </a:lnTo>
                <a:lnTo>
                  <a:pt x="20" y="35"/>
                </a:lnTo>
                <a:lnTo>
                  <a:pt x="22" y="20"/>
                </a:lnTo>
                <a:lnTo>
                  <a:pt x="16" y="0"/>
                </a:lnTo>
                <a:lnTo>
                  <a:pt x="2" y="2"/>
                </a:lnTo>
                <a:close/>
              </a:path>
            </a:pathLst>
          </a:custGeom>
          <a:solidFill>
            <a:srgbClr val="FFFFFF"/>
          </a:solidFill>
          <a:ln w="9525">
            <a:solidFill>
              <a:srgbClr val="000000"/>
            </a:solidFill>
            <a:prstDash val="solid"/>
            <a:round/>
            <a:headEnd/>
            <a:tailEnd/>
          </a:ln>
        </p:spPr>
        <p:txBody>
          <a:bodyPr/>
          <a:lstStyle/>
          <a:p>
            <a:endParaRPr lang="cs-CZ"/>
          </a:p>
        </p:txBody>
      </p:sp>
      <p:grpSp>
        <p:nvGrpSpPr>
          <p:cNvPr id="440" name="Group 448"/>
          <p:cNvGrpSpPr>
            <a:grpSpLocks/>
          </p:cNvGrpSpPr>
          <p:nvPr/>
        </p:nvGrpSpPr>
        <p:grpSpPr bwMode="auto">
          <a:xfrm>
            <a:off x="2963863" y="2730078"/>
            <a:ext cx="38100" cy="98425"/>
            <a:chOff x="1859" y="1784"/>
            <a:chExt cx="24" cy="62"/>
          </a:xfrm>
        </p:grpSpPr>
        <p:sp>
          <p:nvSpPr>
            <p:cNvPr id="441" name="Freeform 449"/>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 name="T36" fmla="*/ 0 w 49"/>
                <a:gd name="T3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42" name="Freeform 450"/>
            <p:cNvSpPr>
              <a:spLocks/>
            </p:cNvSpPr>
            <p:nvPr/>
          </p:nvSpPr>
          <p:spPr bwMode="auto">
            <a:xfrm>
              <a:off x="1859" y="1784"/>
              <a:ext cx="24" cy="62"/>
            </a:xfrm>
            <a:custGeom>
              <a:avLst/>
              <a:gdLst>
                <a:gd name="T0" fmla="*/ 0 w 49"/>
                <a:gd name="T1" fmla="*/ 124 h 124"/>
                <a:gd name="T2" fmla="*/ 8 w 49"/>
                <a:gd name="T3" fmla="*/ 108 h 124"/>
                <a:gd name="T4" fmla="*/ 8 w 49"/>
                <a:gd name="T5" fmla="*/ 92 h 124"/>
                <a:gd name="T6" fmla="*/ 12 w 49"/>
                <a:gd name="T7" fmla="*/ 76 h 124"/>
                <a:gd name="T8" fmla="*/ 0 w 49"/>
                <a:gd name="T9" fmla="*/ 69 h 124"/>
                <a:gd name="T10" fmla="*/ 8 w 49"/>
                <a:gd name="T11" fmla="*/ 53 h 124"/>
                <a:gd name="T12" fmla="*/ 12 w 49"/>
                <a:gd name="T13" fmla="*/ 41 h 124"/>
                <a:gd name="T14" fmla="*/ 12 w 49"/>
                <a:gd name="T15" fmla="*/ 25 h 124"/>
                <a:gd name="T16" fmla="*/ 23 w 49"/>
                <a:gd name="T17" fmla="*/ 8 h 124"/>
                <a:gd name="T18" fmla="*/ 39 w 49"/>
                <a:gd name="T19" fmla="*/ 0 h 124"/>
                <a:gd name="T20" fmla="*/ 41 w 49"/>
                <a:gd name="T21" fmla="*/ 21 h 124"/>
                <a:gd name="T22" fmla="*/ 41 w 49"/>
                <a:gd name="T23" fmla="*/ 33 h 124"/>
                <a:gd name="T24" fmla="*/ 49 w 49"/>
                <a:gd name="T25" fmla="*/ 51 h 124"/>
                <a:gd name="T26" fmla="*/ 43 w 49"/>
                <a:gd name="T27" fmla="*/ 74 h 124"/>
                <a:gd name="T28" fmla="*/ 41 w 49"/>
                <a:gd name="T29" fmla="*/ 88 h 124"/>
                <a:gd name="T30" fmla="*/ 37 w 49"/>
                <a:gd name="T31" fmla="*/ 100 h 124"/>
                <a:gd name="T32" fmla="*/ 23 w 49"/>
                <a:gd name="T33" fmla="*/ 116 h 124"/>
                <a:gd name="T34" fmla="*/ 10 w 49"/>
                <a:gd name="T35"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124">
                  <a:moveTo>
                    <a:pt x="0" y="124"/>
                  </a:moveTo>
                  <a:lnTo>
                    <a:pt x="8" y="108"/>
                  </a:lnTo>
                  <a:lnTo>
                    <a:pt x="8" y="92"/>
                  </a:lnTo>
                  <a:lnTo>
                    <a:pt x="12" y="76"/>
                  </a:lnTo>
                  <a:lnTo>
                    <a:pt x="0" y="69"/>
                  </a:lnTo>
                  <a:lnTo>
                    <a:pt x="8" y="53"/>
                  </a:lnTo>
                  <a:lnTo>
                    <a:pt x="12" y="41"/>
                  </a:lnTo>
                  <a:lnTo>
                    <a:pt x="12" y="25"/>
                  </a:lnTo>
                  <a:lnTo>
                    <a:pt x="23" y="8"/>
                  </a:lnTo>
                  <a:lnTo>
                    <a:pt x="39" y="0"/>
                  </a:lnTo>
                  <a:lnTo>
                    <a:pt x="41" y="21"/>
                  </a:lnTo>
                  <a:lnTo>
                    <a:pt x="41" y="33"/>
                  </a:lnTo>
                  <a:lnTo>
                    <a:pt x="49" y="51"/>
                  </a:lnTo>
                  <a:lnTo>
                    <a:pt x="43" y="74"/>
                  </a:lnTo>
                  <a:lnTo>
                    <a:pt x="41" y="88"/>
                  </a:lnTo>
                  <a:lnTo>
                    <a:pt x="37" y="100"/>
                  </a:lnTo>
                  <a:lnTo>
                    <a:pt x="23" y="116"/>
                  </a:lnTo>
                  <a:lnTo>
                    <a:pt x="10" y="12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43" name="Freeform 451"/>
          <p:cNvSpPr>
            <a:spLocks/>
          </p:cNvSpPr>
          <p:nvPr/>
        </p:nvSpPr>
        <p:spPr bwMode="auto">
          <a:xfrm>
            <a:off x="2803525" y="2882478"/>
            <a:ext cx="53975" cy="52387"/>
          </a:xfrm>
          <a:custGeom>
            <a:avLst/>
            <a:gdLst>
              <a:gd name="T0" fmla="*/ 14 w 69"/>
              <a:gd name="T1" fmla="*/ 65 h 65"/>
              <a:gd name="T2" fmla="*/ 24 w 69"/>
              <a:gd name="T3" fmla="*/ 57 h 65"/>
              <a:gd name="T4" fmla="*/ 34 w 69"/>
              <a:gd name="T5" fmla="*/ 44 h 65"/>
              <a:gd name="T6" fmla="*/ 44 w 69"/>
              <a:gd name="T7" fmla="*/ 46 h 65"/>
              <a:gd name="T8" fmla="*/ 52 w 69"/>
              <a:gd name="T9" fmla="*/ 59 h 65"/>
              <a:gd name="T10" fmla="*/ 63 w 69"/>
              <a:gd name="T11" fmla="*/ 59 h 65"/>
              <a:gd name="T12" fmla="*/ 69 w 69"/>
              <a:gd name="T13" fmla="*/ 47 h 65"/>
              <a:gd name="T14" fmla="*/ 56 w 69"/>
              <a:gd name="T15" fmla="*/ 32 h 65"/>
              <a:gd name="T16" fmla="*/ 44 w 69"/>
              <a:gd name="T17" fmla="*/ 10 h 65"/>
              <a:gd name="T18" fmla="*/ 32 w 69"/>
              <a:gd name="T19" fmla="*/ 0 h 65"/>
              <a:gd name="T20" fmla="*/ 20 w 69"/>
              <a:gd name="T21" fmla="*/ 10 h 65"/>
              <a:gd name="T22" fmla="*/ 16 w 69"/>
              <a:gd name="T23" fmla="*/ 22 h 65"/>
              <a:gd name="T24" fmla="*/ 18 w 69"/>
              <a:gd name="T25" fmla="*/ 36 h 65"/>
              <a:gd name="T26" fmla="*/ 0 w 69"/>
              <a:gd name="T27" fmla="*/ 51 h 65"/>
              <a:gd name="T28" fmla="*/ 14 w 69"/>
              <a:gd name="T2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5">
                <a:moveTo>
                  <a:pt x="14" y="65"/>
                </a:moveTo>
                <a:lnTo>
                  <a:pt x="24" y="57"/>
                </a:lnTo>
                <a:lnTo>
                  <a:pt x="34" y="44"/>
                </a:lnTo>
                <a:lnTo>
                  <a:pt x="44" y="46"/>
                </a:lnTo>
                <a:lnTo>
                  <a:pt x="52" y="59"/>
                </a:lnTo>
                <a:lnTo>
                  <a:pt x="63" y="59"/>
                </a:lnTo>
                <a:lnTo>
                  <a:pt x="69" y="47"/>
                </a:lnTo>
                <a:lnTo>
                  <a:pt x="56" y="32"/>
                </a:lnTo>
                <a:lnTo>
                  <a:pt x="44" y="10"/>
                </a:lnTo>
                <a:lnTo>
                  <a:pt x="32" y="0"/>
                </a:lnTo>
                <a:lnTo>
                  <a:pt x="20" y="10"/>
                </a:lnTo>
                <a:lnTo>
                  <a:pt x="16" y="22"/>
                </a:lnTo>
                <a:lnTo>
                  <a:pt x="18" y="36"/>
                </a:lnTo>
                <a:lnTo>
                  <a:pt x="0" y="51"/>
                </a:lnTo>
                <a:lnTo>
                  <a:pt x="14" y="65"/>
                </a:lnTo>
                <a:close/>
              </a:path>
            </a:pathLst>
          </a:custGeom>
          <a:solidFill>
            <a:srgbClr val="FFFFFF"/>
          </a:solidFill>
          <a:ln w="9525">
            <a:solidFill>
              <a:srgbClr val="000000"/>
            </a:solidFill>
            <a:prstDash val="solid"/>
            <a:round/>
            <a:headEnd/>
            <a:tailEnd/>
          </a:ln>
        </p:spPr>
        <p:txBody>
          <a:bodyPr/>
          <a:lstStyle/>
          <a:p>
            <a:endParaRPr lang="cs-CZ"/>
          </a:p>
        </p:txBody>
      </p:sp>
      <p:sp>
        <p:nvSpPr>
          <p:cNvPr id="444" name="Freeform 452"/>
          <p:cNvSpPr>
            <a:spLocks/>
          </p:cNvSpPr>
          <p:nvPr/>
        </p:nvSpPr>
        <p:spPr bwMode="auto">
          <a:xfrm>
            <a:off x="2500313" y="2987253"/>
            <a:ext cx="23812" cy="31750"/>
          </a:xfrm>
          <a:custGeom>
            <a:avLst/>
            <a:gdLst>
              <a:gd name="T0" fmla="*/ 22 w 30"/>
              <a:gd name="T1" fmla="*/ 39 h 39"/>
              <a:gd name="T2" fmla="*/ 28 w 30"/>
              <a:gd name="T3" fmla="*/ 27 h 39"/>
              <a:gd name="T4" fmla="*/ 30 w 30"/>
              <a:gd name="T5" fmla="*/ 8 h 39"/>
              <a:gd name="T6" fmla="*/ 16 w 30"/>
              <a:gd name="T7" fmla="*/ 0 h 39"/>
              <a:gd name="T8" fmla="*/ 2 w 30"/>
              <a:gd name="T9" fmla="*/ 2 h 39"/>
              <a:gd name="T10" fmla="*/ 0 w 30"/>
              <a:gd name="T11" fmla="*/ 14 h 39"/>
              <a:gd name="T12" fmla="*/ 8 w 30"/>
              <a:gd name="T13" fmla="*/ 24 h 39"/>
              <a:gd name="T14" fmla="*/ 22 w 30"/>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39">
                <a:moveTo>
                  <a:pt x="22" y="39"/>
                </a:moveTo>
                <a:lnTo>
                  <a:pt x="28" y="27"/>
                </a:lnTo>
                <a:lnTo>
                  <a:pt x="30" y="8"/>
                </a:lnTo>
                <a:lnTo>
                  <a:pt x="16" y="0"/>
                </a:lnTo>
                <a:lnTo>
                  <a:pt x="2" y="2"/>
                </a:lnTo>
                <a:lnTo>
                  <a:pt x="0" y="14"/>
                </a:lnTo>
                <a:lnTo>
                  <a:pt x="8" y="24"/>
                </a:lnTo>
                <a:lnTo>
                  <a:pt x="22" y="39"/>
                </a:lnTo>
                <a:close/>
              </a:path>
            </a:pathLst>
          </a:custGeom>
          <a:solidFill>
            <a:srgbClr val="FFFFFF"/>
          </a:solidFill>
          <a:ln w="9525">
            <a:solidFill>
              <a:srgbClr val="000000"/>
            </a:solidFill>
            <a:prstDash val="solid"/>
            <a:round/>
            <a:headEnd/>
            <a:tailEnd/>
          </a:ln>
        </p:spPr>
        <p:txBody>
          <a:bodyPr/>
          <a:lstStyle/>
          <a:p>
            <a:endParaRPr lang="cs-CZ"/>
          </a:p>
        </p:txBody>
      </p:sp>
      <p:sp>
        <p:nvSpPr>
          <p:cNvPr id="445" name="Freeform 453"/>
          <p:cNvSpPr>
            <a:spLocks/>
          </p:cNvSpPr>
          <p:nvPr/>
        </p:nvSpPr>
        <p:spPr bwMode="auto">
          <a:xfrm>
            <a:off x="2536825" y="2917403"/>
            <a:ext cx="84138" cy="74612"/>
          </a:xfrm>
          <a:custGeom>
            <a:avLst/>
            <a:gdLst>
              <a:gd name="T0" fmla="*/ 7 w 106"/>
              <a:gd name="T1" fmla="*/ 94 h 94"/>
              <a:gd name="T2" fmla="*/ 27 w 106"/>
              <a:gd name="T3" fmla="*/ 82 h 94"/>
              <a:gd name="T4" fmla="*/ 37 w 106"/>
              <a:gd name="T5" fmla="*/ 64 h 94"/>
              <a:gd name="T6" fmla="*/ 62 w 106"/>
              <a:gd name="T7" fmla="*/ 70 h 94"/>
              <a:gd name="T8" fmla="*/ 70 w 106"/>
              <a:gd name="T9" fmla="*/ 57 h 94"/>
              <a:gd name="T10" fmla="*/ 74 w 106"/>
              <a:gd name="T11" fmla="*/ 37 h 94"/>
              <a:gd name="T12" fmla="*/ 96 w 106"/>
              <a:gd name="T13" fmla="*/ 35 h 94"/>
              <a:gd name="T14" fmla="*/ 90 w 106"/>
              <a:gd name="T15" fmla="*/ 11 h 94"/>
              <a:gd name="T16" fmla="*/ 106 w 106"/>
              <a:gd name="T17" fmla="*/ 5 h 94"/>
              <a:gd name="T18" fmla="*/ 70 w 106"/>
              <a:gd name="T19" fmla="*/ 0 h 94"/>
              <a:gd name="T20" fmla="*/ 60 w 106"/>
              <a:gd name="T21" fmla="*/ 7 h 94"/>
              <a:gd name="T22" fmla="*/ 49 w 106"/>
              <a:gd name="T23" fmla="*/ 7 h 94"/>
              <a:gd name="T24" fmla="*/ 37 w 106"/>
              <a:gd name="T25" fmla="*/ 29 h 94"/>
              <a:gd name="T26" fmla="*/ 21 w 106"/>
              <a:gd name="T27" fmla="*/ 17 h 94"/>
              <a:gd name="T28" fmla="*/ 17 w 106"/>
              <a:gd name="T29" fmla="*/ 33 h 94"/>
              <a:gd name="T30" fmla="*/ 7 w 106"/>
              <a:gd name="T31" fmla="*/ 49 h 94"/>
              <a:gd name="T32" fmla="*/ 13 w 106"/>
              <a:gd name="T33" fmla="*/ 66 h 94"/>
              <a:gd name="T34" fmla="*/ 0 w 106"/>
              <a:gd name="T35" fmla="*/ 78 h 94"/>
              <a:gd name="T36" fmla="*/ 7 w 106"/>
              <a:gd name="T3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94">
                <a:moveTo>
                  <a:pt x="7" y="94"/>
                </a:moveTo>
                <a:lnTo>
                  <a:pt x="27" y="82"/>
                </a:lnTo>
                <a:lnTo>
                  <a:pt x="37" y="64"/>
                </a:lnTo>
                <a:lnTo>
                  <a:pt x="62" y="70"/>
                </a:lnTo>
                <a:lnTo>
                  <a:pt x="70" y="57"/>
                </a:lnTo>
                <a:lnTo>
                  <a:pt x="74" y="37"/>
                </a:lnTo>
                <a:lnTo>
                  <a:pt x="96" y="35"/>
                </a:lnTo>
                <a:lnTo>
                  <a:pt x="90" y="11"/>
                </a:lnTo>
                <a:lnTo>
                  <a:pt x="106" y="5"/>
                </a:lnTo>
                <a:lnTo>
                  <a:pt x="70" y="0"/>
                </a:lnTo>
                <a:lnTo>
                  <a:pt x="60" y="7"/>
                </a:lnTo>
                <a:lnTo>
                  <a:pt x="49" y="7"/>
                </a:lnTo>
                <a:lnTo>
                  <a:pt x="37" y="29"/>
                </a:lnTo>
                <a:lnTo>
                  <a:pt x="21" y="17"/>
                </a:lnTo>
                <a:lnTo>
                  <a:pt x="17" y="33"/>
                </a:lnTo>
                <a:lnTo>
                  <a:pt x="7" y="49"/>
                </a:lnTo>
                <a:lnTo>
                  <a:pt x="13" y="66"/>
                </a:lnTo>
                <a:lnTo>
                  <a:pt x="0" y="78"/>
                </a:lnTo>
                <a:lnTo>
                  <a:pt x="7" y="94"/>
                </a:lnTo>
                <a:close/>
              </a:path>
            </a:pathLst>
          </a:custGeom>
          <a:solidFill>
            <a:srgbClr val="FFFFFF"/>
          </a:solidFill>
          <a:ln w="9525">
            <a:solidFill>
              <a:srgbClr val="000000"/>
            </a:solidFill>
            <a:prstDash val="solid"/>
            <a:round/>
            <a:headEnd/>
            <a:tailEnd/>
          </a:ln>
        </p:spPr>
        <p:txBody>
          <a:bodyPr/>
          <a:lstStyle/>
          <a:p>
            <a:endParaRPr lang="cs-CZ"/>
          </a:p>
        </p:txBody>
      </p:sp>
      <p:sp>
        <p:nvSpPr>
          <p:cNvPr id="446" name="Freeform 454"/>
          <p:cNvSpPr>
            <a:spLocks/>
          </p:cNvSpPr>
          <p:nvPr/>
        </p:nvSpPr>
        <p:spPr bwMode="auto">
          <a:xfrm>
            <a:off x="2540000" y="3007890"/>
            <a:ext cx="46038" cy="76200"/>
          </a:xfrm>
          <a:custGeom>
            <a:avLst/>
            <a:gdLst>
              <a:gd name="T0" fmla="*/ 26 w 59"/>
              <a:gd name="T1" fmla="*/ 96 h 96"/>
              <a:gd name="T2" fmla="*/ 59 w 59"/>
              <a:gd name="T3" fmla="*/ 96 h 96"/>
              <a:gd name="T4" fmla="*/ 57 w 59"/>
              <a:gd name="T5" fmla="*/ 21 h 96"/>
              <a:gd name="T6" fmla="*/ 40 w 59"/>
              <a:gd name="T7" fmla="*/ 0 h 96"/>
              <a:gd name="T8" fmla="*/ 28 w 59"/>
              <a:gd name="T9" fmla="*/ 21 h 96"/>
              <a:gd name="T10" fmla="*/ 10 w 59"/>
              <a:gd name="T11" fmla="*/ 15 h 96"/>
              <a:gd name="T12" fmla="*/ 0 w 59"/>
              <a:gd name="T13" fmla="*/ 29 h 96"/>
              <a:gd name="T14" fmla="*/ 8 w 59"/>
              <a:gd name="T15" fmla="*/ 43 h 96"/>
              <a:gd name="T16" fmla="*/ 20 w 59"/>
              <a:gd name="T17" fmla="*/ 55 h 96"/>
              <a:gd name="T18" fmla="*/ 26 w 59"/>
              <a:gd name="T1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96">
                <a:moveTo>
                  <a:pt x="26" y="96"/>
                </a:moveTo>
                <a:lnTo>
                  <a:pt x="59" y="96"/>
                </a:lnTo>
                <a:lnTo>
                  <a:pt x="57" y="21"/>
                </a:lnTo>
                <a:lnTo>
                  <a:pt x="40" y="0"/>
                </a:lnTo>
                <a:lnTo>
                  <a:pt x="28" y="21"/>
                </a:lnTo>
                <a:lnTo>
                  <a:pt x="10" y="15"/>
                </a:lnTo>
                <a:lnTo>
                  <a:pt x="0" y="29"/>
                </a:lnTo>
                <a:lnTo>
                  <a:pt x="8" y="43"/>
                </a:lnTo>
                <a:lnTo>
                  <a:pt x="20" y="55"/>
                </a:lnTo>
                <a:lnTo>
                  <a:pt x="26" y="96"/>
                </a:lnTo>
                <a:close/>
              </a:path>
            </a:pathLst>
          </a:custGeom>
          <a:solidFill>
            <a:srgbClr val="FFFFFF"/>
          </a:solidFill>
          <a:ln w="9525">
            <a:solidFill>
              <a:srgbClr val="000000"/>
            </a:solidFill>
            <a:prstDash val="solid"/>
            <a:round/>
            <a:headEnd/>
            <a:tailEnd/>
          </a:ln>
        </p:spPr>
        <p:txBody>
          <a:bodyPr/>
          <a:lstStyle/>
          <a:p>
            <a:endParaRPr lang="cs-CZ"/>
          </a:p>
        </p:txBody>
      </p:sp>
      <p:sp>
        <p:nvSpPr>
          <p:cNvPr id="447" name="Freeform 455"/>
          <p:cNvSpPr>
            <a:spLocks/>
          </p:cNvSpPr>
          <p:nvPr/>
        </p:nvSpPr>
        <p:spPr bwMode="auto">
          <a:xfrm>
            <a:off x="2506663" y="3149178"/>
            <a:ext cx="49212" cy="46037"/>
          </a:xfrm>
          <a:custGeom>
            <a:avLst/>
            <a:gdLst>
              <a:gd name="T0" fmla="*/ 39 w 61"/>
              <a:gd name="T1" fmla="*/ 0 h 57"/>
              <a:gd name="T2" fmla="*/ 61 w 61"/>
              <a:gd name="T3" fmla="*/ 26 h 57"/>
              <a:gd name="T4" fmla="*/ 61 w 61"/>
              <a:gd name="T5" fmla="*/ 44 h 57"/>
              <a:gd name="T6" fmla="*/ 39 w 61"/>
              <a:gd name="T7" fmla="*/ 57 h 57"/>
              <a:gd name="T8" fmla="*/ 10 w 61"/>
              <a:gd name="T9" fmla="*/ 53 h 57"/>
              <a:gd name="T10" fmla="*/ 0 w 61"/>
              <a:gd name="T11" fmla="*/ 44 h 57"/>
              <a:gd name="T12" fmla="*/ 28 w 61"/>
              <a:gd name="T13" fmla="*/ 44 h 57"/>
              <a:gd name="T14" fmla="*/ 38 w 61"/>
              <a:gd name="T15" fmla="*/ 30 h 57"/>
              <a:gd name="T16" fmla="*/ 30 w 61"/>
              <a:gd name="T17" fmla="*/ 14 h 57"/>
              <a:gd name="T18" fmla="*/ 39 w 61"/>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7">
                <a:moveTo>
                  <a:pt x="39" y="0"/>
                </a:moveTo>
                <a:lnTo>
                  <a:pt x="61" y="26"/>
                </a:lnTo>
                <a:lnTo>
                  <a:pt x="61" y="44"/>
                </a:lnTo>
                <a:lnTo>
                  <a:pt x="39" y="57"/>
                </a:lnTo>
                <a:lnTo>
                  <a:pt x="10" y="53"/>
                </a:lnTo>
                <a:lnTo>
                  <a:pt x="0" y="44"/>
                </a:lnTo>
                <a:lnTo>
                  <a:pt x="28" y="44"/>
                </a:lnTo>
                <a:lnTo>
                  <a:pt x="38" y="30"/>
                </a:lnTo>
                <a:lnTo>
                  <a:pt x="30" y="14"/>
                </a:lnTo>
                <a:lnTo>
                  <a:pt x="39" y="0"/>
                </a:lnTo>
                <a:close/>
              </a:path>
            </a:pathLst>
          </a:custGeom>
          <a:solidFill>
            <a:srgbClr val="FFFFFF"/>
          </a:solidFill>
          <a:ln w="9525">
            <a:solidFill>
              <a:srgbClr val="000000"/>
            </a:solidFill>
            <a:prstDash val="solid"/>
            <a:round/>
            <a:headEnd/>
            <a:tailEnd/>
          </a:ln>
        </p:spPr>
        <p:txBody>
          <a:bodyPr/>
          <a:lstStyle/>
          <a:p>
            <a:endParaRPr lang="cs-CZ"/>
          </a:p>
        </p:txBody>
      </p:sp>
      <p:grpSp>
        <p:nvGrpSpPr>
          <p:cNvPr id="448" name="Group 456"/>
          <p:cNvGrpSpPr>
            <a:grpSpLocks/>
          </p:cNvGrpSpPr>
          <p:nvPr/>
        </p:nvGrpSpPr>
        <p:grpSpPr bwMode="auto">
          <a:xfrm>
            <a:off x="2517775" y="3249190"/>
            <a:ext cx="65088" cy="76200"/>
            <a:chOff x="1578" y="2111"/>
            <a:chExt cx="41" cy="48"/>
          </a:xfrm>
        </p:grpSpPr>
        <p:sp>
          <p:nvSpPr>
            <p:cNvPr id="449" name="Freeform 457"/>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 name="T30" fmla="*/ 51 w 82"/>
                <a:gd name="T31"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lnTo>
                    <a:pt x="51"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50" name="Freeform 458"/>
            <p:cNvSpPr>
              <a:spLocks/>
            </p:cNvSpPr>
            <p:nvPr/>
          </p:nvSpPr>
          <p:spPr bwMode="auto">
            <a:xfrm>
              <a:off x="1578" y="2111"/>
              <a:ext cx="41" cy="48"/>
            </a:xfrm>
            <a:custGeom>
              <a:avLst/>
              <a:gdLst>
                <a:gd name="T0" fmla="*/ 51 w 82"/>
                <a:gd name="T1" fmla="*/ 8 h 96"/>
                <a:gd name="T2" fmla="*/ 25 w 82"/>
                <a:gd name="T3" fmla="*/ 41 h 96"/>
                <a:gd name="T4" fmla="*/ 10 w 82"/>
                <a:gd name="T5" fmla="*/ 63 h 96"/>
                <a:gd name="T6" fmla="*/ 0 w 82"/>
                <a:gd name="T7" fmla="*/ 83 h 96"/>
                <a:gd name="T8" fmla="*/ 8 w 82"/>
                <a:gd name="T9" fmla="*/ 96 h 96"/>
                <a:gd name="T10" fmla="*/ 27 w 82"/>
                <a:gd name="T11" fmla="*/ 85 h 96"/>
                <a:gd name="T12" fmla="*/ 39 w 82"/>
                <a:gd name="T13" fmla="*/ 67 h 96"/>
                <a:gd name="T14" fmla="*/ 47 w 82"/>
                <a:gd name="T15" fmla="*/ 55 h 96"/>
                <a:gd name="T16" fmla="*/ 49 w 82"/>
                <a:gd name="T17" fmla="*/ 67 h 96"/>
                <a:gd name="T18" fmla="*/ 49 w 82"/>
                <a:gd name="T19" fmla="*/ 85 h 96"/>
                <a:gd name="T20" fmla="*/ 75 w 82"/>
                <a:gd name="T21" fmla="*/ 75 h 96"/>
                <a:gd name="T22" fmla="*/ 82 w 82"/>
                <a:gd name="T23" fmla="*/ 49 h 96"/>
                <a:gd name="T24" fmla="*/ 69 w 82"/>
                <a:gd name="T25" fmla="*/ 35 h 96"/>
                <a:gd name="T26" fmla="*/ 63 w 82"/>
                <a:gd name="T27" fmla="*/ 20 h 96"/>
                <a:gd name="T28" fmla="*/ 63 w 82"/>
                <a:gd name="T2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 h="96">
                  <a:moveTo>
                    <a:pt x="51" y="8"/>
                  </a:moveTo>
                  <a:lnTo>
                    <a:pt x="25" y="41"/>
                  </a:lnTo>
                  <a:lnTo>
                    <a:pt x="10" y="63"/>
                  </a:lnTo>
                  <a:lnTo>
                    <a:pt x="0" y="83"/>
                  </a:lnTo>
                  <a:lnTo>
                    <a:pt x="8" y="96"/>
                  </a:lnTo>
                  <a:lnTo>
                    <a:pt x="27" y="85"/>
                  </a:lnTo>
                  <a:lnTo>
                    <a:pt x="39" y="67"/>
                  </a:lnTo>
                  <a:lnTo>
                    <a:pt x="47" y="55"/>
                  </a:lnTo>
                  <a:lnTo>
                    <a:pt x="49" y="67"/>
                  </a:lnTo>
                  <a:lnTo>
                    <a:pt x="49" y="85"/>
                  </a:lnTo>
                  <a:lnTo>
                    <a:pt x="75" y="75"/>
                  </a:lnTo>
                  <a:lnTo>
                    <a:pt x="82" y="49"/>
                  </a:lnTo>
                  <a:lnTo>
                    <a:pt x="69" y="35"/>
                  </a:lnTo>
                  <a:lnTo>
                    <a:pt x="63" y="20"/>
                  </a:lnTo>
                  <a:lnTo>
                    <a:pt x="63" y="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51" name="Freeform 459"/>
          <p:cNvSpPr>
            <a:spLocks/>
          </p:cNvSpPr>
          <p:nvPr/>
        </p:nvSpPr>
        <p:spPr bwMode="auto">
          <a:xfrm>
            <a:off x="2478088" y="3220615"/>
            <a:ext cx="71437" cy="53975"/>
          </a:xfrm>
          <a:custGeom>
            <a:avLst/>
            <a:gdLst>
              <a:gd name="T0" fmla="*/ 23 w 88"/>
              <a:gd name="T1" fmla="*/ 66 h 66"/>
              <a:gd name="T2" fmla="*/ 29 w 88"/>
              <a:gd name="T3" fmla="*/ 57 h 66"/>
              <a:gd name="T4" fmla="*/ 43 w 88"/>
              <a:gd name="T5" fmla="*/ 57 h 66"/>
              <a:gd name="T6" fmla="*/ 49 w 88"/>
              <a:gd name="T7" fmla="*/ 37 h 66"/>
              <a:gd name="T8" fmla="*/ 67 w 88"/>
              <a:gd name="T9" fmla="*/ 37 h 66"/>
              <a:gd name="T10" fmla="*/ 82 w 88"/>
              <a:gd name="T11" fmla="*/ 13 h 66"/>
              <a:gd name="T12" fmla="*/ 88 w 88"/>
              <a:gd name="T13" fmla="*/ 0 h 66"/>
              <a:gd name="T14" fmla="*/ 71 w 88"/>
              <a:gd name="T15" fmla="*/ 6 h 66"/>
              <a:gd name="T16" fmla="*/ 47 w 88"/>
              <a:gd name="T17" fmla="*/ 27 h 66"/>
              <a:gd name="T18" fmla="*/ 41 w 88"/>
              <a:gd name="T19" fmla="*/ 13 h 66"/>
              <a:gd name="T20" fmla="*/ 27 w 88"/>
              <a:gd name="T21" fmla="*/ 21 h 66"/>
              <a:gd name="T22" fmla="*/ 8 w 88"/>
              <a:gd name="T23" fmla="*/ 19 h 66"/>
              <a:gd name="T24" fmla="*/ 0 w 88"/>
              <a:gd name="T25" fmla="*/ 33 h 66"/>
              <a:gd name="T26" fmla="*/ 4 w 88"/>
              <a:gd name="T27" fmla="*/ 45 h 66"/>
              <a:gd name="T28" fmla="*/ 14 w 88"/>
              <a:gd name="T29" fmla="*/ 49 h 66"/>
              <a:gd name="T30" fmla="*/ 23 w 88"/>
              <a:gd name="T3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6">
                <a:moveTo>
                  <a:pt x="23" y="66"/>
                </a:moveTo>
                <a:lnTo>
                  <a:pt x="29" y="57"/>
                </a:lnTo>
                <a:lnTo>
                  <a:pt x="43" y="57"/>
                </a:lnTo>
                <a:lnTo>
                  <a:pt x="49" y="37"/>
                </a:lnTo>
                <a:lnTo>
                  <a:pt x="67" y="37"/>
                </a:lnTo>
                <a:lnTo>
                  <a:pt x="82" y="13"/>
                </a:lnTo>
                <a:lnTo>
                  <a:pt x="88" y="0"/>
                </a:lnTo>
                <a:lnTo>
                  <a:pt x="71" y="6"/>
                </a:lnTo>
                <a:lnTo>
                  <a:pt x="47" y="27"/>
                </a:lnTo>
                <a:lnTo>
                  <a:pt x="41" y="13"/>
                </a:lnTo>
                <a:lnTo>
                  <a:pt x="27" y="21"/>
                </a:lnTo>
                <a:lnTo>
                  <a:pt x="8" y="19"/>
                </a:lnTo>
                <a:lnTo>
                  <a:pt x="0" y="33"/>
                </a:lnTo>
                <a:lnTo>
                  <a:pt x="4" y="45"/>
                </a:lnTo>
                <a:lnTo>
                  <a:pt x="14" y="49"/>
                </a:lnTo>
                <a:lnTo>
                  <a:pt x="23" y="66"/>
                </a:lnTo>
                <a:close/>
              </a:path>
            </a:pathLst>
          </a:custGeom>
          <a:solidFill>
            <a:srgbClr val="FFFFFF"/>
          </a:solidFill>
          <a:ln w="9525">
            <a:solidFill>
              <a:srgbClr val="000000"/>
            </a:solidFill>
            <a:prstDash val="solid"/>
            <a:round/>
            <a:headEnd/>
            <a:tailEnd/>
          </a:ln>
        </p:spPr>
        <p:txBody>
          <a:bodyPr/>
          <a:lstStyle/>
          <a:p>
            <a:endParaRPr lang="cs-CZ"/>
          </a:p>
        </p:txBody>
      </p:sp>
      <p:sp>
        <p:nvSpPr>
          <p:cNvPr id="452" name="Freeform 460"/>
          <p:cNvSpPr>
            <a:spLocks/>
          </p:cNvSpPr>
          <p:nvPr/>
        </p:nvSpPr>
        <p:spPr bwMode="auto">
          <a:xfrm>
            <a:off x="2546350" y="3463503"/>
            <a:ext cx="39688" cy="39687"/>
          </a:xfrm>
          <a:custGeom>
            <a:avLst/>
            <a:gdLst>
              <a:gd name="T0" fmla="*/ 4 w 51"/>
              <a:gd name="T1" fmla="*/ 51 h 51"/>
              <a:gd name="T2" fmla="*/ 20 w 51"/>
              <a:gd name="T3" fmla="*/ 36 h 51"/>
              <a:gd name="T4" fmla="*/ 38 w 51"/>
              <a:gd name="T5" fmla="*/ 39 h 51"/>
              <a:gd name="T6" fmla="*/ 49 w 51"/>
              <a:gd name="T7" fmla="*/ 26 h 51"/>
              <a:gd name="T8" fmla="*/ 51 w 51"/>
              <a:gd name="T9" fmla="*/ 0 h 51"/>
              <a:gd name="T10" fmla="*/ 26 w 51"/>
              <a:gd name="T11" fmla="*/ 6 h 51"/>
              <a:gd name="T12" fmla="*/ 8 w 51"/>
              <a:gd name="T13" fmla="*/ 20 h 51"/>
              <a:gd name="T14" fmla="*/ 0 w 51"/>
              <a:gd name="T15" fmla="*/ 32 h 51"/>
              <a:gd name="T16" fmla="*/ 4 w 51"/>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4" y="51"/>
                </a:moveTo>
                <a:lnTo>
                  <a:pt x="20" y="36"/>
                </a:lnTo>
                <a:lnTo>
                  <a:pt x="38" y="39"/>
                </a:lnTo>
                <a:lnTo>
                  <a:pt x="49" y="26"/>
                </a:lnTo>
                <a:lnTo>
                  <a:pt x="51" y="0"/>
                </a:lnTo>
                <a:lnTo>
                  <a:pt x="26" y="6"/>
                </a:lnTo>
                <a:lnTo>
                  <a:pt x="8" y="20"/>
                </a:lnTo>
                <a:lnTo>
                  <a:pt x="0" y="32"/>
                </a:lnTo>
                <a:lnTo>
                  <a:pt x="4" y="51"/>
                </a:lnTo>
                <a:close/>
              </a:path>
            </a:pathLst>
          </a:custGeom>
          <a:solidFill>
            <a:srgbClr val="FFFFFF"/>
          </a:solidFill>
          <a:ln w="9525">
            <a:solidFill>
              <a:srgbClr val="000000"/>
            </a:solidFill>
            <a:prstDash val="solid"/>
            <a:round/>
            <a:headEnd/>
            <a:tailEnd/>
          </a:ln>
        </p:spPr>
        <p:txBody>
          <a:bodyPr/>
          <a:lstStyle/>
          <a:p>
            <a:endParaRPr lang="cs-CZ"/>
          </a:p>
        </p:txBody>
      </p:sp>
      <p:sp>
        <p:nvSpPr>
          <p:cNvPr id="453" name="Freeform 461"/>
          <p:cNvSpPr>
            <a:spLocks/>
          </p:cNvSpPr>
          <p:nvPr/>
        </p:nvSpPr>
        <p:spPr bwMode="auto">
          <a:xfrm>
            <a:off x="4213225" y="3203153"/>
            <a:ext cx="55563" cy="123825"/>
          </a:xfrm>
          <a:custGeom>
            <a:avLst/>
            <a:gdLst>
              <a:gd name="T0" fmla="*/ 10 w 70"/>
              <a:gd name="T1" fmla="*/ 157 h 157"/>
              <a:gd name="T2" fmla="*/ 67 w 70"/>
              <a:gd name="T3" fmla="*/ 69 h 157"/>
              <a:gd name="T4" fmla="*/ 61 w 70"/>
              <a:gd name="T5" fmla="*/ 32 h 157"/>
              <a:gd name="T6" fmla="*/ 70 w 70"/>
              <a:gd name="T7" fmla="*/ 4 h 157"/>
              <a:gd name="T8" fmla="*/ 37 w 70"/>
              <a:gd name="T9" fmla="*/ 0 h 157"/>
              <a:gd name="T10" fmla="*/ 6 w 70"/>
              <a:gd name="T11" fmla="*/ 41 h 157"/>
              <a:gd name="T12" fmla="*/ 0 w 70"/>
              <a:gd name="T13" fmla="*/ 89 h 157"/>
              <a:gd name="T14" fmla="*/ 0 w 70"/>
              <a:gd name="T15" fmla="*/ 116 h 157"/>
              <a:gd name="T16" fmla="*/ 10 w 70"/>
              <a:gd name="T17"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57">
                <a:moveTo>
                  <a:pt x="10" y="157"/>
                </a:moveTo>
                <a:lnTo>
                  <a:pt x="67" y="69"/>
                </a:lnTo>
                <a:lnTo>
                  <a:pt x="61" y="32"/>
                </a:lnTo>
                <a:lnTo>
                  <a:pt x="70" y="4"/>
                </a:lnTo>
                <a:lnTo>
                  <a:pt x="37" y="0"/>
                </a:lnTo>
                <a:lnTo>
                  <a:pt x="6" y="41"/>
                </a:lnTo>
                <a:lnTo>
                  <a:pt x="0" y="89"/>
                </a:lnTo>
                <a:lnTo>
                  <a:pt x="0" y="116"/>
                </a:lnTo>
                <a:lnTo>
                  <a:pt x="10" y="157"/>
                </a:lnTo>
                <a:close/>
              </a:path>
            </a:pathLst>
          </a:custGeom>
          <a:solidFill>
            <a:srgbClr val="FFFFFF"/>
          </a:solidFill>
          <a:ln w="9525">
            <a:solidFill>
              <a:srgbClr val="000000"/>
            </a:solidFill>
            <a:prstDash val="solid"/>
            <a:round/>
            <a:headEnd/>
            <a:tailEnd/>
          </a:ln>
        </p:spPr>
        <p:txBody>
          <a:bodyPr/>
          <a:lstStyle/>
          <a:p>
            <a:endParaRPr lang="cs-CZ"/>
          </a:p>
        </p:txBody>
      </p:sp>
      <p:sp>
        <p:nvSpPr>
          <p:cNvPr id="454" name="Freeform 462"/>
          <p:cNvSpPr>
            <a:spLocks/>
          </p:cNvSpPr>
          <p:nvPr/>
        </p:nvSpPr>
        <p:spPr bwMode="auto">
          <a:xfrm>
            <a:off x="4462463" y="3087265"/>
            <a:ext cx="90487" cy="84138"/>
          </a:xfrm>
          <a:custGeom>
            <a:avLst/>
            <a:gdLst>
              <a:gd name="T0" fmla="*/ 24 w 114"/>
              <a:gd name="T1" fmla="*/ 106 h 106"/>
              <a:gd name="T2" fmla="*/ 49 w 114"/>
              <a:gd name="T3" fmla="*/ 49 h 106"/>
              <a:gd name="T4" fmla="*/ 79 w 114"/>
              <a:gd name="T5" fmla="*/ 59 h 106"/>
              <a:gd name="T6" fmla="*/ 114 w 114"/>
              <a:gd name="T7" fmla="*/ 15 h 106"/>
              <a:gd name="T8" fmla="*/ 92 w 114"/>
              <a:gd name="T9" fmla="*/ 0 h 106"/>
              <a:gd name="T10" fmla="*/ 65 w 114"/>
              <a:gd name="T11" fmla="*/ 0 h 106"/>
              <a:gd name="T12" fmla="*/ 37 w 114"/>
              <a:gd name="T13" fmla="*/ 0 h 106"/>
              <a:gd name="T14" fmla="*/ 24 w 114"/>
              <a:gd name="T15" fmla="*/ 15 h 106"/>
              <a:gd name="T16" fmla="*/ 0 w 114"/>
              <a:gd name="T17" fmla="*/ 25 h 106"/>
              <a:gd name="T18" fmla="*/ 8 w 114"/>
              <a:gd name="T19" fmla="*/ 59 h 106"/>
              <a:gd name="T20" fmla="*/ 32 w 114"/>
              <a:gd name="T21" fmla="*/ 82 h 106"/>
              <a:gd name="T22" fmla="*/ 24 w 114"/>
              <a:gd name="T2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106">
                <a:moveTo>
                  <a:pt x="24" y="106"/>
                </a:moveTo>
                <a:lnTo>
                  <a:pt x="49" y="49"/>
                </a:lnTo>
                <a:lnTo>
                  <a:pt x="79" y="59"/>
                </a:lnTo>
                <a:lnTo>
                  <a:pt x="114" y="15"/>
                </a:lnTo>
                <a:lnTo>
                  <a:pt x="92" y="0"/>
                </a:lnTo>
                <a:lnTo>
                  <a:pt x="65" y="0"/>
                </a:lnTo>
                <a:lnTo>
                  <a:pt x="37" y="0"/>
                </a:lnTo>
                <a:lnTo>
                  <a:pt x="24" y="15"/>
                </a:lnTo>
                <a:lnTo>
                  <a:pt x="0" y="25"/>
                </a:lnTo>
                <a:lnTo>
                  <a:pt x="8" y="59"/>
                </a:lnTo>
                <a:lnTo>
                  <a:pt x="32" y="82"/>
                </a:lnTo>
                <a:lnTo>
                  <a:pt x="24" y="106"/>
                </a:lnTo>
                <a:close/>
              </a:path>
            </a:pathLst>
          </a:custGeom>
          <a:solidFill>
            <a:srgbClr val="FFFFFF"/>
          </a:solidFill>
          <a:ln w="9525">
            <a:solidFill>
              <a:srgbClr val="000000"/>
            </a:solidFill>
            <a:prstDash val="solid"/>
            <a:round/>
            <a:headEnd/>
            <a:tailEnd/>
          </a:ln>
        </p:spPr>
        <p:txBody>
          <a:bodyPr/>
          <a:lstStyle/>
          <a:p>
            <a:endParaRPr lang="cs-CZ"/>
          </a:p>
        </p:txBody>
      </p:sp>
      <p:sp>
        <p:nvSpPr>
          <p:cNvPr id="455" name="Freeform 463"/>
          <p:cNvSpPr>
            <a:spLocks/>
          </p:cNvSpPr>
          <p:nvPr/>
        </p:nvSpPr>
        <p:spPr bwMode="auto">
          <a:xfrm>
            <a:off x="4470400" y="3025353"/>
            <a:ext cx="57150" cy="55562"/>
          </a:xfrm>
          <a:custGeom>
            <a:avLst/>
            <a:gdLst>
              <a:gd name="T0" fmla="*/ 0 w 73"/>
              <a:gd name="T1" fmla="*/ 37 h 71"/>
              <a:gd name="T2" fmla="*/ 31 w 73"/>
              <a:gd name="T3" fmla="*/ 51 h 71"/>
              <a:gd name="T4" fmla="*/ 41 w 73"/>
              <a:gd name="T5" fmla="*/ 71 h 71"/>
              <a:gd name="T6" fmla="*/ 69 w 73"/>
              <a:gd name="T7" fmla="*/ 39 h 71"/>
              <a:gd name="T8" fmla="*/ 73 w 73"/>
              <a:gd name="T9" fmla="*/ 16 h 71"/>
              <a:gd name="T10" fmla="*/ 35 w 73"/>
              <a:gd name="T11" fmla="*/ 0 h 71"/>
              <a:gd name="T12" fmla="*/ 22 w 73"/>
              <a:gd name="T13" fmla="*/ 20 h 71"/>
              <a:gd name="T14" fmla="*/ 0 w 73"/>
              <a:gd name="T15" fmla="*/ 37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1">
                <a:moveTo>
                  <a:pt x="0" y="37"/>
                </a:moveTo>
                <a:lnTo>
                  <a:pt x="31" y="51"/>
                </a:lnTo>
                <a:lnTo>
                  <a:pt x="41" y="71"/>
                </a:lnTo>
                <a:lnTo>
                  <a:pt x="69" y="39"/>
                </a:lnTo>
                <a:lnTo>
                  <a:pt x="73" y="16"/>
                </a:lnTo>
                <a:lnTo>
                  <a:pt x="35" y="0"/>
                </a:lnTo>
                <a:lnTo>
                  <a:pt x="22" y="20"/>
                </a:lnTo>
                <a:lnTo>
                  <a:pt x="0" y="37"/>
                </a:lnTo>
                <a:close/>
              </a:path>
            </a:pathLst>
          </a:custGeom>
          <a:solidFill>
            <a:srgbClr val="FFFFFF"/>
          </a:solidFill>
          <a:ln w="9525">
            <a:solidFill>
              <a:srgbClr val="000000"/>
            </a:solidFill>
            <a:prstDash val="solid"/>
            <a:round/>
            <a:headEnd/>
            <a:tailEnd/>
          </a:ln>
        </p:spPr>
        <p:txBody>
          <a:bodyPr/>
          <a:lstStyle/>
          <a:p>
            <a:endParaRPr lang="cs-CZ"/>
          </a:p>
        </p:txBody>
      </p:sp>
      <p:sp>
        <p:nvSpPr>
          <p:cNvPr id="456" name="Freeform 464"/>
          <p:cNvSpPr>
            <a:spLocks/>
          </p:cNvSpPr>
          <p:nvPr/>
        </p:nvSpPr>
        <p:spPr bwMode="auto">
          <a:xfrm>
            <a:off x="4300538" y="2874540"/>
            <a:ext cx="30162" cy="46038"/>
          </a:xfrm>
          <a:custGeom>
            <a:avLst/>
            <a:gdLst>
              <a:gd name="T0" fmla="*/ 37 w 37"/>
              <a:gd name="T1" fmla="*/ 56 h 56"/>
              <a:gd name="T2" fmla="*/ 19 w 37"/>
              <a:gd name="T3" fmla="*/ 39 h 56"/>
              <a:gd name="T4" fmla="*/ 31 w 37"/>
              <a:gd name="T5" fmla="*/ 19 h 56"/>
              <a:gd name="T6" fmla="*/ 19 w 37"/>
              <a:gd name="T7" fmla="*/ 0 h 56"/>
              <a:gd name="T8" fmla="*/ 4 w 37"/>
              <a:gd name="T9" fmla="*/ 19 h 56"/>
              <a:gd name="T10" fmla="*/ 0 w 37"/>
              <a:gd name="T11" fmla="*/ 47 h 56"/>
              <a:gd name="T12" fmla="*/ 37 w 37"/>
              <a:gd name="T13" fmla="*/ 56 h 56"/>
            </a:gdLst>
            <a:ahLst/>
            <a:cxnLst>
              <a:cxn ang="0">
                <a:pos x="T0" y="T1"/>
              </a:cxn>
              <a:cxn ang="0">
                <a:pos x="T2" y="T3"/>
              </a:cxn>
              <a:cxn ang="0">
                <a:pos x="T4" y="T5"/>
              </a:cxn>
              <a:cxn ang="0">
                <a:pos x="T6" y="T7"/>
              </a:cxn>
              <a:cxn ang="0">
                <a:pos x="T8" y="T9"/>
              </a:cxn>
              <a:cxn ang="0">
                <a:pos x="T10" y="T11"/>
              </a:cxn>
              <a:cxn ang="0">
                <a:pos x="T12" y="T13"/>
              </a:cxn>
            </a:cxnLst>
            <a:rect l="0" t="0" r="r" b="b"/>
            <a:pathLst>
              <a:path w="37" h="56">
                <a:moveTo>
                  <a:pt x="37" y="56"/>
                </a:moveTo>
                <a:lnTo>
                  <a:pt x="19" y="39"/>
                </a:lnTo>
                <a:lnTo>
                  <a:pt x="31" y="19"/>
                </a:lnTo>
                <a:lnTo>
                  <a:pt x="19" y="0"/>
                </a:lnTo>
                <a:lnTo>
                  <a:pt x="4" y="19"/>
                </a:lnTo>
                <a:lnTo>
                  <a:pt x="0" y="47"/>
                </a:lnTo>
                <a:lnTo>
                  <a:pt x="37" y="56"/>
                </a:lnTo>
                <a:close/>
              </a:path>
            </a:pathLst>
          </a:custGeom>
          <a:solidFill>
            <a:srgbClr val="FFFFFF"/>
          </a:solidFill>
          <a:ln w="9525">
            <a:solidFill>
              <a:srgbClr val="000000"/>
            </a:solidFill>
            <a:prstDash val="solid"/>
            <a:round/>
            <a:headEnd/>
            <a:tailEnd/>
          </a:ln>
        </p:spPr>
        <p:txBody>
          <a:bodyPr/>
          <a:lstStyle/>
          <a:p>
            <a:endParaRPr lang="cs-CZ"/>
          </a:p>
        </p:txBody>
      </p:sp>
      <p:sp>
        <p:nvSpPr>
          <p:cNvPr id="457" name="Freeform 465"/>
          <p:cNvSpPr>
            <a:spLocks/>
          </p:cNvSpPr>
          <p:nvPr/>
        </p:nvSpPr>
        <p:spPr bwMode="auto">
          <a:xfrm>
            <a:off x="3506788" y="3219028"/>
            <a:ext cx="204787" cy="358775"/>
          </a:xfrm>
          <a:custGeom>
            <a:avLst/>
            <a:gdLst>
              <a:gd name="T0" fmla="*/ 47 w 257"/>
              <a:gd name="T1" fmla="*/ 434 h 452"/>
              <a:gd name="T2" fmla="*/ 98 w 257"/>
              <a:gd name="T3" fmla="*/ 452 h 452"/>
              <a:gd name="T4" fmla="*/ 110 w 257"/>
              <a:gd name="T5" fmla="*/ 446 h 452"/>
              <a:gd name="T6" fmla="*/ 120 w 257"/>
              <a:gd name="T7" fmla="*/ 430 h 452"/>
              <a:gd name="T8" fmla="*/ 100 w 257"/>
              <a:gd name="T9" fmla="*/ 416 h 452"/>
              <a:gd name="T10" fmla="*/ 129 w 257"/>
              <a:gd name="T11" fmla="*/ 395 h 452"/>
              <a:gd name="T12" fmla="*/ 125 w 257"/>
              <a:gd name="T13" fmla="*/ 353 h 452"/>
              <a:gd name="T14" fmla="*/ 145 w 257"/>
              <a:gd name="T15" fmla="*/ 342 h 452"/>
              <a:gd name="T16" fmla="*/ 147 w 257"/>
              <a:gd name="T17" fmla="*/ 314 h 452"/>
              <a:gd name="T18" fmla="*/ 169 w 257"/>
              <a:gd name="T19" fmla="*/ 314 h 452"/>
              <a:gd name="T20" fmla="*/ 171 w 257"/>
              <a:gd name="T21" fmla="*/ 292 h 452"/>
              <a:gd name="T22" fmla="*/ 200 w 257"/>
              <a:gd name="T23" fmla="*/ 294 h 452"/>
              <a:gd name="T24" fmla="*/ 198 w 257"/>
              <a:gd name="T25" fmla="*/ 247 h 452"/>
              <a:gd name="T26" fmla="*/ 222 w 257"/>
              <a:gd name="T27" fmla="*/ 257 h 452"/>
              <a:gd name="T28" fmla="*/ 230 w 257"/>
              <a:gd name="T29" fmla="*/ 241 h 452"/>
              <a:gd name="T30" fmla="*/ 253 w 257"/>
              <a:gd name="T31" fmla="*/ 232 h 452"/>
              <a:gd name="T32" fmla="*/ 257 w 257"/>
              <a:gd name="T33" fmla="*/ 198 h 452"/>
              <a:gd name="T34" fmla="*/ 226 w 257"/>
              <a:gd name="T35" fmla="*/ 200 h 452"/>
              <a:gd name="T36" fmla="*/ 212 w 257"/>
              <a:gd name="T37" fmla="*/ 212 h 452"/>
              <a:gd name="T38" fmla="*/ 194 w 257"/>
              <a:gd name="T39" fmla="*/ 208 h 452"/>
              <a:gd name="T40" fmla="*/ 196 w 257"/>
              <a:gd name="T41" fmla="*/ 192 h 452"/>
              <a:gd name="T42" fmla="*/ 202 w 257"/>
              <a:gd name="T43" fmla="*/ 171 h 452"/>
              <a:gd name="T44" fmla="*/ 200 w 257"/>
              <a:gd name="T45" fmla="*/ 159 h 452"/>
              <a:gd name="T46" fmla="*/ 202 w 257"/>
              <a:gd name="T47" fmla="*/ 145 h 452"/>
              <a:gd name="T48" fmla="*/ 208 w 257"/>
              <a:gd name="T49" fmla="*/ 108 h 452"/>
              <a:gd name="T50" fmla="*/ 218 w 257"/>
              <a:gd name="T51" fmla="*/ 100 h 452"/>
              <a:gd name="T52" fmla="*/ 228 w 257"/>
              <a:gd name="T53" fmla="*/ 84 h 452"/>
              <a:gd name="T54" fmla="*/ 233 w 257"/>
              <a:gd name="T55" fmla="*/ 70 h 452"/>
              <a:gd name="T56" fmla="*/ 232 w 257"/>
              <a:gd name="T57" fmla="*/ 0 h 452"/>
              <a:gd name="T58" fmla="*/ 198 w 257"/>
              <a:gd name="T59" fmla="*/ 19 h 452"/>
              <a:gd name="T60" fmla="*/ 157 w 257"/>
              <a:gd name="T61" fmla="*/ 43 h 452"/>
              <a:gd name="T62" fmla="*/ 151 w 257"/>
              <a:gd name="T63" fmla="*/ 72 h 452"/>
              <a:gd name="T64" fmla="*/ 127 w 257"/>
              <a:gd name="T65" fmla="*/ 82 h 452"/>
              <a:gd name="T66" fmla="*/ 66 w 257"/>
              <a:gd name="T67" fmla="*/ 88 h 452"/>
              <a:gd name="T68" fmla="*/ 49 w 257"/>
              <a:gd name="T69" fmla="*/ 106 h 452"/>
              <a:gd name="T70" fmla="*/ 39 w 257"/>
              <a:gd name="T71" fmla="*/ 122 h 452"/>
              <a:gd name="T72" fmla="*/ 31 w 257"/>
              <a:gd name="T73" fmla="*/ 147 h 452"/>
              <a:gd name="T74" fmla="*/ 19 w 257"/>
              <a:gd name="T75" fmla="*/ 155 h 452"/>
              <a:gd name="T76" fmla="*/ 15 w 257"/>
              <a:gd name="T77" fmla="*/ 182 h 452"/>
              <a:gd name="T78" fmla="*/ 8 w 257"/>
              <a:gd name="T79" fmla="*/ 194 h 452"/>
              <a:gd name="T80" fmla="*/ 4 w 257"/>
              <a:gd name="T81" fmla="*/ 220 h 452"/>
              <a:gd name="T82" fmla="*/ 0 w 257"/>
              <a:gd name="T83" fmla="*/ 328 h 452"/>
              <a:gd name="T84" fmla="*/ 23 w 257"/>
              <a:gd name="T85" fmla="*/ 334 h 452"/>
              <a:gd name="T86" fmla="*/ 25 w 257"/>
              <a:gd name="T87" fmla="*/ 353 h 452"/>
              <a:gd name="T88" fmla="*/ 43 w 257"/>
              <a:gd name="T89" fmla="*/ 363 h 452"/>
              <a:gd name="T90" fmla="*/ 47 w 257"/>
              <a:gd name="T91" fmla="*/ 43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7" h="452">
                <a:moveTo>
                  <a:pt x="47" y="434"/>
                </a:moveTo>
                <a:lnTo>
                  <a:pt x="98" y="452"/>
                </a:lnTo>
                <a:lnTo>
                  <a:pt x="110" y="446"/>
                </a:lnTo>
                <a:lnTo>
                  <a:pt x="120" y="430"/>
                </a:lnTo>
                <a:lnTo>
                  <a:pt x="100" y="416"/>
                </a:lnTo>
                <a:lnTo>
                  <a:pt x="129" y="395"/>
                </a:lnTo>
                <a:lnTo>
                  <a:pt x="125" y="353"/>
                </a:lnTo>
                <a:lnTo>
                  <a:pt x="145" y="342"/>
                </a:lnTo>
                <a:lnTo>
                  <a:pt x="147" y="314"/>
                </a:lnTo>
                <a:lnTo>
                  <a:pt x="169" y="314"/>
                </a:lnTo>
                <a:lnTo>
                  <a:pt x="171" y="292"/>
                </a:lnTo>
                <a:lnTo>
                  <a:pt x="200" y="294"/>
                </a:lnTo>
                <a:lnTo>
                  <a:pt x="198" y="247"/>
                </a:lnTo>
                <a:lnTo>
                  <a:pt x="222" y="257"/>
                </a:lnTo>
                <a:lnTo>
                  <a:pt x="230" y="241"/>
                </a:lnTo>
                <a:lnTo>
                  <a:pt x="253" y="232"/>
                </a:lnTo>
                <a:lnTo>
                  <a:pt x="257" y="198"/>
                </a:lnTo>
                <a:lnTo>
                  <a:pt x="226" y="200"/>
                </a:lnTo>
                <a:lnTo>
                  <a:pt x="212" y="212"/>
                </a:lnTo>
                <a:lnTo>
                  <a:pt x="194" y="208"/>
                </a:lnTo>
                <a:lnTo>
                  <a:pt x="196" y="192"/>
                </a:lnTo>
                <a:lnTo>
                  <a:pt x="202" y="171"/>
                </a:lnTo>
                <a:lnTo>
                  <a:pt x="200" y="159"/>
                </a:lnTo>
                <a:lnTo>
                  <a:pt x="202" y="145"/>
                </a:lnTo>
                <a:lnTo>
                  <a:pt x="208" y="108"/>
                </a:lnTo>
                <a:lnTo>
                  <a:pt x="218" y="100"/>
                </a:lnTo>
                <a:lnTo>
                  <a:pt x="228" y="84"/>
                </a:lnTo>
                <a:lnTo>
                  <a:pt x="233" y="70"/>
                </a:lnTo>
                <a:lnTo>
                  <a:pt x="232" y="0"/>
                </a:lnTo>
                <a:lnTo>
                  <a:pt x="198" y="19"/>
                </a:lnTo>
                <a:lnTo>
                  <a:pt x="157" y="43"/>
                </a:lnTo>
                <a:lnTo>
                  <a:pt x="151" y="72"/>
                </a:lnTo>
                <a:lnTo>
                  <a:pt x="127" y="82"/>
                </a:lnTo>
                <a:lnTo>
                  <a:pt x="66" y="88"/>
                </a:lnTo>
                <a:lnTo>
                  <a:pt x="49" y="106"/>
                </a:lnTo>
                <a:lnTo>
                  <a:pt x="39" y="122"/>
                </a:lnTo>
                <a:lnTo>
                  <a:pt x="31" y="147"/>
                </a:lnTo>
                <a:lnTo>
                  <a:pt x="19" y="155"/>
                </a:lnTo>
                <a:lnTo>
                  <a:pt x="15" y="182"/>
                </a:lnTo>
                <a:lnTo>
                  <a:pt x="8" y="194"/>
                </a:lnTo>
                <a:lnTo>
                  <a:pt x="4" y="220"/>
                </a:lnTo>
                <a:lnTo>
                  <a:pt x="0" y="328"/>
                </a:lnTo>
                <a:lnTo>
                  <a:pt x="23" y="334"/>
                </a:lnTo>
                <a:lnTo>
                  <a:pt x="25" y="353"/>
                </a:lnTo>
                <a:lnTo>
                  <a:pt x="43" y="363"/>
                </a:lnTo>
                <a:lnTo>
                  <a:pt x="47" y="434"/>
                </a:lnTo>
                <a:close/>
              </a:path>
            </a:pathLst>
          </a:custGeom>
          <a:solidFill>
            <a:srgbClr val="FA0000"/>
          </a:solidFill>
          <a:ln w="9525">
            <a:solidFill>
              <a:srgbClr val="000000"/>
            </a:solidFill>
            <a:prstDash val="solid"/>
            <a:round/>
            <a:headEnd/>
            <a:tailEnd/>
          </a:ln>
        </p:spPr>
        <p:txBody>
          <a:bodyPr/>
          <a:lstStyle/>
          <a:p>
            <a:endParaRPr lang="cs-CZ"/>
          </a:p>
        </p:txBody>
      </p:sp>
      <p:sp>
        <p:nvSpPr>
          <p:cNvPr id="458" name="Freeform 466"/>
          <p:cNvSpPr>
            <a:spLocks/>
          </p:cNvSpPr>
          <p:nvPr/>
        </p:nvSpPr>
        <p:spPr bwMode="auto">
          <a:xfrm>
            <a:off x="3714750" y="3433340"/>
            <a:ext cx="133350" cy="141288"/>
          </a:xfrm>
          <a:custGeom>
            <a:avLst/>
            <a:gdLst>
              <a:gd name="T0" fmla="*/ 167 w 167"/>
              <a:gd name="T1" fmla="*/ 63 h 179"/>
              <a:gd name="T2" fmla="*/ 143 w 167"/>
              <a:gd name="T3" fmla="*/ 65 h 179"/>
              <a:gd name="T4" fmla="*/ 124 w 167"/>
              <a:gd name="T5" fmla="*/ 88 h 179"/>
              <a:gd name="T6" fmla="*/ 122 w 167"/>
              <a:gd name="T7" fmla="*/ 106 h 179"/>
              <a:gd name="T8" fmla="*/ 136 w 167"/>
              <a:gd name="T9" fmla="*/ 132 h 179"/>
              <a:gd name="T10" fmla="*/ 108 w 167"/>
              <a:gd name="T11" fmla="*/ 145 h 179"/>
              <a:gd name="T12" fmla="*/ 106 w 167"/>
              <a:gd name="T13" fmla="*/ 175 h 179"/>
              <a:gd name="T14" fmla="*/ 92 w 167"/>
              <a:gd name="T15" fmla="*/ 179 h 179"/>
              <a:gd name="T16" fmla="*/ 69 w 167"/>
              <a:gd name="T17" fmla="*/ 167 h 179"/>
              <a:gd name="T18" fmla="*/ 59 w 167"/>
              <a:gd name="T19" fmla="*/ 147 h 179"/>
              <a:gd name="T20" fmla="*/ 31 w 167"/>
              <a:gd name="T21" fmla="*/ 145 h 179"/>
              <a:gd name="T22" fmla="*/ 20 w 167"/>
              <a:gd name="T23" fmla="*/ 130 h 179"/>
              <a:gd name="T24" fmla="*/ 12 w 167"/>
              <a:gd name="T25" fmla="*/ 116 h 179"/>
              <a:gd name="T26" fmla="*/ 22 w 167"/>
              <a:gd name="T27" fmla="*/ 96 h 179"/>
              <a:gd name="T28" fmla="*/ 20 w 167"/>
              <a:gd name="T29" fmla="*/ 80 h 179"/>
              <a:gd name="T30" fmla="*/ 0 w 167"/>
              <a:gd name="T31" fmla="*/ 59 h 179"/>
              <a:gd name="T32" fmla="*/ 14 w 167"/>
              <a:gd name="T33" fmla="*/ 51 h 179"/>
              <a:gd name="T34" fmla="*/ 31 w 167"/>
              <a:gd name="T35" fmla="*/ 55 h 179"/>
              <a:gd name="T36" fmla="*/ 45 w 167"/>
              <a:gd name="T37" fmla="*/ 41 h 179"/>
              <a:gd name="T38" fmla="*/ 45 w 167"/>
              <a:gd name="T39" fmla="*/ 12 h 179"/>
              <a:gd name="T40" fmla="*/ 81 w 167"/>
              <a:gd name="T41" fmla="*/ 21 h 179"/>
              <a:gd name="T42" fmla="*/ 79 w 167"/>
              <a:gd name="T43" fmla="*/ 33 h 179"/>
              <a:gd name="T44" fmla="*/ 77 w 167"/>
              <a:gd name="T45" fmla="*/ 57 h 179"/>
              <a:gd name="T46" fmla="*/ 92 w 167"/>
              <a:gd name="T47" fmla="*/ 55 h 179"/>
              <a:gd name="T48" fmla="*/ 102 w 167"/>
              <a:gd name="T49" fmla="*/ 51 h 179"/>
              <a:gd name="T50" fmla="*/ 96 w 167"/>
              <a:gd name="T51" fmla="*/ 12 h 179"/>
              <a:gd name="T52" fmla="*/ 116 w 167"/>
              <a:gd name="T53" fmla="*/ 0 h 179"/>
              <a:gd name="T54" fmla="*/ 132 w 167"/>
              <a:gd name="T55" fmla="*/ 2 h 179"/>
              <a:gd name="T56" fmla="*/ 167 w 167"/>
              <a:gd name="T57" fmla="*/ 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179">
                <a:moveTo>
                  <a:pt x="167" y="63"/>
                </a:moveTo>
                <a:lnTo>
                  <a:pt x="143" y="65"/>
                </a:lnTo>
                <a:lnTo>
                  <a:pt x="124" y="88"/>
                </a:lnTo>
                <a:lnTo>
                  <a:pt x="122" y="106"/>
                </a:lnTo>
                <a:lnTo>
                  <a:pt x="136" y="132"/>
                </a:lnTo>
                <a:lnTo>
                  <a:pt x="108" y="145"/>
                </a:lnTo>
                <a:lnTo>
                  <a:pt x="106" y="175"/>
                </a:lnTo>
                <a:lnTo>
                  <a:pt x="92" y="179"/>
                </a:lnTo>
                <a:lnTo>
                  <a:pt x="69" y="167"/>
                </a:lnTo>
                <a:lnTo>
                  <a:pt x="59" y="147"/>
                </a:lnTo>
                <a:lnTo>
                  <a:pt x="31" y="145"/>
                </a:lnTo>
                <a:lnTo>
                  <a:pt x="20" y="130"/>
                </a:lnTo>
                <a:lnTo>
                  <a:pt x="12" y="116"/>
                </a:lnTo>
                <a:lnTo>
                  <a:pt x="22" y="96"/>
                </a:lnTo>
                <a:lnTo>
                  <a:pt x="20" y="80"/>
                </a:lnTo>
                <a:lnTo>
                  <a:pt x="0" y="59"/>
                </a:lnTo>
                <a:lnTo>
                  <a:pt x="14" y="51"/>
                </a:lnTo>
                <a:lnTo>
                  <a:pt x="31" y="55"/>
                </a:lnTo>
                <a:lnTo>
                  <a:pt x="45" y="41"/>
                </a:lnTo>
                <a:lnTo>
                  <a:pt x="45" y="12"/>
                </a:lnTo>
                <a:lnTo>
                  <a:pt x="81" y="21"/>
                </a:lnTo>
                <a:lnTo>
                  <a:pt x="79" y="33"/>
                </a:lnTo>
                <a:lnTo>
                  <a:pt x="77" y="57"/>
                </a:lnTo>
                <a:lnTo>
                  <a:pt x="92" y="55"/>
                </a:lnTo>
                <a:lnTo>
                  <a:pt x="102" y="51"/>
                </a:lnTo>
                <a:lnTo>
                  <a:pt x="96" y="12"/>
                </a:lnTo>
                <a:lnTo>
                  <a:pt x="116" y="0"/>
                </a:lnTo>
                <a:lnTo>
                  <a:pt x="132" y="2"/>
                </a:lnTo>
                <a:lnTo>
                  <a:pt x="167" y="63"/>
                </a:lnTo>
                <a:close/>
              </a:path>
            </a:pathLst>
          </a:custGeom>
          <a:solidFill>
            <a:srgbClr val="FFFFFF"/>
          </a:solidFill>
          <a:ln w="9525">
            <a:solidFill>
              <a:srgbClr val="000000"/>
            </a:solidFill>
            <a:prstDash val="solid"/>
            <a:round/>
            <a:headEnd/>
            <a:tailEnd/>
          </a:ln>
        </p:spPr>
        <p:txBody>
          <a:bodyPr/>
          <a:lstStyle/>
          <a:p>
            <a:endParaRPr lang="cs-CZ"/>
          </a:p>
        </p:txBody>
      </p:sp>
      <p:sp>
        <p:nvSpPr>
          <p:cNvPr id="459" name="Freeform 467"/>
          <p:cNvSpPr>
            <a:spLocks/>
          </p:cNvSpPr>
          <p:nvPr/>
        </p:nvSpPr>
        <p:spPr bwMode="auto">
          <a:xfrm>
            <a:off x="3770313" y="3574628"/>
            <a:ext cx="31750" cy="55562"/>
          </a:xfrm>
          <a:custGeom>
            <a:avLst/>
            <a:gdLst>
              <a:gd name="T0" fmla="*/ 17 w 39"/>
              <a:gd name="T1" fmla="*/ 68 h 68"/>
              <a:gd name="T2" fmla="*/ 23 w 39"/>
              <a:gd name="T3" fmla="*/ 35 h 68"/>
              <a:gd name="T4" fmla="*/ 39 w 39"/>
              <a:gd name="T5" fmla="*/ 31 h 68"/>
              <a:gd name="T6" fmla="*/ 29 w 39"/>
              <a:gd name="T7" fmla="*/ 13 h 68"/>
              <a:gd name="T8" fmla="*/ 17 w 39"/>
              <a:gd name="T9" fmla="*/ 0 h 68"/>
              <a:gd name="T10" fmla="*/ 0 w 39"/>
              <a:gd name="T11" fmla="*/ 6 h 68"/>
              <a:gd name="T12" fmla="*/ 6 w 39"/>
              <a:gd name="T13" fmla="*/ 23 h 68"/>
              <a:gd name="T14" fmla="*/ 2 w 39"/>
              <a:gd name="T15" fmla="*/ 37 h 68"/>
              <a:gd name="T16" fmla="*/ 17 w 39"/>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68">
                <a:moveTo>
                  <a:pt x="17" y="68"/>
                </a:moveTo>
                <a:lnTo>
                  <a:pt x="23" y="35"/>
                </a:lnTo>
                <a:lnTo>
                  <a:pt x="39" y="31"/>
                </a:lnTo>
                <a:lnTo>
                  <a:pt x="29" y="13"/>
                </a:lnTo>
                <a:lnTo>
                  <a:pt x="17" y="0"/>
                </a:lnTo>
                <a:lnTo>
                  <a:pt x="0" y="6"/>
                </a:lnTo>
                <a:lnTo>
                  <a:pt x="6" y="23"/>
                </a:lnTo>
                <a:lnTo>
                  <a:pt x="2" y="37"/>
                </a:lnTo>
                <a:lnTo>
                  <a:pt x="17" y="68"/>
                </a:lnTo>
                <a:close/>
              </a:path>
            </a:pathLst>
          </a:custGeom>
          <a:solidFill>
            <a:srgbClr val="FFFFFF"/>
          </a:solidFill>
          <a:ln w="9525">
            <a:solidFill>
              <a:srgbClr val="000000"/>
            </a:solidFill>
            <a:prstDash val="solid"/>
            <a:round/>
            <a:headEnd/>
            <a:tailEnd/>
          </a:ln>
        </p:spPr>
        <p:txBody>
          <a:bodyPr/>
          <a:lstStyle/>
          <a:p>
            <a:endParaRPr lang="cs-CZ"/>
          </a:p>
        </p:txBody>
      </p:sp>
      <p:sp>
        <p:nvSpPr>
          <p:cNvPr id="460" name="Freeform 468"/>
          <p:cNvSpPr>
            <a:spLocks/>
          </p:cNvSpPr>
          <p:nvPr/>
        </p:nvSpPr>
        <p:spPr bwMode="auto">
          <a:xfrm>
            <a:off x="3719513" y="3576215"/>
            <a:ext cx="52387" cy="50800"/>
          </a:xfrm>
          <a:custGeom>
            <a:avLst/>
            <a:gdLst>
              <a:gd name="T0" fmla="*/ 65 w 65"/>
              <a:gd name="T1" fmla="*/ 47 h 62"/>
              <a:gd name="T2" fmla="*/ 49 w 65"/>
              <a:gd name="T3" fmla="*/ 51 h 62"/>
              <a:gd name="T4" fmla="*/ 31 w 65"/>
              <a:gd name="T5" fmla="*/ 62 h 62"/>
              <a:gd name="T6" fmla="*/ 19 w 65"/>
              <a:gd name="T7" fmla="*/ 47 h 62"/>
              <a:gd name="T8" fmla="*/ 0 w 65"/>
              <a:gd name="T9" fmla="*/ 37 h 62"/>
              <a:gd name="T10" fmla="*/ 0 w 65"/>
              <a:gd name="T11" fmla="*/ 11 h 62"/>
              <a:gd name="T12" fmla="*/ 21 w 65"/>
              <a:gd name="T13" fmla="*/ 0 h 62"/>
              <a:gd name="T14" fmla="*/ 33 w 65"/>
              <a:gd name="T15" fmla="*/ 15 h 62"/>
              <a:gd name="T16" fmla="*/ 53 w 65"/>
              <a:gd name="T17" fmla="*/ 15 h 62"/>
              <a:gd name="T18" fmla="*/ 65 w 65"/>
              <a:gd name="T19" fmla="*/ 29 h 62"/>
              <a:gd name="T20" fmla="*/ 65 w 65"/>
              <a:gd name="T21" fmla="*/ 4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62">
                <a:moveTo>
                  <a:pt x="65" y="47"/>
                </a:moveTo>
                <a:lnTo>
                  <a:pt x="49" y="51"/>
                </a:lnTo>
                <a:lnTo>
                  <a:pt x="31" y="62"/>
                </a:lnTo>
                <a:lnTo>
                  <a:pt x="19" y="47"/>
                </a:lnTo>
                <a:lnTo>
                  <a:pt x="0" y="37"/>
                </a:lnTo>
                <a:lnTo>
                  <a:pt x="0" y="11"/>
                </a:lnTo>
                <a:lnTo>
                  <a:pt x="21" y="0"/>
                </a:lnTo>
                <a:lnTo>
                  <a:pt x="33" y="15"/>
                </a:lnTo>
                <a:lnTo>
                  <a:pt x="53" y="15"/>
                </a:lnTo>
                <a:lnTo>
                  <a:pt x="65" y="29"/>
                </a:lnTo>
                <a:lnTo>
                  <a:pt x="65" y="47"/>
                </a:lnTo>
                <a:close/>
              </a:path>
            </a:pathLst>
          </a:custGeom>
          <a:solidFill>
            <a:srgbClr val="FFFFFF"/>
          </a:solidFill>
          <a:ln w="9525">
            <a:solidFill>
              <a:srgbClr val="000000"/>
            </a:solidFill>
            <a:prstDash val="solid"/>
            <a:round/>
            <a:headEnd/>
            <a:tailEnd/>
          </a:ln>
        </p:spPr>
        <p:txBody>
          <a:bodyPr/>
          <a:lstStyle/>
          <a:p>
            <a:endParaRPr lang="cs-CZ"/>
          </a:p>
        </p:txBody>
      </p:sp>
      <p:sp>
        <p:nvSpPr>
          <p:cNvPr id="461" name="Freeform 469"/>
          <p:cNvSpPr>
            <a:spLocks/>
          </p:cNvSpPr>
          <p:nvPr/>
        </p:nvSpPr>
        <p:spPr bwMode="auto">
          <a:xfrm>
            <a:off x="3625850" y="3492078"/>
            <a:ext cx="85725" cy="115887"/>
          </a:xfrm>
          <a:custGeom>
            <a:avLst/>
            <a:gdLst>
              <a:gd name="T0" fmla="*/ 86 w 106"/>
              <a:gd name="T1" fmla="*/ 145 h 145"/>
              <a:gd name="T2" fmla="*/ 96 w 106"/>
              <a:gd name="T3" fmla="*/ 119 h 145"/>
              <a:gd name="T4" fmla="*/ 96 w 106"/>
              <a:gd name="T5" fmla="*/ 102 h 145"/>
              <a:gd name="T6" fmla="*/ 106 w 106"/>
              <a:gd name="T7" fmla="*/ 100 h 145"/>
              <a:gd name="T8" fmla="*/ 100 w 106"/>
              <a:gd name="T9" fmla="*/ 62 h 145"/>
              <a:gd name="T10" fmla="*/ 92 w 106"/>
              <a:gd name="T11" fmla="*/ 51 h 145"/>
              <a:gd name="T12" fmla="*/ 84 w 106"/>
              <a:gd name="T13" fmla="*/ 25 h 145"/>
              <a:gd name="T14" fmla="*/ 88 w 106"/>
              <a:gd name="T15" fmla="*/ 11 h 145"/>
              <a:gd name="T16" fmla="*/ 75 w 106"/>
              <a:gd name="T17" fmla="*/ 1 h 145"/>
              <a:gd name="T18" fmla="*/ 59 w 106"/>
              <a:gd name="T19" fmla="*/ 5 h 145"/>
              <a:gd name="T20" fmla="*/ 33 w 106"/>
              <a:gd name="T21" fmla="*/ 0 h 145"/>
              <a:gd name="T22" fmla="*/ 22 w 106"/>
              <a:gd name="T23" fmla="*/ 9 h 145"/>
              <a:gd name="T24" fmla="*/ 2 w 106"/>
              <a:gd name="T25" fmla="*/ 7 h 145"/>
              <a:gd name="T26" fmla="*/ 0 w 106"/>
              <a:gd name="T27" fmla="*/ 37 h 145"/>
              <a:gd name="T28" fmla="*/ 8 w 106"/>
              <a:gd name="T29" fmla="*/ 49 h 145"/>
              <a:gd name="T30" fmla="*/ 12 w 106"/>
              <a:gd name="T31" fmla="*/ 58 h 145"/>
              <a:gd name="T32" fmla="*/ 31 w 106"/>
              <a:gd name="T33" fmla="*/ 70 h 145"/>
              <a:gd name="T34" fmla="*/ 31 w 106"/>
              <a:gd name="T35" fmla="*/ 86 h 145"/>
              <a:gd name="T36" fmla="*/ 59 w 106"/>
              <a:gd name="T37" fmla="*/ 84 h 145"/>
              <a:gd name="T38" fmla="*/ 77 w 106"/>
              <a:gd name="T39" fmla="*/ 90 h 145"/>
              <a:gd name="T40" fmla="*/ 88 w 106"/>
              <a:gd name="T41" fmla="*/ 92 h 145"/>
              <a:gd name="T42" fmla="*/ 77 w 106"/>
              <a:gd name="T43" fmla="*/ 117 h 145"/>
              <a:gd name="T44" fmla="*/ 86 w 106"/>
              <a:gd name="T45" fmla="*/ 14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145">
                <a:moveTo>
                  <a:pt x="86" y="145"/>
                </a:moveTo>
                <a:lnTo>
                  <a:pt x="96" y="119"/>
                </a:lnTo>
                <a:lnTo>
                  <a:pt x="96" y="102"/>
                </a:lnTo>
                <a:lnTo>
                  <a:pt x="106" y="100"/>
                </a:lnTo>
                <a:lnTo>
                  <a:pt x="100" y="62"/>
                </a:lnTo>
                <a:lnTo>
                  <a:pt x="92" y="51"/>
                </a:lnTo>
                <a:lnTo>
                  <a:pt x="84" y="25"/>
                </a:lnTo>
                <a:lnTo>
                  <a:pt x="88" y="11"/>
                </a:lnTo>
                <a:lnTo>
                  <a:pt x="75" y="1"/>
                </a:lnTo>
                <a:lnTo>
                  <a:pt x="59" y="5"/>
                </a:lnTo>
                <a:lnTo>
                  <a:pt x="33" y="0"/>
                </a:lnTo>
                <a:lnTo>
                  <a:pt x="22" y="9"/>
                </a:lnTo>
                <a:lnTo>
                  <a:pt x="2" y="7"/>
                </a:lnTo>
                <a:lnTo>
                  <a:pt x="0" y="37"/>
                </a:lnTo>
                <a:lnTo>
                  <a:pt x="8" y="49"/>
                </a:lnTo>
                <a:lnTo>
                  <a:pt x="12" y="58"/>
                </a:lnTo>
                <a:lnTo>
                  <a:pt x="31" y="70"/>
                </a:lnTo>
                <a:lnTo>
                  <a:pt x="31" y="86"/>
                </a:lnTo>
                <a:lnTo>
                  <a:pt x="59" y="84"/>
                </a:lnTo>
                <a:lnTo>
                  <a:pt x="77" y="90"/>
                </a:lnTo>
                <a:lnTo>
                  <a:pt x="88" y="92"/>
                </a:lnTo>
                <a:lnTo>
                  <a:pt x="77" y="117"/>
                </a:lnTo>
                <a:lnTo>
                  <a:pt x="86" y="145"/>
                </a:lnTo>
                <a:close/>
              </a:path>
            </a:pathLst>
          </a:custGeom>
          <a:solidFill>
            <a:srgbClr val="FFFFFF"/>
          </a:solidFill>
          <a:ln w="9525">
            <a:solidFill>
              <a:srgbClr val="000000"/>
            </a:solidFill>
            <a:prstDash val="solid"/>
            <a:round/>
            <a:headEnd/>
            <a:tailEnd/>
          </a:ln>
        </p:spPr>
        <p:txBody>
          <a:bodyPr/>
          <a:lstStyle/>
          <a:p>
            <a:endParaRPr lang="cs-CZ"/>
          </a:p>
        </p:txBody>
      </p:sp>
      <p:sp>
        <p:nvSpPr>
          <p:cNvPr id="462" name="Oval 470"/>
          <p:cNvSpPr>
            <a:spLocks noChangeArrowheads="1"/>
          </p:cNvSpPr>
          <p:nvPr/>
        </p:nvSpPr>
        <p:spPr bwMode="auto">
          <a:xfrm>
            <a:off x="3821113" y="3488903"/>
            <a:ext cx="23812" cy="23812"/>
          </a:xfrm>
          <a:prstGeom prst="ellipse">
            <a:avLst/>
          </a:prstGeom>
          <a:solidFill>
            <a:srgbClr val="FFFFFF"/>
          </a:solidFill>
          <a:ln w="9525">
            <a:solidFill>
              <a:srgbClr val="000000"/>
            </a:solidFill>
            <a:round/>
            <a:headEnd/>
            <a:tailEnd/>
          </a:ln>
        </p:spPr>
        <p:txBody>
          <a:bodyPr/>
          <a:lstStyle/>
          <a:p>
            <a:endParaRPr lang="cs-CZ"/>
          </a:p>
        </p:txBody>
      </p:sp>
      <p:grpSp>
        <p:nvGrpSpPr>
          <p:cNvPr id="463" name="Group 471"/>
          <p:cNvGrpSpPr>
            <a:grpSpLocks/>
          </p:cNvGrpSpPr>
          <p:nvPr/>
        </p:nvGrpSpPr>
        <p:grpSpPr bwMode="auto">
          <a:xfrm>
            <a:off x="4089400" y="3271415"/>
            <a:ext cx="57150" cy="138113"/>
            <a:chOff x="2568" y="2125"/>
            <a:chExt cx="36" cy="87"/>
          </a:xfrm>
        </p:grpSpPr>
        <p:sp>
          <p:nvSpPr>
            <p:cNvPr id="464" name="Freeform 472"/>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 name="T24" fmla="*/ 0 w 70"/>
                <a:gd name="T25" fmla="*/ 12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lnTo>
                    <a:pt x="0" y="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65" name="Freeform 473"/>
            <p:cNvSpPr>
              <a:spLocks/>
            </p:cNvSpPr>
            <p:nvPr/>
          </p:nvSpPr>
          <p:spPr bwMode="auto">
            <a:xfrm>
              <a:off x="2568" y="2125"/>
              <a:ext cx="36" cy="87"/>
            </a:xfrm>
            <a:custGeom>
              <a:avLst/>
              <a:gdLst>
                <a:gd name="T0" fmla="*/ 0 w 70"/>
                <a:gd name="T1" fmla="*/ 127 h 174"/>
                <a:gd name="T2" fmla="*/ 11 w 70"/>
                <a:gd name="T3" fmla="*/ 153 h 174"/>
                <a:gd name="T4" fmla="*/ 7 w 70"/>
                <a:gd name="T5" fmla="*/ 174 h 174"/>
                <a:gd name="T6" fmla="*/ 37 w 70"/>
                <a:gd name="T7" fmla="*/ 141 h 174"/>
                <a:gd name="T8" fmla="*/ 41 w 70"/>
                <a:gd name="T9" fmla="*/ 100 h 174"/>
                <a:gd name="T10" fmla="*/ 49 w 70"/>
                <a:gd name="T11" fmla="*/ 74 h 174"/>
                <a:gd name="T12" fmla="*/ 55 w 70"/>
                <a:gd name="T13" fmla="*/ 49 h 174"/>
                <a:gd name="T14" fmla="*/ 70 w 70"/>
                <a:gd name="T15" fmla="*/ 15 h 174"/>
                <a:gd name="T16" fmla="*/ 58 w 70"/>
                <a:gd name="T17" fmla="*/ 0 h 174"/>
                <a:gd name="T18" fmla="*/ 41 w 70"/>
                <a:gd name="T19" fmla="*/ 41 h 174"/>
                <a:gd name="T20" fmla="*/ 27 w 70"/>
                <a:gd name="T21" fmla="*/ 74 h 174"/>
                <a:gd name="T22" fmla="*/ 15 w 70"/>
                <a:gd name="T23" fmla="*/ 9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 h="174">
                  <a:moveTo>
                    <a:pt x="0" y="127"/>
                  </a:moveTo>
                  <a:lnTo>
                    <a:pt x="11" y="153"/>
                  </a:lnTo>
                  <a:lnTo>
                    <a:pt x="7" y="174"/>
                  </a:lnTo>
                  <a:lnTo>
                    <a:pt x="37" y="141"/>
                  </a:lnTo>
                  <a:lnTo>
                    <a:pt x="41" y="100"/>
                  </a:lnTo>
                  <a:lnTo>
                    <a:pt x="49" y="74"/>
                  </a:lnTo>
                  <a:lnTo>
                    <a:pt x="55" y="49"/>
                  </a:lnTo>
                  <a:lnTo>
                    <a:pt x="70" y="15"/>
                  </a:lnTo>
                  <a:lnTo>
                    <a:pt x="58" y="0"/>
                  </a:lnTo>
                  <a:lnTo>
                    <a:pt x="41" y="41"/>
                  </a:lnTo>
                  <a:lnTo>
                    <a:pt x="27" y="74"/>
                  </a:lnTo>
                  <a:lnTo>
                    <a:pt x="15" y="9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grpSp>
        <p:nvGrpSpPr>
          <p:cNvPr id="466" name="Group 474"/>
          <p:cNvGrpSpPr>
            <a:grpSpLocks/>
          </p:cNvGrpSpPr>
          <p:nvPr/>
        </p:nvGrpSpPr>
        <p:grpSpPr bwMode="auto">
          <a:xfrm>
            <a:off x="3963988" y="1756940"/>
            <a:ext cx="133350" cy="139700"/>
            <a:chOff x="2489" y="1171"/>
            <a:chExt cx="84" cy="88"/>
          </a:xfrm>
        </p:grpSpPr>
        <p:sp>
          <p:nvSpPr>
            <p:cNvPr id="467" name="Freeform 475"/>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 name="T60" fmla="*/ 134 w 169"/>
                <a:gd name="T61" fmla="*/ 11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lnTo>
                    <a:pt x="134"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68" name="Freeform 476"/>
            <p:cNvSpPr>
              <a:spLocks/>
            </p:cNvSpPr>
            <p:nvPr/>
          </p:nvSpPr>
          <p:spPr bwMode="auto">
            <a:xfrm>
              <a:off x="2489" y="1171"/>
              <a:ext cx="84" cy="88"/>
            </a:xfrm>
            <a:custGeom>
              <a:avLst/>
              <a:gdLst>
                <a:gd name="T0" fmla="*/ 134 w 169"/>
                <a:gd name="T1" fmla="*/ 110 h 177"/>
                <a:gd name="T2" fmla="*/ 118 w 169"/>
                <a:gd name="T3" fmla="*/ 128 h 177"/>
                <a:gd name="T4" fmla="*/ 93 w 169"/>
                <a:gd name="T5" fmla="*/ 151 h 177"/>
                <a:gd name="T6" fmla="*/ 73 w 169"/>
                <a:gd name="T7" fmla="*/ 143 h 177"/>
                <a:gd name="T8" fmla="*/ 49 w 169"/>
                <a:gd name="T9" fmla="*/ 163 h 177"/>
                <a:gd name="T10" fmla="*/ 32 w 169"/>
                <a:gd name="T11" fmla="*/ 167 h 177"/>
                <a:gd name="T12" fmla="*/ 0 w 169"/>
                <a:gd name="T13" fmla="*/ 177 h 177"/>
                <a:gd name="T14" fmla="*/ 14 w 169"/>
                <a:gd name="T15" fmla="*/ 145 h 177"/>
                <a:gd name="T16" fmla="*/ 38 w 169"/>
                <a:gd name="T17" fmla="*/ 135 h 177"/>
                <a:gd name="T18" fmla="*/ 63 w 169"/>
                <a:gd name="T19" fmla="*/ 128 h 177"/>
                <a:gd name="T20" fmla="*/ 53 w 169"/>
                <a:gd name="T21" fmla="*/ 108 h 177"/>
                <a:gd name="T22" fmla="*/ 26 w 169"/>
                <a:gd name="T23" fmla="*/ 108 h 177"/>
                <a:gd name="T24" fmla="*/ 16 w 169"/>
                <a:gd name="T25" fmla="*/ 86 h 177"/>
                <a:gd name="T26" fmla="*/ 42 w 169"/>
                <a:gd name="T27" fmla="*/ 57 h 177"/>
                <a:gd name="T28" fmla="*/ 63 w 169"/>
                <a:gd name="T29" fmla="*/ 53 h 177"/>
                <a:gd name="T30" fmla="*/ 85 w 169"/>
                <a:gd name="T31" fmla="*/ 80 h 177"/>
                <a:gd name="T32" fmla="*/ 93 w 169"/>
                <a:gd name="T33" fmla="*/ 59 h 177"/>
                <a:gd name="T34" fmla="*/ 95 w 169"/>
                <a:gd name="T35" fmla="*/ 8 h 177"/>
                <a:gd name="T36" fmla="*/ 110 w 169"/>
                <a:gd name="T37" fmla="*/ 0 h 177"/>
                <a:gd name="T38" fmla="*/ 130 w 169"/>
                <a:gd name="T39" fmla="*/ 19 h 177"/>
                <a:gd name="T40" fmla="*/ 110 w 169"/>
                <a:gd name="T41" fmla="*/ 49 h 177"/>
                <a:gd name="T42" fmla="*/ 114 w 169"/>
                <a:gd name="T43" fmla="*/ 59 h 177"/>
                <a:gd name="T44" fmla="*/ 116 w 169"/>
                <a:gd name="T45" fmla="*/ 65 h 177"/>
                <a:gd name="T46" fmla="*/ 118 w 169"/>
                <a:gd name="T47" fmla="*/ 67 h 177"/>
                <a:gd name="T48" fmla="*/ 118 w 169"/>
                <a:gd name="T49" fmla="*/ 67 h 177"/>
                <a:gd name="T50" fmla="*/ 122 w 169"/>
                <a:gd name="T51" fmla="*/ 63 h 177"/>
                <a:gd name="T52" fmla="*/ 128 w 169"/>
                <a:gd name="T53" fmla="*/ 61 h 177"/>
                <a:gd name="T54" fmla="*/ 134 w 169"/>
                <a:gd name="T55" fmla="*/ 61 h 177"/>
                <a:gd name="T56" fmla="*/ 154 w 169"/>
                <a:gd name="T57" fmla="*/ 74 h 177"/>
                <a:gd name="T58" fmla="*/ 169 w 169"/>
                <a:gd name="T59"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9" h="177">
                  <a:moveTo>
                    <a:pt x="134" y="110"/>
                  </a:moveTo>
                  <a:lnTo>
                    <a:pt x="118" y="128"/>
                  </a:lnTo>
                  <a:lnTo>
                    <a:pt x="93" y="151"/>
                  </a:lnTo>
                  <a:lnTo>
                    <a:pt x="73" y="143"/>
                  </a:lnTo>
                  <a:lnTo>
                    <a:pt x="49" y="163"/>
                  </a:lnTo>
                  <a:lnTo>
                    <a:pt x="32" y="167"/>
                  </a:lnTo>
                  <a:lnTo>
                    <a:pt x="0" y="177"/>
                  </a:lnTo>
                  <a:lnTo>
                    <a:pt x="14" y="145"/>
                  </a:lnTo>
                  <a:lnTo>
                    <a:pt x="38" y="135"/>
                  </a:lnTo>
                  <a:lnTo>
                    <a:pt x="63" y="128"/>
                  </a:lnTo>
                  <a:lnTo>
                    <a:pt x="53" y="108"/>
                  </a:lnTo>
                  <a:lnTo>
                    <a:pt x="26" y="108"/>
                  </a:lnTo>
                  <a:lnTo>
                    <a:pt x="16" y="86"/>
                  </a:lnTo>
                  <a:lnTo>
                    <a:pt x="42" y="57"/>
                  </a:lnTo>
                  <a:lnTo>
                    <a:pt x="63" y="53"/>
                  </a:lnTo>
                  <a:lnTo>
                    <a:pt x="85" y="80"/>
                  </a:lnTo>
                  <a:lnTo>
                    <a:pt x="93" y="59"/>
                  </a:lnTo>
                  <a:lnTo>
                    <a:pt x="95" y="8"/>
                  </a:lnTo>
                  <a:lnTo>
                    <a:pt x="110" y="0"/>
                  </a:lnTo>
                  <a:lnTo>
                    <a:pt x="130" y="19"/>
                  </a:lnTo>
                  <a:lnTo>
                    <a:pt x="110" y="49"/>
                  </a:lnTo>
                  <a:lnTo>
                    <a:pt x="114" y="59"/>
                  </a:lnTo>
                  <a:lnTo>
                    <a:pt x="116" y="65"/>
                  </a:lnTo>
                  <a:lnTo>
                    <a:pt x="118" y="67"/>
                  </a:lnTo>
                  <a:lnTo>
                    <a:pt x="118" y="67"/>
                  </a:lnTo>
                  <a:lnTo>
                    <a:pt x="122" y="63"/>
                  </a:lnTo>
                  <a:lnTo>
                    <a:pt x="128" y="61"/>
                  </a:lnTo>
                  <a:lnTo>
                    <a:pt x="134" y="61"/>
                  </a:lnTo>
                  <a:lnTo>
                    <a:pt x="154" y="74"/>
                  </a:lnTo>
                  <a:lnTo>
                    <a:pt x="169" y="94"/>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69" name="Freeform 477"/>
          <p:cNvSpPr>
            <a:spLocks/>
          </p:cNvSpPr>
          <p:nvPr/>
        </p:nvSpPr>
        <p:spPr bwMode="auto">
          <a:xfrm>
            <a:off x="4311650" y="1545803"/>
            <a:ext cx="39688" cy="34925"/>
          </a:xfrm>
          <a:custGeom>
            <a:avLst/>
            <a:gdLst>
              <a:gd name="T0" fmla="*/ 11 w 51"/>
              <a:gd name="T1" fmla="*/ 43 h 43"/>
              <a:gd name="T2" fmla="*/ 47 w 51"/>
              <a:gd name="T3" fmla="*/ 31 h 43"/>
              <a:gd name="T4" fmla="*/ 51 w 51"/>
              <a:gd name="T5" fmla="*/ 2 h 43"/>
              <a:gd name="T6" fmla="*/ 25 w 51"/>
              <a:gd name="T7" fmla="*/ 0 h 43"/>
              <a:gd name="T8" fmla="*/ 0 w 51"/>
              <a:gd name="T9" fmla="*/ 17 h 43"/>
              <a:gd name="T10" fmla="*/ 11 w 51"/>
              <a:gd name="T11" fmla="*/ 43 h 43"/>
            </a:gdLst>
            <a:ahLst/>
            <a:cxnLst>
              <a:cxn ang="0">
                <a:pos x="T0" y="T1"/>
              </a:cxn>
              <a:cxn ang="0">
                <a:pos x="T2" y="T3"/>
              </a:cxn>
              <a:cxn ang="0">
                <a:pos x="T4" y="T5"/>
              </a:cxn>
              <a:cxn ang="0">
                <a:pos x="T6" y="T7"/>
              </a:cxn>
              <a:cxn ang="0">
                <a:pos x="T8" y="T9"/>
              </a:cxn>
              <a:cxn ang="0">
                <a:pos x="T10" y="T11"/>
              </a:cxn>
            </a:cxnLst>
            <a:rect l="0" t="0" r="r" b="b"/>
            <a:pathLst>
              <a:path w="51" h="43">
                <a:moveTo>
                  <a:pt x="11" y="43"/>
                </a:moveTo>
                <a:lnTo>
                  <a:pt x="47" y="31"/>
                </a:lnTo>
                <a:lnTo>
                  <a:pt x="51" y="2"/>
                </a:lnTo>
                <a:lnTo>
                  <a:pt x="25" y="0"/>
                </a:lnTo>
                <a:lnTo>
                  <a:pt x="0" y="17"/>
                </a:lnTo>
                <a:lnTo>
                  <a:pt x="11" y="43"/>
                </a:lnTo>
                <a:close/>
              </a:path>
            </a:pathLst>
          </a:custGeom>
          <a:solidFill>
            <a:srgbClr val="FFFFFF"/>
          </a:solidFill>
          <a:ln w="9525">
            <a:solidFill>
              <a:srgbClr val="000000"/>
            </a:solidFill>
            <a:prstDash val="solid"/>
            <a:round/>
            <a:headEnd/>
            <a:tailEnd/>
          </a:ln>
        </p:spPr>
        <p:txBody>
          <a:bodyPr/>
          <a:lstStyle/>
          <a:p>
            <a:endParaRPr lang="cs-CZ"/>
          </a:p>
        </p:txBody>
      </p:sp>
      <p:sp>
        <p:nvSpPr>
          <p:cNvPr id="470" name="Freeform 478"/>
          <p:cNvSpPr>
            <a:spLocks/>
          </p:cNvSpPr>
          <p:nvPr/>
        </p:nvSpPr>
        <p:spPr bwMode="auto">
          <a:xfrm>
            <a:off x="4432300" y="1479128"/>
            <a:ext cx="30163" cy="34925"/>
          </a:xfrm>
          <a:custGeom>
            <a:avLst/>
            <a:gdLst>
              <a:gd name="T0" fmla="*/ 31 w 37"/>
              <a:gd name="T1" fmla="*/ 43 h 43"/>
              <a:gd name="T2" fmla="*/ 37 w 37"/>
              <a:gd name="T3" fmla="*/ 22 h 43"/>
              <a:gd name="T4" fmla="*/ 19 w 37"/>
              <a:gd name="T5" fmla="*/ 0 h 43"/>
              <a:gd name="T6" fmla="*/ 0 w 37"/>
              <a:gd name="T7" fmla="*/ 16 h 43"/>
              <a:gd name="T8" fmla="*/ 31 w 37"/>
              <a:gd name="T9" fmla="*/ 43 h 43"/>
            </a:gdLst>
            <a:ahLst/>
            <a:cxnLst>
              <a:cxn ang="0">
                <a:pos x="T0" y="T1"/>
              </a:cxn>
              <a:cxn ang="0">
                <a:pos x="T2" y="T3"/>
              </a:cxn>
              <a:cxn ang="0">
                <a:pos x="T4" y="T5"/>
              </a:cxn>
              <a:cxn ang="0">
                <a:pos x="T6" y="T7"/>
              </a:cxn>
              <a:cxn ang="0">
                <a:pos x="T8" y="T9"/>
              </a:cxn>
            </a:cxnLst>
            <a:rect l="0" t="0" r="r" b="b"/>
            <a:pathLst>
              <a:path w="37" h="43">
                <a:moveTo>
                  <a:pt x="31" y="43"/>
                </a:moveTo>
                <a:lnTo>
                  <a:pt x="37" y="22"/>
                </a:lnTo>
                <a:lnTo>
                  <a:pt x="19" y="0"/>
                </a:lnTo>
                <a:lnTo>
                  <a:pt x="0" y="16"/>
                </a:lnTo>
                <a:lnTo>
                  <a:pt x="31" y="43"/>
                </a:lnTo>
                <a:close/>
              </a:path>
            </a:pathLst>
          </a:custGeom>
          <a:solidFill>
            <a:srgbClr val="FFFFFF"/>
          </a:solidFill>
          <a:ln w="9525">
            <a:solidFill>
              <a:srgbClr val="000000"/>
            </a:solidFill>
            <a:prstDash val="solid"/>
            <a:round/>
            <a:headEnd/>
            <a:tailEnd/>
          </a:ln>
        </p:spPr>
        <p:txBody>
          <a:bodyPr/>
          <a:lstStyle/>
          <a:p>
            <a:endParaRPr lang="cs-CZ"/>
          </a:p>
        </p:txBody>
      </p:sp>
      <p:grpSp>
        <p:nvGrpSpPr>
          <p:cNvPr id="471" name="Group 479"/>
          <p:cNvGrpSpPr>
            <a:grpSpLocks/>
          </p:cNvGrpSpPr>
          <p:nvPr/>
        </p:nvGrpSpPr>
        <p:grpSpPr bwMode="auto">
          <a:xfrm>
            <a:off x="4287838" y="1614065"/>
            <a:ext cx="31750" cy="41275"/>
            <a:chOff x="2693" y="1081"/>
            <a:chExt cx="20" cy="26"/>
          </a:xfrm>
        </p:grpSpPr>
        <p:sp>
          <p:nvSpPr>
            <p:cNvPr id="472" name="Freeform 480"/>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 name="T10" fmla="*/ 39 w 39"/>
                <a:gd name="T11" fmla="*/ 2 h 53"/>
              </a:gdLst>
              <a:ahLst/>
              <a:cxnLst>
                <a:cxn ang="0">
                  <a:pos x="T0" y="T1"/>
                </a:cxn>
                <a:cxn ang="0">
                  <a:pos x="T2" y="T3"/>
                </a:cxn>
                <a:cxn ang="0">
                  <a:pos x="T4" y="T5"/>
                </a:cxn>
                <a:cxn ang="0">
                  <a:pos x="T6" y="T7"/>
                </a:cxn>
                <a:cxn ang="0">
                  <a:pos x="T8" y="T9"/>
                </a:cxn>
                <a:cxn ang="0">
                  <a:pos x="T10" y="T11"/>
                </a:cxn>
              </a:cxnLst>
              <a:rect l="0" t="0" r="r" b="b"/>
              <a:pathLst>
                <a:path w="39" h="53">
                  <a:moveTo>
                    <a:pt x="39" y="2"/>
                  </a:moveTo>
                  <a:lnTo>
                    <a:pt x="0" y="0"/>
                  </a:lnTo>
                  <a:lnTo>
                    <a:pt x="10" y="26"/>
                  </a:lnTo>
                  <a:lnTo>
                    <a:pt x="24" y="37"/>
                  </a:lnTo>
                  <a:lnTo>
                    <a:pt x="31" y="53"/>
                  </a:lnTo>
                  <a:lnTo>
                    <a:pt x="39"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73" name="Freeform 481"/>
            <p:cNvSpPr>
              <a:spLocks/>
            </p:cNvSpPr>
            <p:nvPr/>
          </p:nvSpPr>
          <p:spPr bwMode="auto">
            <a:xfrm>
              <a:off x="2693" y="1081"/>
              <a:ext cx="20" cy="26"/>
            </a:xfrm>
            <a:custGeom>
              <a:avLst/>
              <a:gdLst>
                <a:gd name="T0" fmla="*/ 39 w 39"/>
                <a:gd name="T1" fmla="*/ 2 h 53"/>
                <a:gd name="T2" fmla="*/ 0 w 39"/>
                <a:gd name="T3" fmla="*/ 0 h 53"/>
                <a:gd name="T4" fmla="*/ 10 w 39"/>
                <a:gd name="T5" fmla="*/ 26 h 53"/>
                <a:gd name="T6" fmla="*/ 24 w 39"/>
                <a:gd name="T7" fmla="*/ 37 h 53"/>
                <a:gd name="T8" fmla="*/ 31 w 39"/>
                <a:gd name="T9" fmla="*/ 53 h 53"/>
              </a:gdLst>
              <a:ahLst/>
              <a:cxnLst>
                <a:cxn ang="0">
                  <a:pos x="T0" y="T1"/>
                </a:cxn>
                <a:cxn ang="0">
                  <a:pos x="T2" y="T3"/>
                </a:cxn>
                <a:cxn ang="0">
                  <a:pos x="T4" y="T5"/>
                </a:cxn>
                <a:cxn ang="0">
                  <a:pos x="T6" y="T7"/>
                </a:cxn>
                <a:cxn ang="0">
                  <a:pos x="T8" y="T9"/>
                </a:cxn>
              </a:cxnLst>
              <a:rect l="0" t="0" r="r" b="b"/>
              <a:pathLst>
                <a:path w="39" h="53">
                  <a:moveTo>
                    <a:pt x="39" y="2"/>
                  </a:moveTo>
                  <a:lnTo>
                    <a:pt x="0" y="0"/>
                  </a:lnTo>
                  <a:lnTo>
                    <a:pt x="10" y="26"/>
                  </a:lnTo>
                  <a:lnTo>
                    <a:pt x="24" y="37"/>
                  </a:lnTo>
                  <a:lnTo>
                    <a:pt x="31" y="53"/>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74" name="Freeform 482"/>
          <p:cNvSpPr>
            <a:spLocks/>
          </p:cNvSpPr>
          <p:nvPr/>
        </p:nvSpPr>
        <p:spPr bwMode="auto">
          <a:xfrm>
            <a:off x="4244975" y="1617240"/>
            <a:ext cx="15875" cy="26988"/>
          </a:xfrm>
          <a:custGeom>
            <a:avLst/>
            <a:gdLst>
              <a:gd name="T0" fmla="*/ 8 w 20"/>
              <a:gd name="T1" fmla="*/ 33 h 33"/>
              <a:gd name="T2" fmla="*/ 20 w 20"/>
              <a:gd name="T3" fmla="*/ 12 h 33"/>
              <a:gd name="T4" fmla="*/ 0 w 20"/>
              <a:gd name="T5" fmla="*/ 0 h 33"/>
              <a:gd name="T6" fmla="*/ 8 w 20"/>
              <a:gd name="T7" fmla="*/ 33 h 33"/>
            </a:gdLst>
            <a:ahLst/>
            <a:cxnLst>
              <a:cxn ang="0">
                <a:pos x="T0" y="T1"/>
              </a:cxn>
              <a:cxn ang="0">
                <a:pos x="T2" y="T3"/>
              </a:cxn>
              <a:cxn ang="0">
                <a:pos x="T4" y="T5"/>
              </a:cxn>
              <a:cxn ang="0">
                <a:pos x="T6" y="T7"/>
              </a:cxn>
            </a:cxnLst>
            <a:rect l="0" t="0" r="r" b="b"/>
            <a:pathLst>
              <a:path w="20" h="33">
                <a:moveTo>
                  <a:pt x="8" y="33"/>
                </a:moveTo>
                <a:lnTo>
                  <a:pt x="20" y="12"/>
                </a:lnTo>
                <a:lnTo>
                  <a:pt x="0" y="0"/>
                </a:lnTo>
                <a:lnTo>
                  <a:pt x="8" y="33"/>
                </a:lnTo>
                <a:close/>
              </a:path>
            </a:pathLst>
          </a:custGeom>
          <a:solidFill>
            <a:srgbClr val="FFFFFF"/>
          </a:solidFill>
          <a:ln w="9525">
            <a:solidFill>
              <a:srgbClr val="000000"/>
            </a:solidFill>
            <a:prstDash val="solid"/>
            <a:round/>
            <a:headEnd/>
            <a:tailEnd/>
          </a:ln>
        </p:spPr>
        <p:txBody>
          <a:bodyPr/>
          <a:lstStyle/>
          <a:p>
            <a:endParaRPr lang="cs-CZ"/>
          </a:p>
        </p:txBody>
      </p:sp>
      <p:sp>
        <p:nvSpPr>
          <p:cNvPr id="475" name="Freeform 483"/>
          <p:cNvSpPr>
            <a:spLocks/>
          </p:cNvSpPr>
          <p:nvPr/>
        </p:nvSpPr>
        <p:spPr bwMode="auto">
          <a:xfrm>
            <a:off x="4206875" y="1622003"/>
            <a:ext cx="23813" cy="28575"/>
          </a:xfrm>
          <a:custGeom>
            <a:avLst/>
            <a:gdLst>
              <a:gd name="T0" fmla="*/ 29 w 29"/>
              <a:gd name="T1" fmla="*/ 31 h 35"/>
              <a:gd name="T2" fmla="*/ 0 w 29"/>
              <a:gd name="T3" fmla="*/ 0 h 35"/>
              <a:gd name="T4" fmla="*/ 4 w 29"/>
              <a:gd name="T5" fmla="*/ 35 h 35"/>
              <a:gd name="T6" fmla="*/ 29 w 29"/>
              <a:gd name="T7" fmla="*/ 31 h 35"/>
            </a:gdLst>
            <a:ahLst/>
            <a:cxnLst>
              <a:cxn ang="0">
                <a:pos x="T0" y="T1"/>
              </a:cxn>
              <a:cxn ang="0">
                <a:pos x="T2" y="T3"/>
              </a:cxn>
              <a:cxn ang="0">
                <a:pos x="T4" y="T5"/>
              </a:cxn>
              <a:cxn ang="0">
                <a:pos x="T6" y="T7"/>
              </a:cxn>
            </a:cxnLst>
            <a:rect l="0" t="0" r="r" b="b"/>
            <a:pathLst>
              <a:path w="29" h="35">
                <a:moveTo>
                  <a:pt x="29" y="31"/>
                </a:moveTo>
                <a:lnTo>
                  <a:pt x="0" y="0"/>
                </a:lnTo>
                <a:lnTo>
                  <a:pt x="4" y="35"/>
                </a:lnTo>
                <a:lnTo>
                  <a:pt x="29" y="31"/>
                </a:lnTo>
                <a:close/>
              </a:path>
            </a:pathLst>
          </a:custGeom>
          <a:solidFill>
            <a:srgbClr val="FFFFFF"/>
          </a:solidFill>
          <a:ln w="9525">
            <a:solidFill>
              <a:srgbClr val="000000"/>
            </a:solidFill>
            <a:prstDash val="solid"/>
            <a:round/>
            <a:headEnd/>
            <a:tailEnd/>
          </a:ln>
        </p:spPr>
        <p:txBody>
          <a:bodyPr/>
          <a:lstStyle/>
          <a:p>
            <a:endParaRPr lang="cs-CZ"/>
          </a:p>
        </p:txBody>
      </p:sp>
      <p:grpSp>
        <p:nvGrpSpPr>
          <p:cNvPr id="476" name="Group 484"/>
          <p:cNvGrpSpPr>
            <a:grpSpLocks/>
          </p:cNvGrpSpPr>
          <p:nvPr/>
        </p:nvGrpSpPr>
        <p:grpSpPr bwMode="auto">
          <a:xfrm>
            <a:off x="3629025" y="2450678"/>
            <a:ext cx="65088" cy="42862"/>
            <a:chOff x="2278" y="1608"/>
            <a:chExt cx="41" cy="27"/>
          </a:xfrm>
        </p:grpSpPr>
        <p:sp>
          <p:nvSpPr>
            <p:cNvPr id="477" name="Freeform 485"/>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 name="T12" fmla="*/ 0 w 80"/>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80" h="53">
                  <a:moveTo>
                    <a:pt x="0" y="53"/>
                  </a:moveTo>
                  <a:lnTo>
                    <a:pt x="6" y="24"/>
                  </a:lnTo>
                  <a:lnTo>
                    <a:pt x="31" y="0"/>
                  </a:lnTo>
                  <a:lnTo>
                    <a:pt x="49" y="4"/>
                  </a:lnTo>
                  <a:lnTo>
                    <a:pt x="61" y="18"/>
                  </a:lnTo>
                  <a:lnTo>
                    <a:pt x="80" y="37"/>
                  </a:lnTo>
                  <a:lnTo>
                    <a:pt x="0"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78" name="Freeform 486"/>
            <p:cNvSpPr>
              <a:spLocks/>
            </p:cNvSpPr>
            <p:nvPr/>
          </p:nvSpPr>
          <p:spPr bwMode="auto">
            <a:xfrm>
              <a:off x="2278" y="1608"/>
              <a:ext cx="41" cy="27"/>
            </a:xfrm>
            <a:custGeom>
              <a:avLst/>
              <a:gdLst>
                <a:gd name="T0" fmla="*/ 0 w 80"/>
                <a:gd name="T1" fmla="*/ 53 h 53"/>
                <a:gd name="T2" fmla="*/ 6 w 80"/>
                <a:gd name="T3" fmla="*/ 24 h 53"/>
                <a:gd name="T4" fmla="*/ 31 w 80"/>
                <a:gd name="T5" fmla="*/ 0 h 53"/>
                <a:gd name="T6" fmla="*/ 49 w 80"/>
                <a:gd name="T7" fmla="*/ 4 h 53"/>
                <a:gd name="T8" fmla="*/ 61 w 80"/>
                <a:gd name="T9" fmla="*/ 18 h 53"/>
                <a:gd name="T10" fmla="*/ 80 w 80"/>
                <a:gd name="T11" fmla="*/ 37 h 53"/>
              </a:gdLst>
              <a:ahLst/>
              <a:cxnLst>
                <a:cxn ang="0">
                  <a:pos x="T0" y="T1"/>
                </a:cxn>
                <a:cxn ang="0">
                  <a:pos x="T2" y="T3"/>
                </a:cxn>
                <a:cxn ang="0">
                  <a:pos x="T4" y="T5"/>
                </a:cxn>
                <a:cxn ang="0">
                  <a:pos x="T6" y="T7"/>
                </a:cxn>
                <a:cxn ang="0">
                  <a:pos x="T8" y="T9"/>
                </a:cxn>
                <a:cxn ang="0">
                  <a:pos x="T10" y="T11"/>
                </a:cxn>
              </a:cxnLst>
              <a:rect l="0" t="0" r="r" b="b"/>
              <a:pathLst>
                <a:path w="80" h="53">
                  <a:moveTo>
                    <a:pt x="0" y="53"/>
                  </a:moveTo>
                  <a:lnTo>
                    <a:pt x="6" y="24"/>
                  </a:lnTo>
                  <a:lnTo>
                    <a:pt x="31" y="0"/>
                  </a:lnTo>
                  <a:lnTo>
                    <a:pt x="49" y="4"/>
                  </a:lnTo>
                  <a:lnTo>
                    <a:pt x="61" y="18"/>
                  </a:lnTo>
                  <a:lnTo>
                    <a:pt x="80" y="37"/>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79" name="Freeform 487"/>
          <p:cNvSpPr>
            <a:spLocks/>
          </p:cNvSpPr>
          <p:nvPr/>
        </p:nvSpPr>
        <p:spPr bwMode="auto">
          <a:xfrm>
            <a:off x="5824538" y="5838403"/>
            <a:ext cx="217487" cy="179387"/>
          </a:xfrm>
          <a:custGeom>
            <a:avLst/>
            <a:gdLst>
              <a:gd name="T0" fmla="*/ 0 w 276"/>
              <a:gd name="T1" fmla="*/ 177 h 226"/>
              <a:gd name="T2" fmla="*/ 18 w 276"/>
              <a:gd name="T3" fmla="*/ 197 h 226"/>
              <a:gd name="T4" fmla="*/ 46 w 276"/>
              <a:gd name="T5" fmla="*/ 226 h 226"/>
              <a:gd name="T6" fmla="*/ 118 w 276"/>
              <a:gd name="T7" fmla="*/ 224 h 226"/>
              <a:gd name="T8" fmla="*/ 132 w 276"/>
              <a:gd name="T9" fmla="*/ 201 h 226"/>
              <a:gd name="T10" fmla="*/ 150 w 276"/>
              <a:gd name="T11" fmla="*/ 193 h 226"/>
              <a:gd name="T12" fmla="*/ 167 w 276"/>
              <a:gd name="T13" fmla="*/ 193 h 226"/>
              <a:gd name="T14" fmla="*/ 181 w 276"/>
              <a:gd name="T15" fmla="*/ 173 h 226"/>
              <a:gd name="T16" fmla="*/ 189 w 276"/>
              <a:gd name="T17" fmla="*/ 158 h 226"/>
              <a:gd name="T18" fmla="*/ 213 w 276"/>
              <a:gd name="T19" fmla="*/ 146 h 226"/>
              <a:gd name="T20" fmla="*/ 226 w 276"/>
              <a:gd name="T21" fmla="*/ 136 h 226"/>
              <a:gd name="T22" fmla="*/ 228 w 276"/>
              <a:gd name="T23" fmla="*/ 122 h 226"/>
              <a:gd name="T24" fmla="*/ 222 w 276"/>
              <a:gd name="T25" fmla="*/ 103 h 226"/>
              <a:gd name="T26" fmla="*/ 228 w 276"/>
              <a:gd name="T27" fmla="*/ 89 h 226"/>
              <a:gd name="T28" fmla="*/ 248 w 276"/>
              <a:gd name="T29" fmla="*/ 57 h 226"/>
              <a:gd name="T30" fmla="*/ 262 w 276"/>
              <a:gd name="T31" fmla="*/ 44 h 226"/>
              <a:gd name="T32" fmla="*/ 274 w 276"/>
              <a:gd name="T33" fmla="*/ 30 h 226"/>
              <a:gd name="T34" fmla="*/ 276 w 276"/>
              <a:gd name="T35" fmla="*/ 0 h 226"/>
              <a:gd name="T36" fmla="*/ 250 w 276"/>
              <a:gd name="T37" fmla="*/ 8 h 226"/>
              <a:gd name="T38" fmla="*/ 240 w 276"/>
              <a:gd name="T39" fmla="*/ 28 h 226"/>
              <a:gd name="T40" fmla="*/ 222 w 276"/>
              <a:gd name="T41" fmla="*/ 44 h 226"/>
              <a:gd name="T42" fmla="*/ 203 w 276"/>
              <a:gd name="T43" fmla="*/ 57 h 226"/>
              <a:gd name="T44" fmla="*/ 179 w 276"/>
              <a:gd name="T45" fmla="*/ 69 h 226"/>
              <a:gd name="T46" fmla="*/ 160 w 276"/>
              <a:gd name="T47" fmla="*/ 79 h 226"/>
              <a:gd name="T48" fmla="*/ 134 w 276"/>
              <a:gd name="T49" fmla="*/ 93 h 226"/>
              <a:gd name="T50" fmla="*/ 114 w 276"/>
              <a:gd name="T51" fmla="*/ 97 h 226"/>
              <a:gd name="T52" fmla="*/ 87 w 276"/>
              <a:gd name="T53" fmla="*/ 103 h 226"/>
              <a:gd name="T54" fmla="*/ 71 w 276"/>
              <a:gd name="T55" fmla="*/ 138 h 226"/>
              <a:gd name="T56" fmla="*/ 57 w 276"/>
              <a:gd name="T57" fmla="*/ 144 h 226"/>
              <a:gd name="T58" fmla="*/ 38 w 276"/>
              <a:gd name="T59" fmla="*/ 146 h 226"/>
              <a:gd name="T60" fmla="*/ 24 w 276"/>
              <a:gd name="T61" fmla="*/ 160 h 226"/>
              <a:gd name="T62" fmla="*/ 0 w 276"/>
              <a:gd name="T63" fmla="*/ 17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226">
                <a:moveTo>
                  <a:pt x="0" y="177"/>
                </a:moveTo>
                <a:lnTo>
                  <a:pt x="18" y="197"/>
                </a:lnTo>
                <a:lnTo>
                  <a:pt x="46" y="226"/>
                </a:lnTo>
                <a:lnTo>
                  <a:pt x="118" y="224"/>
                </a:lnTo>
                <a:lnTo>
                  <a:pt x="132" y="201"/>
                </a:lnTo>
                <a:lnTo>
                  <a:pt x="150" y="193"/>
                </a:lnTo>
                <a:lnTo>
                  <a:pt x="167" y="193"/>
                </a:lnTo>
                <a:lnTo>
                  <a:pt x="181" y="173"/>
                </a:lnTo>
                <a:lnTo>
                  <a:pt x="189" y="158"/>
                </a:lnTo>
                <a:lnTo>
                  <a:pt x="213" y="146"/>
                </a:lnTo>
                <a:lnTo>
                  <a:pt x="226" y="136"/>
                </a:lnTo>
                <a:lnTo>
                  <a:pt x="228" y="122"/>
                </a:lnTo>
                <a:lnTo>
                  <a:pt x="222" y="103"/>
                </a:lnTo>
                <a:lnTo>
                  <a:pt x="228" y="89"/>
                </a:lnTo>
                <a:lnTo>
                  <a:pt x="248" y="57"/>
                </a:lnTo>
                <a:lnTo>
                  <a:pt x="262" y="44"/>
                </a:lnTo>
                <a:lnTo>
                  <a:pt x="274" y="30"/>
                </a:lnTo>
                <a:lnTo>
                  <a:pt x="276" y="0"/>
                </a:lnTo>
                <a:lnTo>
                  <a:pt x="250" y="8"/>
                </a:lnTo>
                <a:lnTo>
                  <a:pt x="240" y="28"/>
                </a:lnTo>
                <a:lnTo>
                  <a:pt x="222" y="44"/>
                </a:lnTo>
                <a:lnTo>
                  <a:pt x="203" y="57"/>
                </a:lnTo>
                <a:lnTo>
                  <a:pt x="179" y="69"/>
                </a:lnTo>
                <a:lnTo>
                  <a:pt x="160" y="79"/>
                </a:lnTo>
                <a:lnTo>
                  <a:pt x="134" y="93"/>
                </a:lnTo>
                <a:lnTo>
                  <a:pt x="114" y="97"/>
                </a:lnTo>
                <a:lnTo>
                  <a:pt x="87" y="103"/>
                </a:lnTo>
                <a:lnTo>
                  <a:pt x="71" y="138"/>
                </a:lnTo>
                <a:lnTo>
                  <a:pt x="57" y="144"/>
                </a:lnTo>
                <a:lnTo>
                  <a:pt x="38" y="146"/>
                </a:lnTo>
                <a:lnTo>
                  <a:pt x="24" y="160"/>
                </a:lnTo>
                <a:lnTo>
                  <a:pt x="0" y="177"/>
                </a:lnTo>
                <a:close/>
              </a:path>
            </a:pathLst>
          </a:custGeom>
          <a:solidFill>
            <a:srgbClr val="FFFFFF"/>
          </a:solidFill>
          <a:ln w="9525">
            <a:solidFill>
              <a:srgbClr val="000000"/>
            </a:solidFill>
            <a:prstDash val="solid"/>
            <a:round/>
            <a:headEnd/>
            <a:tailEnd/>
          </a:ln>
        </p:spPr>
        <p:txBody>
          <a:bodyPr/>
          <a:lstStyle/>
          <a:p>
            <a:endParaRPr lang="cs-CZ"/>
          </a:p>
        </p:txBody>
      </p:sp>
      <p:sp>
        <p:nvSpPr>
          <p:cNvPr id="480" name="Oval 488"/>
          <p:cNvSpPr>
            <a:spLocks noChangeArrowheads="1"/>
          </p:cNvSpPr>
          <p:nvPr/>
        </p:nvSpPr>
        <p:spPr bwMode="auto">
          <a:xfrm>
            <a:off x="4602163" y="2834853"/>
            <a:ext cx="25400" cy="23812"/>
          </a:xfrm>
          <a:prstGeom prst="ellipse">
            <a:avLst/>
          </a:prstGeom>
          <a:solidFill>
            <a:srgbClr val="FFFFFF"/>
          </a:solidFill>
          <a:ln w="9525">
            <a:solidFill>
              <a:srgbClr val="000000"/>
            </a:solidFill>
            <a:round/>
            <a:headEnd/>
            <a:tailEnd/>
          </a:ln>
        </p:spPr>
        <p:txBody>
          <a:bodyPr/>
          <a:lstStyle/>
          <a:p>
            <a:endParaRPr lang="cs-CZ"/>
          </a:p>
        </p:txBody>
      </p:sp>
      <p:grpSp>
        <p:nvGrpSpPr>
          <p:cNvPr id="481" name="Group 489"/>
          <p:cNvGrpSpPr>
            <a:grpSpLocks/>
          </p:cNvGrpSpPr>
          <p:nvPr/>
        </p:nvGrpSpPr>
        <p:grpSpPr bwMode="auto">
          <a:xfrm>
            <a:off x="4254500" y="1595015"/>
            <a:ext cx="706438" cy="1339850"/>
            <a:chOff x="2672" y="1069"/>
            <a:chExt cx="445" cy="844"/>
          </a:xfrm>
        </p:grpSpPr>
        <p:sp>
          <p:nvSpPr>
            <p:cNvPr id="482" name="Freeform 490"/>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lnTo>
                    <a:pt x="283" y="708"/>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83" name="Freeform 491"/>
            <p:cNvSpPr>
              <a:spLocks/>
            </p:cNvSpPr>
            <p:nvPr/>
          </p:nvSpPr>
          <p:spPr bwMode="auto">
            <a:xfrm>
              <a:off x="2672" y="1069"/>
              <a:ext cx="445" cy="844"/>
            </a:xfrm>
            <a:custGeom>
              <a:avLst/>
              <a:gdLst>
                <a:gd name="T0" fmla="*/ 320 w 890"/>
                <a:gd name="T1" fmla="*/ 706 h 1688"/>
                <a:gd name="T2" fmla="*/ 357 w 890"/>
                <a:gd name="T3" fmla="*/ 743 h 1688"/>
                <a:gd name="T4" fmla="*/ 385 w 890"/>
                <a:gd name="T5" fmla="*/ 771 h 1688"/>
                <a:gd name="T6" fmla="*/ 391 w 890"/>
                <a:gd name="T7" fmla="*/ 818 h 1688"/>
                <a:gd name="T8" fmla="*/ 399 w 890"/>
                <a:gd name="T9" fmla="*/ 855 h 1688"/>
                <a:gd name="T10" fmla="*/ 348 w 890"/>
                <a:gd name="T11" fmla="*/ 883 h 1688"/>
                <a:gd name="T12" fmla="*/ 324 w 890"/>
                <a:gd name="T13" fmla="*/ 955 h 1688"/>
                <a:gd name="T14" fmla="*/ 293 w 890"/>
                <a:gd name="T15" fmla="*/ 1002 h 1688"/>
                <a:gd name="T16" fmla="*/ 261 w 890"/>
                <a:gd name="T17" fmla="*/ 1071 h 1688"/>
                <a:gd name="T18" fmla="*/ 232 w 890"/>
                <a:gd name="T19" fmla="*/ 1132 h 1688"/>
                <a:gd name="T20" fmla="*/ 171 w 890"/>
                <a:gd name="T21" fmla="*/ 1140 h 1688"/>
                <a:gd name="T22" fmla="*/ 177 w 890"/>
                <a:gd name="T23" fmla="*/ 1185 h 1688"/>
                <a:gd name="T24" fmla="*/ 147 w 890"/>
                <a:gd name="T25" fmla="*/ 1207 h 1688"/>
                <a:gd name="T26" fmla="*/ 133 w 890"/>
                <a:gd name="T27" fmla="*/ 1272 h 1688"/>
                <a:gd name="T28" fmla="*/ 151 w 890"/>
                <a:gd name="T29" fmla="*/ 1331 h 1688"/>
                <a:gd name="T30" fmla="*/ 175 w 890"/>
                <a:gd name="T31" fmla="*/ 1370 h 1688"/>
                <a:gd name="T32" fmla="*/ 186 w 890"/>
                <a:gd name="T33" fmla="*/ 1413 h 1688"/>
                <a:gd name="T34" fmla="*/ 177 w 890"/>
                <a:gd name="T35" fmla="*/ 1441 h 1688"/>
                <a:gd name="T36" fmla="*/ 177 w 890"/>
                <a:gd name="T37" fmla="*/ 1529 h 1688"/>
                <a:gd name="T38" fmla="*/ 210 w 890"/>
                <a:gd name="T39" fmla="*/ 1568 h 1688"/>
                <a:gd name="T40" fmla="*/ 283 w 890"/>
                <a:gd name="T41" fmla="*/ 1598 h 1688"/>
                <a:gd name="T42" fmla="*/ 285 w 890"/>
                <a:gd name="T43" fmla="*/ 1625 h 1688"/>
                <a:gd name="T44" fmla="*/ 296 w 890"/>
                <a:gd name="T45" fmla="*/ 1653 h 1688"/>
                <a:gd name="T46" fmla="*/ 330 w 890"/>
                <a:gd name="T47" fmla="*/ 1653 h 1688"/>
                <a:gd name="T48" fmla="*/ 346 w 890"/>
                <a:gd name="T49" fmla="*/ 1688 h 1688"/>
                <a:gd name="T50" fmla="*/ 371 w 890"/>
                <a:gd name="T51" fmla="*/ 1641 h 1688"/>
                <a:gd name="T52" fmla="*/ 395 w 890"/>
                <a:gd name="T53" fmla="*/ 1649 h 1688"/>
                <a:gd name="T54" fmla="*/ 463 w 890"/>
                <a:gd name="T55" fmla="*/ 1614 h 1688"/>
                <a:gd name="T56" fmla="*/ 519 w 890"/>
                <a:gd name="T57" fmla="*/ 1578 h 1688"/>
                <a:gd name="T58" fmla="*/ 583 w 890"/>
                <a:gd name="T59" fmla="*/ 1547 h 1688"/>
                <a:gd name="T60" fmla="*/ 680 w 890"/>
                <a:gd name="T61" fmla="*/ 1525 h 1688"/>
                <a:gd name="T62" fmla="*/ 743 w 890"/>
                <a:gd name="T63" fmla="*/ 1439 h 1688"/>
                <a:gd name="T64" fmla="*/ 796 w 890"/>
                <a:gd name="T65" fmla="*/ 1344 h 1688"/>
                <a:gd name="T66" fmla="*/ 872 w 890"/>
                <a:gd name="T67" fmla="*/ 1181 h 1688"/>
                <a:gd name="T68" fmla="*/ 864 w 890"/>
                <a:gd name="T69" fmla="*/ 1046 h 1688"/>
                <a:gd name="T70" fmla="*/ 794 w 890"/>
                <a:gd name="T71" fmla="*/ 997 h 1688"/>
                <a:gd name="T72" fmla="*/ 770 w 890"/>
                <a:gd name="T73" fmla="*/ 873 h 1688"/>
                <a:gd name="T74" fmla="*/ 725 w 890"/>
                <a:gd name="T75" fmla="*/ 802 h 1688"/>
                <a:gd name="T76" fmla="*/ 686 w 890"/>
                <a:gd name="T77" fmla="*/ 761 h 1688"/>
                <a:gd name="T78" fmla="*/ 680 w 890"/>
                <a:gd name="T79" fmla="*/ 718 h 1688"/>
                <a:gd name="T80" fmla="*/ 693 w 890"/>
                <a:gd name="T81" fmla="*/ 645 h 1688"/>
                <a:gd name="T82" fmla="*/ 609 w 890"/>
                <a:gd name="T83" fmla="*/ 525 h 1688"/>
                <a:gd name="T84" fmla="*/ 591 w 890"/>
                <a:gd name="T85" fmla="*/ 433 h 1688"/>
                <a:gd name="T86" fmla="*/ 581 w 890"/>
                <a:gd name="T87" fmla="*/ 313 h 1688"/>
                <a:gd name="T88" fmla="*/ 499 w 890"/>
                <a:gd name="T89" fmla="*/ 279 h 1688"/>
                <a:gd name="T90" fmla="*/ 487 w 890"/>
                <a:gd name="T91" fmla="*/ 211 h 1688"/>
                <a:gd name="T92" fmla="*/ 497 w 890"/>
                <a:gd name="T93" fmla="*/ 146 h 1688"/>
                <a:gd name="T94" fmla="*/ 493 w 890"/>
                <a:gd name="T95" fmla="*/ 107 h 1688"/>
                <a:gd name="T96" fmla="*/ 462 w 890"/>
                <a:gd name="T97" fmla="*/ 28 h 1688"/>
                <a:gd name="T98" fmla="*/ 381 w 890"/>
                <a:gd name="T99" fmla="*/ 0 h 1688"/>
                <a:gd name="T100" fmla="*/ 324 w 890"/>
                <a:gd name="T101" fmla="*/ 34 h 1688"/>
                <a:gd name="T102" fmla="*/ 298 w 890"/>
                <a:gd name="T103" fmla="*/ 146 h 1688"/>
                <a:gd name="T104" fmla="*/ 279 w 890"/>
                <a:gd name="T105" fmla="*/ 228 h 1688"/>
                <a:gd name="T106" fmla="*/ 216 w 890"/>
                <a:gd name="T107" fmla="*/ 228 h 1688"/>
                <a:gd name="T108" fmla="*/ 133 w 890"/>
                <a:gd name="T109" fmla="*/ 256 h 1688"/>
                <a:gd name="T110" fmla="*/ 35 w 890"/>
                <a:gd name="T111" fmla="*/ 177 h 1688"/>
                <a:gd name="T112" fmla="*/ 0 w 890"/>
                <a:gd name="T113" fmla="*/ 213 h 1688"/>
                <a:gd name="T114" fmla="*/ 104 w 890"/>
                <a:gd name="T115" fmla="*/ 303 h 1688"/>
                <a:gd name="T116" fmla="*/ 212 w 890"/>
                <a:gd name="T117" fmla="*/ 389 h 1688"/>
                <a:gd name="T118" fmla="*/ 218 w 890"/>
                <a:gd name="T119" fmla="*/ 470 h 1688"/>
                <a:gd name="T120" fmla="*/ 273 w 890"/>
                <a:gd name="T121" fmla="*/ 592 h 1688"/>
                <a:gd name="T122" fmla="*/ 289 w 890"/>
                <a:gd name="T123" fmla="*/ 700 h 1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90" h="1688">
                  <a:moveTo>
                    <a:pt x="283" y="708"/>
                  </a:moveTo>
                  <a:lnTo>
                    <a:pt x="320" y="706"/>
                  </a:lnTo>
                  <a:lnTo>
                    <a:pt x="320" y="725"/>
                  </a:lnTo>
                  <a:lnTo>
                    <a:pt x="357" y="743"/>
                  </a:lnTo>
                  <a:lnTo>
                    <a:pt x="367" y="761"/>
                  </a:lnTo>
                  <a:lnTo>
                    <a:pt x="385" y="771"/>
                  </a:lnTo>
                  <a:lnTo>
                    <a:pt x="391" y="794"/>
                  </a:lnTo>
                  <a:lnTo>
                    <a:pt x="391" y="818"/>
                  </a:lnTo>
                  <a:lnTo>
                    <a:pt x="412" y="835"/>
                  </a:lnTo>
                  <a:lnTo>
                    <a:pt x="399" y="855"/>
                  </a:lnTo>
                  <a:lnTo>
                    <a:pt x="367" y="863"/>
                  </a:lnTo>
                  <a:lnTo>
                    <a:pt x="348" y="883"/>
                  </a:lnTo>
                  <a:lnTo>
                    <a:pt x="348" y="924"/>
                  </a:lnTo>
                  <a:lnTo>
                    <a:pt x="324" y="955"/>
                  </a:lnTo>
                  <a:lnTo>
                    <a:pt x="306" y="979"/>
                  </a:lnTo>
                  <a:lnTo>
                    <a:pt x="293" y="1002"/>
                  </a:lnTo>
                  <a:lnTo>
                    <a:pt x="273" y="1036"/>
                  </a:lnTo>
                  <a:lnTo>
                    <a:pt x="261" y="1071"/>
                  </a:lnTo>
                  <a:lnTo>
                    <a:pt x="247" y="1097"/>
                  </a:lnTo>
                  <a:lnTo>
                    <a:pt x="232" y="1132"/>
                  </a:lnTo>
                  <a:lnTo>
                    <a:pt x="208" y="1150"/>
                  </a:lnTo>
                  <a:lnTo>
                    <a:pt x="171" y="1140"/>
                  </a:lnTo>
                  <a:lnTo>
                    <a:pt x="171" y="1166"/>
                  </a:lnTo>
                  <a:lnTo>
                    <a:pt x="177" y="1185"/>
                  </a:lnTo>
                  <a:lnTo>
                    <a:pt x="153" y="1189"/>
                  </a:lnTo>
                  <a:lnTo>
                    <a:pt x="147" y="1207"/>
                  </a:lnTo>
                  <a:lnTo>
                    <a:pt x="133" y="1219"/>
                  </a:lnTo>
                  <a:lnTo>
                    <a:pt x="133" y="1272"/>
                  </a:lnTo>
                  <a:lnTo>
                    <a:pt x="145" y="1297"/>
                  </a:lnTo>
                  <a:lnTo>
                    <a:pt x="151" y="1331"/>
                  </a:lnTo>
                  <a:lnTo>
                    <a:pt x="151" y="1356"/>
                  </a:lnTo>
                  <a:lnTo>
                    <a:pt x="175" y="1370"/>
                  </a:lnTo>
                  <a:lnTo>
                    <a:pt x="171" y="1397"/>
                  </a:lnTo>
                  <a:lnTo>
                    <a:pt x="186" y="1413"/>
                  </a:lnTo>
                  <a:lnTo>
                    <a:pt x="202" y="1429"/>
                  </a:lnTo>
                  <a:lnTo>
                    <a:pt x="177" y="1441"/>
                  </a:lnTo>
                  <a:lnTo>
                    <a:pt x="184" y="1484"/>
                  </a:lnTo>
                  <a:lnTo>
                    <a:pt x="177" y="1529"/>
                  </a:lnTo>
                  <a:lnTo>
                    <a:pt x="186" y="1557"/>
                  </a:lnTo>
                  <a:lnTo>
                    <a:pt x="210" y="1568"/>
                  </a:lnTo>
                  <a:lnTo>
                    <a:pt x="240" y="1584"/>
                  </a:lnTo>
                  <a:lnTo>
                    <a:pt x="283" y="1598"/>
                  </a:lnTo>
                  <a:lnTo>
                    <a:pt x="306" y="1604"/>
                  </a:lnTo>
                  <a:lnTo>
                    <a:pt x="285" y="1625"/>
                  </a:lnTo>
                  <a:lnTo>
                    <a:pt x="273" y="1643"/>
                  </a:lnTo>
                  <a:lnTo>
                    <a:pt x="296" y="1653"/>
                  </a:lnTo>
                  <a:lnTo>
                    <a:pt x="314" y="1617"/>
                  </a:lnTo>
                  <a:lnTo>
                    <a:pt x="330" y="1653"/>
                  </a:lnTo>
                  <a:lnTo>
                    <a:pt x="328" y="1676"/>
                  </a:lnTo>
                  <a:lnTo>
                    <a:pt x="346" y="1688"/>
                  </a:lnTo>
                  <a:lnTo>
                    <a:pt x="351" y="1655"/>
                  </a:lnTo>
                  <a:lnTo>
                    <a:pt x="371" y="1641"/>
                  </a:lnTo>
                  <a:lnTo>
                    <a:pt x="369" y="1670"/>
                  </a:lnTo>
                  <a:lnTo>
                    <a:pt x="395" y="1649"/>
                  </a:lnTo>
                  <a:lnTo>
                    <a:pt x="410" y="1635"/>
                  </a:lnTo>
                  <a:lnTo>
                    <a:pt x="463" y="1614"/>
                  </a:lnTo>
                  <a:lnTo>
                    <a:pt x="493" y="1604"/>
                  </a:lnTo>
                  <a:lnTo>
                    <a:pt x="519" y="1578"/>
                  </a:lnTo>
                  <a:lnTo>
                    <a:pt x="554" y="1560"/>
                  </a:lnTo>
                  <a:lnTo>
                    <a:pt x="583" y="1547"/>
                  </a:lnTo>
                  <a:lnTo>
                    <a:pt x="623" y="1527"/>
                  </a:lnTo>
                  <a:lnTo>
                    <a:pt x="680" y="1525"/>
                  </a:lnTo>
                  <a:lnTo>
                    <a:pt x="693" y="1498"/>
                  </a:lnTo>
                  <a:lnTo>
                    <a:pt x="743" y="1439"/>
                  </a:lnTo>
                  <a:lnTo>
                    <a:pt x="776" y="1380"/>
                  </a:lnTo>
                  <a:lnTo>
                    <a:pt x="796" y="1344"/>
                  </a:lnTo>
                  <a:lnTo>
                    <a:pt x="837" y="1268"/>
                  </a:lnTo>
                  <a:lnTo>
                    <a:pt x="872" y="1181"/>
                  </a:lnTo>
                  <a:lnTo>
                    <a:pt x="890" y="1095"/>
                  </a:lnTo>
                  <a:lnTo>
                    <a:pt x="864" y="1046"/>
                  </a:lnTo>
                  <a:lnTo>
                    <a:pt x="833" y="1010"/>
                  </a:lnTo>
                  <a:lnTo>
                    <a:pt x="794" y="997"/>
                  </a:lnTo>
                  <a:lnTo>
                    <a:pt x="766" y="953"/>
                  </a:lnTo>
                  <a:lnTo>
                    <a:pt x="770" y="873"/>
                  </a:lnTo>
                  <a:lnTo>
                    <a:pt x="733" y="849"/>
                  </a:lnTo>
                  <a:lnTo>
                    <a:pt x="725" y="802"/>
                  </a:lnTo>
                  <a:lnTo>
                    <a:pt x="689" y="798"/>
                  </a:lnTo>
                  <a:lnTo>
                    <a:pt x="686" y="761"/>
                  </a:lnTo>
                  <a:lnTo>
                    <a:pt x="693" y="741"/>
                  </a:lnTo>
                  <a:lnTo>
                    <a:pt x="680" y="718"/>
                  </a:lnTo>
                  <a:lnTo>
                    <a:pt x="678" y="674"/>
                  </a:lnTo>
                  <a:lnTo>
                    <a:pt x="693" y="645"/>
                  </a:lnTo>
                  <a:lnTo>
                    <a:pt x="660" y="596"/>
                  </a:lnTo>
                  <a:lnTo>
                    <a:pt x="609" y="525"/>
                  </a:lnTo>
                  <a:lnTo>
                    <a:pt x="583" y="486"/>
                  </a:lnTo>
                  <a:lnTo>
                    <a:pt x="591" y="433"/>
                  </a:lnTo>
                  <a:lnTo>
                    <a:pt x="605" y="360"/>
                  </a:lnTo>
                  <a:lnTo>
                    <a:pt x="581" y="313"/>
                  </a:lnTo>
                  <a:lnTo>
                    <a:pt x="532" y="279"/>
                  </a:lnTo>
                  <a:lnTo>
                    <a:pt x="499" y="279"/>
                  </a:lnTo>
                  <a:lnTo>
                    <a:pt x="485" y="234"/>
                  </a:lnTo>
                  <a:lnTo>
                    <a:pt x="487" y="211"/>
                  </a:lnTo>
                  <a:lnTo>
                    <a:pt x="487" y="189"/>
                  </a:lnTo>
                  <a:lnTo>
                    <a:pt x="497" y="146"/>
                  </a:lnTo>
                  <a:lnTo>
                    <a:pt x="509" y="112"/>
                  </a:lnTo>
                  <a:lnTo>
                    <a:pt x="493" y="107"/>
                  </a:lnTo>
                  <a:lnTo>
                    <a:pt x="497" y="69"/>
                  </a:lnTo>
                  <a:lnTo>
                    <a:pt x="462" y="28"/>
                  </a:lnTo>
                  <a:lnTo>
                    <a:pt x="410" y="0"/>
                  </a:lnTo>
                  <a:lnTo>
                    <a:pt x="381" y="0"/>
                  </a:lnTo>
                  <a:lnTo>
                    <a:pt x="353" y="28"/>
                  </a:lnTo>
                  <a:lnTo>
                    <a:pt x="324" y="34"/>
                  </a:lnTo>
                  <a:lnTo>
                    <a:pt x="296" y="71"/>
                  </a:lnTo>
                  <a:lnTo>
                    <a:pt x="298" y="146"/>
                  </a:lnTo>
                  <a:lnTo>
                    <a:pt x="295" y="199"/>
                  </a:lnTo>
                  <a:lnTo>
                    <a:pt x="279" y="228"/>
                  </a:lnTo>
                  <a:lnTo>
                    <a:pt x="243" y="262"/>
                  </a:lnTo>
                  <a:lnTo>
                    <a:pt x="216" y="228"/>
                  </a:lnTo>
                  <a:lnTo>
                    <a:pt x="192" y="272"/>
                  </a:lnTo>
                  <a:lnTo>
                    <a:pt x="133" y="256"/>
                  </a:lnTo>
                  <a:lnTo>
                    <a:pt x="57" y="165"/>
                  </a:lnTo>
                  <a:lnTo>
                    <a:pt x="35" y="177"/>
                  </a:lnTo>
                  <a:lnTo>
                    <a:pt x="35" y="211"/>
                  </a:lnTo>
                  <a:lnTo>
                    <a:pt x="0" y="213"/>
                  </a:lnTo>
                  <a:lnTo>
                    <a:pt x="53" y="262"/>
                  </a:lnTo>
                  <a:lnTo>
                    <a:pt x="104" y="303"/>
                  </a:lnTo>
                  <a:lnTo>
                    <a:pt x="169" y="319"/>
                  </a:lnTo>
                  <a:lnTo>
                    <a:pt x="212" y="389"/>
                  </a:lnTo>
                  <a:lnTo>
                    <a:pt x="198" y="437"/>
                  </a:lnTo>
                  <a:lnTo>
                    <a:pt x="218" y="470"/>
                  </a:lnTo>
                  <a:lnTo>
                    <a:pt x="222" y="513"/>
                  </a:lnTo>
                  <a:lnTo>
                    <a:pt x="273" y="592"/>
                  </a:lnTo>
                  <a:lnTo>
                    <a:pt x="249" y="649"/>
                  </a:lnTo>
                  <a:lnTo>
                    <a:pt x="289" y="70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84" name="Freeform 492"/>
          <p:cNvSpPr>
            <a:spLocks/>
          </p:cNvSpPr>
          <p:nvPr/>
        </p:nvSpPr>
        <p:spPr bwMode="auto">
          <a:xfrm>
            <a:off x="5081588" y="5149428"/>
            <a:ext cx="290512" cy="268287"/>
          </a:xfrm>
          <a:custGeom>
            <a:avLst/>
            <a:gdLst>
              <a:gd name="T0" fmla="*/ 0 w 366"/>
              <a:gd name="T1" fmla="*/ 242 h 340"/>
              <a:gd name="T2" fmla="*/ 14 w 366"/>
              <a:gd name="T3" fmla="*/ 220 h 340"/>
              <a:gd name="T4" fmla="*/ 20 w 366"/>
              <a:gd name="T5" fmla="*/ 138 h 340"/>
              <a:gd name="T6" fmla="*/ 36 w 366"/>
              <a:gd name="T7" fmla="*/ 114 h 340"/>
              <a:gd name="T8" fmla="*/ 43 w 366"/>
              <a:gd name="T9" fmla="*/ 85 h 340"/>
              <a:gd name="T10" fmla="*/ 26 w 366"/>
              <a:gd name="T11" fmla="*/ 75 h 340"/>
              <a:gd name="T12" fmla="*/ 20 w 366"/>
              <a:gd name="T13" fmla="*/ 59 h 340"/>
              <a:gd name="T14" fmla="*/ 6 w 366"/>
              <a:gd name="T15" fmla="*/ 57 h 340"/>
              <a:gd name="T16" fmla="*/ 36 w 366"/>
              <a:gd name="T17" fmla="*/ 33 h 340"/>
              <a:gd name="T18" fmla="*/ 61 w 366"/>
              <a:gd name="T19" fmla="*/ 33 h 340"/>
              <a:gd name="T20" fmla="*/ 110 w 366"/>
              <a:gd name="T21" fmla="*/ 0 h 340"/>
              <a:gd name="T22" fmla="*/ 134 w 366"/>
              <a:gd name="T23" fmla="*/ 18 h 340"/>
              <a:gd name="T24" fmla="*/ 165 w 366"/>
              <a:gd name="T25" fmla="*/ 20 h 340"/>
              <a:gd name="T26" fmla="*/ 206 w 366"/>
              <a:gd name="T27" fmla="*/ 8 h 340"/>
              <a:gd name="T28" fmla="*/ 216 w 366"/>
              <a:gd name="T29" fmla="*/ 6 h 340"/>
              <a:gd name="T30" fmla="*/ 218 w 366"/>
              <a:gd name="T31" fmla="*/ 41 h 340"/>
              <a:gd name="T32" fmla="*/ 230 w 366"/>
              <a:gd name="T33" fmla="*/ 57 h 340"/>
              <a:gd name="T34" fmla="*/ 238 w 366"/>
              <a:gd name="T35" fmla="*/ 73 h 340"/>
              <a:gd name="T36" fmla="*/ 261 w 366"/>
              <a:gd name="T37" fmla="*/ 77 h 340"/>
              <a:gd name="T38" fmla="*/ 285 w 366"/>
              <a:gd name="T39" fmla="*/ 87 h 340"/>
              <a:gd name="T40" fmla="*/ 334 w 366"/>
              <a:gd name="T41" fmla="*/ 90 h 340"/>
              <a:gd name="T42" fmla="*/ 352 w 366"/>
              <a:gd name="T43" fmla="*/ 92 h 340"/>
              <a:gd name="T44" fmla="*/ 366 w 366"/>
              <a:gd name="T45" fmla="*/ 100 h 340"/>
              <a:gd name="T46" fmla="*/ 366 w 366"/>
              <a:gd name="T47" fmla="*/ 124 h 340"/>
              <a:gd name="T48" fmla="*/ 346 w 366"/>
              <a:gd name="T49" fmla="*/ 143 h 340"/>
              <a:gd name="T50" fmla="*/ 318 w 366"/>
              <a:gd name="T51" fmla="*/ 151 h 340"/>
              <a:gd name="T52" fmla="*/ 263 w 366"/>
              <a:gd name="T53" fmla="*/ 145 h 340"/>
              <a:gd name="T54" fmla="*/ 228 w 366"/>
              <a:gd name="T55" fmla="*/ 157 h 340"/>
              <a:gd name="T56" fmla="*/ 212 w 366"/>
              <a:gd name="T57" fmla="*/ 163 h 340"/>
              <a:gd name="T58" fmla="*/ 181 w 366"/>
              <a:gd name="T59" fmla="*/ 165 h 340"/>
              <a:gd name="T60" fmla="*/ 165 w 366"/>
              <a:gd name="T61" fmla="*/ 195 h 340"/>
              <a:gd name="T62" fmla="*/ 134 w 366"/>
              <a:gd name="T63" fmla="*/ 224 h 340"/>
              <a:gd name="T64" fmla="*/ 116 w 366"/>
              <a:gd name="T65" fmla="*/ 248 h 340"/>
              <a:gd name="T66" fmla="*/ 91 w 366"/>
              <a:gd name="T67" fmla="*/ 263 h 340"/>
              <a:gd name="T68" fmla="*/ 63 w 366"/>
              <a:gd name="T69" fmla="*/ 293 h 340"/>
              <a:gd name="T70" fmla="*/ 47 w 366"/>
              <a:gd name="T71" fmla="*/ 324 h 340"/>
              <a:gd name="T72" fmla="*/ 26 w 366"/>
              <a:gd name="T73" fmla="*/ 340 h 340"/>
              <a:gd name="T74" fmla="*/ 22 w 366"/>
              <a:gd name="T75" fmla="*/ 314 h 340"/>
              <a:gd name="T76" fmla="*/ 18 w 366"/>
              <a:gd name="T77" fmla="*/ 293 h 340"/>
              <a:gd name="T78" fmla="*/ 47 w 366"/>
              <a:gd name="T79" fmla="*/ 273 h 340"/>
              <a:gd name="T80" fmla="*/ 81 w 366"/>
              <a:gd name="T81" fmla="*/ 257 h 340"/>
              <a:gd name="T82" fmla="*/ 98 w 366"/>
              <a:gd name="T83" fmla="*/ 240 h 340"/>
              <a:gd name="T84" fmla="*/ 81 w 366"/>
              <a:gd name="T85" fmla="*/ 230 h 340"/>
              <a:gd name="T86" fmla="*/ 69 w 366"/>
              <a:gd name="T87" fmla="*/ 246 h 340"/>
              <a:gd name="T88" fmla="*/ 45 w 366"/>
              <a:gd name="T89" fmla="*/ 246 h 340"/>
              <a:gd name="T90" fmla="*/ 24 w 366"/>
              <a:gd name="T91" fmla="*/ 255 h 340"/>
              <a:gd name="T92" fmla="*/ 0 w 366"/>
              <a:gd name="T93" fmla="*/ 24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66" h="340">
                <a:moveTo>
                  <a:pt x="0" y="242"/>
                </a:moveTo>
                <a:lnTo>
                  <a:pt x="14" y="220"/>
                </a:lnTo>
                <a:lnTo>
                  <a:pt x="20" y="138"/>
                </a:lnTo>
                <a:lnTo>
                  <a:pt x="36" y="114"/>
                </a:lnTo>
                <a:lnTo>
                  <a:pt x="43" y="85"/>
                </a:lnTo>
                <a:lnTo>
                  <a:pt x="26" y="75"/>
                </a:lnTo>
                <a:lnTo>
                  <a:pt x="20" y="59"/>
                </a:lnTo>
                <a:lnTo>
                  <a:pt x="6" y="57"/>
                </a:lnTo>
                <a:lnTo>
                  <a:pt x="36" y="33"/>
                </a:lnTo>
                <a:lnTo>
                  <a:pt x="61" y="33"/>
                </a:lnTo>
                <a:lnTo>
                  <a:pt x="110" y="0"/>
                </a:lnTo>
                <a:lnTo>
                  <a:pt x="134" y="18"/>
                </a:lnTo>
                <a:lnTo>
                  <a:pt x="165" y="20"/>
                </a:lnTo>
                <a:lnTo>
                  <a:pt x="206" y="8"/>
                </a:lnTo>
                <a:lnTo>
                  <a:pt x="216" y="6"/>
                </a:lnTo>
                <a:lnTo>
                  <a:pt x="218" y="41"/>
                </a:lnTo>
                <a:lnTo>
                  <a:pt x="230" y="57"/>
                </a:lnTo>
                <a:lnTo>
                  <a:pt x="238" y="73"/>
                </a:lnTo>
                <a:lnTo>
                  <a:pt x="261" y="77"/>
                </a:lnTo>
                <a:lnTo>
                  <a:pt x="285" y="87"/>
                </a:lnTo>
                <a:lnTo>
                  <a:pt x="334" y="90"/>
                </a:lnTo>
                <a:lnTo>
                  <a:pt x="352" y="92"/>
                </a:lnTo>
                <a:lnTo>
                  <a:pt x="366" y="100"/>
                </a:lnTo>
                <a:lnTo>
                  <a:pt x="366" y="124"/>
                </a:lnTo>
                <a:lnTo>
                  <a:pt x="346" y="143"/>
                </a:lnTo>
                <a:lnTo>
                  <a:pt x="318" y="151"/>
                </a:lnTo>
                <a:lnTo>
                  <a:pt x="263" y="145"/>
                </a:lnTo>
                <a:lnTo>
                  <a:pt x="228" y="157"/>
                </a:lnTo>
                <a:lnTo>
                  <a:pt x="212" y="163"/>
                </a:lnTo>
                <a:lnTo>
                  <a:pt x="181" y="165"/>
                </a:lnTo>
                <a:lnTo>
                  <a:pt x="165" y="195"/>
                </a:lnTo>
                <a:lnTo>
                  <a:pt x="134" y="224"/>
                </a:lnTo>
                <a:lnTo>
                  <a:pt x="116" y="248"/>
                </a:lnTo>
                <a:lnTo>
                  <a:pt x="91" y="263"/>
                </a:lnTo>
                <a:lnTo>
                  <a:pt x="63" y="293"/>
                </a:lnTo>
                <a:lnTo>
                  <a:pt x="47" y="324"/>
                </a:lnTo>
                <a:lnTo>
                  <a:pt x="26" y="340"/>
                </a:lnTo>
                <a:lnTo>
                  <a:pt x="22" y="314"/>
                </a:lnTo>
                <a:lnTo>
                  <a:pt x="18" y="293"/>
                </a:lnTo>
                <a:lnTo>
                  <a:pt x="47" y="273"/>
                </a:lnTo>
                <a:lnTo>
                  <a:pt x="81" y="257"/>
                </a:lnTo>
                <a:lnTo>
                  <a:pt x="98" y="240"/>
                </a:lnTo>
                <a:lnTo>
                  <a:pt x="81" y="230"/>
                </a:lnTo>
                <a:lnTo>
                  <a:pt x="69" y="246"/>
                </a:lnTo>
                <a:lnTo>
                  <a:pt x="45" y="246"/>
                </a:lnTo>
                <a:lnTo>
                  <a:pt x="24" y="255"/>
                </a:lnTo>
                <a:lnTo>
                  <a:pt x="0" y="242"/>
                </a:lnTo>
                <a:close/>
              </a:path>
            </a:pathLst>
          </a:custGeom>
          <a:solidFill>
            <a:srgbClr val="FFFFFF"/>
          </a:solidFill>
          <a:ln w="9525">
            <a:solidFill>
              <a:srgbClr val="000000"/>
            </a:solidFill>
            <a:prstDash val="solid"/>
            <a:round/>
            <a:headEnd/>
            <a:tailEnd/>
          </a:ln>
        </p:spPr>
        <p:txBody>
          <a:bodyPr/>
          <a:lstStyle/>
          <a:p>
            <a:endParaRPr lang="cs-CZ"/>
          </a:p>
        </p:txBody>
      </p:sp>
      <p:grpSp>
        <p:nvGrpSpPr>
          <p:cNvPr id="485" name="Group 493"/>
          <p:cNvGrpSpPr>
            <a:grpSpLocks/>
          </p:cNvGrpSpPr>
          <p:nvPr/>
        </p:nvGrpSpPr>
        <p:grpSpPr bwMode="auto">
          <a:xfrm>
            <a:off x="5118100" y="4839865"/>
            <a:ext cx="1889125" cy="1038225"/>
            <a:chOff x="3216" y="3113"/>
            <a:chExt cx="1190" cy="654"/>
          </a:xfrm>
        </p:grpSpPr>
        <p:sp>
          <p:nvSpPr>
            <p:cNvPr id="486" name="Freeform 494"/>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 name="T120" fmla="*/ 328 w 2382"/>
                <a:gd name="T121" fmla="*/ 531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lnTo>
                    <a:pt x="328" y="5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487" name="Freeform 495"/>
            <p:cNvSpPr>
              <a:spLocks/>
            </p:cNvSpPr>
            <p:nvPr/>
          </p:nvSpPr>
          <p:spPr bwMode="auto">
            <a:xfrm>
              <a:off x="3216" y="3113"/>
              <a:ext cx="1190" cy="654"/>
            </a:xfrm>
            <a:custGeom>
              <a:avLst/>
              <a:gdLst>
                <a:gd name="T0" fmla="*/ 399 w 2382"/>
                <a:gd name="T1" fmla="*/ 558 h 1309"/>
                <a:gd name="T2" fmla="*/ 384 w 2382"/>
                <a:gd name="T3" fmla="*/ 570 h 1309"/>
                <a:gd name="T4" fmla="*/ 313 w 2382"/>
                <a:gd name="T5" fmla="*/ 605 h 1309"/>
                <a:gd name="T6" fmla="*/ 258 w 2382"/>
                <a:gd name="T7" fmla="*/ 629 h 1309"/>
                <a:gd name="T8" fmla="*/ 199 w 2382"/>
                <a:gd name="T9" fmla="*/ 633 h 1309"/>
                <a:gd name="T10" fmla="*/ 124 w 2382"/>
                <a:gd name="T11" fmla="*/ 656 h 1309"/>
                <a:gd name="T12" fmla="*/ 51 w 2382"/>
                <a:gd name="T13" fmla="*/ 678 h 1309"/>
                <a:gd name="T14" fmla="*/ 18 w 2382"/>
                <a:gd name="T15" fmla="*/ 733 h 1309"/>
                <a:gd name="T16" fmla="*/ 8 w 2382"/>
                <a:gd name="T17" fmla="*/ 798 h 1309"/>
                <a:gd name="T18" fmla="*/ 67 w 2382"/>
                <a:gd name="T19" fmla="*/ 811 h 1309"/>
                <a:gd name="T20" fmla="*/ 81 w 2382"/>
                <a:gd name="T21" fmla="*/ 861 h 1309"/>
                <a:gd name="T22" fmla="*/ 104 w 2382"/>
                <a:gd name="T23" fmla="*/ 941 h 1309"/>
                <a:gd name="T24" fmla="*/ 101 w 2382"/>
                <a:gd name="T25" fmla="*/ 994 h 1309"/>
                <a:gd name="T26" fmla="*/ 55 w 2382"/>
                <a:gd name="T27" fmla="*/ 977 h 1309"/>
                <a:gd name="T28" fmla="*/ 59 w 2382"/>
                <a:gd name="T29" fmla="*/ 1033 h 1309"/>
                <a:gd name="T30" fmla="*/ 154 w 2382"/>
                <a:gd name="T31" fmla="*/ 1045 h 1309"/>
                <a:gd name="T32" fmla="*/ 161 w 2382"/>
                <a:gd name="T33" fmla="*/ 1104 h 1309"/>
                <a:gd name="T34" fmla="*/ 191 w 2382"/>
                <a:gd name="T35" fmla="*/ 1144 h 1309"/>
                <a:gd name="T36" fmla="*/ 220 w 2382"/>
                <a:gd name="T37" fmla="*/ 1187 h 1309"/>
                <a:gd name="T38" fmla="*/ 307 w 2382"/>
                <a:gd name="T39" fmla="*/ 1191 h 1309"/>
                <a:gd name="T40" fmla="*/ 273 w 2382"/>
                <a:gd name="T41" fmla="*/ 1232 h 1309"/>
                <a:gd name="T42" fmla="*/ 254 w 2382"/>
                <a:gd name="T43" fmla="*/ 1267 h 1309"/>
                <a:gd name="T44" fmla="*/ 313 w 2382"/>
                <a:gd name="T45" fmla="*/ 1252 h 1309"/>
                <a:gd name="T46" fmla="*/ 368 w 2382"/>
                <a:gd name="T47" fmla="*/ 1222 h 1309"/>
                <a:gd name="T48" fmla="*/ 427 w 2382"/>
                <a:gd name="T49" fmla="*/ 1224 h 1309"/>
                <a:gd name="T50" fmla="*/ 458 w 2382"/>
                <a:gd name="T51" fmla="*/ 1277 h 1309"/>
                <a:gd name="T52" fmla="*/ 527 w 2382"/>
                <a:gd name="T53" fmla="*/ 1309 h 1309"/>
                <a:gd name="T54" fmla="*/ 594 w 2382"/>
                <a:gd name="T55" fmla="*/ 1277 h 1309"/>
                <a:gd name="T56" fmla="*/ 631 w 2382"/>
                <a:gd name="T57" fmla="*/ 1220 h 1309"/>
                <a:gd name="T58" fmla="*/ 729 w 2382"/>
                <a:gd name="T59" fmla="*/ 1161 h 1309"/>
                <a:gd name="T60" fmla="*/ 839 w 2382"/>
                <a:gd name="T61" fmla="*/ 1204 h 1309"/>
                <a:gd name="T62" fmla="*/ 945 w 2382"/>
                <a:gd name="T63" fmla="*/ 1250 h 1309"/>
                <a:gd name="T64" fmla="*/ 1008 w 2382"/>
                <a:gd name="T65" fmla="*/ 1220 h 1309"/>
                <a:gd name="T66" fmla="*/ 1081 w 2382"/>
                <a:gd name="T67" fmla="*/ 1157 h 1309"/>
                <a:gd name="T68" fmla="*/ 1164 w 2382"/>
                <a:gd name="T69" fmla="*/ 1071 h 1309"/>
                <a:gd name="T70" fmla="*/ 1270 w 2382"/>
                <a:gd name="T71" fmla="*/ 1096 h 1309"/>
                <a:gd name="T72" fmla="*/ 1325 w 2382"/>
                <a:gd name="T73" fmla="*/ 1075 h 1309"/>
                <a:gd name="T74" fmla="*/ 1340 w 2382"/>
                <a:gd name="T75" fmla="*/ 1179 h 1309"/>
                <a:gd name="T76" fmla="*/ 1388 w 2382"/>
                <a:gd name="T77" fmla="*/ 1118 h 1309"/>
                <a:gd name="T78" fmla="*/ 1390 w 2382"/>
                <a:gd name="T79" fmla="*/ 1079 h 1309"/>
                <a:gd name="T80" fmla="*/ 1486 w 2382"/>
                <a:gd name="T81" fmla="*/ 1018 h 1309"/>
                <a:gd name="T82" fmla="*/ 1600 w 2382"/>
                <a:gd name="T83" fmla="*/ 929 h 1309"/>
                <a:gd name="T84" fmla="*/ 1696 w 2382"/>
                <a:gd name="T85" fmla="*/ 955 h 1309"/>
                <a:gd name="T86" fmla="*/ 1851 w 2382"/>
                <a:gd name="T87" fmla="*/ 833 h 1309"/>
                <a:gd name="T88" fmla="*/ 2036 w 2382"/>
                <a:gd name="T89" fmla="*/ 753 h 1309"/>
                <a:gd name="T90" fmla="*/ 2207 w 2382"/>
                <a:gd name="T91" fmla="*/ 662 h 1309"/>
                <a:gd name="T92" fmla="*/ 2341 w 2382"/>
                <a:gd name="T93" fmla="*/ 656 h 1309"/>
                <a:gd name="T94" fmla="*/ 2327 w 2382"/>
                <a:gd name="T95" fmla="*/ 552 h 1309"/>
                <a:gd name="T96" fmla="*/ 2236 w 2382"/>
                <a:gd name="T97" fmla="*/ 369 h 1309"/>
                <a:gd name="T98" fmla="*/ 2215 w 2382"/>
                <a:gd name="T99" fmla="*/ 230 h 1309"/>
                <a:gd name="T100" fmla="*/ 2097 w 2382"/>
                <a:gd name="T101" fmla="*/ 173 h 1309"/>
                <a:gd name="T102" fmla="*/ 1953 w 2382"/>
                <a:gd name="T103" fmla="*/ 31 h 1309"/>
                <a:gd name="T104" fmla="*/ 1808 w 2382"/>
                <a:gd name="T105" fmla="*/ 47 h 1309"/>
                <a:gd name="T106" fmla="*/ 1635 w 2382"/>
                <a:gd name="T107" fmla="*/ 214 h 1309"/>
                <a:gd name="T108" fmla="*/ 1413 w 2382"/>
                <a:gd name="T109" fmla="*/ 281 h 1309"/>
                <a:gd name="T110" fmla="*/ 1219 w 2382"/>
                <a:gd name="T111" fmla="*/ 277 h 1309"/>
                <a:gd name="T112" fmla="*/ 1042 w 2382"/>
                <a:gd name="T113" fmla="*/ 236 h 1309"/>
                <a:gd name="T114" fmla="*/ 833 w 2382"/>
                <a:gd name="T115" fmla="*/ 252 h 1309"/>
                <a:gd name="T116" fmla="*/ 596 w 2382"/>
                <a:gd name="T117" fmla="*/ 421 h 1309"/>
                <a:gd name="T118" fmla="*/ 378 w 2382"/>
                <a:gd name="T119" fmla="*/ 489 h 1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82" h="1309">
                  <a:moveTo>
                    <a:pt x="328" y="531"/>
                  </a:moveTo>
                  <a:lnTo>
                    <a:pt x="358" y="560"/>
                  </a:lnTo>
                  <a:lnTo>
                    <a:pt x="384" y="560"/>
                  </a:lnTo>
                  <a:lnTo>
                    <a:pt x="399" y="558"/>
                  </a:lnTo>
                  <a:lnTo>
                    <a:pt x="415" y="546"/>
                  </a:lnTo>
                  <a:lnTo>
                    <a:pt x="433" y="564"/>
                  </a:lnTo>
                  <a:lnTo>
                    <a:pt x="411" y="574"/>
                  </a:lnTo>
                  <a:lnTo>
                    <a:pt x="384" y="570"/>
                  </a:lnTo>
                  <a:lnTo>
                    <a:pt x="364" y="578"/>
                  </a:lnTo>
                  <a:lnTo>
                    <a:pt x="332" y="580"/>
                  </a:lnTo>
                  <a:lnTo>
                    <a:pt x="319" y="589"/>
                  </a:lnTo>
                  <a:lnTo>
                    <a:pt x="313" y="605"/>
                  </a:lnTo>
                  <a:lnTo>
                    <a:pt x="330" y="615"/>
                  </a:lnTo>
                  <a:lnTo>
                    <a:pt x="340" y="633"/>
                  </a:lnTo>
                  <a:lnTo>
                    <a:pt x="328" y="635"/>
                  </a:lnTo>
                  <a:lnTo>
                    <a:pt x="258" y="629"/>
                  </a:lnTo>
                  <a:lnTo>
                    <a:pt x="244" y="643"/>
                  </a:lnTo>
                  <a:lnTo>
                    <a:pt x="234" y="646"/>
                  </a:lnTo>
                  <a:lnTo>
                    <a:pt x="218" y="654"/>
                  </a:lnTo>
                  <a:lnTo>
                    <a:pt x="199" y="633"/>
                  </a:lnTo>
                  <a:lnTo>
                    <a:pt x="173" y="631"/>
                  </a:lnTo>
                  <a:lnTo>
                    <a:pt x="167" y="656"/>
                  </a:lnTo>
                  <a:lnTo>
                    <a:pt x="148" y="668"/>
                  </a:lnTo>
                  <a:lnTo>
                    <a:pt x="124" y="656"/>
                  </a:lnTo>
                  <a:lnTo>
                    <a:pt x="104" y="652"/>
                  </a:lnTo>
                  <a:lnTo>
                    <a:pt x="91" y="670"/>
                  </a:lnTo>
                  <a:lnTo>
                    <a:pt x="67" y="674"/>
                  </a:lnTo>
                  <a:lnTo>
                    <a:pt x="51" y="678"/>
                  </a:lnTo>
                  <a:lnTo>
                    <a:pt x="46" y="692"/>
                  </a:lnTo>
                  <a:lnTo>
                    <a:pt x="34" y="705"/>
                  </a:lnTo>
                  <a:lnTo>
                    <a:pt x="28" y="719"/>
                  </a:lnTo>
                  <a:lnTo>
                    <a:pt x="18" y="733"/>
                  </a:lnTo>
                  <a:lnTo>
                    <a:pt x="6" y="743"/>
                  </a:lnTo>
                  <a:lnTo>
                    <a:pt x="0" y="753"/>
                  </a:lnTo>
                  <a:lnTo>
                    <a:pt x="2" y="770"/>
                  </a:lnTo>
                  <a:lnTo>
                    <a:pt x="8" y="798"/>
                  </a:lnTo>
                  <a:lnTo>
                    <a:pt x="6" y="819"/>
                  </a:lnTo>
                  <a:lnTo>
                    <a:pt x="20" y="827"/>
                  </a:lnTo>
                  <a:lnTo>
                    <a:pt x="48" y="823"/>
                  </a:lnTo>
                  <a:lnTo>
                    <a:pt x="67" y="811"/>
                  </a:lnTo>
                  <a:lnTo>
                    <a:pt x="97" y="810"/>
                  </a:lnTo>
                  <a:lnTo>
                    <a:pt x="97" y="825"/>
                  </a:lnTo>
                  <a:lnTo>
                    <a:pt x="85" y="845"/>
                  </a:lnTo>
                  <a:lnTo>
                    <a:pt x="81" y="861"/>
                  </a:lnTo>
                  <a:lnTo>
                    <a:pt x="99" y="888"/>
                  </a:lnTo>
                  <a:lnTo>
                    <a:pt x="118" y="910"/>
                  </a:lnTo>
                  <a:lnTo>
                    <a:pt x="124" y="922"/>
                  </a:lnTo>
                  <a:lnTo>
                    <a:pt x="104" y="941"/>
                  </a:lnTo>
                  <a:lnTo>
                    <a:pt x="108" y="961"/>
                  </a:lnTo>
                  <a:lnTo>
                    <a:pt x="126" y="978"/>
                  </a:lnTo>
                  <a:lnTo>
                    <a:pt x="110" y="994"/>
                  </a:lnTo>
                  <a:lnTo>
                    <a:pt x="101" y="994"/>
                  </a:lnTo>
                  <a:lnTo>
                    <a:pt x="85" y="986"/>
                  </a:lnTo>
                  <a:lnTo>
                    <a:pt x="77" y="973"/>
                  </a:lnTo>
                  <a:lnTo>
                    <a:pt x="71" y="957"/>
                  </a:lnTo>
                  <a:lnTo>
                    <a:pt x="55" y="977"/>
                  </a:lnTo>
                  <a:lnTo>
                    <a:pt x="61" y="996"/>
                  </a:lnTo>
                  <a:lnTo>
                    <a:pt x="53" y="1008"/>
                  </a:lnTo>
                  <a:lnTo>
                    <a:pt x="46" y="1018"/>
                  </a:lnTo>
                  <a:lnTo>
                    <a:pt x="59" y="1033"/>
                  </a:lnTo>
                  <a:lnTo>
                    <a:pt x="85" y="1041"/>
                  </a:lnTo>
                  <a:lnTo>
                    <a:pt x="103" y="1030"/>
                  </a:lnTo>
                  <a:lnTo>
                    <a:pt x="122" y="1045"/>
                  </a:lnTo>
                  <a:lnTo>
                    <a:pt x="154" y="1045"/>
                  </a:lnTo>
                  <a:lnTo>
                    <a:pt x="169" y="1053"/>
                  </a:lnTo>
                  <a:lnTo>
                    <a:pt x="175" y="1075"/>
                  </a:lnTo>
                  <a:lnTo>
                    <a:pt x="177" y="1090"/>
                  </a:lnTo>
                  <a:lnTo>
                    <a:pt x="161" y="1104"/>
                  </a:lnTo>
                  <a:lnTo>
                    <a:pt x="173" y="1122"/>
                  </a:lnTo>
                  <a:lnTo>
                    <a:pt x="187" y="1114"/>
                  </a:lnTo>
                  <a:lnTo>
                    <a:pt x="205" y="1114"/>
                  </a:lnTo>
                  <a:lnTo>
                    <a:pt x="191" y="1144"/>
                  </a:lnTo>
                  <a:lnTo>
                    <a:pt x="201" y="1155"/>
                  </a:lnTo>
                  <a:lnTo>
                    <a:pt x="228" y="1159"/>
                  </a:lnTo>
                  <a:lnTo>
                    <a:pt x="228" y="1179"/>
                  </a:lnTo>
                  <a:lnTo>
                    <a:pt x="220" y="1187"/>
                  </a:lnTo>
                  <a:lnTo>
                    <a:pt x="215" y="1212"/>
                  </a:lnTo>
                  <a:lnTo>
                    <a:pt x="232" y="1212"/>
                  </a:lnTo>
                  <a:lnTo>
                    <a:pt x="273" y="1202"/>
                  </a:lnTo>
                  <a:lnTo>
                    <a:pt x="307" y="1191"/>
                  </a:lnTo>
                  <a:lnTo>
                    <a:pt x="336" y="1185"/>
                  </a:lnTo>
                  <a:lnTo>
                    <a:pt x="321" y="1210"/>
                  </a:lnTo>
                  <a:lnTo>
                    <a:pt x="301" y="1222"/>
                  </a:lnTo>
                  <a:lnTo>
                    <a:pt x="273" y="1232"/>
                  </a:lnTo>
                  <a:lnTo>
                    <a:pt x="252" y="1238"/>
                  </a:lnTo>
                  <a:lnTo>
                    <a:pt x="236" y="1250"/>
                  </a:lnTo>
                  <a:lnTo>
                    <a:pt x="226" y="1267"/>
                  </a:lnTo>
                  <a:lnTo>
                    <a:pt x="254" y="1267"/>
                  </a:lnTo>
                  <a:lnTo>
                    <a:pt x="277" y="1257"/>
                  </a:lnTo>
                  <a:lnTo>
                    <a:pt x="289" y="1250"/>
                  </a:lnTo>
                  <a:lnTo>
                    <a:pt x="305" y="1242"/>
                  </a:lnTo>
                  <a:lnTo>
                    <a:pt x="313" y="1252"/>
                  </a:lnTo>
                  <a:lnTo>
                    <a:pt x="313" y="1263"/>
                  </a:lnTo>
                  <a:lnTo>
                    <a:pt x="334" y="1257"/>
                  </a:lnTo>
                  <a:lnTo>
                    <a:pt x="348" y="1232"/>
                  </a:lnTo>
                  <a:lnTo>
                    <a:pt x="368" y="1222"/>
                  </a:lnTo>
                  <a:lnTo>
                    <a:pt x="384" y="1236"/>
                  </a:lnTo>
                  <a:lnTo>
                    <a:pt x="399" y="1242"/>
                  </a:lnTo>
                  <a:lnTo>
                    <a:pt x="415" y="1244"/>
                  </a:lnTo>
                  <a:lnTo>
                    <a:pt x="427" y="1224"/>
                  </a:lnTo>
                  <a:lnTo>
                    <a:pt x="442" y="1226"/>
                  </a:lnTo>
                  <a:lnTo>
                    <a:pt x="439" y="1250"/>
                  </a:lnTo>
                  <a:lnTo>
                    <a:pt x="458" y="1263"/>
                  </a:lnTo>
                  <a:lnTo>
                    <a:pt x="458" y="1277"/>
                  </a:lnTo>
                  <a:lnTo>
                    <a:pt x="478" y="1289"/>
                  </a:lnTo>
                  <a:lnTo>
                    <a:pt x="492" y="1303"/>
                  </a:lnTo>
                  <a:lnTo>
                    <a:pt x="517" y="1307"/>
                  </a:lnTo>
                  <a:lnTo>
                    <a:pt x="527" y="1309"/>
                  </a:lnTo>
                  <a:lnTo>
                    <a:pt x="551" y="1291"/>
                  </a:lnTo>
                  <a:lnTo>
                    <a:pt x="554" y="1305"/>
                  </a:lnTo>
                  <a:lnTo>
                    <a:pt x="570" y="1293"/>
                  </a:lnTo>
                  <a:lnTo>
                    <a:pt x="594" y="1277"/>
                  </a:lnTo>
                  <a:lnTo>
                    <a:pt x="602" y="1277"/>
                  </a:lnTo>
                  <a:lnTo>
                    <a:pt x="621" y="1257"/>
                  </a:lnTo>
                  <a:lnTo>
                    <a:pt x="625" y="1240"/>
                  </a:lnTo>
                  <a:lnTo>
                    <a:pt x="631" y="1220"/>
                  </a:lnTo>
                  <a:lnTo>
                    <a:pt x="639" y="1161"/>
                  </a:lnTo>
                  <a:lnTo>
                    <a:pt x="653" y="1171"/>
                  </a:lnTo>
                  <a:lnTo>
                    <a:pt x="686" y="1145"/>
                  </a:lnTo>
                  <a:lnTo>
                    <a:pt x="729" y="1161"/>
                  </a:lnTo>
                  <a:lnTo>
                    <a:pt x="749" y="1173"/>
                  </a:lnTo>
                  <a:lnTo>
                    <a:pt x="782" y="1183"/>
                  </a:lnTo>
                  <a:lnTo>
                    <a:pt x="814" y="1193"/>
                  </a:lnTo>
                  <a:lnTo>
                    <a:pt x="839" y="1204"/>
                  </a:lnTo>
                  <a:lnTo>
                    <a:pt x="865" y="1220"/>
                  </a:lnTo>
                  <a:lnTo>
                    <a:pt x="890" y="1246"/>
                  </a:lnTo>
                  <a:lnTo>
                    <a:pt x="908" y="1250"/>
                  </a:lnTo>
                  <a:lnTo>
                    <a:pt x="945" y="1250"/>
                  </a:lnTo>
                  <a:lnTo>
                    <a:pt x="973" y="1224"/>
                  </a:lnTo>
                  <a:lnTo>
                    <a:pt x="989" y="1230"/>
                  </a:lnTo>
                  <a:lnTo>
                    <a:pt x="999" y="1224"/>
                  </a:lnTo>
                  <a:lnTo>
                    <a:pt x="1008" y="1220"/>
                  </a:lnTo>
                  <a:lnTo>
                    <a:pt x="1020" y="1212"/>
                  </a:lnTo>
                  <a:lnTo>
                    <a:pt x="1036" y="1204"/>
                  </a:lnTo>
                  <a:lnTo>
                    <a:pt x="1057" y="1181"/>
                  </a:lnTo>
                  <a:lnTo>
                    <a:pt x="1081" y="1157"/>
                  </a:lnTo>
                  <a:lnTo>
                    <a:pt x="1099" y="1122"/>
                  </a:lnTo>
                  <a:lnTo>
                    <a:pt x="1120" y="1085"/>
                  </a:lnTo>
                  <a:lnTo>
                    <a:pt x="1148" y="1069"/>
                  </a:lnTo>
                  <a:lnTo>
                    <a:pt x="1164" y="1071"/>
                  </a:lnTo>
                  <a:lnTo>
                    <a:pt x="1195" y="1081"/>
                  </a:lnTo>
                  <a:lnTo>
                    <a:pt x="1221" y="1092"/>
                  </a:lnTo>
                  <a:lnTo>
                    <a:pt x="1240" y="1098"/>
                  </a:lnTo>
                  <a:lnTo>
                    <a:pt x="1270" y="1096"/>
                  </a:lnTo>
                  <a:lnTo>
                    <a:pt x="1281" y="1057"/>
                  </a:lnTo>
                  <a:lnTo>
                    <a:pt x="1293" y="1030"/>
                  </a:lnTo>
                  <a:lnTo>
                    <a:pt x="1327" y="1037"/>
                  </a:lnTo>
                  <a:lnTo>
                    <a:pt x="1325" y="1075"/>
                  </a:lnTo>
                  <a:lnTo>
                    <a:pt x="1323" y="1104"/>
                  </a:lnTo>
                  <a:lnTo>
                    <a:pt x="1325" y="1130"/>
                  </a:lnTo>
                  <a:lnTo>
                    <a:pt x="1329" y="1167"/>
                  </a:lnTo>
                  <a:lnTo>
                    <a:pt x="1340" y="1179"/>
                  </a:lnTo>
                  <a:lnTo>
                    <a:pt x="1372" y="1177"/>
                  </a:lnTo>
                  <a:lnTo>
                    <a:pt x="1378" y="1147"/>
                  </a:lnTo>
                  <a:lnTo>
                    <a:pt x="1382" y="1128"/>
                  </a:lnTo>
                  <a:lnTo>
                    <a:pt x="1388" y="1118"/>
                  </a:lnTo>
                  <a:lnTo>
                    <a:pt x="1409" y="1108"/>
                  </a:lnTo>
                  <a:lnTo>
                    <a:pt x="1423" y="1106"/>
                  </a:lnTo>
                  <a:lnTo>
                    <a:pt x="1421" y="1094"/>
                  </a:lnTo>
                  <a:lnTo>
                    <a:pt x="1390" y="1079"/>
                  </a:lnTo>
                  <a:lnTo>
                    <a:pt x="1386" y="1000"/>
                  </a:lnTo>
                  <a:lnTo>
                    <a:pt x="1452" y="1010"/>
                  </a:lnTo>
                  <a:lnTo>
                    <a:pt x="1460" y="1026"/>
                  </a:lnTo>
                  <a:lnTo>
                    <a:pt x="1486" y="1018"/>
                  </a:lnTo>
                  <a:lnTo>
                    <a:pt x="1517" y="986"/>
                  </a:lnTo>
                  <a:lnTo>
                    <a:pt x="1551" y="977"/>
                  </a:lnTo>
                  <a:lnTo>
                    <a:pt x="1566" y="945"/>
                  </a:lnTo>
                  <a:lnTo>
                    <a:pt x="1600" y="929"/>
                  </a:lnTo>
                  <a:lnTo>
                    <a:pt x="1621" y="941"/>
                  </a:lnTo>
                  <a:lnTo>
                    <a:pt x="1651" y="947"/>
                  </a:lnTo>
                  <a:lnTo>
                    <a:pt x="1672" y="953"/>
                  </a:lnTo>
                  <a:lnTo>
                    <a:pt x="1696" y="955"/>
                  </a:lnTo>
                  <a:lnTo>
                    <a:pt x="1712" y="945"/>
                  </a:lnTo>
                  <a:lnTo>
                    <a:pt x="1777" y="910"/>
                  </a:lnTo>
                  <a:lnTo>
                    <a:pt x="1824" y="874"/>
                  </a:lnTo>
                  <a:lnTo>
                    <a:pt x="1851" y="833"/>
                  </a:lnTo>
                  <a:lnTo>
                    <a:pt x="1879" y="827"/>
                  </a:lnTo>
                  <a:lnTo>
                    <a:pt x="1914" y="796"/>
                  </a:lnTo>
                  <a:lnTo>
                    <a:pt x="1983" y="784"/>
                  </a:lnTo>
                  <a:lnTo>
                    <a:pt x="2036" y="753"/>
                  </a:lnTo>
                  <a:lnTo>
                    <a:pt x="2058" y="719"/>
                  </a:lnTo>
                  <a:lnTo>
                    <a:pt x="2103" y="737"/>
                  </a:lnTo>
                  <a:lnTo>
                    <a:pt x="2140" y="658"/>
                  </a:lnTo>
                  <a:lnTo>
                    <a:pt x="2207" y="662"/>
                  </a:lnTo>
                  <a:lnTo>
                    <a:pt x="2248" y="644"/>
                  </a:lnTo>
                  <a:lnTo>
                    <a:pt x="2286" y="629"/>
                  </a:lnTo>
                  <a:lnTo>
                    <a:pt x="2321" y="635"/>
                  </a:lnTo>
                  <a:lnTo>
                    <a:pt x="2341" y="656"/>
                  </a:lnTo>
                  <a:lnTo>
                    <a:pt x="2362" y="629"/>
                  </a:lnTo>
                  <a:lnTo>
                    <a:pt x="2382" y="617"/>
                  </a:lnTo>
                  <a:lnTo>
                    <a:pt x="2366" y="580"/>
                  </a:lnTo>
                  <a:lnTo>
                    <a:pt x="2327" y="552"/>
                  </a:lnTo>
                  <a:lnTo>
                    <a:pt x="2287" y="542"/>
                  </a:lnTo>
                  <a:lnTo>
                    <a:pt x="2280" y="487"/>
                  </a:lnTo>
                  <a:lnTo>
                    <a:pt x="2256" y="430"/>
                  </a:lnTo>
                  <a:lnTo>
                    <a:pt x="2236" y="369"/>
                  </a:lnTo>
                  <a:lnTo>
                    <a:pt x="2207" y="330"/>
                  </a:lnTo>
                  <a:lnTo>
                    <a:pt x="2185" y="299"/>
                  </a:lnTo>
                  <a:lnTo>
                    <a:pt x="2203" y="271"/>
                  </a:lnTo>
                  <a:lnTo>
                    <a:pt x="2215" y="230"/>
                  </a:lnTo>
                  <a:lnTo>
                    <a:pt x="2219" y="200"/>
                  </a:lnTo>
                  <a:lnTo>
                    <a:pt x="2174" y="191"/>
                  </a:lnTo>
                  <a:lnTo>
                    <a:pt x="2134" y="175"/>
                  </a:lnTo>
                  <a:lnTo>
                    <a:pt x="2097" y="173"/>
                  </a:lnTo>
                  <a:lnTo>
                    <a:pt x="2063" y="130"/>
                  </a:lnTo>
                  <a:lnTo>
                    <a:pt x="2036" y="67"/>
                  </a:lnTo>
                  <a:lnTo>
                    <a:pt x="1999" y="45"/>
                  </a:lnTo>
                  <a:lnTo>
                    <a:pt x="1953" y="31"/>
                  </a:lnTo>
                  <a:lnTo>
                    <a:pt x="1932" y="12"/>
                  </a:lnTo>
                  <a:lnTo>
                    <a:pt x="1885" y="0"/>
                  </a:lnTo>
                  <a:lnTo>
                    <a:pt x="1873" y="43"/>
                  </a:lnTo>
                  <a:lnTo>
                    <a:pt x="1808" y="47"/>
                  </a:lnTo>
                  <a:lnTo>
                    <a:pt x="1763" y="65"/>
                  </a:lnTo>
                  <a:lnTo>
                    <a:pt x="1726" y="96"/>
                  </a:lnTo>
                  <a:lnTo>
                    <a:pt x="1686" y="159"/>
                  </a:lnTo>
                  <a:lnTo>
                    <a:pt x="1635" y="214"/>
                  </a:lnTo>
                  <a:lnTo>
                    <a:pt x="1590" y="212"/>
                  </a:lnTo>
                  <a:lnTo>
                    <a:pt x="1521" y="218"/>
                  </a:lnTo>
                  <a:lnTo>
                    <a:pt x="1452" y="254"/>
                  </a:lnTo>
                  <a:lnTo>
                    <a:pt x="1413" y="281"/>
                  </a:lnTo>
                  <a:lnTo>
                    <a:pt x="1352" y="279"/>
                  </a:lnTo>
                  <a:lnTo>
                    <a:pt x="1321" y="309"/>
                  </a:lnTo>
                  <a:lnTo>
                    <a:pt x="1270" y="289"/>
                  </a:lnTo>
                  <a:lnTo>
                    <a:pt x="1219" y="277"/>
                  </a:lnTo>
                  <a:lnTo>
                    <a:pt x="1177" y="291"/>
                  </a:lnTo>
                  <a:lnTo>
                    <a:pt x="1134" y="218"/>
                  </a:lnTo>
                  <a:lnTo>
                    <a:pt x="1097" y="254"/>
                  </a:lnTo>
                  <a:lnTo>
                    <a:pt x="1042" y="236"/>
                  </a:lnTo>
                  <a:lnTo>
                    <a:pt x="1000" y="198"/>
                  </a:lnTo>
                  <a:lnTo>
                    <a:pt x="981" y="210"/>
                  </a:lnTo>
                  <a:lnTo>
                    <a:pt x="914" y="238"/>
                  </a:lnTo>
                  <a:lnTo>
                    <a:pt x="833" y="252"/>
                  </a:lnTo>
                  <a:lnTo>
                    <a:pt x="749" y="279"/>
                  </a:lnTo>
                  <a:lnTo>
                    <a:pt x="680" y="340"/>
                  </a:lnTo>
                  <a:lnTo>
                    <a:pt x="637" y="377"/>
                  </a:lnTo>
                  <a:lnTo>
                    <a:pt x="596" y="421"/>
                  </a:lnTo>
                  <a:lnTo>
                    <a:pt x="594" y="456"/>
                  </a:lnTo>
                  <a:lnTo>
                    <a:pt x="556" y="474"/>
                  </a:lnTo>
                  <a:lnTo>
                    <a:pt x="462" y="479"/>
                  </a:lnTo>
                  <a:lnTo>
                    <a:pt x="378" y="489"/>
                  </a:lnTo>
                  <a:lnTo>
                    <a:pt x="340" y="495"/>
                  </a:lnTo>
                  <a:lnTo>
                    <a:pt x="321" y="499"/>
                  </a:lnTo>
                  <a:lnTo>
                    <a:pt x="321" y="532"/>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488" name="Oval 496"/>
          <p:cNvSpPr>
            <a:spLocks noChangeArrowheads="1"/>
          </p:cNvSpPr>
          <p:nvPr/>
        </p:nvSpPr>
        <p:spPr bwMode="auto">
          <a:xfrm>
            <a:off x="3944938" y="6017790"/>
            <a:ext cx="25400" cy="25400"/>
          </a:xfrm>
          <a:prstGeom prst="ellipse">
            <a:avLst/>
          </a:prstGeom>
          <a:solidFill>
            <a:srgbClr val="FFFFFF"/>
          </a:solidFill>
          <a:ln w="9525">
            <a:solidFill>
              <a:srgbClr val="000000"/>
            </a:solidFill>
            <a:round/>
            <a:headEnd/>
            <a:tailEnd/>
          </a:ln>
        </p:spPr>
        <p:txBody>
          <a:bodyPr/>
          <a:lstStyle/>
          <a:p>
            <a:endParaRPr lang="cs-CZ"/>
          </a:p>
        </p:txBody>
      </p:sp>
      <p:sp>
        <p:nvSpPr>
          <p:cNvPr id="489" name="Freeform 497"/>
          <p:cNvSpPr>
            <a:spLocks/>
          </p:cNvSpPr>
          <p:nvPr/>
        </p:nvSpPr>
        <p:spPr bwMode="auto">
          <a:xfrm>
            <a:off x="3016250" y="1329903"/>
            <a:ext cx="63500" cy="36512"/>
          </a:xfrm>
          <a:custGeom>
            <a:avLst/>
            <a:gdLst>
              <a:gd name="T0" fmla="*/ 0 w 78"/>
              <a:gd name="T1" fmla="*/ 34 h 48"/>
              <a:gd name="T2" fmla="*/ 11 w 78"/>
              <a:gd name="T3" fmla="*/ 48 h 48"/>
              <a:gd name="T4" fmla="*/ 25 w 78"/>
              <a:gd name="T5" fmla="*/ 32 h 48"/>
              <a:gd name="T6" fmla="*/ 57 w 78"/>
              <a:gd name="T7" fmla="*/ 32 h 48"/>
              <a:gd name="T8" fmla="*/ 72 w 78"/>
              <a:gd name="T9" fmla="*/ 18 h 48"/>
              <a:gd name="T10" fmla="*/ 78 w 78"/>
              <a:gd name="T11" fmla="*/ 4 h 48"/>
              <a:gd name="T12" fmla="*/ 45 w 78"/>
              <a:gd name="T13" fmla="*/ 0 h 48"/>
              <a:gd name="T14" fmla="*/ 37 w 78"/>
              <a:gd name="T15" fmla="*/ 12 h 48"/>
              <a:gd name="T16" fmla="*/ 13 w 78"/>
              <a:gd name="T17" fmla="*/ 14 h 48"/>
              <a:gd name="T18" fmla="*/ 0 w 78"/>
              <a:gd name="T19" fmla="*/ 3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48">
                <a:moveTo>
                  <a:pt x="0" y="34"/>
                </a:moveTo>
                <a:lnTo>
                  <a:pt x="11" y="48"/>
                </a:lnTo>
                <a:lnTo>
                  <a:pt x="25" y="32"/>
                </a:lnTo>
                <a:lnTo>
                  <a:pt x="57" y="32"/>
                </a:lnTo>
                <a:lnTo>
                  <a:pt x="72" y="18"/>
                </a:lnTo>
                <a:lnTo>
                  <a:pt x="78" y="4"/>
                </a:lnTo>
                <a:lnTo>
                  <a:pt x="45" y="0"/>
                </a:lnTo>
                <a:lnTo>
                  <a:pt x="37" y="12"/>
                </a:lnTo>
                <a:lnTo>
                  <a:pt x="13" y="14"/>
                </a:lnTo>
                <a:lnTo>
                  <a:pt x="0" y="34"/>
                </a:lnTo>
                <a:close/>
              </a:path>
            </a:pathLst>
          </a:custGeom>
          <a:solidFill>
            <a:srgbClr val="FFFFFF"/>
          </a:solidFill>
          <a:ln w="9525">
            <a:solidFill>
              <a:srgbClr val="000000"/>
            </a:solidFill>
            <a:prstDash val="solid"/>
            <a:round/>
            <a:headEnd/>
            <a:tailEnd/>
          </a:ln>
        </p:spPr>
        <p:txBody>
          <a:bodyPr/>
          <a:lstStyle/>
          <a:p>
            <a:endParaRPr lang="cs-CZ"/>
          </a:p>
        </p:txBody>
      </p:sp>
      <p:sp>
        <p:nvSpPr>
          <p:cNvPr id="490" name="Freeform 498"/>
          <p:cNvSpPr>
            <a:spLocks/>
          </p:cNvSpPr>
          <p:nvPr/>
        </p:nvSpPr>
        <p:spPr bwMode="auto">
          <a:xfrm>
            <a:off x="2849563" y="1255290"/>
            <a:ext cx="1724025" cy="720725"/>
          </a:xfrm>
          <a:custGeom>
            <a:avLst/>
            <a:gdLst>
              <a:gd name="T0" fmla="*/ 260 w 2172"/>
              <a:gd name="T1" fmla="*/ 0 h 910"/>
              <a:gd name="T2" fmla="*/ 207 w 2172"/>
              <a:gd name="T3" fmla="*/ 2 h 910"/>
              <a:gd name="T4" fmla="*/ 160 w 2172"/>
              <a:gd name="T5" fmla="*/ 10 h 910"/>
              <a:gd name="T6" fmla="*/ 114 w 2172"/>
              <a:gd name="T7" fmla="*/ 22 h 910"/>
              <a:gd name="T8" fmla="*/ 77 w 2172"/>
              <a:gd name="T9" fmla="*/ 37 h 910"/>
              <a:gd name="T10" fmla="*/ 46 w 2172"/>
              <a:gd name="T11" fmla="*/ 57 h 910"/>
              <a:gd name="T12" fmla="*/ 32 w 2172"/>
              <a:gd name="T13" fmla="*/ 67 h 910"/>
              <a:gd name="T14" fmla="*/ 20 w 2172"/>
              <a:gd name="T15" fmla="*/ 79 h 910"/>
              <a:gd name="T16" fmla="*/ 12 w 2172"/>
              <a:gd name="T17" fmla="*/ 91 h 910"/>
              <a:gd name="T18" fmla="*/ 6 w 2172"/>
              <a:gd name="T19" fmla="*/ 102 h 910"/>
              <a:gd name="T20" fmla="*/ 2 w 2172"/>
              <a:gd name="T21" fmla="*/ 114 h 910"/>
              <a:gd name="T22" fmla="*/ 0 w 2172"/>
              <a:gd name="T23" fmla="*/ 128 h 910"/>
              <a:gd name="T24" fmla="*/ 0 w 2172"/>
              <a:gd name="T25" fmla="*/ 450 h 910"/>
              <a:gd name="T26" fmla="*/ 0 w 2172"/>
              <a:gd name="T27" fmla="*/ 643 h 910"/>
              <a:gd name="T28" fmla="*/ 2 w 2172"/>
              <a:gd name="T29" fmla="*/ 656 h 910"/>
              <a:gd name="T30" fmla="*/ 6 w 2172"/>
              <a:gd name="T31" fmla="*/ 668 h 910"/>
              <a:gd name="T32" fmla="*/ 12 w 2172"/>
              <a:gd name="T33" fmla="*/ 682 h 910"/>
              <a:gd name="T34" fmla="*/ 20 w 2172"/>
              <a:gd name="T35" fmla="*/ 694 h 910"/>
              <a:gd name="T36" fmla="*/ 32 w 2172"/>
              <a:gd name="T37" fmla="*/ 705 h 910"/>
              <a:gd name="T38" fmla="*/ 46 w 2172"/>
              <a:gd name="T39" fmla="*/ 715 h 910"/>
              <a:gd name="T40" fmla="*/ 77 w 2172"/>
              <a:gd name="T41" fmla="*/ 735 h 910"/>
              <a:gd name="T42" fmla="*/ 114 w 2172"/>
              <a:gd name="T43" fmla="*/ 751 h 910"/>
              <a:gd name="T44" fmla="*/ 160 w 2172"/>
              <a:gd name="T45" fmla="*/ 762 h 910"/>
              <a:gd name="T46" fmla="*/ 207 w 2172"/>
              <a:gd name="T47" fmla="*/ 770 h 910"/>
              <a:gd name="T48" fmla="*/ 260 w 2172"/>
              <a:gd name="T49" fmla="*/ 772 h 910"/>
              <a:gd name="T50" fmla="*/ 906 w 2172"/>
              <a:gd name="T51" fmla="*/ 772 h 910"/>
              <a:gd name="T52" fmla="*/ 1295 w 2172"/>
              <a:gd name="T53" fmla="*/ 772 h 910"/>
              <a:gd name="T54" fmla="*/ 1348 w 2172"/>
              <a:gd name="T55" fmla="*/ 770 h 910"/>
              <a:gd name="T56" fmla="*/ 1395 w 2172"/>
              <a:gd name="T57" fmla="*/ 762 h 910"/>
              <a:gd name="T58" fmla="*/ 1441 w 2172"/>
              <a:gd name="T59" fmla="*/ 751 h 910"/>
              <a:gd name="T60" fmla="*/ 1478 w 2172"/>
              <a:gd name="T61" fmla="*/ 735 h 910"/>
              <a:gd name="T62" fmla="*/ 1511 w 2172"/>
              <a:gd name="T63" fmla="*/ 715 h 910"/>
              <a:gd name="T64" fmla="*/ 1523 w 2172"/>
              <a:gd name="T65" fmla="*/ 705 h 910"/>
              <a:gd name="T66" fmla="*/ 1535 w 2172"/>
              <a:gd name="T67" fmla="*/ 694 h 910"/>
              <a:gd name="T68" fmla="*/ 1543 w 2172"/>
              <a:gd name="T69" fmla="*/ 682 h 910"/>
              <a:gd name="T70" fmla="*/ 1549 w 2172"/>
              <a:gd name="T71" fmla="*/ 668 h 910"/>
              <a:gd name="T72" fmla="*/ 1553 w 2172"/>
              <a:gd name="T73" fmla="*/ 656 h 910"/>
              <a:gd name="T74" fmla="*/ 1555 w 2172"/>
              <a:gd name="T75" fmla="*/ 643 h 910"/>
              <a:gd name="T76" fmla="*/ 2172 w 2172"/>
              <a:gd name="T77" fmla="*/ 910 h 910"/>
              <a:gd name="T78" fmla="*/ 1555 w 2172"/>
              <a:gd name="T79" fmla="*/ 450 h 910"/>
              <a:gd name="T80" fmla="*/ 1555 w 2172"/>
              <a:gd name="T81" fmla="*/ 128 h 910"/>
              <a:gd name="T82" fmla="*/ 1553 w 2172"/>
              <a:gd name="T83" fmla="*/ 114 h 910"/>
              <a:gd name="T84" fmla="*/ 1549 w 2172"/>
              <a:gd name="T85" fmla="*/ 102 h 910"/>
              <a:gd name="T86" fmla="*/ 1543 w 2172"/>
              <a:gd name="T87" fmla="*/ 91 h 910"/>
              <a:gd name="T88" fmla="*/ 1535 w 2172"/>
              <a:gd name="T89" fmla="*/ 79 h 910"/>
              <a:gd name="T90" fmla="*/ 1523 w 2172"/>
              <a:gd name="T91" fmla="*/ 67 h 910"/>
              <a:gd name="T92" fmla="*/ 1511 w 2172"/>
              <a:gd name="T93" fmla="*/ 57 h 910"/>
              <a:gd name="T94" fmla="*/ 1478 w 2172"/>
              <a:gd name="T95" fmla="*/ 37 h 910"/>
              <a:gd name="T96" fmla="*/ 1441 w 2172"/>
              <a:gd name="T97" fmla="*/ 22 h 910"/>
              <a:gd name="T98" fmla="*/ 1395 w 2172"/>
              <a:gd name="T99" fmla="*/ 10 h 910"/>
              <a:gd name="T100" fmla="*/ 1348 w 2172"/>
              <a:gd name="T101" fmla="*/ 2 h 910"/>
              <a:gd name="T102" fmla="*/ 1295 w 2172"/>
              <a:gd name="T103" fmla="*/ 0 h 910"/>
              <a:gd name="T104" fmla="*/ 906 w 2172"/>
              <a:gd name="T105" fmla="*/ 0 h 910"/>
              <a:gd name="T106" fmla="*/ 260 w 2172"/>
              <a:gd name="T107" fmla="*/ 0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72" h="910">
                <a:moveTo>
                  <a:pt x="260" y="0"/>
                </a:moveTo>
                <a:lnTo>
                  <a:pt x="207" y="2"/>
                </a:lnTo>
                <a:lnTo>
                  <a:pt x="160" y="10"/>
                </a:lnTo>
                <a:lnTo>
                  <a:pt x="114" y="22"/>
                </a:lnTo>
                <a:lnTo>
                  <a:pt x="77" y="37"/>
                </a:lnTo>
                <a:lnTo>
                  <a:pt x="46" y="57"/>
                </a:lnTo>
                <a:lnTo>
                  <a:pt x="32" y="67"/>
                </a:lnTo>
                <a:lnTo>
                  <a:pt x="20" y="79"/>
                </a:lnTo>
                <a:lnTo>
                  <a:pt x="12" y="91"/>
                </a:lnTo>
                <a:lnTo>
                  <a:pt x="6" y="102"/>
                </a:lnTo>
                <a:lnTo>
                  <a:pt x="2" y="114"/>
                </a:lnTo>
                <a:lnTo>
                  <a:pt x="0" y="128"/>
                </a:lnTo>
                <a:lnTo>
                  <a:pt x="0" y="450"/>
                </a:lnTo>
                <a:lnTo>
                  <a:pt x="0" y="643"/>
                </a:lnTo>
                <a:lnTo>
                  <a:pt x="2" y="656"/>
                </a:lnTo>
                <a:lnTo>
                  <a:pt x="6" y="668"/>
                </a:lnTo>
                <a:lnTo>
                  <a:pt x="12" y="682"/>
                </a:lnTo>
                <a:lnTo>
                  <a:pt x="20" y="694"/>
                </a:lnTo>
                <a:lnTo>
                  <a:pt x="32" y="705"/>
                </a:lnTo>
                <a:lnTo>
                  <a:pt x="46" y="715"/>
                </a:lnTo>
                <a:lnTo>
                  <a:pt x="77" y="735"/>
                </a:lnTo>
                <a:lnTo>
                  <a:pt x="114" y="751"/>
                </a:lnTo>
                <a:lnTo>
                  <a:pt x="160" y="762"/>
                </a:lnTo>
                <a:lnTo>
                  <a:pt x="207" y="770"/>
                </a:lnTo>
                <a:lnTo>
                  <a:pt x="260" y="772"/>
                </a:lnTo>
                <a:lnTo>
                  <a:pt x="906" y="772"/>
                </a:lnTo>
                <a:lnTo>
                  <a:pt x="1295" y="772"/>
                </a:lnTo>
                <a:lnTo>
                  <a:pt x="1348" y="770"/>
                </a:lnTo>
                <a:lnTo>
                  <a:pt x="1395" y="762"/>
                </a:lnTo>
                <a:lnTo>
                  <a:pt x="1441" y="751"/>
                </a:lnTo>
                <a:lnTo>
                  <a:pt x="1478" y="735"/>
                </a:lnTo>
                <a:lnTo>
                  <a:pt x="1511" y="715"/>
                </a:lnTo>
                <a:lnTo>
                  <a:pt x="1523" y="705"/>
                </a:lnTo>
                <a:lnTo>
                  <a:pt x="1535" y="694"/>
                </a:lnTo>
                <a:lnTo>
                  <a:pt x="1543" y="682"/>
                </a:lnTo>
                <a:lnTo>
                  <a:pt x="1549" y="668"/>
                </a:lnTo>
                <a:lnTo>
                  <a:pt x="1553" y="656"/>
                </a:lnTo>
                <a:lnTo>
                  <a:pt x="1555" y="643"/>
                </a:lnTo>
                <a:lnTo>
                  <a:pt x="2172" y="910"/>
                </a:lnTo>
                <a:lnTo>
                  <a:pt x="1555" y="450"/>
                </a:lnTo>
                <a:lnTo>
                  <a:pt x="1555" y="128"/>
                </a:lnTo>
                <a:lnTo>
                  <a:pt x="1553" y="114"/>
                </a:lnTo>
                <a:lnTo>
                  <a:pt x="1549" y="102"/>
                </a:lnTo>
                <a:lnTo>
                  <a:pt x="1543" y="91"/>
                </a:lnTo>
                <a:lnTo>
                  <a:pt x="1535" y="79"/>
                </a:lnTo>
                <a:lnTo>
                  <a:pt x="1523" y="67"/>
                </a:lnTo>
                <a:lnTo>
                  <a:pt x="1511" y="57"/>
                </a:lnTo>
                <a:lnTo>
                  <a:pt x="1478" y="37"/>
                </a:lnTo>
                <a:lnTo>
                  <a:pt x="1441" y="22"/>
                </a:lnTo>
                <a:lnTo>
                  <a:pt x="1395" y="10"/>
                </a:lnTo>
                <a:lnTo>
                  <a:pt x="1348" y="2"/>
                </a:lnTo>
                <a:lnTo>
                  <a:pt x="1295" y="0"/>
                </a:lnTo>
                <a:lnTo>
                  <a:pt x="906" y="0"/>
                </a:lnTo>
                <a:lnTo>
                  <a:pt x="260" y="0"/>
                </a:lnTo>
                <a:close/>
              </a:path>
            </a:pathLst>
          </a:custGeom>
          <a:solidFill>
            <a:srgbClr val="FFFFFF"/>
          </a:solidFill>
          <a:ln w="9525">
            <a:solidFill>
              <a:srgbClr val="000000"/>
            </a:solidFill>
            <a:prstDash val="solid"/>
            <a:round/>
            <a:headEnd/>
            <a:tailEnd/>
          </a:ln>
        </p:spPr>
        <p:txBody>
          <a:bodyPr/>
          <a:lstStyle/>
          <a:p>
            <a:endParaRPr lang="cs-CZ"/>
          </a:p>
        </p:txBody>
      </p:sp>
      <p:sp>
        <p:nvSpPr>
          <p:cNvPr id="491" name="Rectangle 499"/>
          <p:cNvSpPr>
            <a:spLocks noChangeArrowheads="1"/>
          </p:cNvSpPr>
          <p:nvPr/>
        </p:nvSpPr>
        <p:spPr bwMode="auto">
          <a:xfrm>
            <a:off x="2932113" y="1318790"/>
            <a:ext cx="4508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Finsko</a:t>
            </a:r>
            <a:endParaRPr lang="cs-CZ" sz="2400" b="0">
              <a:solidFill>
                <a:schemeClr val="tx1"/>
              </a:solidFill>
              <a:latin typeface="Times New Roman" pitchFamily="18" charset="0"/>
              <a:ea typeface="ＭＳ Ｐゴシック" pitchFamily="34" charset="-128"/>
            </a:endParaRPr>
          </a:p>
        </p:txBody>
      </p:sp>
      <p:sp>
        <p:nvSpPr>
          <p:cNvPr id="492" name="Rectangle 500"/>
          <p:cNvSpPr>
            <a:spLocks noChangeArrowheads="1"/>
          </p:cNvSpPr>
          <p:nvPr/>
        </p:nvSpPr>
        <p:spPr bwMode="auto">
          <a:xfrm>
            <a:off x="2932113" y="1490240"/>
            <a:ext cx="10604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Staví se největší </a:t>
            </a:r>
            <a:endParaRPr lang="cs-CZ" sz="2400" b="0">
              <a:solidFill>
                <a:schemeClr val="tx1"/>
              </a:solidFill>
              <a:latin typeface="Times New Roman" pitchFamily="18" charset="0"/>
              <a:ea typeface="ＭＳ Ｐゴシック" pitchFamily="34" charset="-128"/>
            </a:endParaRPr>
          </a:p>
        </p:txBody>
      </p:sp>
      <p:sp>
        <p:nvSpPr>
          <p:cNvPr id="493" name="Rectangle 501"/>
          <p:cNvSpPr>
            <a:spLocks noChangeArrowheads="1"/>
          </p:cNvSpPr>
          <p:nvPr/>
        </p:nvSpPr>
        <p:spPr bwMode="auto">
          <a:xfrm>
            <a:off x="2932113" y="1655340"/>
            <a:ext cx="3651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blok v</a:t>
            </a:r>
            <a:endParaRPr lang="cs-CZ" sz="2400" b="0">
              <a:solidFill>
                <a:schemeClr val="tx1"/>
              </a:solidFill>
              <a:latin typeface="Times New Roman" pitchFamily="18" charset="0"/>
              <a:ea typeface="ＭＳ Ｐゴシック" pitchFamily="34" charset="-128"/>
            </a:endParaRPr>
          </a:p>
        </p:txBody>
      </p:sp>
      <p:sp>
        <p:nvSpPr>
          <p:cNvPr id="494" name="Rectangle 502"/>
          <p:cNvSpPr>
            <a:spLocks noChangeArrowheads="1"/>
          </p:cNvSpPr>
          <p:nvPr/>
        </p:nvSpPr>
        <p:spPr bwMode="auto">
          <a:xfrm>
            <a:off x="3328988" y="1655340"/>
            <a:ext cx="4429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vropě</a:t>
            </a:r>
            <a:endParaRPr lang="cs-CZ" sz="2400" b="0">
              <a:solidFill>
                <a:schemeClr val="tx1"/>
              </a:solidFill>
              <a:latin typeface="Times New Roman" pitchFamily="18" charset="0"/>
              <a:ea typeface="ＭＳ Ｐゴシック" pitchFamily="34" charset="-128"/>
            </a:endParaRPr>
          </a:p>
        </p:txBody>
      </p:sp>
      <p:sp>
        <p:nvSpPr>
          <p:cNvPr id="495" name="Freeform 503"/>
          <p:cNvSpPr>
            <a:spLocks/>
          </p:cNvSpPr>
          <p:nvPr/>
        </p:nvSpPr>
        <p:spPr bwMode="auto">
          <a:xfrm>
            <a:off x="5842000" y="1369590"/>
            <a:ext cx="1243013" cy="1116013"/>
          </a:xfrm>
          <a:custGeom>
            <a:avLst/>
            <a:gdLst>
              <a:gd name="T0" fmla="*/ 261 w 1566"/>
              <a:gd name="T1" fmla="*/ 0 h 1404"/>
              <a:gd name="T2" fmla="*/ 208 w 1566"/>
              <a:gd name="T3" fmla="*/ 3 h 1404"/>
              <a:gd name="T4" fmla="*/ 159 w 1566"/>
              <a:gd name="T5" fmla="*/ 13 h 1404"/>
              <a:gd name="T6" fmla="*/ 114 w 1566"/>
              <a:gd name="T7" fmla="*/ 29 h 1404"/>
              <a:gd name="T8" fmla="*/ 77 w 1566"/>
              <a:gd name="T9" fmla="*/ 49 h 1404"/>
              <a:gd name="T10" fmla="*/ 45 w 1566"/>
              <a:gd name="T11" fmla="*/ 72 h 1404"/>
              <a:gd name="T12" fmla="*/ 31 w 1566"/>
              <a:gd name="T13" fmla="*/ 86 h 1404"/>
              <a:gd name="T14" fmla="*/ 20 w 1566"/>
              <a:gd name="T15" fmla="*/ 102 h 1404"/>
              <a:gd name="T16" fmla="*/ 12 w 1566"/>
              <a:gd name="T17" fmla="*/ 117 h 1404"/>
              <a:gd name="T18" fmla="*/ 6 w 1566"/>
              <a:gd name="T19" fmla="*/ 133 h 1404"/>
              <a:gd name="T20" fmla="*/ 2 w 1566"/>
              <a:gd name="T21" fmla="*/ 149 h 1404"/>
              <a:gd name="T22" fmla="*/ 0 w 1566"/>
              <a:gd name="T23" fmla="*/ 167 h 1404"/>
              <a:gd name="T24" fmla="*/ 0 w 1566"/>
              <a:gd name="T25" fmla="*/ 581 h 1404"/>
              <a:gd name="T26" fmla="*/ 0 w 1566"/>
              <a:gd name="T27" fmla="*/ 831 h 1404"/>
              <a:gd name="T28" fmla="*/ 2 w 1566"/>
              <a:gd name="T29" fmla="*/ 848 h 1404"/>
              <a:gd name="T30" fmla="*/ 6 w 1566"/>
              <a:gd name="T31" fmla="*/ 864 h 1404"/>
              <a:gd name="T32" fmla="*/ 12 w 1566"/>
              <a:gd name="T33" fmla="*/ 880 h 1404"/>
              <a:gd name="T34" fmla="*/ 20 w 1566"/>
              <a:gd name="T35" fmla="*/ 895 h 1404"/>
              <a:gd name="T36" fmla="*/ 31 w 1566"/>
              <a:gd name="T37" fmla="*/ 911 h 1404"/>
              <a:gd name="T38" fmla="*/ 45 w 1566"/>
              <a:gd name="T39" fmla="*/ 925 h 1404"/>
              <a:gd name="T40" fmla="*/ 77 w 1566"/>
              <a:gd name="T41" fmla="*/ 949 h 1404"/>
              <a:gd name="T42" fmla="*/ 114 w 1566"/>
              <a:gd name="T43" fmla="*/ 970 h 1404"/>
              <a:gd name="T44" fmla="*/ 159 w 1566"/>
              <a:gd name="T45" fmla="*/ 984 h 1404"/>
              <a:gd name="T46" fmla="*/ 208 w 1566"/>
              <a:gd name="T47" fmla="*/ 994 h 1404"/>
              <a:gd name="T48" fmla="*/ 261 w 1566"/>
              <a:gd name="T49" fmla="*/ 998 h 1404"/>
              <a:gd name="T50" fmla="*/ 311 w 1566"/>
              <a:gd name="T51" fmla="*/ 1404 h 1404"/>
              <a:gd name="T52" fmla="*/ 652 w 1566"/>
              <a:gd name="T53" fmla="*/ 998 h 1404"/>
              <a:gd name="T54" fmla="*/ 1305 w 1566"/>
              <a:gd name="T55" fmla="*/ 998 h 1404"/>
              <a:gd name="T56" fmla="*/ 1358 w 1566"/>
              <a:gd name="T57" fmla="*/ 994 h 1404"/>
              <a:gd name="T58" fmla="*/ 1407 w 1566"/>
              <a:gd name="T59" fmla="*/ 984 h 1404"/>
              <a:gd name="T60" fmla="*/ 1452 w 1566"/>
              <a:gd name="T61" fmla="*/ 970 h 1404"/>
              <a:gd name="T62" fmla="*/ 1489 w 1566"/>
              <a:gd name="T63" fmla="*/ 949 h 1404"/>
              <a:gd name="T64" fmla="*/ 1521 w 1566"/>
              <a:gd name="T65" fmla="*/ 925 h 1404"/>
              <a:gd name="T66" fmla="*/ 1535 w 1566"/>
              <a:gd name="T67" fmla="*/ 911 h 1404"/>
              <a:gd name="T68" fmla="*/ 1546 w 1566"/>
              <a:gd name="T69" fmla="*/ 895 h 1404"/>
              <a:gd name="T70" fmla="*/ 1554 w 1566"/>
              <a:gd name="T71" fmla="*/ 880 h 1404"/>
              <a:gd name="T72" fmla="*/ 1560 w 1566"/>
              <a:gd name="T73" fmla="*/ 864 h 1404"/>
              <a:gd name="T74" fmla="*/ 1564 w 1566"/>
              <a:gd name="T75" fmla="*/ 848 h 1404"/>
              <a:gd name="T76" fmla="*/ 1566 w 1566"/>
              <a:gd name="T77" fmla="*/ 831 h 1404"/>
              <a:gd name="T78" fmla="*/ 1566 w 1566"/>
              <a:gd name="T79" fmla="*/ 581 h 1404"/>
              <a:gd name="T80" fmla="*/ 1566 w 1566"/>
              <a:gd name="T81" fmla="*/ 167 h 1404"/>
              <a:gd name="T82" fmla="*/ 1564 w 1566"/>
              <a:gd name="T83" fmla="*/ 149 h 1404"/>
              <a:gd name="T84" fmla="*/ 1560 w 1566"/>
              <a:gd name="T85" fmla="*/ 133 h 1404"/>
              <a:gd name="T86" fmla="*/ 1554 w 1566"/>
              <a:gd name="T87" fmla="*/ 117 h 1404"/>
              <a:gd name="T88" fmla="*/ 1546 w 1566"/>
              <a:gd name="T89" fmla="*/ 102 h 1404"/>
              <a:gd name="T90" fmla="*/ 1535 w 1566"/>
              <a:gd name="T91" fmla="*/ 86 h 1404"/>
              <a:gd name="T92" fmla="*/ 1521 w 1566"/>
              <a:gd name="T93" fmla="*/ 72 h 1404"/>
              <a:gd name="T94" fmla="*/ 1489 w 1566"/>
              <a:gd name="T95" fmla="*/ 49 h 1404"/>
              <a:gd name="T96" fmla="*/ 1452 w 1566"/>
              <a:gd name="T97" fmla="*/ 29 h 1404"/>
              <a:gd name="T98" fmla="*/ 1407 w 1566"/>
              <a:gd name="T99" fmla="*/ 13 h 1404"/>
              <a:gd name="T100" fmla="*/ 1358 w 1566"/>
              <a:gd name="T101" fmla="*/ 3 h 1404"/>
              <a:gd name="T102" fmla="*/ 1305 w 1566"/>
              <a:gd name="T103" fmla="*/ 0 h 1404"/>
              <a:gd name="T104" fmla="*/ 652 w 1566"/>
              <a:gd name="T105" fmla="*/ 0 h 1404"/>
              <a:gd name="T106" fmla="*/ 261 w 1566"/>
              <a:gd name="T107" fmla="*/ 0 h 1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6" h="1404">
                <a:moveTo>
                  <a:pt x="261" y="0"/>
                </a:moveTo>
                <a:lnTo>
                  <a:pt x="208" y="3"/>
                </a:lnTo>
                <a:lnTo>
                  <a:pt x="159" y="13"/>
                </a:lnTo>
                <a:lnTo>
                  <a:pt x="114" y="29"/>
                </a:lnTo>
                <a:lnTo>
                  <a:pt x="77" y="49"/>
                </a:lnTo>
                <a:lnTo>
                  <a:pt x="45" y="72"/>
                </a:lnTo>
                <a:lnTo>
                  <a:pt x="31" y="86"/>
                </a:lnTo>
                <a:lnTo>
                  <a:pt x="20" y="102"/>
                </a:lnTo>
                <a:lnTo>
                  <a:pt x="12" y="117"/>
                </a:lnTo>
                <a:lnTo>
                  <a:pt x="6" y="133"/>
                </a:lnTo>
                <a:lnTo>
                  <a:pt x="2" y="149"/>
                </a:lnTo>
                <a:lnTo>
                  <a:pt x="0" y="167"/>
                </a:lnTo>
                <a:lnTo>
                  <a:pt x="0" y="581"/>
                </a:lnTo>
                <a:lnTo>
                  <a:pt x="0" y="831"/>
                </a:lnTo>
                <a:lnTo>
                  <a:pt x="2" y="848"/>
                </a:lnTo>
                <a:lnTo>
                  <a:pt x="6" y="864"/>
                </a:lnTo>
                <a:lnTo>
                  <a:pt x="12" y="880"/>
                </a:lnTo>
                <a:lnTo>
                  <a:pt x="20" y="895"/>
                </a:lnTo>
                <a:lnTo>
                  <a:pt x="31" y="911"/>
                </a:lnTo>
                <a:lnTo>
                  <a:pt x="45" y="925"/>
                </a:lnTo>
                <a:lnTo>
                  <a:pt x="77" y="949"/>
                </a:lnTo>
                <a:lnTo>
                  <a:pt x="114" y="970"/>
                </a:lnTo>
                <a:lnTo>
                  <a:pt x="159" y="984"/>
                </a:lnTo>
                <a:lnTo>
                  <a:pt x="208" y="994"/>
                </a:lnTo>
                <a:lnTo>
                  <a:pt x="261" y="998"/>
                </a:lnTo>
                <a:lnTo>
                  <a:pt x="311" y="1404"/>
                </a:lnTo>
                <a:lnTo>
                  <a:pt x="652" y="998"/>
                </a:lnTo>
                <a:lnTo>
                  <a:pt x="1305" y="998"/>
                </a:lnTo>
                <a:lnTo>
                  <a:pt x="1358" y="994"/>
                </a:lnTo>
                <a:lnTo>
                  <a:pt x="1407" y="984"/>
                </a:lnTo>
                <a:lnTo>
                  <a:pt x="1452" y="970"/>
                </a:lnTo>
                <a:lnTo>
                  <a:pt x="1489" y="949"/>
                </a:lnTo>
                <a:lnTo>
                  <a:pt x="1521" y="925"/>
                </a:lnTo>
                <a:lnTo>
                  <a:pt x="1535" y="911"/>
                </a:lnTo>
                <a:lnTo>
                  <a:pt x="1546" y="895"/>
                </a:lnTo>
                <a:lnTo>
                  <a:pt x="1554" y="880"/>
                </a:lnTo>
                <a:lnTo>
                  <a:pt x="1560" y="864"/>
                </a:lnTo>
                <a:lnTo>
                  <a:pt x="1564" y="848"/>
                </a:lnTo>
                <a:lnTo>
                  <a:pt x="1566" y="831"/>
                </a:lnTo>
                <a:lnTo>
                  <a:pt x="1566" y="581"/>
                </a:lnTo>
                <a:lnTo>
                  <a:pt x="1566" y="167"/>
                </a:lnTo>
                <a:lnTo>
                  <a:pt x="1564" y="149"/>
                </a:lnTo>
                <a:lnTo>
                  <a:pt x="1560" y="133"/>
                </a:lnTo>
                <a:lnTo>
                  <a:pt x="1554" y="117"/>
                </a:lnTo>
                <a:lnTo>
                  <a:pt x="1546" y="102"/>
                </a:lnTo>
                <a:lnTo>
                  <a:pt x="1535" y="86"/>
                </a:lnTo>
                <a:lnTo>
                  <a:pt x="1521" y="72"/>
                </a:lnTo>
                <a:lnTo>
                  <a:pt x="1489" y="49"/>
                </a:lnTo>
                <a:lnTo>
                  <a:pt x="1452" y="29"/>
                </a:lnTo>
                <a:lnTo>
                  <a:pt x="1407" y="13"/>
                </a:lnTo>
                <a:lnTo>
                  <a:pt x="1358" y="3"/>
                </a:lnTo>
                <a:lnTo>
                  <a:pt x="1305" y="0"/>
                </a:lnTo>
                <a:lnTo>
                  <a:pt x="652" y="0"/>
                </a:lnTo>
                <a:lnTo>
                  <a:pt x="261" y="0"/>
                </a:lnTo>
                <a:close/>
              </a:path>
            </a:pathLst>
          </a:custGeom>
          <a:solidFill>
            <a:srgbClr val="FFFFFF"/>
          </a:solidFill>
          <a:ln w="9525">
            <a:solidFill>
              <a:srgbClr val="000000"/>
            </a:solidFill>
            <a:prstDash val="solid"/>
            <a:round/>
            <a:headEnd/>
            <a:tailEnd/>
          </a:ln>
        </p:spPr>
        <p:txBody>
          <a:bodyPr/>
          <a:lstStyle/>
          <a:p>
            <a:endParaRPr lang="cs-CZ"/>
          </a:p>
        </p:txBody>
      </p:sp>
      <p:sp>
        <p:nvSpPr>
          <p:cNvPr id="496" name="Rectangle 504"/>
          <p:cNvSpPr>
            <a:spLocks noChangeArrowheads="1"/>
          </p:cNvSpPr>
          <p:nvPr/>
        </p:nvSpPr>
        <p:spPr bwMode="auto">
          <a:xfrm>
            <a:off x="5924550" y="1441028"/>
            <a:ext cx="4286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Rusko</a:t>
            </a:r>
            <a:endParaRPr lang="cs-CZ" sz="2400" b="0">
              <a:solidFill>
                <a:schemeClr val="tx1"/>
              </a:solidFill>
              <a:latin typeface="Times New Roman" pitchFamily="18" charset="0"/>
              <a:ea typeface="ＭＳ Ｐゴシック" pitchFamily="34" charset="-128"/>
            </a:endParaRPr>
          </a:p>
        </p:txBody>
      </p:sp>
      <p:sp>
        <p:nvSpPr>
          <p:cNvPr id="497" name="Rectangle 505"/>
          <p:cNvSpPr>
            <a:spLocks noChangeArrowheads="1"/>
          </p:cNvSpPr>
          <p:nvPr/>
        </p:nvSpPr>
        <p:spPr bwMode="auto">
          <a:xfrm>
            <a:off x="5924550" y="1610890"/>
            <a:ext cx="1093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e výstavbě jsou </a:t>
            </a:r>
            <a:endParaRPr lang="cs-CZ" sz="2400" b="0">
              <a:solidFill>
                <a:schemeClr val="tx1"/>
              </a:solidFill>
              <a:latin typeface="Times New Roman" pitchFamily="18" charset="0"/>
              <a:ea typeface="ＭＳ Ｐゴシック" pitchFamily="34" charset="-128"/>
            </a:endParaRPr>
          </a:p>
        </p:txBody>
      </p:sp>
      <p:sp>
        <p:nvSpPr>
          <p:cNvPr id="498" name="Rectangle 506"/>
          <p:cNvSpPr>
            <a:spLocks noChangeArrowheads="1"/>
          </p:cNvSpPr>
          <p:nvPr/>
        </p:nvSpPr>
        <p:spPr bwMode="auto">
          <a:xfrm>
            <a:off x="5924550" y="1775990"/>
            <a:ext cx="8905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čtyři bloky a o </a:t>
            </a:r>
            <a:endParaRPr lang="cs-CZ" sz="2400" b="0">
              <a:solidFill>
                <a:schemeClr val="tx1"/>
              </a:solidFill>
              <a:latin typeface="Times New Roman" pitchFamily="18" charset="0"/>
              <a:ea typeface="ＭＳ Ｐゴシック" pitchFamily="34" charset="-128"/>
            </a:endParaRPr>
          </a:p>
        </p:txBody>
      </p:sp>
      <p:sp>
        <p:nvSpPr>
          <p:cNvPr id="499" name="Rectangle 507"/>
          <p:cNvSpPr>
            <a:spLocks noChangeArrowheads="1"/>
          </p:cNvSpPr>
          <p:nvPr/>
        </p:nvSpPr>
        <p:spPr bwMode="auto">
          <a:xfrm>
            <a:off x="5924550" y="1941090"/>
            <a:ext cx="10477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alších se jedná </a:t>
            </a:r>
            <a:endParaRPr lang="cs-CZ" sz="2400" b="0">
              <a:solidFill>
                <a:schemeClr val="tx1"/>
              </a:solidFill>
              <a:latin typeface="Times New Roman" pitchFamily="18" charset="0"/>
              <a:ea typeface="ＭＳ Ｐゴシック" pitchFamily="34" charset="-128"/>
            </a:endParaRPr>
          </a:p>
        </p:txBody>
      </p:sp>
      <p:sp>
        <p:nvSpPr>
          <p:cNvPr id="500" name="Freeform 508"/>
          <p:cNvSpPr>
            <a:spLocks/>
          </p:cNvSpPr>
          <p:nvPr/>
        </p:nvSpPr>
        <p:spPr bwMode="auto">
          <a:xfrm>
            <a:off x="4903788" y="4893840"/>
            <a:ext cx="2324100" cy="612775"/>
          </a:xfrm>
          <a:custGeom>
            <a:avLst/>
            <a:gdLst>
              <a:gd name="T0" fmla="*/ 1010 w 2928"/>
              <a:gd name="T1" fmla="*/ 2 h 772"/>
              <a:gd name="T2" fmla="*/ 908 w 2928"/>
              <a:gd name="T3" fmla="*/ 16 h 772"/>
              <a:gd name="T4" fmla="*/ 849 w 2928"/>
              <a:gd name="T5" fmla="*/ 29 h 772"/>
              <a:gd name="T6" fmla="*/ 800 w 2928"/>
              <a:gd name="T7" fmla="*/ 47 h 772"/>
              <a:gd name="T8" fmla="*/ 761 w 2928"/>
              <a:gd name="T9" fmla="*/ 67 h 772"/>
              <a:gd name="T10" fmla="*/ 731 w 2928"/>
              <a:gd name="T11" fmla="*/ 90 h 772"/>
              <a:gd name="T12" fmla="*/ 717 w 2928"/>
              <a:gd name="T13" fmla="*/ 114 h 772"/>
              <a:gd name="T14" fmla="*/ 715 w 2928"/>
              <a:gd name="T15" fmla="*/ 450 h 772"/>
              <a:gd name="T16" fmla="*/ 715 w 2928"/>
              <a:gd name="T17" fmla="*/ 642 h 772"/>
              <a:gd name="T18" fmla="*/ 723 w 2928"/>
              <a:gd name="T19" fmla="*/ 668 h 772"/>
              <a:gd name="T20" fmla="*/ 745 w 2928"/>
              <a:gd name="T21" fmla="*/ 693 h 772"/>
              <a:gd name="T22" fmla="*/ 778 w 2928"/>
              <a:gd name="T23" fmla="*/ 715 h 772"/>
              <a:gd name="T24" fmla="*/ 823 w 2928"/>
              <a:gd name="T25" fmla="*/ 735 h 772"/>
              <a:gd name="T26" fmla="*/ 878 w 2928"/>
              <a:gd name="T27" fmla="*/ 750 h 772"/>
              <a:gd name="T28" fmla="*/ 941 w 2928"/>
              <a:gd name="T29" fmla="*/ 762 h 772"/>
              <a:gd name="T30" fmla="*/ 1085 w 2928"/>
              <a:gd name="T31" fmla="*/ 772 h 772"/>
              <a:gd name="T32" fmla="*/ 2558 w 2928"/>
              <a:gd name="T33" fmla="*/ 772 h 772"/>
              <a:gd name="T34" fmla="*/ 2702 w 2928"/>
              <a:gd name="T35" fmla="*/ 762 h 772"/>
              <a:gd name="T36" fmla="*/ 2765 w 2928"/>
              <a:gd name="T37" fmla="*/ 750 h 772"/>
              <a:gd name="T38" fmla="*/ 2820 w 2928"/>
              <a:gd name="T39" fmla="*/ 735 h 772"/>
              <a:gd name="T40" fmla="*/ 2865 w 2928"/>
              <a:gd name="T41" fmla="*/ 715 h 772"/>
              <a:gd name="T42" fmla="*/ 2898 w 2928"/>
              <a:gd name="T43" fmla="*/ 693 h 772"/>
              <a:gd name="T44" fmla="*/ 2920 w 2928"/>
              <a:gd name="T45" fmla="*/ 668 h 772"/>
              <a:gd name="T46" fmla="*/ 2928 w 2928"/>
              <a:gd name="T47" fmla="*/ 642 h 772"/>
              <a:gd name="T48" fmla="*/ 2928 w 2928"/>
              <a:gd name="T49" fmla="*/ 128 h 772"/>
              <a:gd name="T50" fmla="*/ 2920 w 2928"/>
              <a:gd name="T51" fmla="*/ 102 h 772"/>
              <a:gd name="T52" fmla="*/ 2898 w 2928"/>
              <a:gd name="T53" fmla="*/ 78 h 772"/>
              <a:gd name="T54" fmla="*/ 2865 w 2928"/>
              <a:gd name="T55" fmla="*/ 57 h 772"/>
              <a:gd name="T56" fmla="*/ 2820 w 2928"/>
              <a:gd name="T57" fmla="*/ 37 h 772"/>
              <a:gd name="T58" fmla="*/ 2765 w 2928"/>
              <a:gd name="T59" fmla="*/ 21 h 772"/>
              <a:gd name="T60" fmla="*/ 2702 w 2928"/>
              <a:gd name="T61" fmla="*/ 10 h 772"/>
              <a:gd name="T62" fmla="*/ 2558 w 2928"/>
              <a:gd name="T63" fmla="*/ 0 h 772"/>
              <a:gd name="T64" fmla="*/ 1085 w 2928"/>
              <a:gd name="T65"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28" h="772">
                <a:moveTo>
                  <a:pt x="1085" y="0"/>
                </a:moveTo>
                <a:lnTo>
                  <a:pt x="1010" y="2"/>
                </a:lnTo>
                <a:lnTo>
                  <a:pt x="941" y="10"/>
                </a:lnTo>
                <a:lnTo>
                  <a:pt x="908" y="16"/>
                </a:lnTo>
                <a:lnTo>
                  <a:pt x="878" y="21"/>
                </a:lnTo>
                <a:lnTo>
                  <a:pt x="849" y="29"/>
                </a:lnTo>
                <a:lnTo>
                  <a:pt x="823" y="37"/>
                </a:lnTo>
                <a:lnTo>
                  <a:pt x="800" y="47"/>
                </a:lnTo>
                <a:lnTo>
                  <a:pt x="778" y="57"/>
                </a:lnTo>
                <a:lnTo>
                  <a:pt x="761" y="67"/>
                </a:lnTo>
                <a:lnTo>
                  <a:pt x="745" y="78"/>
                </a:lnTo>
                <a:lnTo>
                  <a:pt x="731" y="90"/>
                </a:lnTo>
                <a:lnTo>
                  <a:pt x="723" y="102"/>
                </a:lnTo>
                <a:lnTo>
                  <a:pt x="717" y="114"/>
                </a:lnTo>
                <a:lnTo>
                  <a:pt x="715" y="128"/>
                </a:lnTo>
                <a:lnTo>
                  <a:pt x="715" y="450"/>
                </a:lnTo>
                <a:lnTo>
                  <a:pt x="0" y="393"/>
                </a:lnTo>
                <a:lnTo>
                  <a:pt x="715" y="642"/>
                </a:lnTo>
                <a:lnTo>
                  <a:pt x="717" y="656"/>
                </a:lnTo>
                <a:lnTo>
                  <a:pt x="723" y="668"/>
                </a:lnTo>
                <a:lnTo>
                  <a:pt x="731" y="682"/>
                </a:lnTo>
                <a:lnTo>
                  <a:pt x="745" y="693"/>
                </a:lnTo>
                <a:lnTo>
                  <a:pt x="761" y="705"/>
                </a:lnTo>
                <a:lnTo>
                  <a:pt x="778" y="715"/>
                </a:lnTo>
                <a:lnTo>
                  <a:pt x="800" y="725"/>
                </a:lnTo>
                <a:lnTo>
                  <a:pt x="823" y="735"/>
                </a:lnTo>
                <a:lnTo>
                  <a:pt x="849" y="742"/>
                </a:lnTo>
                <a:lnTo>
                  <a:pt x="878" y="750"/>
                </a:lnTo>
                <a:lnTo>
                  <a:pt x="908" y="756"/>
                </a:lnTo>
                <a:lnTo>
                  <a:pt x="941" y="762"/>
                </a:lnTo>
                <a:lnTo>
                  <a:pt x="1010" y="770"/>
                </a:lnTo>
                <a:lnTo>
                  <a:pt x="1085" y="772"/>
                </a:lnTo>
                <a:lnTo>
                  <a:pt x="1637" y="772"/>
                </a:lnTo>
                <a:lnTo>
                  <a:pt x="2558" y="772"/>
                </a:lnTo>
                <a:lnTo>
                  <a:pt x="2633" y="770"/>
                </a:lnTo>
                <a:lnTo>
                  <a:pt x="2702" y="762"/>
                </a:lnTo>
                <a:lnTo>
                  <a:pt x="2735" y="756"/>
                </a:lnTo>
                <a:lnTo>
                  <a:pt x="2765" y="750"/>
                </a:lnTo>
                <a:lnTo>
                  <a:pt x="2794" y="742"/>
                </a:lnTo>
                <a:lnTo>
                  <a:pt x="2820" y="735"/>
                </a:lnTo>
                <a:lnTo>
                  <a:pt x="2843" y="725"/>
                </a:lnTo>
                <a:lnTo>
                  <a:pt x="2865" y="715"/>
                </a:lnTo>
                <a:lnTo>
                  <a:pt x="2883" y="705"/>
                </a:lnTo>
                <a:lnTo>
                  <a:pt x="2898" y="693"/>
                </a:lnTo>
                <a:lnTo>
                  <a:pt x="2912" y="682"/>
                </a:lnTo>
                <a:lnTo>
                  <a:pt x="2920" y="668"/>
                </a:lnTo>
                <a:lnTo>
                  <a:pt x="2926" y="656"/>
                </a:lnTo>
                <a:lnTo>
                  <a:pt x="2928" y="642"/>
                </a:lnTo>
                <a:lnTo>
                  <a:pt x="2928" y="450"/>
                </a:lnTo>
                <a:lnTo>
                  <a:pt x="2928" y="128"/>
                </a:lnTo>
                <a:lnTo>
                  <a:pt x="2926" y="114"/>
                </a:lnTo>
                <a:lnTo>
                  <a:pt x="2920" y="102"/>
                </a:lnTo>
                <a:lnTo>
                  <a:pt x="2912" y="90"/>
                </a:lnTo>
                <a:lnTo>
                  <a:pt x="2898" y="78"/>
                </a:lnTo>
                <a:lnTo>
                  <a:pt x="2883" y="67"/>
                </a:lnTo>
                <a:lnTo>
                  <a:pt x="2865" y="57"/>
                </a:lnTo>
                <a:lnTo>
                  <a:pt x="2843" y="47"/>
                </a:lnTo>
                <a:lnTo>
                  <a:pt x="2820" y="37"/>
                </a:lnTo>
                <a:lnTo>
                  <a:pt x="2794" y="29"/>
                </a:lnTo>
                <a:lnTo>
                  <a:pt x="2765" y="21"/>
                </a:lnTo>
                <a:lnTo>
                  <a:pt x="2735" y="16"/>
                </a:lnTo>
                <a:lnTo>
                  <a:pt x="2702" y="10"/>
                </a:lnTo>
                <a:lnTo>
                  <a:pt x="2633" y="2"/>
                </a:lnTo>
                <a:lnTo>
                  <a:pt x="2558" y="0"/>
                </a:lnTo>
                <a:lnTo>
                  <a:pt x="1637" y="0"/>
                </a:lnTo>
                <a:lnTo>
                  <a:pt x="1085" y="0"/>
                </a:lnTo>
                <a:close/>
              </a:path>
            </a:pathLst>
          </a:custGeom>
          <a:solidFill>
            <a:srgbClr val="FFFFFF"/>
          </a:solidFill>
          <a:ln w="9525">
            <a:solidFill>
              <a:srgbClr val="000000"/>
            </a:solidFill>
            <a:prstDash val="solid"/>
            <a:round/>
            <a:headEnd/>
            <a:tailEnd/>
          </a:ln>
        </p:spPr>
        <p:txBody>
          <a:bodyPr/>
          <a:lstStyle/>
          <a:p>
            <a:endParaRPr lang="cs-CZ"/>
          </a:p>
        </p:txBody>
      </p:sp>
      <p:sp>
        <p:nvSpPr>
          <p:cNvPr id="501" name="Rectangle 509"/>
          <p:cNvSpPr>
            <a:spLocks noChangeArrowheads="1"/>
          </p:cNvSpPr>
          <p:nvPr/>
        </p:nvSpPr>
        <p:spPr bwMode="auto">
          <a:xfrm>
            <a:off x="5573713" y="4958928"/>
            <a:ext cx="15621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Bulharsko a Rumunsko</a:t>
            </a:r>
            <a:endParaRPr lang="cs-CZ" sz="2400" b="0">
              <a:solidFill>
                <a:schemeClr val="tx1"/>
              </a:solidFill>
              <a:latin typeface="Times New Roman" pitchFamily="18" charset="0"/>
              <a:ea typeface="ＭＳ Ｐゴシック" pitchFamily="34" charset="-128"/>
            </a:endParaRPr>
          </a:p>
        </p:txBody>
      </p:sp>
      <p:sp>
        <p:nvSpPr>
          <p:cNvPr id="502" name="Rectangle 510"/>
          <p:cNvSpPr>
            <a:spLocks noChangeArrowheads="1"/>
          </p:cNvSpPr>
          <p:nvPr/>
        </p:nvSpPr>
        <p:spPr bwMode="auto">
          <a:xfrm>
            <a:off x="5573713" y="5128790"/>
            <a:ext cx="4810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Zdroje (</a:t>
            </a:r>
            <a:endParaRPr lang="cs-CZ" sz="2400" b="0">
              <a:solidFill>
                <a:schemeClr val="tx1"/>
              </a:solidFill>
              <a:latin typeface="Times New Roman" pitchFamily="18" charset="0"/>
              <a:ea typeface="ＭＳ Ｐゴシック" pitchFamily="34" charset="-128"/>
            </a:endParaRPr>
          </a:p>
        </p:txBody>
      </p:sp>
      <p:sp>
        <p:nvSpPr>
          <p:cNvPr id="503" name="Rectangle 511"/>
          <p:cNvSpPr>
            <a:spLocks noChangeArrowheads="1"/>
          </p:cNvSpPr>
          <p:nvPr/>
        </p:nvSpPr>
        <p:spPr bwMode="auto">
          <a:xfrm>
            <a:off x="6045200" y="5128790"/>
            <a:ext cx="4365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Belene</a:t>
            </a:r>
            <a:endParaRPr lang="cs-CZ" sz="2400" b="0">
              <a:solidFill>
                <a:schemeClr val="tx1"/>
              </a:solidFill>
              <a:latin typeface="Times New Roman" pitchFamily="18" charset="0"/>
              <a:ea typeface="ＭＳ Ｐゴシック" pitchFamily="34" charset="-128"/>
            </a:endParaRPr>
          </a:p>
        </p:txBody>
      </p:sp>
      <p:sp>
        <p:nvSpPr>
          <p:cNvPr id="504" name="Rectangle 512"/>
          <p:cNvSpPr>
            <a:spLocks noChangeArrowheads="1"/>
          </p:cNvSpPr>
          <p:nvPr/>
        </p:nvSpPr>
        <p:spPr bwMode="auto">
          <a:xfrm>
            <a:off x="6473825" y="5128790"/>
            <a:ext cx="762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 </a:t>
            </a:r>
            <a:endParaRPr lang="cs-CZ" sz="2400" b="0">
              <a:solidFill>
                <a:schemeClr val="tx1"/>
              </a:solidFill>
              <a:latin typeface="Times New Roman" pitchFamily="18" charset="0"/>
              <a:ea typeface="ＭＳ Ｐゴシック" pitchFamily="34" charset="-128"/>
            </a:endParaRPr>
          </a:p>
        </p:txBody>
      </p:sp>
      <p:sp>
        <p:nvSpPr>
          <p:cNvPr id="505" name="Rectangle 513"/>
          <p:cNvSpPr>
            <a:spLocks noChangeArrowheads="1"/>
          </p:cNvSpPr>
          <p:nvPr/>
        </p:nvSpPr>
        <p:spPr bwMode="auto">
          <a:xfrm>
            <a:off x="5573713" y="5293890"/>
            <a:ext cx="6842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Cernavoda</a:t>
            </a:r>
            <a:endParaRPr lang="cs-CZ" sz="2400" b="0">
              <a:solidFill>
                <a:schemeClr val="tx1"/>
              </a:solidFill>
              <a:latin typeface="Times New Roman" pitchFamily="18" charset="0"/>
              <a:ea typeface="ＭＳ Ｐゴシック" pitchFamily="34" charset="-128"/>
            </a:endParaRPr>
          </a:p>
        </p:txBody>
      </p:sp>
      <p:sp>
        <p:nvSpPr>
          <p:cNvPr id="507" name="Freeform 515"/>
          <p:cNvSpPr>
            <a:spLocks/>
          </p:cNvSpPr>
          <p:nvPr/>
        </p:nvSpPr>
        <p:spPr bwMode="auto">
          <a:xfrm>
            <a:off x="4538663" y="4174703"/>
            <a:ext cx="2608262" cy="612775"/>
          </a:xfrm>
          <a:custGeom>
            <a:avLst/>
            <a:gdLst>
              <a:gd name="T0" fmla="*/ 1397 w 3286"/>
              <a:gd name="T1" fmla="*/ 2 h 772"/>
              <a:gd name="T2" fmla="*/ 1297 w 3286"/>
              <a:gd name="T3" fmla="*/ 16 h 772"/>
              <a:gd name="T4" fmla="*/ 1238 w 3286"/>
              <a:gd name="T5" fmla="*/ 30 h 772"/>
              <a:gd name="T6" fmla="*/ 1189 w 3286"/>
              <a:gd name="T7" fmla="*/ 47 h 772"/>
              <a:gd name="T8" fmla="*/ 1150 w 3286"/>
              <a:gd name="T9" fmla="*/ 67 h 772"/>
              <a:gd name="T10" fmla="*/ 1122 w 3286"/>
              <a:gd name="T11" fmla="*/ 90 h 772"/>
              <a:gd name="T12" fmla="*/ 1109 w 3286"/>
              <a:gd name="T13" fmla="*/ 114 h 772"/>
              <a:gd name="T14" fmla="*/ 1107 w 3286"/>
              <a:gd name="T15" fmla="*/ 450 h 772"/>
              <a:gd name="T16" fmla="*/ 1107 w 3286"/>
              <a:gd name="T17" fmla="*/ 643 h 772"/>
              <a:gd name="T18" fmla="*/ 1114 w 3286"/>
              <a:gd name="T19" fmla="*/ 668 h 772"/>
              <a:gd name="T20" fmla="*/ 1136 w 3286"/>
              <a:gd name="T21" fmla="*/ 694 h 772"/>
              <a:gd name="T22" fmla="*/ 1169 w 3286"/>
              <a:gd name="T23" fmla="*/ 715 h 772"/>
              <a:gd name="T24" fmla="*/ 1213 w 3286"/>
              <a:gd name="T25" fmla="*/ 735 h 772"/>
              <a:gd name="T26" fmla="*/ 1268 w 3286"/>
              <a:gd name="T27" fmla="*/ 751 h 772"/>
              <a:gd name="T28" fmla="*/ 1329 w 3286"/>
              <a:gd name="T29" fmla="*/ 762 h 772"/>
              <a:gd name="T30" fmla="*/ 1470 w 3286"/>
              <a:gd name="T31" fmla="*/ 772 h 772"/>
              <a:gd name="T32" fmla="*/ 2922 w 3286"/>
              <a:gd name="T33" fmla="*/ 772 h 772"/>
              <a:gd name="T34" fmla="*/ 3064 w 3286"/>
              <a:gd name="T35" fmla="*/ 762 h 772"/>
              <a:gd name="T36" fmla="*/ 3125 w 3286"/>
              <a:gd name="T37" fmla="*/ 751 h 772"/>
              <a:gd name="T38" fmla="*/ 3180 w 3286"/>
              <a:gd name="T39" fmla="*/ 735 h 772"/>
              <a:gd name="T40" fmla="*/ 3223 w 3286"/>
              <a:gd name="T41" fmla="*/ 715 h 772"/>
              <a:gd name="T42" fmla="*/ 3256 w 3286"/>
              <a:gd name="T43" fmla="*/ 694 h 772"/>
              <a:gd name="T44" fmla="*/ 3278 w 3286"/>
              <a:gd name="T45" fmla="*/ 668 h 772"/>
              <a:gd name="T46" fmla="*/ 3286 w 3286"/>
              <a:gd name="T47" fmla="*/ 643 h 772"/>
              <a:gd name="T48" fmla="*/ 3286 w 3286"/>
              <a:gd name="T49" fmla="*/ 128 h 772"/>
              <a:gd name="T50" fmla="*/ 3278 w 3286"/>
              <a:gd name="T51" fmla="*/ 102 h 772"/>
              <a:gd name="T52" fmla="*/ 3256 w 3286"/>
              <a:gd name="T53" fmla="*/ 79 h 772"/>
              <a:gd name="T54" fmla="*/ 3223 w 3286"/>
              <a:gd name="T55" fmla="*/ 57 h 772"/>
              <a:gd name="T56" fmla="*/ 3180 w 3286"/>
              <a:gd name="T57" fmla="*/ 37 h 772"/>
              <a:gd name="T58" fmla="*/ 3125 w 3286"/>
              <a:gd name="T59" fmla="*/ 22 h 772"/>
              <a:gd name="T60" fmla="*/ 3064 w 3286"/>
              <a:gd name="T61" fmla="*/ 10 h 772"/>
              <a:gd name="T62" fmla="*/ 2922 w 3286"/>
              <a:gd name="T63" fmla="*/ 0 h 772"/>
              <a:gd name="T64" fmla="*/ 1470 w 3286"/>
              <a:gd name="T65" fmla="*/ 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86" h="772">
                <a:moveTo>
                  <a:pt x="1470" y="0"/>
                </a:moveTo>
                <a:lnTo>
                  <a:pt x="1397" y="2"/>
                </a:lnTo>
                <a:lnTo>
                  <a:pt x="1329" y="10"/>
                </a:lnTo>
                <a:lnTo>
                  <a:pt x="1297" y="16"/>
                </a:lnTo>
                <a:lnTo>
                  <a:pt x="1268" y="22"/>
                </a:lnTo>
                <a:lnTo>
                  <a:pt x="1238" y="30"/>
                </a:lnTo>
                <a:lnTo>
                  <a:pt x="1213" y="37"/>
                </a:lnTo>
                <a:lnTo>
                  <a:pt x="1189" y="47"/>
                </a:lnTo>
                <a:lnTo>
                  <a:pt x="1169" y="57"/>
                </a:lnTo>
                <a:lnTo>
                  <a:pt x="1150" y="67"/>
                </a:lnTo>
                <a:lnTo>
                  <a:pt x="1136" y="79"/>
                </a:lnTo>
                <a:lnTo>
                  <a:pt x="1122" y="90"/>
                </a:lnTo>
                <a:lnTo>
                  <a:pt x="1114" y="102"/>
                </a:lnTo>
                <a:lnTo>
                  <a:pt x="1109" y="114"/>
                </a:lnTo>
                <a:lnTo>
                  <a:pt x="1107" y="128"/>
                </a:lnTo>
                <a:lnTo>
                  <a:pt x="1107" y="450"/>
                </a:lnTo>
                <a:lnTo>
                  <a:pt x="0" y="405"/>
                </a:lnTo>
                <a:lnTo>
                  <a:pt x="1107" y="643"/>
                </a:lnTo>
                <a:lnTo>
                  <a:pt x="1109" y="656"/>
                </a:lnTo>
                <a:lnTo>
                  <a:pt x="1114" y="668"/>
                </a:lnTo>
                <a:lnTo>
                  <a:pt x="1122" y="682"/>
                </a:lnTo>
                <a:lnTo>
                  <a:pt x="1136" y="694"/>
                </a:lnTo>
                <a:lnTo>
                  <a:pt x="1150" y="705"/>
                </a:lnTo>
                <a:lnTo>
                  <a:pt x="1169" y="715"/>
                </a:lnTo>
                <a:lnTo>
                  <a:pt x="1189" y="725"/>
                </a:lnTo>
                <a:lnTo>
                  <a:pt x="1213" y="735"/>
                </a:lnTo>
                <a:lnTo>
                  <a:pt x="1238" y="743"/>
                </a:lnTo>
                <a:lnTo>
                  <a:pt x="1268" y="751"/>
                </a:lnTo>
                <a:lnTo>
                  <a:pt x="1297" y="757"/>
                </a:lnTo>
                <a:lnTo>
                  <a:pt x="1329" y="762"/>
                </a:lnTo>
                <a:lnTo>
                  <a:pt x="1397" y="770"/>
                </a:lnTo>
                <a:lnTo>
                  <a:pt x="1470" y="772"/>
                </a:lnTo>
                <a:lnTo>
                  <a:pt x="2014" y="772"/>
                </a:lnTo>
                <a:lnTo>
                  <a:pt x="2922" y="772"/>
                </a:lnTo>
                <a:lnTo>
                  <a:pt x="2995" y="770"/>
                </a:lnTo>
                <a:lnTo>
                  <a:pt x="3064" y="762"/>
                </a:lnTo>
                <a:lnTo>
                  <a:pt x="3095" y="757"/>
                </a:lnTo>
                <a:lnTo>
                  <a:pt x="3125" y="751"/>
                </a:lnTo>
                <a:lnTo>
                  <a:pt x="3154" y="743"/>
                </a:lnTo>
                <a:lnTo>
                  <a:pt x="3180" y="735"/>
                </a:lnTo>
                <a:lnTo>
                  <a:pt x="3203" y="725"/>
                </a:lnTo>
                <a:lnTo>
                  <a:pt x="3223" y="715"/>
                </a:lnTo>
                <a:lnTo>
                  <a:pt x="3242" y="705"/>
                </a:lnTo>
                <a:lnTo>
                  <a:pt x="3256" y="694"/>
                </a:lnTo>
                <a:lnTo>
                  <a:pt x="3270" y="682"/>
                </a:lnTo>
                <a:lnTo>
                  <a:pt x="3278" y="668"/>
                </a:lnTo>
                <a:lnTo>
                  <a:pt x="3284" y="656"/>
                </a:lnTo>
                <a:lnTo>
                  <a:pt x="3286" y="643"/>
                </a:lnTo>
                <a:lnTo>
                  <a:pt x="3286" y="450"/>
                </a:lnTo>
                <a:lnTo>
                  <a:pt x="3286" y="128"/>
                </a:lnTo>
                <a:lnTo>
                  <a:pt x="3284" y="114"/>
                </a:lnTo>
                <a:lnTo>
                  <a:pt x="3278" y="102"/>
                </a:lnTo>
                <a:lnTo>
                  <a:pt x="3270" y="90"/>
                </a:lnTo>
                <a:lnTo>
                  <a:pt x="3256" y="79"/>
                </a:lnTo>
                <a:lnTo>
                  <a:pt x="3242" y="67"/>
                </a:lnTo>
                <a:lnTo>
                  <a:pt x="3223" y="57"/>
                </a:lnTo>
                <a:lnTo>
                  <a:pt x="3203" y="47"/>
                </a:lnTo>
                <a:lnTo>
                  <a:pt x="3180" y="37"/>
                </a:lnTo>
                <a:lnTo>
                  <a:pt x="3154" y="30"/>
                </a:lnTo>
                <a:lnTo>
                  <a:pt x="3125" y="22"/>
                </a:lnTo>
                <a:lnTo>
                  <a:pt x="3095" y="16"/>
                </a:lnTo>
                <a:lnTo>
                  <a:pt x="3064" y="10"/>
                </a:lnTo>
                <a:lnTo>
                  <a:pt x="2995" y="2"/>
                </a:lnTo>
                <a:lnTo>
                  <a:pt x="2922" y="0"/>
                </a:lnTo>
                <a:lnTo>
                  <a:pt x="2014" y="0"/>
                </a:lnTo>
                <a:lnTo>
                  <a:pt x="1470" y="0"/>
                </a:lnTo>
                <a:close/>
              </a:path>
            </a:pathLst>
          </a:custGeom>
          <a:solidFill>
            <a:srgbClr val="FFFFFF"/>
          </a:solidFill>
          <a:ln w="9525">
            <a:solidFill>
              <a:srgbClr val="000000"/>
            </a:solidFill>
            <a:prstDash val="solid"/>
            <a:round/>
            <a:headEnd/>
            <a:tailEnd/>
          </a:ln>
        </p:spPr>
        <p:txBody>
          <a:bodyPr/>
          <a:lstStyle/>
          <a:p>
            <a:endParaRPr lang="cs-CZ"/>
          </a:p>
        </p:txBody>
      </p:sp>
      <p:sp>
        <p:nvSpPr>
          <p:cNvPr id="508" name="Rectangle 516"/>
          <p:cNvSpPr>
            <a:spLocks noChangeArrowheads="1"/>
          </p:cNvSpPr>
          <p:nvPr/>
        </p:nvSpPr>
        <p:spPr bwMode="auto">
          <a:xfrm>
            <a:off x="5516563" y="4238203"/>
            <a:ext cx="6667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Maďarsko</a:t>
            </a:r>
            <a:endParaRPr lang="cs-CZ" sz="2400" b="0">
              <a:solidFill>
                <a:schemeClr val="tx1"/>
              </a:solidFill>
              <a:latin typeface="Times New Roman" pitchFamily="18" charset="0"/>
              <a:ea typeface="ＭＳ Ｐゴシック" pitchFamily="34" charset="-128"/>
            </a:endParaRPr>
          </a:p>
        </p:txBody>
      </p:sp>
      <p:sp>
        <p:nvSpPr>
          <p:cNvPr id="509" name="Rectangle 517"/>
          <p:cNvSpPr>
            <a:spLocks noChangeArrowheads="1"/>
          </p:cNvSpPr>
          <p:nvPr/>
        </p:nvSpPr>
        <p:spPr bwMode="auto">
          <a:xfrm>
            <a:off x="5516563" y="4409653"/>
            <a:ext cx="5048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Aktuální</a:t>
            </a:r>
            <a:endParaRPr lang="cs-CZ" sz="2400" b="0">
              <a:solidFill>
                <a:schemeClr val="tx1"/>
              </a:solidFill>
              <a:latin typeface="Times New Roman" pitchFamily="18" charset="0"/>
              <a:ea typeface="ＭＳ Ｐゴシック" pitchFamily="34" charset="-128"/>
            </a:endParaRPr>
          </a:p>
        </p:txBody>
      </p:sp>
      <p:sp>
        <p:nvSpPr>
          <p:cNvPr id="510" name="Rectangle 518"/>
          <p:cNvSpPr>
            <a:spLocks noChangeArrowheads="1"/>
          </p:cNvSpPr>
          <p:nvPr/>
        </p:nvSpPr>
        <p:spPr bwMode="auto">
          <a:xfrm>
            <a:off x="6051550" y="4409653"/>
            <a:ext cx="47466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511" name="Rectangle 519"/>
          <p:cNvSpPr>
            <a:spLocks noChangeArrowheads="1"/>
          </p:cNvSpPr>
          <p:nvPr/>
        </p:nvSpPr>
        <p:spPr bwMode="auto">
          <a:xfrm>
            <a:off x="6554788" y="4409653"/>
            <a:ext cx="115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512" name="Rectangle 520"/>
          <p:cNvSpPr>
            <a:spLocks noChangeArrowheads="1"/>
          </p:cNvSpPr>
          <p:nvPr/>
        </p:nvSpPr>
        <p:spPr bwMode="auto">
          <a:xfrm>
            <a:off x="5516563" y="4574753"/>
            <a:ext cx="123031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rozšíření elektrárny </a:t>
            </a:r>
            <a:endParaRPr lang="cs-CZ" sz="2400" b="0">
              <a:solidFill>
                <a:schemeClr val="tx1"/>
              </a:solidFill>
              <a:latin typeface="Times New Roman" pitchFamily="18" charset="0"/>
              <a:ea typeface="ＭＳ Ｐゴシック" pitchFamily="34" charset="-128"/>
            </a:endParaRPr>
          </a:p>
        </p:txBody>
      </p:sp>
      <p:sp>
        <p:nvSpPr>
          <p:cNvPr id="513" name="Rectangle 521"/>
          <p:cNvSpPr>
            <a:spLocks noChangeArrowheads="1"/>
          </p:cNvSpPr>
          <p:nvPr/>
        </p:nvSpPr>
        <p:spPr bwMode="auto">
          <a:xfrm>
            <a:off x="6724650" y="4574753"/>
            <a:ext cx="3111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aks</a:t>
            </a:r>
            <a:endParaRPr lang="cs-CZ" sz="2400" b="0">
              <a:solidFill>
                <a:schemeClr val="tx1"/>
              </a:solidFill>
              <a:latin typeface="Times New Roman" pitchFamily="18" charset="0"/>
              <a:ea typeface="ＭＳ Ｐゴシック" pitchFamily="34" charset="-128"/>
            </a:endParaRPr>
          </a:p>
        </p:txBody>
      </p:sp>
      <p:grpSp>
        <p:nvGrpSpPr>
          <p:cNvPr id="514" name="Group 522"/>
          <p:cNvGrpSpPr>
            <a:grpSpLocks/>
          </p:cNvGrpSpPr>
          <p:nvPr/>
        </p:nvGrpSpPr>
        <p:grpSpPr bwMode="auto">
          <a:xfrm>
            <a:off x="5108575" y="4777953"/>
            <a:ext cx="504825" cy="327025"/>
            <a:chOff x="3210" y="3074"/>
            <a:chExt cx="318" cy="206"/>
          </a:xfrm>
        </p:grpSpPr>
        <p:sp>
          <p:nvSpPr>
            <p:cNvPr id="515" name="Freeform 523"/>
            <p:cNvSpPr>
              <a:spLocks/>
            </p:cNvSpPr>
            <p:nvPr/>
          </p:nvSpPr>
          <p:spPr bwMode="auto">
            <a:xfrm>
              <a:off x="3210" y="3074"/>
              <a:ext cx="318" cy="206"/>
            </a:xfrm>
            <a:custGeom>
              <a:avLst/>
              <a:gdLst>
                <a:gd name="T0" fmla="*/ 459 w 636"/>
                <a:gd name="T1" fmla="*/ 413 h 413"/>
                <a:gd name="T2" fmla="*/ 0 w 636"/>
                <a:gd name="T3" fmla="*/ 0 h 413"/>
                <a:gd name="T4" fmla="*/ 636 w 636"/>
                <a:gd name="T5" fmla="*/ 166 h 413"/>
                <a:gd name="T6" fmla="*/ 459 w 636"/>
                <a:gd name="T7" fmla="*/ 413 h 413"/>
              </a:gdLst>
              <a:ahLst/>
              <a:cxnLst>
                <a:cxn ang="0">
                  <a:pos x="T0" y="T1"/>
                </a:cxn>
                <a:cxn ang="0">
                  <a:pos x="T2" y="T3"/>
                </a:cxn>
                <a:cxn ang="0">
                  <a:pos x="T4" y="T5"/>
                </a:cxn>
                <a:cxn ang="0">
                  <a:pos x="T6" y="T7"/>
                </a:cxn>
              </a:cxnLst>
              <a:rect l="0" t="0" r="r" b="b"/>
              <a:pathLst>
                <a:path w="636" h="413">
                  <a:moveTo>
                    <a:pt x="459" y="413"/>
                  </a:moveTo>
                  <a:lnTo>
                    <a:pt x="0" y="0"/>
                  </a:lnTo>
                  <a:lnTo>
                    <a:pt x="636" y="166"/>
                  </a:lnTo>
                  <a:lnTo>
                    <a:pt x="459" y="41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516" name="Freeform 524"/>
            <p:cNvSpPr>
              <a:spLocks/>
            </p:cNvSpPr>
            <p:nvPr/>
          </p:nvSpPr>
          <p:spPr bwMode="auto">
            <a:xfrm>
              <a:off x="3210" y="3074"/>
              <a:ext cx="318" cy="206"/>
            </a:xfrm>
            <a:custGeom>
              <a:avLst/>
              <a:gdLst>
                <a:gd name="T0" fmla="*/ 459 w 636"/>
                <a:gd name="T1" fmla="*/ 413 h 413"/>
                <a:gd name="T2" fmla="*/ 0 w 636"/>
                <a:gd name="T3" fmla="*/ 0 h 413"/>
                <a:gd name="T4" fmla="*/ 636 w 636"/>
                <a:gd name="T5" fmla="*/ 166 h 413"/>
              </a:gdLst>
              <a:ahLst/>
              <a:cxnLst>
                <a:cxn ang="0">
                  <a:pos x="T0" y="T1"/>
                </a:cxn>
                <a:cxn ang="0">
                  <a:pos x="T2" y="T3"/>
                </a:cxn>
                <a:cxn ang="0">
                  <a:pos x="T4" y="T5"/>
                </a:cxn>
              </a:cxnLst>
              <a:rect l="0" t="0" r="r" b="b"/>
              <a:pathLst>
                <a:path w="636" h="413">
                  <a:moveTo>
                    <a:pt x="459" y="413"/>
                  </a:moveTo>
                  <a:lnTo>
                    <a:pt x="0" y="0"/>
                  </a:lnTo>
                  <a:lnTo>
                    <a:pt x="636" y="166"/>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517" name="Freeform 525"/>
          <p:cNvSpPr>
            <a:spLocks/>
          </p:cNvSpPr>
          <p:nvPr/>
        </p:nvSpPr>
        <p:spPr bwMode="auto">
          <a:xfrm>
            <a:off x="954088" y="3901653"/>
            <a:ext cx="1782762" cy="969962"/>
          </a:xfrm>
          <a:custGeom>
            <a:avLst/>
            <a:gdLst>
              <a:gd name="T0" fmla="*/ 283 w 2248"/>
              <a:gd name="T1" fmla="*/ 0 h 1222"/>
              <a:gd name="T2" fmla="*/ 254 w 2248"/>
              <a:gd name="T3" fmla="*/ 2 h 1222"/>
              <a:gd name="T4" fmla="*/ 226 w 2248"/>
              <a:gd name="T5" fmla="*/ 4 h 1222"/>
              <a:gd name="T6" fmla="*/ 173 w 2248"/>
              <a:gd name="T7" fmla="*/ 16 h 1222"/>
              <a:gd name="T8" fmla="*/ 126 w 2248"/>
              <a:gd name="T9" fmla="*/ 36 h 1222"/>
              <a:gd name="T10" fmla="*/ 83 w 2248"/>
              <a:gd name="T11" fmla="*/ 59 h 1222"/>
              <a:gd name="T12" fmla="*/ 65 w 2248"/>
              <a:gd name="T13" fmla="*/ 75 h 1222"/>
              <a:gd name="T14" fmla="*/ 49 w 2248"/>
              <a:gd name="T15" fmla="*/ 91 h 1222"/>
              <a:gd name="T16" fmla="*/ 36 w 2248"/>
              <a:gd name="T17" fmla="*/ 106 h 1222"/>
              <a:gd name="T18" fmla="*/ 22 w 2248"/>
              <a:gd name="T19" fmla="*/ 124 h 1222"/>
              <a:gd name="T20" fmla="*/ 14 w 2248"/>
              <a:gd name="T21" fmla="*/ 144 h 1222"/>
              <a:gd name="T22" fmla="*/ 6 w 2248"/>
              <a:gd name="T23" fmla="*/ 163 h 1222"/>
              <a:gd name="T24" fmla="*/ 2 w 2248"/>
              <a:gd name="T25" fmla="*/ 183 h 1222"/>
              <a:gd name="T26" fmla="*/ 0 w 2248"/>
              <a:gd name="T27" fmla="*/ 205 h 1222"/>
              <a:gd name="T28" fmla="*/ 0 w 2248"/>
              <a:gd name="T29" fmla="*/ 713 h 1222"/>
              <a:gd name="T30" fmla="*/ 0 w 2248"/>
              <a:gd name="T31" fmla="*/ 1018 h 1222"/>
              <a:gd name="T32" fmla="*/ 2 w 2248"/>
              <a:gd name="T33" fmla="*/ 1040 h 1222"/>
              <a:gd name="T34" fmla="*/ 6 w 2248"/>
              <a:gd name="T35" fmla="*/ 1059 h 1222"/>
              <a:gd name="T36" fmla="*/ 14 w 2248"/>
              <a:gd name="T37" fmla="*/ 1079 h 1222"/>
              <a:gd name="T38" fmla="*/ 22 w 2248"/>
              <a:gd name="T39" fmla="*/ 1099 h 1222"/>
              <a:gd name="T40" fmla="*/ 36 w 2248"/>
              <a:gd name="T41" fmla="*/ 1116 h 1222"/>
              <a:gd name="T42" fmla="*/ 49 w 2248"/>
              <a:gd name="T43" fmla="*/ 1132 h 1222"/>
              <a:gd name="T44" fmla="*/ 65 w 2248"/>
              <a:gd name="T45" fmla="*/ 1148 h 1222"/>
              <a:gd name="T46" fmla="*/ 83 w 2248"/>
              <a:gd name="T47" fmla="*/ 1163 h 1222"/>
              <a:gd name="T48" fmla="*/ 126 w 2248"/>
              <a:gd name="T49" fmla="*/ 1187 h 1222"/>
              <a:gd name="T50" fmla="*/ 173 w 2248"/>
              <a:gd name="T51" fmla="*/ 1207 h 1222"/>
              <a:gd name="T52" fmla="*/ 226 w 2248"/>
              <a:gd name="T53" fmla="*/ 1218 h 1222"/>
              <a:gd name="T54" fmla="*/ 254 w 2248"/>
              <a:gd name="T55" fmla="*/ 1222 h 1222"/>
              <a:gd name="T56" fmla="*/ 283 w 2248"/>
              <a:gd name="T57" fmla="*/ 1222 h 1222"/>
              <a:gd name="T58" fmla="*/ 992 w 2248"/>
              <a:gd name="T59" fmla="*/ 1222 h 1222"/>
              <a:gd name="T60" fmla="*/ 1417 w 2248"/>
              <a:gd name="T61" fmla="*/ 1222 h 1222"/>
              <a:gd name="T62" fmla="*/ 1446 w 2248"/>
              <a:gd name="T63" fmla="*/ 1222 h 1222"/>
              <a:gd name="T64" fmla="*/ 1474 w 2248"/>
              <a:gd name="T65" fmla="*/ 1218 h 1222"/>
              <a:gd name="T66" fmla="*/ 1527 w 2248"/>
              <a:gd name="T67" fmla="*/ 1207 h 1222"/>
              <a:gd name="T68" fmla="*/ 1574 w 2248"/>
              <a:gd name="T69" fmla="*/ 1187 h 1222"/>
              <a:gd name="T70" fmla="*/ 1617 w 2248"/>
              <a:gd name="T71" fmla="*/ 1163 h 1222"/>
              <a:gd name="T72" fmla="*/ 1635 w 2248"/>
              <a:gd name="T73" fmla="*/ 1148 h 1222"/>
              <a:gd name="T74" fmla="*/ 1651 w 2248"/>
              <a:gd name="T75" fmla="*/ 1132 h 1222"/>
              <a:gd name="T76" fmla="*/ 1666 w 2248"/>
              <a:gd name="T77" fmla="*/ 1116 h 1222"/>
              <a:gd name="T78" fmla="*/ 1678 w 2248"/>
              <a:gd name="T79" fmla="*/ 1099 h 1222"/>
              <a:gd name="T80" fmla="*/ 1688 w 2248"/>
              <a:gd name="T81" fmla="*/ 1079 h 1222"/>
              <a:gd name="T82" fmla="*/ 1694 w 2248"/>
              <a:gd name="T83" fmla="*/ 1059 h 1222"/>
              <a:gd name="T84" fmla="*/ 1698 w 2248"/>
              <a:gd name="T85" fmla="*/ 1040 h 1222"/>
              <a:gd name="T86" fmla="*/ 1700 w 2248"/>
              <a:gd name="T87" fmla="*/ 1018 h 1222"/>
              <a:gd name="T88" fmla="*/ 2248 w 2248"/>
              <a:gd name="T89" fmla="*/ 1046 h 1222"/>
              <a:gd name="T90" fmla="*/ 1700 w 2248"/>
              <a:gd name="T91" fmla="*/ 713 h 1222"/>
              <a:gd name="T92" fmla="*/ 1700 w 2248"/>
              <a:gd name="T93" fmla="*/ 205 h 1222"/>
              <a:gd name="T94" fmla="*/ 1698 w 2248"/>
              <a:gd name="T95" fmla="*/ 183 h 1222"/>
              <a:gd name="T96" fmla="*/ 1694 w 2248"/>
              <a:gd name="T97" fmla="*/ 163 h 1222"/>
              <a:gd name="T98" fmla="*/ 1688 w 2248"/>
              <a:gd name="T99" fmla="*/ 144 h 1222"/>
              <a:gd name="T100" fmla="*/ 1678 w 2248"/>
              <a:gd name="T101" fmla="*/ 124 h 1222"/>
              <a:gd name="T102" fmla="*/ 1666 w 2248"/>
              <a:gd name="T103" fmla="*/ 106 h 1222"/>
              <a:gd name="T104" fmla="*/ 1651 w 2248"/>
              <a:gd name="T105" fmla="*/ 91 h 1222"/>
              <a:gd name="T106" fmla="*/ 1635 w 2248"/>
              <a:gd name="T107" fmla="*/ 75 h 1222"/>
              <a:gd name="T108" fmla="*/ 1617 w 2248"/>
              <a:gd name="T109" fmla="*/ 59 h 1222"/>
              <a:gd name="T110" fmla="*/ 1574 w 2248"/>
              <a:gd name="T111" fmla="*/ 36 h 1222"/>
              <a:gd name="T112" fmla="*/ 1527 w 2248"/>
              <a:gd name="T113" fmla="*/ 16 h 1222"/>
              <a:gd name="T114" fmla="*/ 1474 w 2248"/>
              <a:gd name="T115" fmla="*/ 4 h 1222"/>
              <a:gd name="T116" fmla="*/ 1446 w 2248"/>
              <a:gd name="T117" fmla="*/ 2 h 1222"/>
              <a:gd name="T118" fmla="*/ 1417 w 2248"/>
              <a:gd name="T119" fmla="*/ 0 h 1222"/>
              <a:gd name="T120" fmla="*/ 992 w 2248"/>
              <a:gd name="T121" fmla="*/ 0 h 1222"/>
              <a:gd name="T122" fmla="*/ 283 w 2248"/>
              <a:gd name="T123" fmla="*/ 0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8" h="1222">
                <a:moveTo>
                  <a:pt x="283" y="0"/>
                </a:moveTo>
                <a:lnTo>
                  <a:pt x="254" y="2"/>
                </a:lnTo>
                <a:lnTo>
                  <a:pt x="226" y="4"/>
                </a:lnTo>
                <a:lnTo>
                  <a:pt x="173" y="16"/>
                </a:lnTo>
                <a:lnTo>
                  <a:pt x="126" y="36"/>
                </a:lnTo>
                <a:lnTo>
                  <a:pt x="83" y="59"/>
                </a:lnTo>
                <a:lnTo>
                  <a:pt x="65" y="75"/>
                </a:lnTo>
                <a:lnTo>
                  <a:pt x="49" y="91"/>
                </a:lnTo>
                <a:lnTo>
                  <a:pt x="36" y="106"/>
                </a:lnTo>
                <a:lnTo>
                  <a:pt x="22" y="124"/>
                </a:lnTo>
                <a:lnTo>
                  <a:pt x="14" y="144"/>
                </a:lnTo>
                <a:lnTo>
                  <a:pt x="6" y="163"/>
                </a:lnTo>
                <a:lnTo>
                  <a:pt x="2" y="183"/>
                </a:lnTo>
                <a:lnTo>
                  <a:pt x="0" y="205"/>
                </a:lnTo>
                <a:lnTo>
                  <a:pt x="0" y="713"/>
                </a:lnTo>
                <a:lnTo>
                  <a:pt x="0" y="1018"/>
                </a:lnTo>
                <a:lnTo>
                  <a:pt x="2" y="1040"/>
                </a:lnTo>
                <a:lnTo>
                  <a:pt x="6" y="1059"/>
                </a:lnTo>
                <a:lnTo>
                  <a:pt x="14" y="1079"/>
                </a:lnTo>
                <a:lnTo>
                  <a:pt x="22" y="1099"/>
                </a:lnTo>
                <a:lnTo>
                  <a:pt x="36" y="1116"/>
                </a:lnTo>
                <a:lnTo>
                  <a:pt x="49" y="1132"/>
                </a:lnTo>
                <a:lnTo>
                  <a:pt x="65" y="1148"/>
                </a:lnTo>
                <a:lnTo>
                  <a:pt x="83" y="1163"/>
                </a:lnTo>
                <a:lnTo>
                  <a:pt x="126" y="1187"/>
                </a:lnTo>
                <a:lnTo>
                  <a:pt x="173" y="1207"/>
                </a:lnTo>
                <a:lnTo>
                  <a:pt x="226" y="1218"/>
                </a:lnTo>
                <a:lnTo>
                  <a:pt x="254" y="1222"/>
                </a:lnTo>
                <a:lnTo>
                  <a:pt x="283" y="1222"/>
                </a:lnTo>
                <a:lnTo>
                  <a:pt x="992" y="1222"/>
                </a:lnTo>
                <a:lnTo>
                  <a:pt x="1417" y="1222"/>
                </a:lnTo>
                <a:lnTo>
                  <a:pt x="1446" y="1222"/>
                </a:lnTo>
                <a:lnTo>
                  <a:pt x="1474" y="1218"/>
                </a:lnTo>
                <a:lnTo>
                  <a:pt x="1527" y="1207"/>
                </a:lnTo>
                <a:lnTo>
                  <a:pt x="1574" y="1187"/>
                </a:lnTo>
                <a:lnTo>
                  <a:pt x="1617" y="1163"/>
                </a:lnTo>
                <a:lnTo>
                  <a:pt x="1635" y="1148"/>
                </a:lnTo>
                <a:lnTo>
                  <a:pt x="1651" y="1132"/>
                </a:lnTo>
                <a:lnTo>
                  <a:pt x="1666" y="1116"/>
                </a:lnTo>
                <a:lnTo>
                  <a:pt x="1678" y="1099"/>
                </a:lnTo>
                <a:lnTo>
                  <a:pt x="1688" y="1079"/>
                </a:lnTo>
                <a:lnTo>
                  <a:pt x="1694" y="1059"/>
                </a:lnTo>
                <a:lnTo>
                  <a:pt x="1698" y="1040"/>
                </a:lnTo>
                <a:lnTo>
                  <a:pt x="1700" y="1018"/>
                </a:lnTo>
                <a:lnTo>
                  <a:pt x="2248" y="1046"/>
                </a:lnTo>
                <a:lnTo>
                  <a:pt x="1700" y="713"/>
                </a:lnTo>
                <a:lnTo>
                  <a:pt x="1700" y="205"/>
                </a:lnTo>
                <a:lnTo>
                  <a:pt x="1698" y="183"/>
                </a:lnTo>
                <a:lnTo>
                  <a:pt x="1694" y="163"/>
                </a:lnTo>
                <a:lnTo>
                  <a:pt x="1688" y="144"/>
                </a:lnTo>
                <a:lnTo>
                  <a:pt x="1678" y="124"/>
                </a:lnTo>
                <a:lnTo>
                  <a:pt x="1666" y="106"/>
                </a:lnTo>
                <a:lnTo>
                  <a:pt x="1651" y="91"/>
                </a:lnTo>
                <a:lnTo>
                  <a:pt x="1635" y="75"/>
                </a:lnTo>
                <a:lnTo>
                  <a:pt x="1617" y="59"/>
                </a:lnTo>
                <a:lnTo>
                  <a:pt x="1574" y="36"/>
                </a:lnTo>
                <a:lnTo>
                  <a:pt x="1527" y="16"/>
                </a:lnTo>
                <a:lnTo>
                  <a:pt x="1474" y="4"/>
                </a:lnTo>
                <a:lnTo>
                  <a:pt x="1446" y="2"/>
                </a:lnTo>
                <a:lnTo>
                  <a:pt x="1417" y="0"/>
                </a:lnTo>
                <a:lnTo>
                  <a:pt x="992" y="0"/>
                </a:lnTo>
                <a:lnTo>
                  <a:pt x="283" y="0"/>
                </a:lnTo>
                <a:close/>
              </a:path>
            </a:pathLst>
          </a:custGeom>
          <a:solidFill>
            <a:srgbClr val="FFFFFF"/>
          </a:solidFill>
          <a:ln w="9525">
            <a:solidFill>
              <a:srgbClr val="000000"/>
            </a:solidFill>
            <a:prstDash val="solid"/>
            <a:round/>
            <a:headEnd/>
            <a:tailEnd/>
          </a:ln>
        </p:spPr>
        <p:txBody>
          <a:bodyPr/>
          <a:lstStyle/>
          <a:p>
            <a:endParaRPr lang="cs-CZ"/>
          </a:p>
        </p:txBody>
      </p:sp>
      <p:sp>
        <p:nvSpPr>
          <p:cNvPr id="518" name="Rectangle 526"/>
          <p:cNvSpPr>
            <a:spLocks noChangeArrowheads="1"/>
          </p:cNvSpPr>
          <p:nvPr/>
        </p:nvSpPr>
        <p:spPr bwMode="auto">
          <a:xfrm>
            <a:off x="1039813" y="3977853"/>
            <a:ext cx="4968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Francie</a:t>
            </a:r>
            <a:endParaRPr lang="cs-CZ" sz="2400" b="0">
              <a:solidFill>
                <a:schemeClr val="tx1"/>
              </a:solidFill>
              <a:latin typeface="Times New Roman" pitchFamily="18" charset="0"/>
              <a:ea typeface="ＭＳ Ｐゴシック" pitchFamily="34" charset="-128"/>
            </a:endParaRPr>
          </a:p>
        </p:txBody>
      </p:sp>
      <p:sp>
        <p:nvSpPr>
          <p:cNvPr id="519" name="Rectangle 527"/>
          <p:cNvSpPr>
            <a:spLocks noChangeArrowheads="1"/>
          </p:cNvSpPr>
          <p:nvPr/>
        </p:nvSpPr>
        <p:spPr bwMode="auto">
          <a:xfrm>
            <a:off x="1039813" y="4147715"/>
            <a:ext cx="10541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známeny nové </a:t>
            </a:r>
            <a:endParaRPr lang="cs-CZ" sz="2400" b="0">
              <a:solidFill>
                <a:schemeClr val="tx1"/>
              </a:solidFill>
              <a:latin typeface="Times New Roman" pitchFamily="18" charset="0"/>
              <a:ea typeface="ＭＳ Ｐゴシック" pitchFamily="34" charset="-128"/>
            </a:endParaRPr>
          </a:p>
        </p:txBody>
      </p:sp>
      <p:sp>
        <p:nvSpPr>
          <p:cNvPr id="520" name="Rectangle 528"/>
          <p:cNvSpPr>
            <a:spLocks noChangeArrowheads="1"/>
          </p:cNvSpPr>
          <p:nvPr/>
        </p:nvSpPr>
        <p:spPr bwMode="auto">
          <a:xfrm>
            <a:off x="1039813" y="4314403"/>
            <a:ext cx="9080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é bloky, </a:t>
            </a:r>
            <a:endParaRPr lang="cs-CZ" sz="2400" b="0">
              <a:solidFill>
                <a:schemeClr val="tx1"/>
              </a:solidFill>
              <a:latin typeface="Times New Roman" pitchFamily="18" charset="0"/>
              <a:ea typeface="ＭＳ Ｐゴシック" pitchFamily="34" charset="-128"/>
            </a:endParaRPr>
          </a:p>
        </p:txBody>
      </p:sp>
      <p:sp>
        <p:nvSpPr>
          <p:cNvPr id="521" name="Rectangle 529"/>
          <p:cNvSpPr>
            <a:spLocks noChangeArrowheads="1"/>
          </p:cNvSpPr>
          <p:nvPr/>
        </p:nvSpPr>
        <p:spPr bwMode="auto">
          <a:xfrm>
            <a:off x="1039813" y="4479503"/>
            <a:ext cx="8842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rogram EPR </a:t>
            </a:r>
            <a:endParaRPr lang="cs-CZ" sz="2400" b="0">
              <a:solidFill>
                <a:schemeClr val="tx1"/>
              </a:solidFill>
              <a:latin typeface="Times New Roman" pitchFamily="18" charset="0"/>
              <a:ea typeface="ＭＳ Ｐゴシック" pitchFamily="34" charset="-128"/>
            </a:endParaRPr>
          </a:p>
        </p:txBody>
      </p:sp>
      <p:sp>
        <p:nvSpPr>
          <p:cNvPr id="522" name="Rectangle 530"/>
          <p:cNvSpPr>
            <a:spLocks noChangeArrowheads="1"/>
          </p:cNvSpPr>
          <p:nvPr/>
        </p:nvSpPr>
        <p:spPr bwMode="auto">
          <a:xfrm>
            <a:off x="1909763" y="4479503"/>
            <a:ext cx="777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a:t>
            </a:r>
            <a:endParaRPr lang="cs-CZ" sz="2400" b="0">
              <a:solidFill>
                <a:schemeClr val="tx1"/>
              </a:solidFill>
              <a:latin typeface="Times New Roman" pitchFamily="18" charset="0"/>
              <a:ea typeface="ＭＳ Ｐゴシック" pitchFamily="34" charset="-128"/>
            </a:endParaRPr>
          </a:p>
        </p:txBody>
      </p:sp>
      <p:sp>
        <p:nvSpPr>
          <p:cNvPr id="523" name="Rectangle 531"/>
          <p:cNvSpPr>
            <a:spLocks noChangeArrowheads="1"/>
          </p:cNvSpPr>
          <p:nvPr/>
        </p:nvSpPr>
        <p:spPr bwMode="auto">
          <a:xfrm>
            <a:off x="2024063" y="4479503"/>
            <a:ext cx="1714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iž </a:t>
            </a:r>
            <a:endParaRPr lang="cs-CZ" sz="2400" b="0">
              <a:solidFill>
                <a:schemeClr val="tx1"/>
              </a:solidFill>
              <a:latin typeface="Times New Roman" pitchFamily="18" charset="0"/>
              <a:ea typeface="ＭＳ Ｐゴシック" pitchFamily="34" charset="-128"/>
            </a:endParaRPr>
          </a:p>
        </p:txBody>
      </p:sp>
      <p:sp>
        <p:nvSpPr>
          <p:cNvPr id="524" name="Rectangle 532"/>
          <p:cNvSpPr>
            <a:spLocks noChangeArrowheads="1"/>
          </p:cNvSpPr>
          <p:nvPr/>
        </p:nvSpPr>
        <p:spPr bwMode="auto">
          <a:xfrm>
            <a:off x="1039813" y="4644603"/>
            <a:ext cx="10175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zahájena stavba</a:t>
            </a:r>
            <a:endParaRPr lang="cs-CZ" sz="2400" b="0">
              <a:solidFill>
                <a:schemeClr val="tx1"/>
              </a:solidFill>
              <a:latin typeface="Times New Roman" pitchFamily="18" charset="0"/>
              <a:ea typeface="ＭＳ Ｐゴシック" pitchFamily="34" charset="-128"/>
            </a:endParaRPr>
          </a:p>
        </p:txBody>
      </p:sp>
      <p:grpSp>
        <p:nvGrpSpPr>
          <p:cNvPr id="525" name="Group 533"/>
          <p:cNvGrpSpPr>
            <a:grpSpLocks/>
          </p:cNvGrpSpPr>
          <p:nvPr/>
        </p:nvGrpSpPr>
        <p:grpSpPr bwMode="auto">
          <a:xfrm>
            <a:off x="-2895600" y="1307678"/>
            <a:ext cx="11607800" cy="4924425"/>
            <a:chOff x="-1832" y="888"/>
            <a:chExt cx="7312" cy="3102"/>
          </a:xfrm>
        </p:grpSpPr>
        <p:sp>
          <p:nvSpPr>
            <p:cNvPr id="526" name="Freeform 534"/>
            <p:cNvSpPr>
              <a:spLocks/>
            </p:cNvSpPr>
            <p:nvPr/>
          </p:nvSpPr>
          <p:spPr bwMode="auto">
            <a:xfrm>
              <a:off x="4568" y="1374"/>
              <a:ext cx="114" cy="1913"/>
            </a:xfrm>
            <a:custGeom>
              <a:avLst/>
              <a:gdLst>
                <a:gd name="T0" fmla="*/ 230 w 230"/>
                <a:gd name="T1" fmla="*/ 1912 h 3826"/>
                <a:gd name="T2" fmla="*/ 0 w 230"/>
                <a:gd name="T3" fmla="*/ 0 h 3826"/>
                <a:gd name="T4" fmla="*/ 0 w 230"/>
                <a:gd name="T5" fmla="*/ 3826 h 3826"/>
                <a:gd name="T6" fmla="*/ 230 w 230"/>
                <a:gd name="T7" fmla="*/ 1912 h 3826"/>
              </a:gdLst>
              <a:ahLst/>
              <a:cxnLst>
                <a:cxn ang="0">
                  <a:pos x="T0" y="T1"/>
                </a:cxn>
                <a:cxn ang="0">
                  <a:pos x="T2" y="T3"/>
                </a:cxn>
                <a:cxn ang="0">
                  <a:pos x="T4" y="T5"/>
                </a:cxn>
                <a:cxn ang="0">
                  <a:pos x="T6" y="T7"/>
                </a:cxn>
              </a:cxnLst>
              <a:rect l="0" t="0" r="r" b="b"/>
              <a:pathLst>
                <a:path w="230" h="3826">
                  <a:moveTo>
                    <a:pt x="230" y="1912"/>
                  </a:moveTo>
                  <a:lnTo>
                    <a:pt x="0" y="0"/>
                  </a:lnTo>
                  <a:lnTo>
                    <a:pt x="0" y="3826"/>
                  </a:lnTo>
                  <a:lnTo>
                    <a:pt x="230" y="191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527" name="Freeform 535"/>
            <p:cNvSpPr>
              <a:spLocks/>
            </p:cNvSpPr>
            <p:nvPr/>
          </p:nvSpPr>
          <p:spPr bwMode="auto">
            <a:xfrm>
              <a:off x="4719" y="1695"/>
              <a:ext cx="761" cy="1274"/>
            </a:xfrm>
            <a:custGeom>
              <a:avLst/>
              <a:gdLst>
                <a:gd name="T0" fmla="*/ 253 w 1522"/>
                <a:gd name="T1" fmla="*/ 0 h 2546"/>
                <a:gd name="T2" fmla="*/ 228 w 1522"/>
                <a:gd name="T3" fmla="*/ 2 h 2546"/>
                <a:gd name="T4" fmla="*/ 202 w 1522"/>
                <a:gd name="T5" fmla="*/ 6 h 2546"/>
                <a:gd name="T6" fmla="*/ 178 w 1522"/>
                <a:gd name="T7" fmla="*/ 12 h 2546"/>
                <a:gd name="T8" fmla="*/ 155 w 1522"/>
                <a:gd name="T9" fmla="*/ 20 h 2546"/>
                <a:gd name="T10" fmla="*/ 133 w 1522"/>
                <a:gd name="T11" fmla="*/ 31 h 2546"/>
                <a:gd name="T12" fmla="*/ 112 w 1522"/>
                <a:gd name="T13" fmla="*/ 43 h 2546"/>
                <a:gd name="T14" fmla="*/ 74 w 1522"/>
                <a:gd name="T15" fmla="*/ 75 h 2546"/>
                <a:gd name="T16" fmla="*/ 43 w 1522"/>
                <a:gd name="T17" fmla="*/ 112 h 2546"/>
                <a:gd name="T18" fmla="*/ 31 w 1522"/>
                <a:gd name="T19" fmla="*/ 134 h 2546"/>
                <a:gd name="T20" fmla="*/ 19 w 1522"/>
                <a:gd name="T21" fmla="*/ 155 h 2546"/>
                <a:gd name="T22" fmla="*/ 11 w 1522"/>
                <a:gd name="T23" fmla="*/ 179 h 2546"/>
                <a:gd name="T24" fmla="*/ 6 w 1522"/>
                <a:gd name="T25" fmla="*/ 202 h 2546"/>
                <a:gd name="T26" fmla="*/ 2 w 1522"/>
                <a:gd name="T27" fmla="*/ 228 h 2546"/>
                <a:gd name="T28" fmla="*/ 0 w 1522"/>
                <a:gd name="T29" fmla="*/ 253 h 2546"/>
                <a:gd name="T30" fmla="*/ 0 w 1522"/>
                <a:gd name="T31" fmla="*/ 2293 h 2546"/>
                <a:gd name="T32" fmla="*/ 2 w 1522"/>
                <a:gd name="T33" fmla="*/ 2318 h 2546"/>
                <a:gd name="T34" fmla="*/ 6 w 1522"/>
                <a:gd name="T35" fmla="*/ 2344 h 2546"/>
                <a:gd name="T36" fmla="*/ 11 w 1522"/>
                <a:gd name="T37" fmla="*/ 2367 h 2546"/>
                <a:gd name="T38" fmla="*/ 19 w 1522"/>
                <a:gd name="T39" fmla="*/ 2391 h 2546"/>
                <a:gd name="T40" fmla="*/ 31 w 1522"/>
                <a:gd name="T41" fmla="*/ 2413 h 2546"/>
                <a:gd name="T42" fmla="*/ 43 w 1522"/>
                <a:gd name="T43" fmla="*/ 2434 h 2546"/>
                <a:gd name="T44" fmla="*/ 74 w 1522"/>
                <a:gd name="T45" fmla="*/ 2472 h 2546"/>
                <a:gd name="T46" fmla="*/ 112 w 1522"/>
                <a:gd name="T47" fmla="*/ 2503 h 2546"/>
                <a:gd name="T48" fmla="*/ 133 w 1522"/>
                <a:gd name="T49" fmla="*/ 2515 h 2546"/>
                <a:gd name="T50" fmla="*/ 155 w 1522"/>
                <a:gd name="T51" fmla="*/ 2527 h 2546"/>
                <a:gd name="T52" fmla="*/ 178 w 1522"/>
                <a:gd name="T53" fmla="*/ 2534 h 2546"/>
                <a:gd name="T54" fmla="*/ 202 w 1522"/>
                <a:gd name="T55" fmla="*/ 2540 h 2546"/>
                <a:gd name="T56" fmla="*/ 228 w 1522"/>
                <a:gd name="T57" fmla="*/ 2544 h 2546"/>
                <a:gd name="T58" fmla="*/ 253 w 1522"/>
                <a:gd name="T59" fmla="*/ 2546 h 2546"/>
                <a:gd name="T60" fmla="*/ 1269 w 1522"/>
                <a:gd name="T61" fmla="*/ 2546 h 2546"/>
                <a:gd name="T62" fmla="*/ 1294 w 1522"/>
                <a:gd name="T63" fmla="*/ 2544 h 2546"/>
                <a:gd name="T64" fmla="*/ 1320 w 1522"/>
                <a:gd name="T65" fmla="*/ 2540 h 2546"/>
                <a:gd name="T66" fmla="*/ 1344 w 1522"/>
                <a:gd name="T67" fmla="*/ 2534 h 2546"/>
                <a:gd name="T68" fmla="*/ 1367 w 1522"/>
                <a:gd name="T69" fmla="*/ 2527 h 2546"/>
                <a:gd name="T70" fmla="*/ 1389 w 1522"/>
                <a:gd name="T71" fmla="*/ 2515 h 2546"/>
                <a:gd name="T72" fmla="*/ 1410 w 1522"/>
                <a:gd name="T73" fmla="*/ 2503 h 2546"/>
                <a:gd name="T74" fmla="*/ 1448 w 1522"/>
                <a:gd name="T75" fmla="*/ 2472 h 2546"/>
                <a:gd name="T76" fmla="*/ 1479 w 1522"/>
                <a:gd name="T77" fmla="*/ 2434 h 2546"/>
                <a:gd name="T78" fmla="*/ 1491 w 1522"/>
                <a:gd name="T79" fmla="*/ 2413 h 2546"/>
                <a:gd name="T80" fmla="*/ 1503 w 1522"/>
                <a:gd name="T81" fmla="*/ 2391 h 2546"/>
                <a:gd name="T82" fmla="*/ 1511 w 1522"/>
                <a:gd name="T83" fmla="*/ 2367 h 2546"/>
                <a:gd name="T84" fmla="*/ 1516 w 1522"/>
                <a:gd name="T85" fmla="*/ 2344 h 2546"/>
                <a:gd name="T86" fmla="*/ 1520 w 1522"/>
                <a:gd name="T87" fmla="*/ 2318 h 2546"/>
                <a:gd name="T88" fmla="*/ 1522 w 1522"/>
                <a:gd name="T89" fmla="*/ 2293 h 2546"/>
                <a:gd name="T90" fmla="*/ 1522 w 1522"/>
                <a:gd name="T91" fmla="*/ 253 h 2546"/>
                <a:gd name="T92" fmla="*/ 1520 w 1522"/>
                <a:gd name="T93" fmla="*/ 228 h 2546"/>
                <a:gd name="T94" fmla="*/ 1516 w 1522"/>
                <a:gd name="T95" fmla="*/ 202 h 2546"/>
                <a:gd name="T96" fmla="*/ 1511 w 1522"/>
                <a:gd name="T97" fmla="*/ 179 h 2546"/>
                <a:gd name="T98" fmla="*/ 1503 w 1522"/>
                <a:gd name="T99" fmla="*/ 155 h 2546"/>
                <a:gd name="T100" fmla="*/ 1491 w 1522"/>
                <a:gd name="T101" fmla="*/ 134 h 2546"/>
                <a:gd name="T102" fmla="*/ 1479 w 1522"/>
                <a:gd name="T103" fmla="*/ 112 h 2546"/>
                <a:gd name="T104" fmla="*/ 1448 w 1522"/>
                <a:gd name="T105" fmla="*/ 75 h 2546"/>
                <a:gd name="T106" fmla="*/ 1410 w 1522"/>
                <a:gd name="T107" fmla="*/ 43 h 2546"/>
                <a:gd name="T108" fmla="*/ 1389 w 1522"/>
                <a:gd name="T109" fmla="*/ 31 h 2546"/>
                <a:gd name="T110" fmla="*/ 1367 w 1522"/>
                <a:gd name="T111" fmla="*/ 20 h 2546"/>
                <a:gd name="T112" fmla="*/ 1344 w 1522"/>
                <a:gd name="T113" fmla="*/ 12 h 2546"/>
                <a:gd name="T114" fmla="*/ 1320 w 1522"/>
                <a:gd name="T115" fmla="*/ 6 h 2546"/>
                <a:gd name="T116" fmla="*/ 1294 w 1522"/>
                <a:gd name="T117" fmla="*/ 2 h 2546"/>
                <a:gd name="T118" fmla="*/ 1269 w 1522"/>
                <a:gd name="T119" fmla="*/ 0 h 2546"/>
                <a:gd name="T120" fmla="*/ 253 w 1522"/>
                <a:gd name="T121" fmla="*/ 0 h 2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2" h="2546">
                  <a:moveTo>
                    <a:pt x="253" y="0"/>
                  </a:moveTo>
                  <a:lnTo>
                    <a:pt x="228" y="2"/>
                  </a:lnTo>
                  <a:lnTo>
                    <a:pt x="202" y="6"/>
                  </a:lnTo>
                  <a:lnTo>
                    <a:pt x="178" y="12"/>
                  </a:lnTo>
                  <a:lnTo>
                    <a:pt x="155" y="20"/>
                  </a:lnTo>
                  <a:lnTo>
                    <a:pt x="133" y="31"/>
                  </a:lnTo>
                  <a:lnTo>
                    <a:pt x="112" y="43"/>
                  </a:lnTo>
                  <a:lnTo>
                    <a:pt x="74" y="75"/>
                  </a:lnTo>
                  <a:lnTo>
                    <a:pt x="43" y="112"/>
                  </a:lnTo>
                  <a:lnTo>
                    <a:pt x="31" y="134"/>
                  </a:lnTo>
                  <a:lnTo>
                    <a:pt x="19" y="155"/>
                  </a:lnTo>
                  <a:lnTo>
                    <a:pt x="11" y="179"/>
                  </a:lnTo>
                  <a:lnTo>
                    <a:pt x="6" y="202"/>
                  </a:lnTo>
                  <a:lnTo>
                    <a:pt x="2" y="228"/>
                  </a:lnTo>
                  <a:lnTo>
                    <a:pt x="0" y="253"/>
                  </a:lnTo>
                  <a:lnTo>
                    <a:pt x="0" y="2293"/>
                  </a:lnTo>
                  <a:lnTo>
                    <a:pt x="2" y="2318"/>
                  </a:lnTo>
                  <a:lnTo>
                    <a:pt x="6" y="2344"/>
                  </a:lnTo>
                  <a:lnTo>
                    <a:pt x="11" y="2367"/>
                  </a:lnTo>
                  <a:lnTo>
                    <a:pt x="19" y="2391"/>
                  </a:lnTo>
                  <a:lnTo>
                    <a:pt x="31" y="2413"/>
                  </a:lnTo>
                  <a:lnTo>
                    <a:pt x="43" y="2434"/>
                  </a:lnTo>
                  <a:lnTo>
                    <a:pt x="74" y="2472"/>
                  </a:lnTo>
                  <a:lnTo>
                    <a:pt x="112" y="2503"/>
                  </a:lnTo>
                  <a:lnTo>
                    <a:pt x="133" y="2515"/>
                  </a:lnTo>
                  <a:lnTo>
                    <a:pt x="155" y="2527"/>
                  </a:lnTo>
                  <a:lnTo>
                    <a:pt x="178" y="2534"/>
                  </a:lnTo>
                  <a:lnTo>
                    <a:pt x="202" y="2540"/>
                  </a:lnTo>
                  <a:lnTo>
                    <a:pt x="228" y="2544"/>
                  </a:lnTo>
                  <a:lnTo>
                    <a:pt x="253" y="2546"/>
                  </a:lnTo>
                  <a:lnTo>
                    <a:pt x="1269" y="2546"/>
                  </a:lnTo>
                  <a:lnTo>
                    <a:pt x="1294" y="2544"/>
                  </a:lnTo>
                  <a:lnTo>
                    <a:pt x="1320" y="2540"/>
                  </a:lnTo>
                  <a:lnTo>
                    <a:pt x="1344" y="2534"/>
                  </a:lnTo>
                  <a:lnTo>
                    <a:pt x="1367" y="2527"/>
                  </a:lnTo>
                  <a:lnTo>
                    <a:pt x="1389" y="2515"/>
                  </a:lnTo>
                  <a:lnTo>
                    <a:pt x="1410" y="2503"/>
                  </a:lnTo>
                  <a:lnTo>
                    <a:pt x="1448" y="2472"/>
                  </a:lnTo>
                  <a:lnTo>
                    <a:pt x="1479" y="2434"/>
                  </a:lnTo>
                  <a:lnTo>
                    <a:pt x="1491" y="2413"/>
                  </a:lnTo>
                  <a:lnTo>
                    <a:pt x="1503" y="2391"/>
                  </a:lnTo>
                  <a:lnTo>
                    <a:pt x="1511" y="2367"/>
                  </a:lnTo>
                  <a:lnTo>
                    <a:pt x="1516" y="2344"/>
                  </a:lnTo>
                  <a:lnTo>
                    <a:pt x="1520" y="2318"/>
                  </a:lnTo>
                  <a:lnTo>
                    <a:pt x="1522" y="2293"/>
                  </a:lnTo>
                  <a:lnTo>
                    <a:pt x="1522" y="253"/>
                  </a:lnTo>
                  <a:lnTo>
                    <a:pt x="1520" y="228"/>
                  </a:lnTo>
                  <a:lnTo>
                    <a:pt x="1516" y="202"/>
                  </a:lnTo>
                  <a:lnTo>
                    <a:pt x="1511" y="179"/>
                  </a:lnTo>
                  <a:lnTo>
                    <a:pt x="1503" y="155"/>
                  </a:lnTo>
                  <a:lnTo>
                    <a:pt x="1491" y="134"/>
                  </a:lnTo>
                  <a:lnTo>
                    <a:pt x="1479" y="112"/>
                  </a:lnTo>
                  <a:lnTo>
                    <a:pt x="1448" y="75"/>
                  </a:lnTo>
                  <a:lnTo>
                    <a:pt x="1410" y="43"/>
                  </a:lnTo>
                  <a:lnTo>
                    <a:pt x="1389" y="31"/>
                  </a:lnTo>
                  <a:lnTo>
                    <a:pt x="1367" y="20"/>
                  </a:lnTo>
                  <a:lnTo>
                    <a:pt x="1344" y="12"/>
                  </a:lnTo>
                  <a:lnTo>
                    <a:pt x="1320" y="6"/>
                  </a:lnTo>
                  <a:lnTo>
                    <a:pt x="1294" y="2"/>
                  </a:lnTo>
                  <a:lnTo>
                    <a:pt x="1269" y="0"/>
                  </a:lnTo>
                  <a:lnTo>
                    <a:pt x="253" y="0"/>
                  </a:lnTo>
                  <a:close/>
                </a:path>
              </a:pathLst>
            </a:custGeom>
            <a:solidFill>
              <a:srgbClr val="FFFFFF"/>
            </a:solidFill>
            <a:ln w="9525">
              <a:solidFill>
                <a:srgbClr val="000000"/>
              </a:solidFill>
              <a:prstDash val="solid"/>
              <a:round/>
              <a:headEnd/>
              <a:tailEnd/>
            </a:ln>
          </p:spPr>
          <p:txBody>
            <a:bodyPr/>
            <a:lstStyle/>
            <a:p>
              <a:endParaRPr lang="cs-CZ"/>
            </a:p>
          </p:txBody>
        </p:sp>
        <p:sp>
          <p:nvSpPr>
            <p:cNvPr id="528" name="Rectangle 536"/>
            <p:cNvSpPr>
              <a:spLocks noChangeArrowheads="1"/>
            </p:cNvSpPr>
            <p:nvPr/>
          </p:nvSpPr>
          <p:spPr bwMode="auto">
            <a:xfrm>
              <a:off x="4779" y="1766"/>
              <a:ext cx="4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 porovnání </a:t>
              </a:r>
              <a:endParaRPr lang="cs-CZ" sz="2400" b="0">
                <a:solidFill>
                  <a:schemeClr val="tx1"/>
                </a:solidFill>
                <a:latin typeface="Times New Roman" pitchFamily="18" charset="0"/>
                <a:ea typeface="ＭＳ Ｐゴシック" pitchFamily="34" charset="-128"/>
              </a:endParaRPr>
            </a:p>
          </p:txBody>
        </p:sp>
        <p:sp>
          <p:nvSpPr>
            <p:cNvPr id="529" name="Rectangle 537"/>
            <p:cNvSpPr>
              <a:spLocks noChangeArrowheads="1"/>
            </p:cNvSpPr>
            <p:nvPr/>
          </p:nvSpPr>
          <p:spPr bwMode="auto">
            <a:xfrm>
              <a:off x="4779" y="1870"/>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s</a:t>
              </a:r>
              <a:endParaRPr lang="cs-CZ" sz="2400" b="0">
                <a:solidFill>
                  <a:schemeClr val="tx1"/>
                </a:solidFill>
                <a:latin typeface="Times New Roman" pitchFamily="18" charset="0"/>
                <a:ea typeface="ＭＳ Ｐゴシック" pitchFamily="34" charset="-128"/>
              </a:endParaRPr>
            </a:p>
          </p:txBody>
        </p:sp>
        <p:sp>
          <p:nvSpPr>
            <p:cNvPr id="530" name="Rectangle 538"/>
            <p:cNvSpPr>
              <a:spLocks noChangeArrowheads="1"/>
            </p:cNvSpPr>
            <p:nvPr/>
          </p:nvSpPr>
          <p:spPr bwMode="auto">
            <a:xfrm>
              <a:off x="4846" y="1870"/>
              <a:ext cx="39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olitickou </a:t>
              </a:r>
              <a:endParaRPr lang="cs-CZ" sz="2400" b="0">
                <a:solidFill>
                  <a:schemeClr val="tx1"/>
                </a:solidFill>
                <a:latin typeface="Times New Roman" pitchFamily="18" charset="0"/>
                <a:ea typeface="ＭＳ Ｐゴシック" pitchFamily="34" charset="-128"/>
              </a:endParaRPr>
            </a:p>
          </p:txBody>
        </p:sp>
        <p:sp>
          <p:nvSpPr>
            <p:cNvPr id="531" name="Rectangle 539"/>
            <p:cNvSpPr>
              <a:spLocks noChangeArrowheads="1"/>
            </p:cNvSpPr>
            <p:nvPr/>
          </p:nvSpPr>
          <p:spPr bwMode="auto">
            <a:xfrm>
              <a:off x="4779" y="1974"/>
              <a:ext cx="5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nepřijatelností </a:t>
              </a:r>
              <a:endParaRPr lang="cs-CZ" sz="2400" b="0">
                <a:solidFill>
                  <a:schemeClr val="tx1"/>
                </a:solidFill>
                <a:latin typeface="Times New Roman" pitchFamily="18" charset="0"/>
                <a:ea typeface="ＭＳ Ｐゴシック" pitchFamily="34" charset="-128"/>
              </a:endParaRPr>
            </a:p>
          </p:txBody>
        </p:sp>
        <p:sp>
          <p:nvSpPr>
            <p:cNvPr id="532" name="Rectangle 540"/>
            <p:cNvSpPr>
              <a:spLocks noChangeArrowheads="1"/>
            </p:cNvSpPr>
            <p:nvPr/>
          </p:nvSpPr>
          <p:spPr bwMode="auto">
            <a:xfrm>
              <a:off x="4779" y="2078"/>
              <a:ext cx="22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ádra </a:t>
              </a:r>
              <a:endParaRPr lang="cs-CZ" sz="2400" b="0">
                <a:solidFill>
                  <a:schemeClr val="tx1"/>
                </a:solidFill>
                <a:latin typeface="Times New Roman" pitchFamily="18" charset="0"/>
                <a:ea typeface="ＭＳ Ｐゴシック" pitchFamily="34" charset="-128"/>
              </a:endParaRPr>
            </a:p>
          </p:txBody>
        </p:sp>
        <p:sp>
          <p:nvSpPr>
            <p:cNvPr id="533" name="Rectangle 541"/>
            <p:cNvSpPr>
              <a:spLocks noChangeArrowheads="1"/>
            </p:cNvSpPr>
            <p:nvPr/>
          </p:nvSpPr>
          <p:spPr bwMode="auto">
            <a:xfrm>
              <a:off x="4779" y="2182"/>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a:t>
              </a:r>
              <a:endParaRPr lang="cs-CZ" sz="2400" b="0">
                <a:solidFill>
                  <a:schemeClr val="tx1"/>
                </a:solidFill>
                <a:latin typeface="Times New Roman" pitchFamily="18" charset="0"/>
                <a:ea typeface="ＭＳ Ｐゴシック" pitchFamily="34" charset="-128"/>
              </a:endParaRPr>
            </a:p>
          </p:txBody>
        </p:sp>
        <p:sp>
          <p:nvSpPr>
            <p:cNvPr id="534" name="Rectangle 542"/>
            <p:cNvSpPr>
              <a:spLocks noChangeArrowheads="1"/>
            </p:cNvSpPr>
            <p:nvPr/>
          </p:nvSpPr>
          <p:spPr bwMode="auto">
            <a:xfrm>
              <a:off x="4845" y="2182"/>
              <a:ext cx="44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Rakousku, </a:t>
              </a:r>
              <a:endParaRPr lang="cs-CZ" sz="2400" b="0">
                <a:solidFill>
                  <a:schemeClr val="tx1"/>
                </a:solidFill>
                <a:latin typeface="Times New Roman" pitchFamily="18" charset="0"/>
                <a:ea typeface="ＭＳ Ｐゴシック" pitchFamily="34" charset="-128"/>
              </a:endParaRPr>
            </a:p>
          </p:txBody>
        </p:sp>
        <p:sp>
          <p:nvSpPr>
            <p:cNvPr id="535" name="Rectangle 543"/>
            <p:cNvSpPr>
              <a:spLocks noChangeArrowheads="1"/>
            </p:cNvSpPr>
            <p:nvPr/>
          </p:nvSpPr>
          <p:spPr bwMode="auto">
            <a:xfrm>
              <a:off x="4779" y="2286"/>
              <a:ext cx="51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ětšina zemí </a:t>
              </a:r>
              <a:endParaRPr lang="cs-CZ" sz="2400" b="0">
                <a:solidFill>
                  <a:schemeClr val="tx1"/>
                </a:solidFill>
                <a:latin typeface="Times New Roman" pitchFamily="18" charset="0"/>
                <a:ea typeface="ＭＳ Ｐゴシック" pitchFamily="34" charset="-128"/>
              </a:endParaRPr>
            </a:p>
          </p:txBody>
        </p:sp>
        <p:sp>
          <p:nvSpPr>
            <p:cNvPr id="536" name="Rectangle 544"/>
            <p:cNvSpPr>
              <a:spLocks noChangeArrowheads="1"/>
            </p:cNvSpPr>
            <p:nvPr/>
          </p:nvSpPr>
          <p:spPr bwMode="auto">
            <a:xfrm>
              <a:off x="4779" y="2391"/>
              <a:ext cx="57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vropy a USA </a:t>
              </a:r>
              <a:endParaRPr lang="cs-CZ" sz="2400" b="0">
                <a:solidFill>
                  <a:schemeClr val="tx1"/>
                </a:solidFill>
                <a:latin typeface="Times New Roman" pitchFamily="18" charset="0"/>
                <a:ea typeface="ＭＳ Ｐゴシック" pitchFamily="34" charset="-128"/>
              </a:endParaRPr>
            </a:p>
          </p:txBody>
        </p:sp>
        <p:sp>
          <p:nvSpPr>
            <p:cNvPr id="537" name="Rectangle 545"/>
            <p:cNvSpPr>
              <a:spLocks noChangeArrowheads="1"/>
            </p:cNvSpPr>
            <p:nvPr/>
          </p:nvSpPr>
          <p:spPr bwMode="auto">
            <a:xfrm>
              <a:off x="4779" y="2495"/>
              <a:ext cx="67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ukazuje pozitivní </a:t>
              </a:r>
              <a:endParaRPr lang="cs-CZ" sz="2400" b="0">
                <a:solidFill>
                  <a:schemeClr val="tx1"/>
                </a:solidFill>
                <a:latin typeface="Times New Roman" pitchFamily="18" charset="0"/>
                <a:ea typeface="ＭＳ Ｐゴシック" pitchFamily="34" charset="-128"/>
              </a:endParaRPr>
            </a:p>
          </p:txBody>
        </p:sp>
        <p:sp>
          <p:nvSpPr>
            <p:cNvPr id="538" name="Rectangle 546"/>
            <p:cNvSpPr>
              <a:spLocks noChangeArrowheads="1"/>
            </p:cNvSpPr>
            <p:nvPr/>
          </p:nvSpPr>
          <p:spPr bwMode="auto">
            <a:xfrm>
              <a:off x="4779" y="2599"/>
              <a:ext cx="36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řístup k </a:t>
              </a:r>
              <a:endParaRPr lang="cs-CZ" sz="2400" b="0">
                <a:solidFill>
                  <a:schemeClr val="tx1"/>
                </a:solidFill>
                <a:latin typeface="Times New Roman" pitchFamily="18" charset="0"/>
                <a:ea typeface="ＭＳ Ｐゴシック" pitchFamily="34" charset="-128"/>
              </a:endParaRPr>
            </a:p>
          </p:txBody>
        </p:sp>
        <p:sp>
          <p:nvSpPr>
            <p:cNvPr id="539" name="Rectangle 547"/>
            <p:cNvSpPr>
              <a:spLocks noChangeArrowheads="1"/>
            </p:cNvSpPr>
            <p:nvPr/>
          </p:nvSpPr>
          <p:spPr bwMode="auto">
            <a:xfrm>
              <a:off x="4779" y="2703"/>
              <a:ext cx="31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é </a:t>
              </a:r>
              <a:endParaRPr lang="cs-CZ" sz="2400" b="0">
                <a:solidFill>
                  <a:schemeClr val="tx1"/>
                </a:solidFill>
                <a:latin typeface="Times New Roman" pitchFamily="18" charset="0"/>
                <a:ea typeface="ＭＳ Ｐゴシック" pitchFamily="34" charset="-128"/>
              </a:endParaRPr>
            </a:p>
          </p:txBody>
        </p:sp>
        <p:sp>
          <p:nvSpPr>
            <p:cNvPr id="540" name="Rectangle 548"/>
            <p:cNvSpPr>
              <a:spLocks noChangeArrowheads="1"/>
            </p:cNvSpPr>
            <p:nvPr/>
          </p:nvSpPr>
          <p:spPr bwMode="auto">
            <a:xfrm>
              <a:off x="4779" y="2807"/>
              <a:ext cx="41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nergetice</a:t>
              </a:r>
              <a:endParaRPr lang="cs-CZ" sz="2400" b="0">
                <a:solidFill>
                  <a:schemeClr val="tx1"/>
                </a:solidFill>
                <a:latin typeface="Times New Roman" pitchFamily="18" charset="0"/>
                <a:ea typeface="ＭＳ Ｐゴシック" pitchFamily="34" charset="-128"/>
              </a:endParaRPr>
            </a:p>
          </p:txBody>
        </p:sp>
        <p:sp>
          <p:nvSpPr>
            <p:cNvPr id="541" name="Freeform 549"/>
            <p:cNvSpPr>
              <a:spLocks/>
            </p:cNvSpPr>
            <p:nvPr/>
          </p:nvSpPr>
          <p:spPr bwMode="auto">
            <a:xfrm>
              <a:off x="4568" y="1374"/>
              <a:ext cx="114" cy="1913"/>
            </a:xfrm>
            <a:custGeom>
              <a:avLst/>
              <a:gdLst>
                <a:gd name="T0" fmla="*/ 230 w 230"/>
                <a:gd name="T1" fmla="*/ 1912 h 3826"/>
                <a:gd name="T2" fmla="*/ 0 w 230"/>
                <a:gd name="T3" fmla="*/ 0 h 3826"/>
                <a:gd name="T4" fmla="*/ 0 w 230"/>
                <a:gd name="T5" fmla="*/ 3826 h 3826"/>
                <a:gd name="T6" fmla="*/ 230 w 230"/>
                <a:gd name="T7" fmla="*/ 1912 h 3826"/>
              </a:gdLst>
              <a:ahLst/>
              <a:cxnLst>
                <a:cxn ang="0">
                  <a:pos x="T0" y="T1"/>
                </a:cxn>
                <a:cxn ang="0">
                  <a:pos x="T2" y="T3"/>
                </a:cxn>
                <a:cxn ang="0">
                  <a:pos x="T4" y="T5"/>
                </a:cxn>
                <a:cxn ang="0">
                  <a:pos x="T6" y="T7"/>
                </a:cxn>
              </a:cxnLst>
              <a:rect l="0" t="0" r="r" b="b"/>
              <a:pathLst>
                <a:path w="230" h="3826">
                  <a:moveTo>
                    <a:pt x="230" y="1912"/>
                  </a:moveTo>
                  <a:lnTo>
                    <a:pt x="0" y="0"/>
                  </a:lnTo>
                  <a:lnTo>
                    <a:pt x="0" y="3826"/>
                  </a:lnTo>
                  <a:lnTo>
                    <a:pt x="230" y="1912"/>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542" name="Freeform 550"/>
            <p:cNvSpPr>
              <a:spLocks/>
            </p:cNvSpPr>
            <p:nvPr/>
          </p:nvSpPr>
          <p:spPr bwMode="auto">
            <a:xfrm>
              <a:off x="4719" y="1695"/>
              <a:ext cx="761" cy="1274"/>
            </a:xfrm>
            <a:custGeom>
              <a:avLst/>
              <a:gdLst>
                <a:gd name="T0" fmla="*/ 253 w 1522"/>
                <a:gd name="T1" fmla="*/ 0 h 2546"/>
                <a:gd name="T2" fmla="*/ 228 w 1522"/>
                <a:gd name="T3" fmla="*/ 2 h 2546"/>
                <a:gd name="T4" fmla="*/ 202 w 1522"/>
                <a:gd name="T5" fmla="*/ 6 h 2546"/>
                <a:gd name="T6" fmla="*/ 178 w 1522"/>
                <a:gd name="T7" fmla="*/ 12 h 2546"/>
                <a:gd name="T8" fmla="*/ 155 w 1522"/>
                <a:gd name="T9" fmla="*/ 20 h 2546"/>
                <a:gd name="T10" fmla="*/ 133 w 1522"/>
                <a:gd name="T11" fmla="*/ 31 h 2546"/>
                <a:gd name="T12" fmla="*/ 112 w 1522"/>
                <a:gd name="T13" fmla="*/ 43 h 2546"/>
                <a:gd name="T14" fmla="*/ 74 w 1522"/>
                <a:gd name="T15" fmla="*/ 75 h 2546"/>
                <a:gd name="T16" fmla="*/ 43 w 1522"/>
                <a:gd name="T17" fmla="*/ 112 h 2546"/>
                <a:gd name="T18" fmla="*/ 31 w 1522"/>
                <a:gd name="T19" fmla="*/ 134 h 2546"/>
                <a:gd name="T20" fmla="*/ 19 w 1522"/>
                <a:gd name="T21" fmla="*/ 155 h 2546"/>
                <a:gd name="T22" fmla="*/ 11 w 1522"/>
                <a:gd name="T23" fmla="*/ 179 h 2546"/>
                <a:gd name="T24" fmla="*/ 6 w 1522"/>
                <a:gd name="T25" fmla="*/ 202 h 2546"/>
                <a:gd name="T26" fmla="*/ 2 w 1522"/>
                <a:gd name="T27" fmla="*/ 228 h 2546"/>
                <a:gd name="T28" fmla="*/ 0 w 1522"/>
                <a:gd name="T29" fmla="*/ 253 h 2546"/>
                <a:gd name="T30" fmla="*/ 0 w 1522"/>
                <a:gd name="T31" fmla="*/ 2293 h 2546"/>
                <a:gd name="T32" fmla="*/ 2 w 1522"/>
                <a:gd name="T33" fmla="*/ 2318 h 2546"/>
                <a:gd name="T34" fmla="*/ 6 w 1522"/>
                <a:gd name="T35" fmla="*/ 2344 h 2546"/>
                <a:gd name="T36" fmla="*/ 11 w 1522"/>
                <a:gd name="T37" fmla="*/ 2367 h 2546"/>
                <a:gd name="T38" fmla="*/ 19 w 1522"/>
                <a:gd name="T39" fmla="*/ 2391 h 2546"/>
                <a:gd name="T40" fmla="*/ 31 w 1522"/>
                <a:gd name="T41" fmla="*/ 2413 h 2546"/>
                <a:gd name="T42" fmla="*/ 43 w 1522"/>
                <a:gd name="T43" fmla="*/ 2434 h 2546"/>
                <a:gd name="T44" fmla="*/ 74 w 1522"/>
                <a:gd name="T45" fmla="*/ 2472 h 2546"/>
                <a:gd name="T46" fmla="*/ 112 w 1522"/>
                <a:gd name="T47" fmla="*/ 2503 h 2546"/>
                <a:gd name="T48" fmla="*/ 133 w 1522"/>
                <a:gd name="T49" fmla="*/ 2515 h 2546"/>
                <a:gd name="T50" fmla="*/ 155 w 1522"/>
                <a:gd name="T51" fmla="*/ 2527 h 2546"/>
                <a:gd name="T52" fmla="*/ 178 w 1522"/>
                <a:gd name="T53" fmla="*/ 2534 h 2546"/>
                <a:gd name="T54" fmla="*/ 202 w 1522"/>
                <a:gd name="T55" fmla="*/ 2540 h 2546"/>
                <a:gd name="T56" fmla="*/ 228 w 1522"/>
                <a:gd name="T57" fmla="*/ 2544 h 2546"/>
                <a:gd name="T58" fmla="*/ 253 w 1522"/>
                <a:gd name="T59" fmla="*/ 2546 h 2546"/>
                <a:gd name="T60" fmla="*/ 1269 w 1522"/>
                <a:gd name="T61" fmla="*/ 2546 h 2546"/>
                <a:gd name="T62" fmla="*/ 1294 w 1522"/>
                <a:gd name="T63" fmla="*/ 2544 h 2546"/>
                <a:gd name="T64" fmla="*/ 1320 w 1522"/>
                <a:gd name="T65" fmla="*/ 2540 h 2546"/>
                <a:gd name="T66" fmla="*/ 1344 w 1522"/>
                <a:gd name="T67" fmla="*/ 2534 h 2546"/>
                <a:gd name="T68" fmla="*/ 1367 w 1522"/>
                <a:gd name="T69" fmla="*/ 2527 h 2546"/>
                <a:gd name="T70" fmla="*/ 1389 w 1522"/>
                <a:gd name="T71" fmla="*/ 2515 h 2546"/>
                <a:gd name="T72" fmla="*/ 1410 w 1522"/>
                <a:gd name="T73" fmla="*/ 2503 h 2546"/>
                <a:gd name="T74" fmla="*/ 1448 w 1522"/>
                <a:gd name="T75" fmla="*/ 2472 h 2546"/>
                <a:gd name="T76" fmla="*/ 1479 w 1522"/>
                <a:gd name="T77" fmla="*/ 2434 h 2546"/>
                <a:gd name="T78" fmla="*/ 1491 w 1522"/>
                <a:gd name="T79" fmla="*/ 2413 h 2546"/>
                <a:gd name="T80" fmla="*/ 1503 w 1522"/>
                <a:gd name="T81" fmla="*/ 2391 h 2546"/>
                <a:gd name="T82" fmla="*/ 1511 w 1522"/>
                <a:gd name="T83" fmla="*/ 2367 h 2546"/>
                <a:gd name="T84" fmla="*/ 1516 w 1522"/>
                <a:gd name="T85" fmla="*/ 2344 h 2546"/>
                <a:gd name="T86" fmla="*/ 1520 w 1522"/>
                <a:gd name="T87" fmla="*/ 2318 h 2546"/>
                <a:gd name="T88" fmla="*/ 1522 w 1522"/>
                <a:gd name="T89" fmla="*/ 2293 h 2546"/>
                <a:gd name="T90" fmla="*/ 1522 w 1522"/>
                <a:gd name="T91" fmla="*/ 253 h 2546"/>
                <a:gd name="T92" fmla="*/ 1520 w 1522"/>
                <a:gd name="T93" fmla="*/ 228 h 2546"/>
                <a:gd name="T94" fmla="*/ 1516 w 1522"/>
                <a:gd name="T95" fmla="*/ 202 h 2546"/>
                <a:gd name="T96" fmla="*/ 1511 w 1522"/>
                <a:gd name="T97" fmla="*/ 179 h 2546"/>
                <a:gd name="T98" fmla="*/ 1503 w 1522"/>
                <a:gd name="T99" fmla="*/ 155 h 2546"/>
                <a:gd name="T100" fmla="*/ 1491 w 1522"/>
                <a:gd name="T101" fmla="*/ 134 h 2546"/>
                <a:gd name="T102" fmla="*/ 1479 w 1522"/>
                <a:gd name="T103" fmla="*/ 112 h 2546"/>
                <a:gd name="T104" fmla="*/ 1448 w 1522"/>
                <a:gd name="T105" fmla="*/ 75 h 2546"/>
                <a:gd name="T106" fmla="*/ 1410 w 1522"/>
                <a:gd name="T107" fmla="*/ 43 h 2546"/>
                <a:gd name="T108" fmla="*/ 1389 w 1522"/>
                <a:gd name="T109" fmla="*/ 31 h 2546"/>
                <a:gd name="T110" fmla="*/ 1367 w 1522"/>
                <a:gd name="T111" fmla="*/ 20 h 2546"/>
                <a:gd name="T112" fmla="*/ 1344 w 1522"/>
                <a:gd name="T113" fmla="*/ 12 h 2546"/>
                <a:gd name="T114" fmla="*/ 1320 w 1522"/>
                <a:gd name="T115" fmla="*/ 6 h 2546"/>
                <a:gd name="T116" fmla="*/ 1294 w 1522"/>
                <a:gd name="T117" fmla="*/ 2 h 2546"/>
                <a:gd name="T118" fmla="*/ 1269 w 1522"/>
                <a:gd name="T119" fmla="*/ 0 h 2546"/>
                <a:gd name="T120" fmla="*/ 253 w 1522"/>
                <a:gd name="T121" fmla="*/ 0 h 2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22" h="2546">
                  <a:moveTo>
                    <a:pt x="253" y="0"/>
                  </a:moveTo>
                  <a:lnTo>
                    <a:pt x="228" y="2"/>
                  </a:lnTo>
                  <a:lnTo>
                    <a:pt x="202" y="6"/>
                  </a:lnTo>
                  <a:lnTo>
                    <a:pt x="178" y="12"/>
                  </a:lnTo>
                  <a:lnTo>
                    <a:pt x="155" y="20"/>
                  </a:lnTo>
                  <a:lnTo>
                    <a:pt x="133" y="31"/>
                  </a:lnTo>
                  <a:lnTo>
                    <a:pt x="112" y="43"/>
                  </a:lnTo>
                  <a:lnTo>
                    <a:pt x="74" y="75"/>
                  </a:lnTo>
                  <a:lnTo>
                    <a:pt x="43" y="112"/>
                  </a:lnTo>
                  <a:lnTo>
                    <a:pt x="31" y="134"/>
                  </a:lnTo>
                  <a:lnTo>
                    <a:pt x="19" y="155"/>
                  </a:lnTo>
                  <a:lnTo>
                    <a:pt x="11" y="179"/>
                  </a:lnTo>
                  <a:lnTo>
                    <a:pt x="6" y="202"/>
                  </a:lnTo>
                  <a:lnTo>
                    <a:pt x="2" y="228"/>
                  </a:lnTo>
                  <a:lnTo>
                    <a:pt x="0" y="253"/>
                  </a:lnTo>
                  <a:lnTo>
                    <a:pt x="0" y="2293"/>
                  </a:lnTo>
                  <a:lnTo>
                    <a:pt x="2" y="2318"/>
                  </a:lnTo>
                  <a:lnTo>
                    <a:pt x="6" y="2344"/>
                  </a:lnTo>
                  <a:lnTo>
                    <a:pt x="11" y="2367"/>
                  </a:lnTo>
                  <a:lnTo>
                    <a:pt x="19" y="2391"/>
                  </a:lnTo>
                  <a:lnTo>
                    <a:pt x="31" y="2413"/>
                  </a:lnTo>
                  <a:lnTo>
                    <a:pt x="43" y="2434"/>
                  </a:lnTo>
                  <a:lnTo>
                    <a:pt x="74" y="2472"/>
                  </a:lnTo>
                  <a:lnTo>
                    <a:pt x="112" y="2503"/>
                  </a:lnTo>
                  <a:lnTo>
                    <a:pt x="133" y="2515"/>
                  </a:lnTo>
                  <a:lnTo>
                    <a:pt x="155" y="2527"/>
                  </a:lnTo>
                  <a:lnTo>
                    <a:pt x="178" y="2534"/>
                  </a:lnTo>
                  <a:lnTo>
                    <a:pt x="202" y="2540"/>
                  </a:lnTo>
                  <a:lnTo>
                    <a:pt x="228" y="2544"/>
                  </a:lnTo>
                  <a:lnTo>
                    <a:pt x="253" y="2546"/>
                  </a:lnTo>
                  <a:lnTo>
                    <a:pt x="1269" y="2546"/>
                  </a:lnTo>
                  <a:lnTo>
                    <a:pt x="1294" y="2544"/>
                  </a:lnTo>
                  <a:lnTo>
                    <a:pt x="1320" y="2540"/>
                  </a:lnTo>
                  <a:lnTo>
                    <a:pt x="1344" y="2534"/>
                  </a:lnTo>
                  <a:lnTo>
                    <a:pt x="1367" y="2527"/>
                  </a:lnTo>
                  <a:lnTo>
                    <a:pt x="1389" y="2515"/>
                  </a:lnTo>
                  <a:lnTo>
                    <a:pt x="1410" y="2503"/>
                  </a:lnTo>
                  <a:lnTo>
                    <a:pt x="1448" y="2472"/>
                  </a:lnTo>
                  <a:lnTo>
                    <a:pt x="1479" y="2434"/>
                  </a:lnTo>
                  <a:lnTo>
                    <a:pt x="1491" y="2413"/>
                  </a:lnTo>
                  <a:lnTo>
                    <a:pt x="1503" y="2391"/>
                  </a:lnTo>
                  <a:lnTo>
                    <a:pt x="1511" y="2367"/>
                  </a:lnTo>
                  <a:lnTo>
                    <a:pt x="1516" y="2344"/>
                  </a:lnTo>
                  <a:lnTo>
                    <a:pt x="1520" y="2318"/>
                  </a:lnTo>
                  <a:lnTo>
                    <a:pt x="1522" y="2293"/>
                  </a:lnTo>
                  <a:lnTo>
                    <a:pt x="1522" y="253"/>
                  </a:lnTo>
                  <a:lnTo>
                    <a:pt x="1520" y="228"/>
                  </a:lnTo>
                  <a:lnTo>
                    <a:pt x="1516" y="202"/>
                  </a:lnTo>
                  <a:lnTo>
                    <a:pt x="1511" y="179"/>
                  </a:lnTo>
                  <a:lnTo>
                    <a:pt x="1503" y="155"/>
                  </a:lnTo>
                  <a:lnTo>
                    <a:pt x="1491" y="134"/>
                  </a:lnTo>
                  <a:lnTo>
                    <a:pt x="1479" y="112"/>
                  </a:lnTo>
                  <a:lnTo>
                    <a:pt x="1448" y="75"/>
                  </a:lnTo>
                  <a:lnTo>
                    <a:pt x="1410" y="43"/>
                  </a:lnTo>
                  <a:lnTo>
                    <a:pt x="1389" y="31"/>
                  </a:lnTo>
                  <a:lnTo>
                    <a:pt x="1367" y="20"/>
                  </a:lnTo>
                  <a:lnTo>
                    <a:pt x="1344" y="12"/>
                  </a:lnTo>
                  <a:lnTo>
                    <a:pt x="1320" y="6"/>
                  </a:lnTo>
                  <a:lnTo>
                    <a:pt x="1294" y="2"/>
                  </a:lnTo>
                  <a:lnTo>
                    <a:pt x="1269" y="0"/>
                  </a:lnTo>
                  <a:lnTo>
                    <a:pt x="253" y="0"/>
                  </a:lnTo>
                  <a:close/>
                </a:path>
              </a:pathLst>
            </a:custGeom>
            <a:solidFill>
              <a:srgbClr val="FFFFFF"/>
            </a:solidFill>
            <a:ln w="9525">
              <a:solidFill>
                <a:srgbClr val="000000"/>
              </a:solidFill>
              <a:prstDash val="solid"/>
              <a:round/>
              <a:headEnd/>
              <a:tailEnd/>
            </a:ln>
          </p:spPr>
          <p:txBody>
            <a:bodyPr/>
            <a:lstStyle/>
            <a:p>
              <a:endParaRPr lang="cs-CZ"/>
            </a:p>
          </p:txBody>
        </p:sp>
        <p:sp>
          <p:nvSpPr>
            <p:cNvPr id="543" name="Rectangle 551"/>
            <p:cNvSpPr>
              <a:spLocks noChangeArrowheads="1"/>
            </p:cNvSpPr>
            <p:nvPr/>
          </p:nvSpPr>
          <p:spPr bwMode="auto">
            <a:xfrm>
              <a:off x="4779" y="1766"/>
              <a:ext cx="4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 porovnání </a:t>
              </a:r>
              <a:endParaRPr lang="cs-CZ" sz="2400" b="0">
                <a:solidFill>
                  <a:schemeClr val="tx1"/>
                </a:solidFill>
                <a:latin typeface="Times New Roman" pitchFamily="18" charset="0"/>
                <a:ea typeface="ＭＳ Ｐゴシック" pitchFamily="34" charset="-128"/>
              </a:endParaRPr>
            </a:p>
          </p:txBody>
        </p:sp>
        <p:sp>
          <p:nvSpPr>
            <p:cNvPr id="544" name="Rectangle 552"/>
            <p:cNvSpPr>
              <a:spLocks noChangeArrowheads="1"/>
            </p:cNvSpPr>
            <p:nvPr/>
          </p:nvSpPr>
          <p:spPr bwMode="auto">
            <a:xfrm>
              <a:off x="4779" y="1870"/>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s</a:t>
              </a:r>
              <a:endParaRPr lang="cs-CZ" sz="2400" b="0">
                <a:solidFill>
                  <a:schemeClr val="tx1"/>
                </a:solidFill>
                <a:latin typeface="Times New Roman" pitchFamily="18" charset="0"/>
                <a:ea typeface="ＭＳ Ｐゴシック" pitchFamily="34" charset="-128"/>
              </a:endParaRPr>
            </a:p>
          </p:txBody>
        </p:sp>
        <p:sp>
          <p:nvSpPr>
            <p:cNvPr id="545" name="Rectangle 553"/>
            <p:cNvSpPr>
              <a:spLocks noChangeArrowheads="1"/>
            </p:cNvSpPr>
            <p:nvPr/>
          </p:nvSpPr>
          <p:spPr bwMode="auto">
            <a:xfrm>
              <a:off x="4846" y="1870"/>
              <a:ext cx="39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olitickou </a:t>
              </a:r>
              <a:endParaRPr lang="cs-CZ" sz="2400" b="0">
                <a:solidFill>
                  <a:schemeClr val="tx1"/>
                </a:solidFill>
                <a:latin typeface="Times New Roman" pitchFamily="18" charset="0"/>
                <a:ea typeface="ＭＳ Ｐゴシック" pitchFamily="34" charset="-128"/>
              </a:endParaRPr>
            </a:p>
          </p:txBody>
        </p:sp>
        <p:sp>
          <p:nvSpPr>
            <p:cNvPr id="546" name="Rectangle 554"/>
            <p:cNvSpPr>
              <a:spLocks noChangeArrowheads="1"/>
            </p:cNvSpPr>
            <p:nvPr/>
          </p:nvSpPr>
          <p:spPr bwMode="auto">
            <a:xfrm>
              <a:off x="4779" y="1974"/>
              <a:ext cx="57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nepřijatelností </a:t>
              </a:r>
              <a:endParaRPr lang="cs-CZ" sz="2400" b="0">
                <a:solidFill>
                  <a:schemeClr val="tx1"/>
                </a:solidFill>
                <a:latin typeface="Times New Roman" pitchFamily="18" charset="0"/>
                <a:ea typeface="ＭＳ Ｐゴシック" pitchFamily="34" charset="-128"/>
              </a:endParaRPr>
            </a:p>
          </p:txBody>
        </p:sp>
        <p:sp>
          <p:nvSpPr>
            <p:cNvPr id="547" name="Rectangle 555"/>
            <p:cNvSpPr>
              <a:spLocks noChangeArrowheads="1"/>
            </p:cNvSpPr>
            <p:nvPr/>
          </p:nvSpPr>
          <p:spPr bwMode="auto">
            <a:xfrm>
              <a:off x="4779" y="2078"/>
              <a:ext cx="22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ádra </a:t>
              </a:r>
              <a:endParaRPr lang="cs-CZ" sz="2400" b="0">
                <a:solidFill>
                  <a:schemeClr val="tx1"/>
                </a:solidFill>
                <a:latin typeface="Times New Roman" pitchFamily="18" charset="0"/>
                <a:ea typeface="ＭＳ Ｐゴシック" pitchFamily="34" charset="-128"/>
              </a:endParaRPr>
            </a:p>
          </p:txBody>
        </p:sp>
        <p:sp>
          <p:nvSpPr>
            <p:cNvPr id="548" name="Rectangle 556"/>
            <p:cNvSpPr>
              <a:spLocks noChangeArrowheads="1"/>
            </p:cNvSpPr>
            <p:nvPr/>
          </p:nvSpPr>
          <p:spPr bwMode="auto">
            <a:xfrm>
              <a:off x="4779" y="2182"/>
              <a:ext cx="4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a:t>
              </a:r>
              <a:endParaRPr lang="cs-CZ" sz="2400" b="0">
                <a:solidFill>
                  <a:schemeClr val="tx1"/>
                </a:solidFill>
                <a:latin typeface="Times New Roman" pitchFamily="18" charset="0"/>
                <a:ea typeface="ＭＳ Ｐゴシック" pitchFamily="34" charset="-128"/>
              </a:endParaRPr>
            </a:p>
          </p:txBody>
        </p:sp>
        <p:sp>
          <p:nvSpPr>
            <p:cNvPr id="549" name="Rectangle 557"/>
            <p:cNvSpPr>
              <a:spLocks noChangeArrowheads="1"/>
            </p:cNvSpPr>
            <p:nvPr/>
          </p:nvSpPr>
          <p:spPr bwMode="auto">
            <a:xfrm>
              <a:off x="4845" y="2182"/>
              <a:ext cx="617"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dirty="0" smtClean="0">
                  <a:solidFill>
                    <a:srgbClr val="000000"/>
                  </a:solidFill>
                  <a:ea typeface="ＭＳ Ｐゴシック" pitchFamily="34" charset="-128"/>
                </a:rPr>
                <a:t>Rakousku a SRN, </a:t>
              </a:r>
              <a:endParaRPr lang="cs-CZ" sz="2400" b="0" dirty="0">
                <a:solidFill>
                  <a:schemeClr val="tx1"/>
                </a:solidFill>
                <a:latin typeface="Times New Roman" pitchFamily="18" charset="0"/>
                <a:ea typeface="ＭＳ Ｐゴシック" pitchFamily="34" charset="-128"/>
              </a:endParaRPr>
            </a:p>
          </p:txBody>
        </p:sp>
        <p:sp>
          <p:nvSpPr>
            <p:cNvPr id="550" name="Rectangle 558"/>
            <p:cNvSpPr>
              <a:spLocks noChangeArrowheads="1"/>
            </p:cNvSpPr>
            <p:nvPr/>
          </p:nvSpPr>
          <p:spPr bwMode="auto">
            <a:xfrm>
              <a:off x="4779" y="2286"/>
              <a:ext cx="51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ětšina zemí </a:t>
              </a:r>
              <a:endParaRPr lang="cs-CZ" sz="2400" b="0">
                <a:solidFill>
                  <a:schemeClr val="tx1"/>
                </a:solidFill>
                <a:latin typeface="Times New Roman" pitchFamily="18" charset="0"/>
                <a:ea typeface="ＭＳ Ｐゴシック" pitchFamily="34" charset="-128"/>
              </a:endParaRPr>
            </a:p>
          </p:txBody>
        </p:sp>
        <p:sp>
          <p:nvSpPr>
            <p:cNvPr id="551" name="Rectangle 559"/>
            <p:cNvSpPr>
              <a:spLocks noChangeArrowheads="1"/>
            </p:cNvSpPr>
            <p:nvPr/>
          </p:nvSpPr>
          <p:spPr bwMode="auto">
            <a:xfrm>
              <a:off x="4779" y="2391"/>
              <a:ext cx="57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vropy a USA </a:t>
              </a:r>
              <a:endParaRPr lang="cs-CZ" sz="2400" b="0">
                <a:solidFill>
                  <a:schemeClr val="tx1"/>
                </a:solidFill>
                <a:latin typeface="Times New Roman" pitchFamily="18" charset="0"/>
                <a:ea typeface="ＭＳ Ｐゴシック" pitchFamily="34" charset="-128"/>
              </a:endParaRPr>
            </a:p>
          </p:txBody>
        </p:sp>
        <p:sp>
          <p:nvSpPr>
            <p:cNvPr id="552" name="Rectangle 560"/>
            <p:cNvSpPr>
              <a:spLocks noChangeArrowheads="1"/>
            </p:cNvSpPr>
            <p:nvPr/>
          </p:nvSpPr>
          <p:spPr bwMode="auto">
            <a:xfrm>
              <a:off x="4779" y="2495"/>
              <a:ext cx="67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ukazuje pozitivní </a:t>
              </a:r>
              <a:endParaRPr lang="cs-CZ" sz="2400" b="0">
                <a:solidFill>
                  <a:schemeClr val="tx1"/>
                </a:solidFill>
                <a:latin typeface="Times New Roman" pitchFamily="18" charset="0"/>
                <a:ea typeface="ＭＳ Ｐゴシック" pitchFamily="34" charset="-128"/>
              </a:endParaRPr>
            </a:p>
          </p:txBody>
        </p:sp>
        <p:sp>
          <p:nvSpPr>
            <p:cNvPr id="553" name="Rectangle 561"/>
            <p:cNvSpPr>
              <a:spLocks noChangeArrowheads="1"/>
            </p:cNvSpPr>
            <p:nvPr/>
          </p:nvSpPr>
          <p:spPr bwMode="auto">
            <a:xfrm>
              <a:off x="4779" y="2599"/>
              <a:ext cx="36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řístup k </a:t>
              </a:r>
              <a:endParaRPr lang="cs-CZ" sz="2400" b="0">
                <a:solidFill>
                  <a:schemeClr val="tx1"/>
                </a:solidFill>
                <a:latin typeface="Times New Roman" pitchFamily="18" charset="0"/>
                <a:ea typeface="ＭＳ Ｐゴシック" pitchFamily="34" charset="-128"/>
              </a:endParaRPr>
            </a:p>
          </p:txBody>
        </p:sp>
        <p:sp>
          <p:nvSpPr>
            <p:cNvPr id="554" name="Rectangle 562"/>
            <p:cNvSpPr>
              <a:spLocks noChangeArrowheads="1"/>
            </p:cNvSpPr>
            <p:nvPr/>
          </p:nvSpPr>
          <p:spPr bwMode="auto">
            <a:xfrm>
              <a:off x="4779" y="2703"/>
              <a:ext cx="31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é </a:t>
              </a:r>
              <a:endParaRPr lang="cs-CZ" sz="2400" b="0">
                <a:solidFill>
                  <a:schemeClr val="tx1"/>
                </a:solidFill>
                <a:latin typeface="Times New Roman" pitchFamily="18" charset="0"/>
                <a:ea typeface="ＭＳ Ｐゴシック" pitchFamily="34" charset="-128"/>
              </a:endParaRPr>
            </a:p>
          </p:txBody>
        </p:sp>
        <p:sp>
          <p:nvSpPr>
            <p:cNvPr id="555" name="Rectangle 563"/>
            <p:cNvSpPr>
              <a:spLocks noChangeArrowheads="1"/>
            </p:cNvSpPr>
            <p:nvPr/>
          </p:nvSpPr>
          <p:spPr bwMode="auto">
            <a:xfrm>
              <a:off x="4779" y="2807"/>
              <a:ext cx="41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energetice</a:t>
              </a:r>
              <a:endParaRPr lang="cs-CZ" sz="2400" b="0">
                <a:solidFill>
                  <a:schemeClr val="tx1"/>
                </a:solidFill>
                <a:latin typeface="Times New Roman" pitchFamily="18" charset="0"/>
                <a:ea typeface="ＭＳ Ｐゴシック" pitchFamily="34" charset="-128"/>
              </a:endParaRPr>
            </a:p>
          </p:txBody>
        </p:sp>
        <p:sp>
          <p:nvSpPr>
            <p:cNvPr id="556" name="Freeform 564"/>
            <p:cNvSpPr>
              <a:spLocks/>
            </p:cNvSpPr>
            <p:nvPr/>
          </p:nvSpPr>
          <p:spPr bwMode="auto">
            <a:xfrm>
              <a:off x="956" y="1352"/>
              <a:ext cx="1126" cy="621"/>
            </a:xfrm>
            <a:custGeom>
              <a:avLst/>
              <a:gdLst>
                <a:gd name="T0" fmla="*/ 301 w 2252"/>
                <a:gd name="T1" fmla="*/ 2 h 1242"/>
                <a:gd name="T2" fmla="*/ 197 w 2252"/>
                <a:gd name="T3" fmla="*/ 16 h 1242"/>
                <a:gd name="T4" fmla="*/ 138 w 2252"/>
                <a:gd name="T5" fmla="*/ 30 h 1242"/>
                <a:gd name="T6" fmla="*/ 87 w 2252"/>
                <a:gd name="T7" fmla="*/ 47 h 1242"/>
                <a:gd name="T8" fmla="*/ 45 w 2252"/>
                <a:gd name="T9" fmla="*/ 67 h 1242"/>
                <a:gd name="T10" fmla="*/ 18 w 2252"/>
                <a:gd name="T11" fmla="*/ 91 h 1242"/>
                <a:gd name="T12" fmla="*/ 2 w 2252"/>
                <a:gd name="T13" fmla="*/ 114 h 1242"/>
                <a:gd name="T14" fmla="*/ 0 w 2252"/>
                <a:gd name="T15" fmla="*/ 450 h 1242"/>
                <a:gd name="T16" fmla="*/ 2 w 2252"/>
                <a:gd name="T17" fmla="*/ 657 h 1242"/>
                <a:gd name="T18" fmla="*/ 18 w 2252"/>
                <a:gd name="T19" fmla="*/ 682 h 1242"/>
                <a:gd name="T20" fmla="*/ 45 w 2252"/>
                <a:gd name="T21" fmla="*/ 706 h 1242"/>
                <a:gd name="T22" fmla="*/ 87 w 2252"/>
                <a:gd name="T23" fmla="*/ 725 h 1242"/>
                <a:gd name="T24" fmla="*/ 138 w 2252"/>
                <a:gd name="T25" fmla="*/ 743 h 1242"/>
                <a:gd name="T26" fmla="*/ 197 w 2252"/>
                <a:gd name="T27" fmla="*/ 757 h 1242"/>
                <a:gd name="T28" fmla="*/ 301 w 2252"/>
                <a:gd name="T29" fmla="*/ 770 h 1242"/>
                <a:gd name="T30" fmla="*/ 1313 w 2252"/>
                <a:gd name="T31" fmla="*/ 772 h 1242"/>
                <a:gd name="T32" fmla="*/ 1877 w 2252"/>
                <a:gd name="T33" fmla="*/ 772 h 1242"/>
                <a:gd name="T34" fmla="*/ 2022 w 2252"/>
                <a:gd name="T35" fmla="*/ 763 h 1242"/>
                <a:gd name="T36" fmla="*/ 2087 w 2252"/>
                <a:gd name="T37" fmla="*/ 751 h 1242"/>
                <a:gd name="T38" fmla="*/ 2142 w 2252"/>
                <a:gd name="T39" fmla="*/ 735 h 1242"/>
                <a:gd name="T40" fmla="*/ 2187 w 2252"/>
                <a:gd name="T41" fmla="*/ 715 h 1242"/>
                <a:gd name="T42" fmla="*/ 2222 w 2252"/>
                <a:gd name="T43" fmla="*/ 694 h 1242"/>
                <a:gd name="T44" fmla="*/ 2244 w 2252"/>
                <a:gd name="T45" fmla="*/ 668 h 1242"/>
                <a:gd name="T46" fmla="*/ 2252 w 2252"/>
                <a:gd name="T47" fmla="*/ 643 h 1242"/>
                <a:gd name="T48" fmla="*/ 2252 w 2252"/>
                <a:gd name="T49" fmla="*/ 128 h 1242"/>
                <a:gd name="T50" fmla="*/ 2244 w 2252"/>
                <a:gd name="T51" fmla="*/ 102 h 1242"/>
                <a:gd name="T52" fmla="*/ 2222 w 2252"/>
                <a:gd name="T53" fmla="*/ 79 h 1242"/>
                <a:gd name="T54" fmla="*/ 2187 w 2252"/>
                <a:gd name="T55" fmla="*/ 57 h 1242"/>
                <a:gd name="T56" fmla="*/ 2142 w 2252"/>
                <a:gd name="T57" fmla="*/ 38 h 1242"/>
                <a:gd name="T58" fmla="*/ 2087 w 2252"/>
                <a:gd name="T59" fmla="*/ 22 h 1242"/>
                <a:gd name="T60" fmla="*/ 2022 w 2252"/>
                <a:gd name="T61" fmla="*/ 10 h 1242"/>
                <a:gd name="T62" fmla="*/ 1877 w 2252"/>
                <a:gd name="T63" fmla="*/ 0 h 1242"/>
                <a:gd name="T64" fmla="*/ 375 w 2252"/>
                <a:gd name="T65" fmla="*/ 0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2" h="1242">
                  <a:moveTo>
                    <a:pt x="375" y="0"/>
                  </a:moveTo>
                  <a:lnTo>
                    <a:pt x="301" y="2"/>
                  </a:lnTo>
                  <a:lnTo>
                    <a:pt x="230" y="10"/>
                  </a:lnTo>
                  <a:lnTo>
                    <a:pt x="197" y="16"/>
                  </a:lnTo>
                  <a:lnTo>
                    <a:pt x="165" y="22"/>
                  </a:lnTo>
                  <a:lnTo>
                    <a:pt x="138" y="30"/>
                  </a:lnTo>
                  <a:lnTo>
                    <a:pt x="110" y="38"/>
                  </a:lnTo>
                  <a:lnTo>
                    <a:pt x="87" y="47"/>
                  </a:lnTo>
                  <a:lnTo>
                    <a:pt x="65" y="57"/>
                  </a:lnTo>
                  <a:lnTo>
                    <a:pt x="45" y="67"/>
                  </a:lnTo>
                  <a:lnTo>
                    <a:pt x="30" y="79"/>
                  </a:lnTo>
                  <a:lnTo>
                    <a:pt x="18" y="91"/>
                  </a:lnTo>
                  <a:lnTo>
                    <a:pt x="8" y="102"/>
                  </a:lnTo>
                  <a:lnTo>
                    <a:pt x="2" y="114"/>
                  </a:lnTo>
                  <a:lnTo>
                    <a:pt x="0" y="128"/>
                  </a:lnTo>
                  <a:lnTo>
                    <a:pt x="0" y="450"/>
                  </a:lnTo>
                  <a:lnTo>
                    <a:pt x="0" y="643"/>
                  </a:lnTo>
                  <a:lnTo>
                    <a:pt x="2" y="657"/>
                  </a:lnTo>
                  <a:lnTo>
                    <a:pt x="8" y="668"/>
                  </a:lnTo>
                  <a:lnTo>
                    <a:pt x="18" y="682"/>
                  </a:lnTo>
                  <a:lnTo>
                    <a:pt x="30" y="694"/>
                  </a:lnTo>
                  <a:lnTo>
                    <a:pt x="45" y="706"/>
                  </a:lnTo>
                  <a:lnTo>
                    <a:pt x="65" y="715"/>
                  </a:lnTo>
                  <a:lnTo>
                    <a:pt x="87" y="725"/>
                  </a:lnTo>
                  <a:lnTo>
                    <a:pt x="110" y="735"/>
                  </a:lnTo>
                  <a:lnTo>
                    <a:pt x="138" y="743"/>
                  </a:lnTo>
                  <a:lnTo>
                    <a:pt x="165" y="751"/>
                  </a:lnTo>
                  <a:lnTo>
                    <a:pt x="197" y="757"/>
                  </a:lnTo>
                  <a:lnTo>
                    <a:pt x="230" y="763"/>
                  </a:lnTo>
                  <a:lnTo>
                    <a:pt x="301" y="770"/>
                  </a:lnTo>
                  <a:lnTo>
                    <a:pt x="375" y="772"/>
                  </a:lnTo>
                  <a:lnTo>
                    <a:pt x="1313" y="772"/>
                  </a:lnTo>
                  <a:lnTo>
                    <a:pt x="1491" y="1242"/>
                  </a:lnTo>
                  <a:lnTo>
                    <a:pt x="1877" y="772"/>
                  </a:lnTo>
                  <a:lnTo>
                    <a:pt x="1951" y="770"/>
                  </a:lnTo>
                  <a:lnTo>
                    <a:pt x="2022" y="763"/>
                  </a:lnTo>
                  <a:lnTo>
                    <a:pt x="2055" y="757"/>
                  </a:lnTo>
                  <a:lnTo>
                    <a:pt x="2087" y="751"/>
                  </a:lnTo>
                  <a:lnTo>
                    <a:pt x="2114" y="743"/>
                  </a:lnTo>
                  <a:lnTo>
                    <a:pt x="2142" y="735"/>
                  </a:lnTo>
                  <a:lnTo>
                    <a:pt x="2165" y="725"/>
                  </a:lnTo>
                  <a:lnTo>
                    <a:pt x="2187" y="715"/>
                  </a:lnTo>
                  <a:lnTo>
                    <a:pt x="2207" y="706"/>
                  </a:lnTo>
                  <a:lnTo>
                    <a:pt x="2222" y="694"/>
                  </a:lnTo>
                  <a:lnTo>
                    <a:pt x="2234" y="682"/>
                  </a:lnTo>
                  <a:lnTo>
                    <a:pt x="2244" y="668"/>
                  </a:lnTo>
                  <a:lnTo>
                    <a:pt x="2250" y="657"/>
                  </a:lnTo>
                  <a:lnTo>
                    <a:pt x="2252" y="643"/>
                  </a:lnTo>
                  <a:lnTo>
                    <a:pt x="2252" y="450"/>
                  </a:lnTo>
                  <a:lnTo>
                    <a:pt x="2252" y="128"/>
                  </a:lnTo>
                  <a:lnTo>
                    <a:pt x="2250" y="114"/>
                  </a:lnTo>
                  <a:lnTo>
                    <a:pt x="2244" y="102"/>
                  </a:lnTo>
                  <a:lnTo>
                    <a:pt x="2234" y="91"/>
                  </a:lnTo>
                  <a:lnTo>
                    <a:pt x="2222" y="79"/>
                  </a:lnTo>
                  <a:lnTo>
                    <a:pt x="2207" y="67"/>
                  </a:lnTo>
                  <a:lnTo>
                    <a:pt x="2187" y="57"/>
                  </a:lnTo>
                  <a:lnTo>
                    <a:pt x="2165" y="47"/>
                  </a:lnTo>
                  <a:lnTo>
                    <a:pt x="2142" y="38"/>
                  </a:lnTo>
                  <a:lnTo>
                    <a:pt x="2114" y="30"/>
                  </a:lnTo>
                  <a:lnTo>
                    <a:pt x="2087" y="22"/>
                  </a:lnTo>
                  <a:lnTo>
                    <a:pt x="2055" y="16"/>
                  </a:lnTo>
                  <a:lnTo>
                    <a:pt x="2022" y="10"/>
                  </a:lnTo>
                  <a:lnTo>
                    <a:pt x="1951" y="2"/>
                  </a:lnTo>
                  <a:lnTo>
                    <a:pt x="1877" y="0"/>
                  </a:lnTo>
                  <a:lnTo>
                    <a:pt x="1313" y="0"/>
                  </a:lnTo>
                  <a:lnTo>
                    <a:pt x="375" y="0"/>
                  </a:lnTo>
                  <a:close/>
                </a:path>
              </a:pathLst>
            </a:custGeom>
            <a:solidFill>
              <a:srgbClr val="FFFFFF"/>
            </a:solidFill>
            <a:ln w="9525">
              <a:solidFill>
                <a:srgbClr val="000000"/>
              </a:solidFill>
              <a:prstDash val="solid"/>
              <a:round/>
              <a:headEnd/>
              <a:tailEnd/>
            </a:ln>
          </p:spPr>
          <p:txBody>
            <a:bodyPr/>
            <a:lstStyle/>
            <a:p>
              <a:endParaRPr lang="cs-CZ"/>
            </a:p>
          </p:txBody>
        </p:sp>
        <p:sp>
          <p:nvSpPr>
            <p:cNvPr id="557" name="Rectangle 565"/>
            <p:cNvSpPr>
              <a:spLocks noChangeArrowheads="1"/>
            </p:cNvSpPr>
            <p:nvPr/>
          </p:nvSpPr>
          <p:spPr bwMode="auto">
            <a:xfrm>
              <a:off x="1021" y="1392"/>
              <a:ext cx="35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Británie </a:t>
              </a:r>
              <a:endParaRPr lang="cs-CZ" sz="2400" b="0">
                <a:solidFill>
                  <a:schemeClr val="tx1"/>
                </a:solidFill>
                <a:latin typeface="Times New Roman" pitchFamily="18" charset="0"/>
                <a:ea typeface="ＭＳ Ｐゴシック" pitchFamily="34" charset="-128"/>
              </a:endParaRPr>
            </a:p>
          </p:txBody>
        </p:sp>
        <p:sp>
          <p:nvSpPr>
            <p:cNvPr id="558" name="Rectangle 566"/>
            <p:cNvSpPr>
              <a:spLocks noChangeArrowheads="1"/>
            </p:cNvSpPr>
            <p:nvPr/>
          </p:nvSpPr>
          <p:spPr bwMode="auto">
            <a:xfrm>
              <a:off x="1021" y="1500"/>
              <a:ext cx="65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říprava nových </a:t>
              </a:r>
              <a:endParaRPr lang="cs-CZ" sz="2400" b="0">
                <a:solidFill>
                  <a:schemeClr val="tx1"/>
                </a:solidFill>
                <a:latin typeface="Times New Roman" pitchFamily="18" charset="0"/>
                <a:ea typeface="ＭＳ Ｐゴシック" pitchFamily="34" charset="-128"/>
              </a:endParaRPr>
            </a:p>
          </p:txBody>
        </p:sp>
        <p:sp>
          <p:nvSpPr>
            <p:cNvPr id="559" name="Rectangle 567"/>
            <p:cNvSpPr>
              <a:spLocks noChangeArrowheads="1"/>
            </p:cNvSpPr>
            <p:nvPr/>
          </p:nvSpPr>
          <p:spPr bwMode="auto">
            <a:xfrm>
              <a:off x="1021" y="1604"/>
              <a:ext cx="64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aderných zdrojů</a:t>
              </a:r>
              <a:endParaRPr lang="cs-CZ" sz="2400" b="0">
                <a:solidFill>
                  <a:schemeClr val="tx1"/>
                </a:solidFill>
                <a:latin typeface="Times New Roman" pitchFamily="18" charset="0"/>
                <a:ea typeface="ＭＳ Ｐゴシック" pitchFamily="34" charset="-128"/>
              </a:endParaRPr>
            </a:p>
          </p:txBody>
        </p:sp>
        <p:grpSp>
          <p:nvGrpSpPr>
            <p:cNvPr id="560" name="Group 568"/>
            <p:cNvGrpSpPr>
              <a:grpSpLocks/>
            </p:cNvGrpSpPr>
            <p:nvPr/>
          </p:nvGrpSpPr>
          <p:grpSpPr bwMode="auto">
            <a:xfrm>
              <a:off x="-1832" y="1245"/>
              <a:ext cx="2672" cy="1569"/>
              <a:chOff x="-1832" y="1245"/>
              <a:chExt cx="2672" cy="1569"/>
            </a:xfrm>
          </p:grpSpPr>
          <p:sp>
            <p:nvSpPr>
              <p:cNvPr id="602" name="Freeform 569"/>
              <p:cNvSpPr>
                <a:spLocks/>
              </p:cNvSpPr>
              <p:nvPr/>
            </p:nvSpPr>
            <p:spPr bwMode="auto">
              <a:xfrm>
                <a:off x="-1832" y="1245"/>
                <a:ext cx="2672" cy="1569"/>
              </a:xfrm>
              <a:custGeom>
                <a:avLst/>
                <a:gdLst>
                  <a:gd name="T0" fmla="*/ 4971 w 5344"/>
                  <a:gd name="T1" fmla="*/ 124 h 3140"/>
                  <a:gd name="T2" fmla="*/ 4830 w 5344"/>
                  <a:gd name="T3" fmla="*/ 407 h 3140"/>
                  <a:gd name="T4" fmla="*/ 4529 w 5344"/>
                  <a:gd name="T5" fmla="*/ 668 h 3140"/>
                  <a:gd name="T6" fmla="*/ 4266 w 5344"/>
                  <a:gd name="T7" fmla="*/ 900 h 3140"/>
                  <a:gd name="T8" fmla="*/ 3985 w 5344"/>
                  <a:gd name="T9" fmla="*/ 935 h 3140"/>
                  <a:gd name="T10" fmla="*/ 3886 w 5344"/>
                  <a:gd name="T11" fmla="*/ 796 h 3140"/>
                  <a:gd name="T12" fmla="*/ 3774 w 5344"/>
                  <a:gd name="T13" fmla="*/ 540 h 3140"/>
                  <a:gd name="T14" fmla="*/ 3625 w 5344"/>
                  <a:gd name="T15" fmla="*/ 729 h 3140"/>
                  <a:gd name="T16" fmla="*/ 3550 w 5344"/>
                  <a:gd name="T17" fmla="*/ 1077 h 3140"/>
                  <a:gd name="T18" fmla="*/ 3544 w 5344"/>
                  <a:gd name="T19" fmla="*/ 652 h 3140"/>
                  <a:gd name="T20" fmla="*/ 3519 w 5344"/>
                  <a:gd name="T21" fmla="*/ 546 h 3140"/>
                  <a:gd name="T22" fmla="*/ 3774 w 5344"/>
                  <a:gd name="T23" fmla="*/ 519 h 3140"/>
                  <a:gd name="T24" fmla="*/ 3633 w 5344"/>
                  <a:gd name="T25" fmla="*/ 426 h 3140"/>
                  <a:gd name="T26" fmla="*/ 3368 w 5344"/>
                  <a:gd name="T27" fmla="*/ 395 h 3140"/>
                  <a:gd name="T28" fmla="*/ 3142 w 5344"/>
                  <a:gd name="T29" fmla="*/ 497 h 3140"/>
                  <a:gd name="T30" fmla="*/ 3010 w 5344"/>
                  <a:gd name="T31" fmla="*/ 334 h 3140"/>
                  <a:gd name="T32" fmla="*/ 1430 w 5344"/>
                  <a:gd name="T33" fmla="*/ 208 h 3140"/>
                  <a:gd name="T34" fmla="*/ 407 w 5344"/>
                  <a:gd name="T35" fmla="*/ 73 h 3140"/>
                  <a:gd name="T36" fmla="*/ 385 w 5344"/>
                  <a:gd name="T37" fmla="*/ 267 h 3140"/>
                  <a:gd name="T38" fmla="*/ 330 w 5344"/>
                  <a:gd name="T39" fmla="*/ 144 h 3140"/>
                  <a:gd name="T40" fmla="*/ 247 w 5344"/>
                  <a:gd name="T41" fmla="*/ 293 h 3140"/>
                  <a:gd name="T42" fmla="*/ 139 w 5344"/>
                  <a:gd name="T43" fmla="*/ 649 h 3140"/>
                  <a:gd name="T44" fmla="*/ 25 w 5344"/>
                  <a:gd name="T45" fmla="*/ 1222 h 3140"/>
                  <a:gd name="T46" fmla="*/ 128 w 5344"/>
                  <a:gd name="T47" fmla="*/ 1446 h 3140"/>
                  <a:gd name="T48" fmla="*/ 167 w 5344"/>
                  <a:gd name="T49" fmla="*/ 1682 h 3140"/>
                  <a:gd name="T50" fmla="*/ 242 w 5344"/>
                  <a:gd name="T51" fmla="*/ 1886 h 3140"/>
                  <a:gd name="T52" fmla="*/ 409 w 5344"/>
                  <a:gd name="T53" fmla="*/ 2022 h 3140"/>
                  <a:gd name="T54" fmla="*/ 625 w 5344"/>
                  <a:gd name="T55" fmla="*/ 2177 h 3140"/>
                  <a:gd name="T56" fmla="*/ 1008 w 5344"/>
                  <a:gd name="T57" fmla="*/ 2360 h 3140"/>
                  <a:gd name="T58" fmla="*/ 1487 w 5344"/>
                  <a:gd name="T59" fmla="*/ 2429 h 3140"/>
                  <a:gd name="T60" fmla="*/ 1874 w 5344"/>
                  <a:gd name="T61" fmla="*/ 2688 h 3140"/>
                  <a:gd name="T62" fmla="*/ 2195 w 5344"/>
                  <a:gd name="T63" fmla="*/ 2698 h 3140"/>
                  <a:gd name="T64" fmla="*/ 2421 w 5344"/>
                  <a:gd name="T65" fmla="*/ 2985 h 3140"/>
                  <a:gd name="T66" fmla="*/ 2735 w 5344"/>
                  <a:gd name="T67" fmla="*/ 3089 h 3140"/>
                  <a:gd name="T68" fmla="*/ 2827 w 5344"/>
                  <a:gd name="T69" fmla="*/ 2833 h 3140"/>
                  <a:gd name="T70" fmla="*/ 3220 w 5344"/>
                  <a:gd name="T71" fmla="*/ 2682 h 3140"/>
                  <a:gd name="T72" fmla="*/ 3462 w 5344"/>
                  <a:gd name="T73" fmla="*/ 2678 h 3140"/>
                  <a:gd name="T74" fmla="*/ 3633 w 5344"/>
                  <a:gd name="T75" fmla="*/ 2668 h 3140"/>
                  <a:gd name="T76" fmla="*/ 3495 w 5344"/>
                  <a:gd name="T77" fmla="*/ 2570 h 3140"/>
                  <a:gd name="T78" fmla="*/ 3702 w 5344"/>
                  <a:gd name="T79" fmla="*/ 2462 h 3140"/>
                  <a:gd name="T80" fmla="*/ 3989 w 5344"/>
                  <a:gd name="T81" fmla="*/ 2493 h 3140"/>
                  <a:gd name="T82" fmla="*/ 4232 w 5344"/>
                  <a:gd name="T83" fmla="*/ 2543 h 3140"/>
                  <a:gd name="T84" fmla="*/ 4358 w 5344"/>
                  <a:gd name="T85" fmla="*/ 2755 h 3140"/>
                  <a:gd name="T86" fmla="*/ 4472 w 5344"/>
                  <a:gd name="T87" fmla="*/ 2888 h 3140"/>
                  <a:gd name="T88" fmla="*/ 4721 w 5344"/>
                  <a:gd name="T89" fmla="*/ 2873 h 3140"/>
                  <a:gd name="T90" fmla="*/ 4486 w 5344"/>
                  <a:gd name="T91" fmla="*/ 2432 h 3140"/>
                  <a:gd name="T92" fmla="*/ 4543 w 5344"/>
                  <a:gd name="T93" fmla="*/ 2098 h 3140"/>
                  <a:gd name="T94" fmla="*/ 4898 w 5344"/>
                  <a:gd name="T95" fmla="*/ 1584 h 3140"/>
                  <a:gd name="T96" fmla="*/ 4879 w 5344"/>
                  <a:gd name="T97" fmla="*/ 1590 h 3140"/>
                  <a:gd name="T98" fmla="*/ 4804 w 5344"/>
                  <a:gd name="T99" fmla="*/ 1464 h 3140"/>
                  <a:gd name="T100" fmla="*/ 4735 w 5344"/>
                  <a:gd name="T101" fmla="*/ 1197 h 3140"/>
                  <a:gd name="T102" fmla="*/ 4833 w 5344"/>
                  <a:gd name="T103" fmla="*/ 1181 h 3140"/>
                  <a:gd name="T104" fmla="*/ 5112 w 5344"/>
                  <a:gd name="T105" fmla="*/ 863 h 3140"/>
                  <a:gd name="T106" fmla="*/ 5101 w 5344"/>
                  <a:gd name="T107" fmla="*/ 806 h 3140"/>
                  <a:gd name="T108" fmla="*/ 5154 w 5344"/>
                  <a:gd name="T109" fmla="*/ 678 h 3140"/>
                  <a:gd name="T110" fmla="*/ 5118 w 5344"/>
                  <a:gd name="T111" fmla="*/ 580 h 3140"/>
                  <a:gd name="T112" fmla="*/ 5289 w 5344"/>
                  <a:gd name="T113" fmla="*/ 356 h 3140"/>
                  <a:gd name="T114" fmla="*/ 5173 w 5344"/>
                  <a:gd name="T115" fmla="*/ 73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4" h="3140">
                    <a:moveTo>
                      <a:pt x="5152" y="20"/>
                    </a:moveTo>
                    <a:lnTo>
                      <a:pt x="5124" y="0"/>
                    </a:lnTo>
                    <a:lnTo>
                      <a:pt x="5095" y="0"/>
                    </a:lnTo>
                    <a:lnTo>
                      <a:pt x="5075" y="0"/>
                    </a:lnTo>
                    <a:lnTo>
                      <a:pt x="5063" y="26"/>
                    </a:lnTo>
                    <a:lnTo>
                      <a:pt x="5040" y="20"/>
                    </a:lnTo>
                    <a:lnTo>
                      <a:pt x="5020" y="26"/>
                    </a:lnTo>
                    <a:lnTo>
                      <a:pt x="5010" y="53"/>
                    </a:lnTo>
                    <a:lnTo>
                      <a:pt x="4971" y="124"/>
                    </a:lnTo>
                    <a:lnTo>
                      <a:pt x="4991" y="169"/>
                    </a:lnTo>
                    <a:lnTo>
                      <a:pt x="4973" y="220"/>
                    </a:lnTo>
                    <a:lnTo>
                      <a:pt x="4987" y="242"/>
                    </a:lnTo>
                    <a:lnTo>
                      <a:pt x="4983" y="283"/>
                    </a:lnTo>
                    <a:lnTo>
                      <a:pt x="4977" y="322"/>
                    </a:lnTo>
                    <a:lnTo>
                      <a:pt x="4953" y="328"/>
                    </a:lnTo>
                    <a:lnTo>
                      <a:pt x="4936" y="305"/>
                    </a:lnTo>
                    <a:lnTo>
                      <a:pt x="4898" y="389"/>
                    </a:lnTo>
                    <a:lnTo>
                      <a:pt x="4830" y="407"/>
                    </a:lnTo>
                    <a:lnTo>
                      <a:pt x="4737" y="432"/>
                    </a:lnTo>
                    <a:lnTo>
                      <a:pt x="4672" y="448"/>
                    </a:lnTo>
                    <a:lnTo>
                      <a:pt x="4619" y="493"/>
                    </a:lnTo>
                    <a:lnTo>
                      <a:pt x="4584" y="540"/>
                    </a:lnTo>
                    <a:lnTo>
                      <a:pt x="4554" y="540"/>
                    </a:lnTo>
                    <a:lnTo>
                      <a:pt x="4521" y="595"/>
                    </a:lnTo>
                    <a:lnTo>
                      <a:pt x="4535" y="611"/>
                    </a:lnTo>
                    <a:lnTo>
                      <a:pt x="4545" y="652"/>
                    </a:lnTo>
                    <a:lnTo>
                      <a:pt x="4529" y="668"/>
                    </a:lnTo>
                    <a:lnTo>
                      <a:pt x="4505" y="700"/>
                    </a:lnTo>
                    <a:lnTo>
                      <a:pt x="4480" y="705"/>
                    </a:lnTo>
                    <a:lnTo>
                      <a:pt x="4470" y="729"/>
                    </a:lnTo>
                    <a:lnTo>
                      <a:pt x="4427" y="735"/>
                    </a:lnTo>
                    <a:lnTo>
                      <a:pt x="4366" y="735"/>
                    </a:lnTo>
                    <a:lnTo>
                      <a:pt x="4315" y="764"/>
                    </a:lnTo>
                    <a:lnTo>
                      <a:pt x="4321" y="812"/>
                    </a:lnTo>
                    <a:lnTo>
                      <a:pt x="4307" y="849"/>
                    </a:lnTo>
                    <a:lnTo>
                      <a:pt x="4266" y="900"/>
                    </a:lnTo>
                    <a:lnTo>
                      <a:pt x="4215" y="949"/>
                    </a:lnTo>
                    <a:lnTo>
                      <a:pt x="4165" y="967"/>
                    </a:lnTo>
                    <a:lnTo>
                      <a:pt x="4148" y="1006"/>
                    </a:lnTo>
                    <a:lnTo>
                      <a:pt x="4044" y="1047"/>
                    </a:lnTo>
                    <a:lnTo>
                      <a:pt x="3989" y="1036"/>
                    </a:lnTo>
                    <a:lnTo>
                      <a:pt x="3975" y="1022"/>
                    </a:lnTo>
                    <a:lnTo>
                      <a:pt x="4000" y="996"/>
                    </a:lnTo>
                    <a:lnTo>
                      <a:pt x="4004" y="965"/>
                    </a:lnTo>
                    <a:lnTo>
                      <a:pt x="3985" y="935"/>
                    </a:lnTo>
                    <a:lnTo>
                      <a:pt x="4008" y="920"/>
                    </a:lnTo>
                    <a:lnTo>
                      <a:pt x="4038" y="927"/>
                    </a:lnTo>
                    <a:lnTo>
                      <a:pt x="4030" y="865"/>
                    </a:lnTo>
                    <a:lnTo>
                      <a:pt x="4024" y="814"/>
                    </a:lnTo>
                    <a:lnTo>
                      <a:pt x="4008" y="770"/>
                    </a:lnTo>
                    <a:lnTo>
                      <a:pt x="3981" y="749"/>
                    </a:lnTo>
                    <a:lnTo>
                      <a:pt x="3941" y="735"/>
                    </a:lnTo>
                    <a:lnTo>
                      <a:pt x="3912" y="757"/>
                    </a:lnTo>
                    <a:lnTo>
                      <a:pt x="3886" y="796"/>
                    </a:lnTo>
                    <a:lnTo>
                      <a:pt x="3853" y="786"/>
                    </a:lnTo>
                    <a:lnTo>
                      <a:pt x="3867" y="766"/>
                    </a:lnTo>
                    <a:lnTo>
                      <a:pt x="3879" y="757"/>
                    </a:lnTo>
                    <a:lnTo>
                      <a:pt x="3898" y="745"/>
                    </a:lnTo>
                    <a:lnTo>
                      <a:pt x="3928" y="713"/>
                    </a:lnTo>
                    <a:lnTo>
                      <a:pt x="3906" y="649"/>
                    </a:lnTo>
                    <a:lnTo>
                      <a:pt x="3898" y="595"/>
                    </a:lnTo>
                    <a:lnTo>
                      <a:pt x="3853" y="590"/>
                    </a:lnTo>
                    <a:lnTo>
                      <a:pt x="3774" y="540"/>
                    </a:lnTo>
                    <a:lnTo>
                      <a:pt x="3725" y="560"/>
                    </a:lnTo>
                    <a:lnTo>
                      <a:pt x="3719" y="584"/>
                    </a:lnTo>
                    <a:lnTo>
                      <a:pt x="3727" y="601"/>
                    </a:lnTo>
                    <a:lnTo>
                      <a:pt x="3706" y="611"/>
                    </a:lnTo>
                    <a:lnTo>
                      <a:pt x="3702" y="649"/>
                    </a:lnTo>
                    <a:lnTo>
                      <a:pt x="3684" y="649"/>
                    </a:lnTo>
                    <a:lnTo>
                      <a:pt x="3647" y="682"/>
                    </a:lnTo>
                    <a:lnTo>
                      <a:pt x="3633" y="704"/>
                    </a:lnTo>
                    <a:lnTo>
                      <a:pt x="3625" y="729"/>
                    </a:lnTo>
                    <a:lnTo>
                      <a:pt x="3625" y="790"/>
                    </a:lnTo>
                    <a:lnTo>
                      <a:pt x="3617" y="853"/>
                    </a:lnTo>
                    <a:lnTo>
                      <a:pt x="3633" y="892"/>
                    </a:lnTo>
                    <a:lnTo>
                      <a:pt x="3656" y="955"/>
                    </a:lnTo>
                    <a:lnTo>
                      <a:pt x="3656" y="1032"/>
                    </a:lnTo>
                    <a:lnTo>
                      <a:pt x="3633" y="1114"/>
                    </a:lnTo>
                    <a:lnTo>
                      <a:pt x="3598" y="1120"/>
                    </a:lnTo>
                    <a:lnTo>
                      <a:pt x="3572" y="1108"/>
                    </a:lnTo>
                    <a:lnTo>
                      <a:pt x="3550" y="1077"/>
                    </a:lnTo>
                    <a:lnTo>
                      <a:pt x="3525" y="1032"/>
                    </a:lnTo>
                    <a:lnTo>
                      <a:pt x="3533" y="971"/>
                    </a:lnTo>
                    <a:lnTo>
                      <a:pt x="3533" y="929"/>
                    </a:lnTo>
                    <a:lnTo>
                      <a:pt x="3513" y="894"/>
                    </a:lnTo>
                    <a:lnTo>
                      <a:pt x="3515" y="817"/>
                    </a:lnTo>
                    <a:lnTo>
                      <a:pt x="3525" y="760"/>
                    </a:lnTo>
                    <a:lnTo>
                      <a:pt x="3529" y="729"/>
                    </a:lnTo>
                    <a:lnTo>
                      <a:pt x="3568" y="678"/>
                    </a:lnTo>
                    <a:lnTo>
                      <a:pt x="3544" y="652"/>
                    </a:lnTo>
                    <a:lnTo>
                      <a:pt x="3525" y="664"/>
                    </a:lnTo>
                    <a:lnTo>
                      <a:pt x="3513" y="694"/>
                    </a:lnTo>
                    <a:lnTo>
                      <a:pt x="3470" y="739"/>
                    </a:lnTo>
                    <a:lnTo>
                      <a:pt x="3495" y="700"/>
                    </a:lnTo>
                    <a:lnTo>
                      <a:pt x="3495" y="676"/>
                    </a:lnTo>
                    <a:lnTo>
                      <a:pt x="3489" y="643"/>
                    </a:lnTo>
                    <a:lnTo>
                      <a:pt x="3495" y="613"/>
                    </a:lnTo>
                    <a:lnTo>
                      <a:pt x="3513" y="590"/>
                    </a:lnTo>
                    <a:lnTo>
                      <a:pt x="3519" y="546"/>
                    </a:lnTo>
                    <a:lnTo>
                      <a:pt x="3525" y="529"/>
                    </a:lnTo>
                    <a:lnTo>
                      <a:pt x="3537" y="562"/>
                    </a:lnTo>
                    <a:lnTo>
                      <a:pt x="3574" y="566"/>
                    </a:lnTo>
                    <a:lnTo>
                      <a:pt x="3598" y="540"/>
                    </a:lnTo>
                    <a:lnTo>
                      <a:pt x="3633" y="525"/>
                    </a:lnTo>
                    <a:lnTo>
                      <a:pt x="3676" y="523"/>
                    </a:lnTo>
                    <a:lnTo>
                      <a:pt x="3696" y="535"/>
                    </a:lnTo>
                    <a:lnTo>
                      <a:pt x="3725" y="533"/>
                    </a:lnTo>
                    <a:lnTo>
                      <a:pt x="3774" y="519"/>
                    </a:lnTo>
                    <a:lnTo>
                      <a:pt x="3802" y="519"/>
                    </a:lnTo>
                    <a:lnTo>
                      <a:pt x="3804" y="497"/>
                    </a:lnTo>
                    <a:lnTo>
                      <a:pt x="3810" y="497"/>
                    </a:lnTo>
                    <a:lnTo>
                      <a:pt x="3786" y="474"/>
                    </a:lnTo>
                    <a:lnTo>
                      <a:pt x="3761" y="460"/>
                    </a:lnTo>
                    <a:lnTo>
                      <a:pt x="3715" y="448"/>
                    </a:lnTo>
                    <a:lnTo>
                      <a:pt x="3672" y="448"/>
                    </a:lnTo>
                    <a:lnTo>
                      <a:pt x="3647" y="442"/>
                    </a:lnTo>
                    <a:lnTo>
                      <a:pt x="3633" y="426"/>
                    </a:lnTo>
                    <a:lnTo>
                      <a:pt x="3588" y="421"/>
                    </a:lnTo>
                    <a:lnTo>
                      <a:pt x="3544" y="430"/>
                    </a:lnTo>
                    <a:lnTo>
                      <a:pt x="3515" y="432"/>
                    </a:lnTo>
                    <a:lnTo>
                      <a:pt x="3484" y="460"/>
                    </a:lnTo>
                    <a:lnTo>
                      <a:pt x="3440" y="442"/>
                    </a:lnTo>
                    <a:lnTo>
                      <a:pt x="3403" y="430"/>
                    </a:lnTo>
                    <a:lnTo>
                      <a:pt x="3366" y="448"/>
                    </a:lnTo>
                    <a:lnTo>
                      <a:pt x="3338" y="436"/>
                    </a:lnTo>
                    <a:lnTo>
                      <a:pt x="3368" y="395"/>
                    </a:lnTo>
                    <a:lnTo>
                      <a:pt x="3358" y="379"/>
                    </a:lnTo>
                    <a:lnTo>
                      <a:pt x="3342" y="385"/>
                    </a:lnTo>
                    <a:lnTo>
                      <a:pt x="3299" y="432"/>
                    </a:lnTo>
                    <a:lnTo>
                      <a:pt x="3269" y="472"/>
                    </a:lnTo>
                    <a:lnTo>
                      <a:pt x="3238" y="511"/>
                    </a:lnTo>
                    <a:lnTo>
                      <a:pt x="3191" y="505"/>
                    </a:lnTo>
                    <a:lnTo>
                      <a:pt x="3175" y="458"/>
                    </a:lnTo>
                    <a:lnTo>
                      <a:pt x="3155" y="460"/>
                    </a:lnTo>
                    <a:lnTo>
                      <a:pt x="3142" y="497"/>
                    </a:lnTo>
                    <a:lnTo>
                      <a:pt x="3091" y="499"/>
                    </a:lnTo>
                    <a:lnTo>
                      <a:pt x="3146" y="430"/>
                    </a:lnTo>
                    <a:lnTo>
                      <a:pt x="3279" y="346"/>
                    </a:lnTo>
                    <a:lnTo>
                      <a:pt x="3289" y="328"/>
                    </a:lnTo>
                    <a:lnTo>
                      <a:pt x="3214" y="332"/>
                    </a:lnTo>
                    <a:lnTo>
                      <a:pt x="3136" y="305"/>
                    </a:lnTo>
                    <a:lnTo>
                      <a:pt x="3110" y="340"/>
                    </a:lnTo>
                    <a:lnTo>
                      <a:pt x="3051" y="318"/>
                    </a:lnTo>
                    <a:lnTo>
                      <a:pt x="3010" y="334"/>
                    </a:lnTo>
                    <a:lnTo>
                      <a:pt x="2984" y="293"/>
                    </a:lnTo>
                    <a:lnTo>
                      <a:pt x="2920" y="295"/>
                    </a:lnTo>
                    <a:lnTo>
                      <a:pt x="2900" y="311"/>
                    </a:lnTo>
                    <a:lnTo>
                      <a:pt x="2827" y="267"/>
                    </a:lnTo>
                    <a:lnTo>
                      <a:pt x="2816" y="226"/>
                    </a:lnTo>
                    <a:lnTo>
                      <a:pt x="2729" y="206"/>
                    </a:lnTo>
                    <a:lnTo>
                      <a:pt x="2768" y="267"/>
                    </a:lnTo>
                    <a:lnTo>
                      <a:pt x="1507" y="230"/>
                    </a:lnTo>
                    <a:lnTo>
                      <a:pt x="1430" y="208"/>
                    </a:lnTo>
                    <a:lnTo>
                      <a:pt x="1297" y="195"/>
                    </a:lnTo>
                    <a:lnTo>
                      <a:pt x="1126" y="169"/>
                    </a:lnTo>
                    <a:lnTo>
                      <a:pt x="914" y="149"/>
                    </a:lnTo>
                    <a:lnTo>
                      <a:pt x="831" y="136"/>
                    </a:lnTo>
                    <a:lnTo>
                      <a:pt x="717" y="118"/>
                    </a:lnTo>
                    <a:lnTo>
                      <a:pt x="635" y="98"/>
                    </a:lnTo>
                    <a:lnTo>
                      <a:pt x="412" y="37"/>
                    </a:lnTo>
                    <a:lnTo>
                      <a:pt x="399" y="41"/>
                    </a:lnTo>
                    <a:lnTo>
                      <a:pt x="407" y="73"/>
                    </a:lnTo>
                    <a:lnTo>
                      <a:pt x="418" y="104"/>
                    </a:lnTo>
                    <a:lnTo>
                      <a:pt x="409" y="118"/>
                    </a:lnTo>
                    <a:lnTo>
                      <a:pt x="393" y="134"/>
                    </a:lnTo>
                    <a:lnTo>
                      <a:pt x="403" y="155"/>
                    </a:lnTo>
                    <a:lnTo>
                      <a:pt x="432" y="206"/>
                    </a:lnTo>
                    <a:lnTo>
                      <a:pt x="409" y="242"/>
                    </a:lnTo>
                    <a:lnTo>
                      <a:pt x="393" y="287"/>
                    </a:lnTo>
                    <a:lnTo>
                      <a:pt x="356" y="287"/>
                    </a:lnTo>
                    <a:lnTo>
                      <a:pt x="385" y="267"/>
                    </a:lnTo>
                    <a:lnTo>
                      <a:pt x="395" y="242"/>
                    </a:lnTo>
                    <a:lnTo>
                      <a:pt x="389" y="220"/>
                    </a:lnTo>
                    <a:lnTo>
                      <a:pt x="369" y="212"/>
                    </a:lnTo>
                    <a:lnTo>
                      <a:pt x="379" y="197"/>
                    </a:lnTo>
                    <a:lnTo>
                      <a:pt x="407" y="203"/>
                    </a:lnTo>
                    <a:lnTo>
                      <a:pt x="407" y="191"/>
                    </a:lnTo>
                    <a:lnTo>
                      <a:pt x="389" y="151"/>
                    </a:lnTo>
                    <a:lnTo>
                      <a:pt x="369" y="149"/>
                    </a:lnTo>
                    <a:lnTo>
                      <a:pt x="330" y="144"/>
                    </a:lnTo>
                    <a:lnTo>
                      <a:pt x="297" y="114"/>
                    </a:lnTo>
                    <a:lnTo>
                      <a:pt x="275" y="100"/>
                    </a:lnTo>
                    <a:lnTo>
                      <a:pt x="247" y="89"/>
                    </a:lnTo>
                    <a:lnTo>
                      <a:pt x="232" y="118"/>
                    </a:lnTo>
                    <a:lnTo>
                      <a:pt x="245" y="157"/>
                    </a:lnTo>
                    <a:lnTo>
                      <a:pt x="247" y="195"/>
                    </a:lnTo>
                    <a:lnTo>
                      <a:pt x="245" y="238"/>
                    </a:lnTo>
                    <a:lnTo>
                      <a:pt x="245" y="277"/>
                    </a:lnTo>
                    <a:lnTo>
                      <a:pt x="247" y="293"/>
                    </a:lnTo>
                    <a:lnTo>
                      <a:pt x="265" y="322"/>
                    </a:lnTo>
                    <a:lnTo>
                      <a:pt x="247" y="344"/>
                    </a:lnTo>
                    <a:lnTo>
                      <a:pt x="251" y="360"/>
                    </a:lnTo>
                    <a:lnTo>
                      <a:pt x="255" y="391"/>
                    </a:lnTo>
                    <a:lnTo>
                      <a:pt x="232" y="401"/>
                    </a:lnTo>
                    <a:lnTo>
                      <a:pt x="212" y="472"/>
                    </a:lnTo>
                    <a:lnTo>
                      <a:pt x="196" y="535"/>
                    </a:lnTo>
                    <a:lnTo>
                      <a:pt x="171" y="597"/>
                    </a:lnTo>
                    <a:lnTo>
                      <a:pt x="139" y="649"/>
                    </a:lnTo>
                    <a:lnTo>
                      <a:pt x="110" y="713"/>
                    </a:lnTo>
                    <a:lnTo>
                      <a:pt x="78" y="751"/>
                    </a:lnTo>
                    <a:lnTo>
                      <a:pt x="78" y="847"/>
                    </a:lnTo>
                    <a:lnTo>
                      <a:pt x="78" y="935"/>
                    </a:lnTo>
                    <a:lnTo>
                      <a:pt x="69" y="967"/>
                    </a:lnTo>
                    <a:lnTo>
                      <a:pt x="35" y="1026"/>
                    </a:lnTo>
                    <a:lnTo>
                      <a:pt x="0" y="1083"/>
                    </a:lnTo>
                    <a:lnTo>
                      <a:pt x="35" y="1159"/>
                    </a:lnTo>
                    <a:lnTo>
                      <a:pt x="25" y="1222"/>
                    </a:lnTo>
                    <a:lnTo>
                      <a:pt x="16" y="1263"/>
                    </a:lnTo>
                    <a:lnTo>
                      <a:pt x="49" y="1340"/>
                    </a:lnTo>
                    <a:lnTo>
                      <a:pt x="73" y="1391"/>
                    </a:lnTo>
                    <a:lnTo>
                      <a:pt x="104" y="1413"/>
                    </a:lnTo>
                    <a:lnTo>
                      <a:pt x="137" y="1375"/>
                    </a:lnTo>
                    <a:lnTo>
                      <a:pt x="147" y="1401"/>
                    </a:lnTo>
                    <a:lnTo>
                      <a:pt x="157" y="1417"/>
                    </a:lnTo>
                    <a:lnTo>
                      <a:pt x="124" y="1423"/>
                    </a:lnTo>
                    <a:lnTo>
                      <a:pt x="128" y="1446"/>
                    </a:lnTo>
                    <a:lnTo>
                      <a:pt x="98" y="1430"/>
                    </a:lnTo>
                    <a:lnTo>
                      <a:pt x="102" y="1478"/>
                    </a:lnTo>
                    <a:lnTo>
                      <a:pt x="114" y="1519"/>
                    </a:lnTo>
                    <a:lnTo>
                      <a:pt x="120" y="1550"/>
                    </a:lnTo>
                    <a:lnTo>
                      <a:pt x="161" y="1544"/>
                    </a:lnTo>
                    <a:lnTo>
                      <a:pt x="153" y="1560"/>
                    </a:lnTo>
                    <a:lnTo>
                      <a:pt x="120" y="1584"/>
                    </a:lnTo>
                    <a:lnTo>
                      <a:pt x="120" y="1631"/>
                    </a:lnTo>
                    <a:lnTo>
                      <a:pt x="167" y="1682"/>
                    </a:lnTo>
                    <a:lnTo>
                      <a:pt x="187" y="1698"/>
                    </a:lnTo>
                    <a:lnTo>
                      <a:pt x="173" y="1719"/>
                    </a:lnTo>
                    <a:lnTo>
                      <a:pt x="190" y="1749"/>
                    </a:lnTo>
                    <a:lnTo>
                      <a:pt x="196" y="1784"/>
                    </a:lnTo>
                    <a:lnTo>
                      <a:pt x="208" y="1806"/>
                    </a:lnTo>
                    <a:lnTo>
                      <a:pt x="216" y="1831"/>
                    </a:lnTo>
                    <a:lnTo>
                      <a:pt x="220" y="1859"/>
                    </a:lnTo>
                    <a:lnTo>
                      <a:pt x="208" y="1874"/>
                    </a:lnTo>
                    <a:lnTo>
                      <a:pt x="242" y="1886"/>
                    </a:lnTo>
                    <a:lnTo>
                      <a:pt x="271" y="1888"/>
                    </a:lnTo>
                    <a:lnTo>
                      <a:pt x="297" y="1882"/>
                    </a:lnTo>
                    <a:lnTo>
                      <a:pt x="330" y="1886"/>
                    </a:lnTo>
                    <a:lnTo>
                      <a:pt x="336" y="1910"/>
                    </a:lnTo>
                    <a:lnTo>
                      <a:pt x="344" y="1930"/>
                    </a:lnTo>
                    <a:lnTo>
                      <a:pt x="377" y="1965"/>
                    </a:lnTo>
                    <a:lnTo>
                      <a:pt x="389" y="1977"/>
                    </a:lnTo>
                    <a:lnTo>
                      <a:pt x="407" y="2006"/>
                    </a:lnTo>
                    <a:lnTo>
                      <a:pt x="409" y="2022"/>
                    </a:lnTo>
                    <a:lnTo>
                      <a:pt x="438" y="2038"/>
                    </a:lnTo>
                    <a:lnTo>
                      <a:pt x="462" y="2059"/>
                    </a:lnTo>
                    <a:lnTo>
                      <a:pt x="491" y="2102"/>
                    </a:lnTo>
                    <a:lnTo>
                      <a:pt x="495" y="2153"/>
                    </a:lnTo>
                    <a:lnTo>
                      <a:pt x="495" y="2177"/>
                    </a:lnTo>
                    <a:lnTo>
                      <a:pt x="521" y="2181"/>
                    </a:lnTo>
                    <a:lnTo>
                      <a:pt x="550" y="2177"/>
                    </a:lnTo>
                    <a:lnTo>
                      <a:pt x="579" y="2175"/>
                    </a:lnTo>
                    <a:lnTo>
                      <a:pt x="625" y="2177"/>
                    </a:lnTo>
                    <a:lnTo>
                      <a:pt x="668" y="2177"/>
                    </a:lnTo>
                    <a:lnTo>
                      <a:pt x="723" y="2177"/>
                    </a:lnTo>
                    <a:lnTo>
                      <a:pt x="764" y="2181"/>
                    </a:lnTo>
                    <a:lnTo>
                      <a:pt x="770" y="2207"/>
                    </a:lnTo>
                    <a:lnTo>
                      <a:pt x="760" y="2228"/>
                    </a:lnTo>
                    <a:lnTo>
                      <a:pt x="807" y="2258"/>
                    </a:lnTo>
                    <a:lnTo>
                      <a:pt x="855" y="2279"/>
                    </a:lnTo>
                    <a:lnTo>
                      <a:pt x="943" y="2324"/>
                    </a:lnTo>
                    <a:lnTo>
                      <a:pt x="1008" y="2360"/>
                    </a:lnTo>
                    <a:lnTo>
                      <a:pt x="1081" y="2389"/>
                    </a:lnTo>
                    <a:lnTo>
                      <a:pt x="1155" y="2411"/>
                    </a:lnTo>
                    <a:lnTo>
                      <a:pt x="1206" y="2417"/>
                    </a:lnTo>
                    <a:lnTo>
                      <a:pt x="1248" y="2411"/>
                    </a:lnTo>
                    <a:lnTo>
                      <a:pt x="1312" y="2417"/>
                    </a:lnTo>
                    <a:lnTo>
                      <a:pt x="1356" y="2423"/>
                    </a:lnTo>
                    <a:lnTo>
                      <a:pt x="1405" y="2419"/>
                    </a:lnTo>
                    <a:lnTo>
                      <a:pt x="1448" y="2429"/>
                    </a:lnTo>
                    <a:lnTo>
                      <a:pt x="1487" y="2429"/>
                    </a:lnTo>
                    <a:lnTo>
                      <a:pt x="1489" y="2375"/>
                    </a:lnTo>
                    <a:lnTo>
                      <a:pt x="1560" y="2385"/>
                    </a:lnTo>
                    <a:lnTo>
                      <a:pt x="1641" y="2389"/>
                    </a:lnTo>
                    <a:lnTo>
                      <a:pt x="1703" y="2458"/>
                    </a:lnTo>
                    <a:lnTo>
                      <a:pt x="1782" y="2521"/>
                    </a:lnTo>
                    <a:lnTo>
                      <a:pt x="1825" y="2570"/>
                    </a:lnTo>
                    <a:lnTo>
                      <a:pt x="1827" y="2611"/>
                    </a:lnTo>
                    <a:lnTo>
                      <a:pt x="1841" y="2656"/>
                    </a:lnTo>
                    <a:lnTo>
                      <a:pt x="1874" y="2688"/>
                    </a:lnTo>
                    <a:lnTo>
                      <a:pt x="1904" y="2715"/>
                    </a:lnTo>
                    <a:lnTo>
                      <a:pt x="1998" y="2770"/>
                    </a:lnTo>
                    <a:lnTo>
                      <a:pt x="2030" y="2765"/>
                    </a:lnTo>
                    <a:lnTo>
                      <a:pt x="2047" y="2749"/>
                    </a:lnTo>
                    <a:lnTo>
                      <a:pt x="2059" y="2713"/>
                    </a:lnTo>
                    <a:lnTo>
                      <a:pt x="2067" y="2688"/>
                    </a:lnTo>
                    <a:lnTo>
                      <a:pt x="2104" y="2684"/>
                    </a:lnTo>
                    <a:lnTo>
                      <a:pt x="2145" y="2688"/>
                    </a:lnTo>
                    <a:lnTo>
                      <a:pt x="2195" y="2698"/>
                    </a:lnTo>
                    <a:lnTo>
                      <a:pt x="2224" y="2715"/>
                    </a:lnTo>
                    <a:lnTo>
                      <a:pt x="2263" y="2735"/>
                    </a:lnTo>
                    <a:lnTo>
                      <a:pt x="2277" y="2761"/>
                    </a:lnTo>
                    <a:lnTo>
                      <a:pt x="2297" y="2806"/>
                    </a:lnTo>
                    <a:lnTo>
                      <a:pt x="2316" y="2847"/>
                    </a:lnTo>
                    <a:lnTo>
                      <a:pt x="2336" y="2878"/>
                    </a:lnTo>
                    <a:lnTo>
                      <a:pt x="2375" y="2902"/>
                    </a:lnTo>
                    <a:lnTo>
                      <a:pt x="2409" y="2935"/>
                    </a:lnTo>
                    <a:lnTo>
                      <a:pt x="2421" y="2985"/>
                    </a:lnTo>
                    <a:lnTo>
                      <a:pt x="2430" y="3022"/>
                    </a:lnTo>
                    <a:lnTo>
                      <a:pt x="2458" y="3085"/>
                    </a:lnTo>
                    <a:lnTo>
                      <a:pt x="2493" y="3093"/>
                    </a:lnTo>
                    <a:lnTo>
                      <a:pt x="2535" y="3108"/>
                    </a:lnTo>
                    <a:lnTo>
                      <a:pt x="2576" y="3118"/>
                    </a:lnTo>
                    <a:lnTo>
                      <a:pt x="2627" y="3120"/>
                    </a:lnTo>
                    <a:lnTo>
                      <a:pt x="2656" y="3140"/>
                    </a:lnTo>
                    <a:lnTo>
                      <a:pt x="2729" y="3136"/>
                    </a:lnTo>
                    <a:lnTo>
                      <a:pt x="2735" y="3089"/>
                    </a:lnTo>
                    <a:lnTo>
                      <a:pt x="2694" y="3053"/>
                    </a:lnTo>
                    <a:lnTo>
                      <a:pt x="2686" y="3000"/>
                    </a:lnTo>
                    <a:lnTo>
                      <a:pt x="2715" y="2961"/>
                    </a:lnTo>
                    <a:lnTo>
                      <a:pt x="2711" y="2924"/>
                    </a:lnTo>
                    <a:lnTo>
                      <a:pt x="2723" y="2910"/>
                    </a:lnTo>
                    <a:lnTo>
                      <a:pt x="2729" y="2882"/>
                    </a:lnTo>
                    <a:lnTo>
                      <a:pt x="2757" y="2867"/>
                    </a:lnTo>
                    <a:lnTo>
                      <a:pt x="2802" y="2833"/>
                    </a:lnTo>
                    <a:lnTo>
                      <a:pt x="2827" y="2833"/>
                    </a:lnTo>
                    <a:lnTo>
                      <a:pt x="2882" y="2800"/>
                    </a:lnTo>
                    <a:lnTo>
                      <a:pt x="2920" y="2766"/>
                    </a:lnTo>
                    <a:lnTo>
                      <a:pt x="2979" y="2735"/>
                    </a:lnTo>
                    <a:lnTo>
                      <a:pt x="2963" y="2692"/>
                    </a:lnTo>
                    <a:lnTo>
                      <a:pt x="2975" y="2682"/>
                    </a:lnTo>
                    <a:lnTo>
                      <a:pt x="2992" y="2725"/>
                    </a:lnTo>
                    <a:lnTo>
                      <a:pt x="3069" y="2658"/>
                    </a:lnTo>
                    <a:lnTo>
                      <a:pt x="3136" y="2662"/>
                    </a:lnTo>
                    <a:lnTo>
                      <a:pt x="3220" y="2682"/>
                    </a:lnTo>
                    <a:lnTo>
                      <a:pt x="3289" y="2672"/>
                    </a:lnTo>
                    <a:lnTo>
                      <a:pt x="3322" y="2664"/>
                    </a:lnTo>
                    <a:lnTo>
                      <a:pt x="3305" y="2637"/>
                    </a:lnTo>
                    <a:lnTo>
                      <a:pt x="3334" y="2641"/>
                    </a:lnTo>
                    <a:lnTo>
                      <a:pt x="3356" y="2664"/>
                    </a:lnTo>
                    <a:lnTo>
                      <a:pt x="3356" y="2684"/>
                    </a:lnTo>
                    <a:lnTo>
                      <a:pt x="3417" y="2688"/>
                    </a:lnTo>
                    <a:lnTo>
                      <a:pt x="3450" y="2692"/>
                    </a:lnTo>
                    <a:lnTo>
                      <a:pt x="3462" y="2678"/>
                    </a:lnTo>
                    <a:lnTo>
                      <a:pt x="3489" y="2702"/>
                    </a:lnTo>
                    <a:lnTo>
                      <a:pt x="3513" y="2708"/>
                    </a:lnTo>
                    <a:lnTo>
                      <a:pt x="3539" y="2702"/>
                    </a:lnTo>
                    <a:lnTo>
                      <a:pt x="3519" y="2664"/>
                    </a:lnTo>
                    <a:lnTo>
                      <a:pt x="3548" y="2664"/>
                    </a:lnTo>
                    <a:lnTo>
                      <a:pt x="3568" y="2674"/>
                    </a:lnTo>
                    <a:lnTo>
                      <a:pt x="3596" y="2694"/>
                    </a:lnTo>
                    <a:lnTo>
                      <a:pt x="3613" y="2688"/>
                    </a:lnTo>
                    <a:lnTo>
                      <a:pt x="3633" y="2668"/>
                    </a:lnTo>
                    <a:lnTo>
                      <a:pt x="3621" y="2641"/>
                    </a:lnTo>
                    <a:lnTo>
                      <a:pt x="3592" y="2631"/>
                    </a:lnTo>
                    <a:lnTo>
                      <a:pt x="3574" y="2617"/>
                    </a:lnTo>
                    <a:lnTo>
                      <a:pt x="3588" y="2590"/>
                    </a:lnTo>
                    <a:lnTo>
                      <a:pt x="3588" y="2560"/>
                    </a:lnTo>
                    <a:lnTo>
                      <a:pt x="3558" y="2560"/>
                    </a:lnTo>
                    <a:lnTo>
                      <a:pt x="3533" y="2590"/>
                    </a:lnTo>
                    <a:lnTo>
                      <a:pt x="3529" y="2550"/>
                    </a:lnTo>
                    <a:lnTo>
                      <a:pt x="3495" y="2570"/>
                    </a:lnTo>
                    <a:lnTo>
                      <a:pt x="3462" y="2582"/>
                    </a:lnTo>
                    <a:lnTo>
                      <a:pt x="3454" y="2564"/>
                    </a:lnTo>
                    <a:lnTo>
                      <a:pt x="3476" y="2531"/>
                    </a:lnTo>
                    <a:lnTo>
                      <a:pt x="3568" y="2548"/>
                    </a:lnTo>
                    <a:lnTo>
                      <a:pt x="3588" y="2515"/>
                    </a:lnTo>
                    <a:lnTo>
                      <a:pt x="3631" y="2503"/>
                    </a:lnTo>
                    <a:lnTo>
                      <a:pt x="3684" y="2515"/>
                    </a:lnTo>
                    <a:lnTo>
                      <a:pt x="3702" y="2503"/>
                    </a:lnTo>
                    <a:lnTo>
                      <a:pt x="3702" y="2462"/>
                    </a:lnTo>
                    <a:lnTo>
                      <a:pt x="3725" y="2513"/>
                    </a:lnTo>
                    <a:lnTo>
                      <a:pt x="3735" y="2531"/>
                    </a:lnTo>
                    <a:lnTo>
                      <a:pt x="3774" y="2513"/>
                    </a:lnTo>
                    <a:lnTo>
                      <a:pt x="3804" y="2478"/>
                    </a:lnTo>
                    <a:lnTo>
                      <a:pt x="3818" y="2499"/>
                    </a:lnTo>
                    <a:lnTo>
                      <a:pt x="3843" y="2505"/>
                    </a:lnTo>
                    <a:lnTo>
                      <a:pt x="3886" y="2491"/>
                    </a:lnTo>
                    <a:lnTo>
                      <a:pt x="3967" y="2478"/>
                    </a:lnTo>
                    <a:lnTo>
                      <a:pt x="3989" y="2493"/>
                    </a:lnTo>
                    <a:lnTo>
                      <a:pt x="4008" y="2519"/>
                    </a:lnTo>
                    <a:lnTo>
                      <a:pt x="4044" y="2525"/>
                    </a:lnTo>
                    <a:lnTo>
                      <a:pt x="4077" y="2529"/>
                    </a:lnTo>
                    <a:lnTo>
                      <a:pt x="4114" y="2513"/>
                    </a:lnTo>
                    <a:lnTo>
                      <a:pt x="4142" y="2487"/>
                    </a:lnTo>
                    <a:lnTo>
                      <a:pt x="4165" y="2480"/>
                    </a:lnTo>
                    <a:lnTo>
                      <a:pt x="4181" y="2491"/>
                    </a:lnTo>
                    <a:lnTo>
                      <a:pt x="4201" y="2513"/>
                    </a:lnTo>
                    <a:lnTo>
                      <a:pt x="4232" y="2543"/>
                    </a:lnTo>
                    <a:lnTo>
                      <a:pt x="4262" y="2548"/>
                    </a:lnTo>
                    <a:lnTo>
                      <a:pt x="4289" y="2554"/>
                    </a:lnTo>
                    <a:lnTo>
                      <a:pt x="4315" y="2580"/>
                    </a:lnTo>
                    <a:lnTo>
                      <a:pt x="4336" y="2611"/>
                    </a:lnTo>
                    <a:lnTo>
                      <a:pt x="4354" y="2631"/>
                    </a:lnTo>
                    <a:lnTo>
                      <a:pt x="4344" y="2674"/>
                    </a:lnTo>
                    <a:lnTo>
                      <a:pt x="4348" y="2710"/>
                    </a:lnTo>
                    <a:lnTo>
                      <a:pt x="4348" y="2735"/>
                    </a:lnTo>
                    <a:lnTo>
                      <a:pt x="4358" y="2755"/>
                    </a:lnTo>
                    <a:lnTo>
                      <a:pt x="4372" y="2759"/>
                    </a:lnTo>
                    <a:lnTo>
                      <a:pt x="4378" y="2719"/>
                    </a:lnTo>
                    <a:lnTo>
                      <a:pt x="4397" y="2743"/>
                    </a:lnTo>
                    <a:lnTo>
                      <a:pt x="4383" y="2770"/>
                    </a:lnTo>
                    <a:lnTo>
                      <a:pt x="4378" y="2794"/>
                    </a:lnTo>
                    <a:lnTo>
                      <a:pt x="4395" y="2806"/>
                    </a:lnTo>
                    <a:lnTo>
                      <a:pt x="4431" y="2841"/>
                    </a:lnTo>
                    <a:lnTo>
                      <a:pt x="4456" y="2847"/>
                    </a:lnTo>
                    <a:lnTo>
                      <a:pt x="4472" y="2888"/>
                    </a:lnTo>
                    <a:lnTo>
                      <a:pt x="4490" y="2896"/>
                    </a:lnTo>
                    <a:lnTo>
                      <a:pt x="4515" y="2943"/>
                    </a:lnTo>
                    <a:lnTo>
                      <a:pt x="4549" y="2959"/>
                    </a:lnTo>
                    <a:lnTo>
                      <a:pt x="4582" y="2971"/>
                    </a:lnTo>
                    <a:lnTo>
                      <a:pt x="4604" y="3006"/>
                    </a:lnTo>
                    <a:lnTo>
                      <a:pt x="4649" y="3000"/>
                    </a:lnTo>
                    <a:lnTo>
                      <a:pt x="4716" y="2985"/>
                    </a:lnTo>
                    <a:lnTo>
                      <a:pt x="4731" y="2916"/>
                    </a:lnTo>
                    <a:lnTo>
                      <a:pt x="4721" y="2873"/>
                    </a:lnTo>
                    <a:lnTo>
                      <a:pt x="4721" y="2796"/>
                    </a:lnTo>
                    <a:lnTo>
                      <a:pt x="4706" y="2772"/>
                    </a:lnTo>
                    <a:lnTo>
                      <a:pt x="4672" y="2735"/>
                    </a:lnTo>
                    <a:lnTo>
                      <a:pt x="4643" y="2694"/>
                    </a:lnTo>
                    <a:lnTo>
                      <a:pt x="4619" y="2643"/>
                    </a:lnTo>
                    <a:lnTo>
                      <a:pt x="4594" y="2582"/>
                    </a:lnTo>
                    <a:lnTo>
                      <a:pt x="4554" y="2529"/>
                    </a:lnTo>
                    <a:lnTo>
                      <a:pt x="4521" y="2487"/>
                    </a:lnTo>
                    <a:lnTo>
                      <a:pt x="4486" y="2432"/>
                    </a:lnTo>
                    <a:lnTo>
                      <a:pt x="4456" y="2385"/>
                    </a:lnTo>
                    <a:lnTo>
                      <a:pt x="4446" y="2344"/>
                    </a:lnTo>
                    <a:lnTo>
                      <a:pt x="4442" y="2311"/>
                    </a:lnTo>
                    <a:lnTo>
                      <a:pt x="4450" y="2287"/>
                    </a:lnTo>
                    <a:lnTo>
                      <a:pt x="4456" y="2277"/>
                    </a:lnTo>
                    <a:lnTo>
                      <a:pt x="4456" y="2210"/>
                    </a:lnTo>
                    <a:lnTo>
                      <a:pt x="4492" y="2150"/>
                    </a:lnTo>
                    <a:lnTo>
                      <a:pt x="4486" y="2110"/>
                    </a:lnTo>
                    <a:lnTo>
                      <a:pt x="4543" y="2098"/>
                    </a:lnTo>
                    <a:lnTo>
                      <a:pt x="4611" y="2032"/>
                    </a:lnTo>
                    <a:lnTo>
                      <a:pt x="4647" y="1924"/>
                    </a:lnTo>
                    <a:lnTo>
                      <a:pt x="4735" y="1888"/>
                    </a:lnTo>
                    <a:lnTo>
                      <a:pt x="4790" y="1790"/>
                    </a:lnTo>
                    <a:lnTo>
                      <a:pt x="4877" y="1757"/>
                    </a:lnTo>
                    <a:lnTo>
                      <a:pt x="4918" y="1682"/>
                    </a:lnTo>
                    <a:lnTo>
                      <a:pt x="4918" y="1627"/>
                    </a:lnTo>
                    <a:lnTo>
                      <a:pt x="4922" y="1580"/>
                    </a:lnTo>
                    <a:lnTo>
                      <a:pt x="4898" y="1584"/>
                    </a:lnTo>
                    <a:lnTo>
                      <a:pt x="4898" y="1658"/>
                    </a:lnTo>
                    <a:lnTo>
                      <a:pt x="4847" y="1719"/>
                    </a:lnTo>
                    <a:lnTo>
                      <a:pt x="4774" y="1733"/>
                    </a:lnTo>
                    <a:lnTo>
                      <a:pt x="4847" y="1698"/>
                    </a:lnTo>
                    <a:lnTo>
                      <a:pt x="4804" y="1682"/>
                    </a:lnTo>
                    <a:lnTo>
                      <a:pt x="4847" y="1672"/>
                    </a:lnTo>
                    <a:lnTo>
                      <a:pt x="4869" y="1674"/>
                    </a:lnTo>
                    <a:lnTo>
                      <a:pt x="4883" y="1631"/>
                    </a:lnTo>
                    <a:lnTo>
                      <a:pt x="4879" y="1590"/>
                    </a:lnTo>
                    <a:lnTo>
                      <a:pt x="4839" y="1590"/>
                    </a:lnTo>
                    <a:lnTo>
                      <a:pt x="4784" y="1607"/>
                    </a:lnTo>
                    <a:lnTo>
                      <a:pt x="4784" y="1570"/>
                    </a:lnTo>
                    <a:lnTo>
                      <a:pt x="4818" y="1586"/>
                    </a:lnTo>
                    <a:lnTo>
                      <a:pt x="4865" y="1562"/>
                    </a:lnTo>
                    <a:lnTo>
                      <a:pt x="4873" y="1540"/>
                    </a:lnTo>
                    <a:lnTo>
                      <a:pt x="4839" y="1529"/>
                    </a:lnTo>
                    <a:lnTo>
                      <a:pt x="4843" y="1484"/>
                    </a:lnTo>
                    <a:lnTo>
                      <a:pt x="4804" y="1464"/>
                    </a:lnTo>
                    <a:lnTo>
                      <a:pt x="4790" y="1482"/>
                    </a:lnTo>
                    <a:lnTo>
                      <a:pt x="4776" y="1448"/>
                    </a:lnTo>
                    <a:lnTo>
                      <a:pt x="4784" y="1411"/>
                    </a:lnTo>
                    <a:lnTo>
                      <a:pt x="4790" y="1372"/>
                    </a:lnTo>
                    <a:lnTo>
                      <a:pt x="4721" y="1346"/>
                    </a:lnTo>
                    <a:lnTo>
                      <a:pt x="4741" y="1338"/>
                    </a:lnTo>
                    <a:lnTo>
                      <a:pt x="4721" y="1258"/>
                    </a:lnTo>
                    <a:lnTo>
                      <a:pt x="4721" y="1208"/>
                    </a:lnTo>
                    <a:lnTo>
                      <a:pt x="4735" y="1197"/>
                    </a:lnTo>
                    <a:lnTo>
                      <a:pt x="4735" y="1263"/>
                    </a:lnTo>
                    <a:lnTo>
                      <a:pt x="4761" y="1309"/>
                    </a:lnTo>
                    <a:lnTo>
                      <a:pt x="4800" y="1354"/>
                    </a:lnTo>
                    <a:lnTo>
                      <a:pt x="4800" y="1436"/>
                    </a:lnTo>
                    <a:lnTo>
                      <a:pt x="4843" y="1442"/>
                    </a:lnTo>
                    <a:lnTo>
                      <a:pt x="4877" y="1360"/>
                    </a:lnTo>
                    <a:lnTo>
                      <a:pt x="4877" y="1238"/>
                    </a:lnTo>
                    <a:lnTo>
                      <a:pt x="4830" y="1206"/>
                    </a:lnTo>
                    <a:lnTo>
                      <a:pt x="4833" y="1181"/>
                    </a:lnTo>
                    <a:lnTo>
                      <a:pt x="4888" y="1206"/>
                    </a:lnTo>
                    <a:lnTo>
                      <a:pt x="4914" y="1146"/>
                    </a:lnTo>
                    <a:lnTo>
                      <a:pt x="4918" y="1094"/>
                    </a:lnTo>
                    <a:lnTo>
                      <a:pt x="4918" y="1006"/>
                    </a:lnTo>
                    <a:lnTo>
                      <a:pt x="4892" y="979"/>
                    </a:lnTo>
                    <a:lnTo>
                      <a:pt x="4906" y="955"/>
                    </a:lnTo>
                    <a:lnTo>
                      <a:pt x="4924" y="979"/>
                    </a:lnTo>
                    <a:lnTo>
                      <a:pt x="5032" y="924"/>
                    </a:lnTo>
                    <a:lnTo>
                      <a:pt x="5112" y="863"/>
                    </a:lnTo>
                    <a:lnTo>
                      <a:pt x="5054" y="857"/>
                    </a:lnTo>
                    <a:lnTo>
                      <a:pt x="4971" y="904"/>
                    </a:lnTo>
                    <a:lnTo>
                      <a:pt x="4918" y="924"/>
                    </a:lnTo>
                    <a:lnTo>
                      <a:pt x="4953" y="878"/>
                    </a:lnTo>
                    <a:lnTo>
                      <a:pt x="4991" y="857"/>
                    </a:lnTo>
                    <a:lnTo>
                      <a:pt x="5012" y="865"/>
                    </a:lnTo>
                    <a:lnTo>
                      <a:pt x="5071" y="835"/>
                    </a:lnTo>
                    <a:lnTo>
                      <a:pt x="5085" y="806"/>
                    </a:lnTo>
                    <a:lnTo>
                      <a:pt x="5101" y="806"/>
                    </a:lnTo>
                    <a:lnTo>
                      <a:pt x="5124" y="790"/>
                    </a:lnTo>
                    <a:lnTo>
                      <a:pt x="5152" y="760"/>
                    </a:lnTo>
                    <a:lnTo>
                      <a:pt x="5197" y="776"/>
                    </a:lnTo>
                    <a:lnTo>
                      <a:pt x="5219" y="757"/>
                    </a:lnTo>
                    <a:lnTo>
                      <a:pt x="5240" y="729"/>
                    </a:lnTo>
                    <a:lnTo>
                      <a:pt x="5219" y="692"/>
                    </a:lnTo>
                    <a:lnTo>
                      <a:pt x="5189" y="668"/>
                    </a:lnTo>
                    <a:lnTo>
                      <a:pt x="5173" y="664"/>
                    </a:lnTo>
                    <a:lnTo>
                      <a:pt x="5154" y="678"/>
                    </a:lnTo>
                    <a:lnTo>
                      <a:pt x="5173" y="705"/>
                    </a:lnTo>
                    <a:lnTo>
                      <a:pt x="5183" y="725"/>
                    </a:lnTo>
                    <a:lnTo>
                      <a:pt x="5160" y="725"/>
                    </a:lnTo>
                    <a:lnTo>
                      <a:pt x="5130" y="688"/>
                    </a:lnTo>
                    <a:lnTo>
                      <a:pt x="5105" y="694"/>
                    </a:lnTo>
                    <a:lnTo>
                      <a:pt x="5112" y="668"/>
                    </a:lnTo>
                    <a:lnTo>
                      <a:pt x="5124" y="641"/>
                    </a:lnTo>
                    <a:lnTo>
                      <a:pt x="5099" y="637"/>
                    </a:lnTo>
                    <a:lnTo>
                      <a:pt x="5118" y="580"/>
                    </a:lnTo>
                    <a:lnTo>
                      <a:pt x="5112" y="546"/>
                    </a:lnTo>
                    <a:lnTo>
                      <a:pt x="5142" y="523"/>
                    </a:lnTo>
                    <a:lnTo>
                      <a:pt x="5124" y="487"/>
                    </a:lnTo>
                    <a:lnTo>
                      <a:pt x="5152" y="472"/>
                    </a:lnTo>
                    <a:lnTo>
                      <a:pt x="5181" y="448"/>
                    </a:lnTo>
                    <a:lnTo>
                      <a:pt x="5211" y="438"/>
                    </a:lnTo>
                    <a:lnTo>
                      <a:pt x="5219" y="381"/>
                    </a:lnTo>
                    <a:lnTo>
                      <a:pt x="5248" y="381"/>
                    </a:lnTo>
                    <a:lnTo>
                      <a:pt x="5289" y="356"/>
                    </a:lnTo>
                    <a:lnTo>
                      <a:pt x="5311" y="328"/>
                    </a:lnTo>
                    <a:lnTo>
                      <a:pt x="5344" y="301"/>
                    </a:lnTo>
                    <a:lnTo>
                      <a:pt x="5340" y="263"/>
                    </a:lnTo>
                    <a:lnTo>
                      <a:pt x="5295" y="244"/>
                    </a:lnTo>
                    <a:lnTo>
                      <a:pt x="5266" y="206"/>
                    </a:lnTo>
                    <a:lnTo>
                      <a:pt x="5217" y="206"/>
                    </a:lnTo>
                    <a:lnTo>
                      <a:pt x="5193" y="165"/>
                    </a:lnTo>
                    <a:lnTo>
                      <a:pt x="5187" y="118"/>
                    </a:lnTo>
                    <a:lnTo>
                      <a:pt x="5173" y="73"/>
                    </a:lnTo>
                    <a:lnTo>
                      <a:pt x="5152" y="20"/>
                    </a:lnTo>
                    <a:close/>
                  </a:path>
                </a:pathLst>
              </a:custGeom>
              <a:solidFill>
                <a:srgbClr val="D0D0D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cs-CZ"/>
              </a:p>
            </p:txBody>
          </p:sp>
          <p:sp>
            <p:nvSpPr>
              <p:cNvPr id="603" name="Freeform 570"/>
              <p:cNvSpPr>
                <a:spLocks/>
              </p:cNvSpPr>
              <p:nvPr/>
            </p:nvSpPr>
            <p:spPr bwMode="auto">
              <a:xfrm>
                <a:off x="-1832" y="1245"/>
                <a:ext cx="2672" cy="1569"/>
              </a:xfrm>
              <a:custGeom>
                <a:avLst/>
                <a:gdLst>
                  <a:gd name="T0" fmla="*/ 4971 w 5344"/>
                  <a:gd name="T1" fmla="*/ 124 h 3140"/>
                  <a:gd name="T2" fmla="*/ 4830 w 5344"/>
                  <a:gd name="T3" fmla="*/ 407 h 3140"/>
                  <a:gd name="T4" fmla="*/ 4529 w 5344"/>
                  <a:gd name="T5" fmla="*/ 668 h 3140"/>
                  <a:gd name="T6" fmla="*/ 4266 w 5344"/>
                  <a:gd name="T7" fmla="*/ 900 h 3140"/>
                  <a:gd name="T8" fmla="*/ 3985 w 5344"/>
                  <a:gd name="T9" fmla="*/ 935 h 3140"/>
                  <a:gd name="T10" fmla="*/ 3886 w 5344"/>
                  <a:gd name="T11" fmla="*/ 796 h 3140"/>
                  <a:gd name="T12" fmla="*/ 3774 w 5344"/>
                  <a:gd name="T13" fmla="*/ 540 h 3140"/>
                  <a:gd name="T14" fmla="*/ 3625 w 5344"/>
                  <a:gd name="T15" fmla="*/ 729 h 3140"/>
                  <a:gd name="T16" fmla="*/ 3550 w 5344"/>
                  <a:gd name="T17" fmla="*/ 1077 h 3140"/>
                  <a:gd name="T18" fmla="*/ 3544 w 5344"/>
                  <a:gd name="T19" fmla="*/ 652 h 3140"/>
                  <a:gd name="T20" fmla="*/ 3519 w 5344"/>
                  <a:gd name="T21" fmla="*/ 546 h 3140"/>
                  <a:gd name="T22" fmla="*/ 3774 w 5344"/>
                  <a:gd name="T23" fmla="*/ 519 h 3140"/>
                  <a:gd name="T24" fmla="*/ 3633 w 5344"/>
                  <a:gd name="T25" fmla="*/ 426 h 3140"/>
                  <a:gd name="T26" fmla="*/ 3368 w 5344"/>
                  <a:gd name="T27" fmla="*/ 395 h 3140"/>
                  <a:gd name="T28" fmla="*/ 3142 w 5344"/>
                  <a:gd name="T29" fmla="*/ 497 h 3140"/>
                  <a:gd name="T30" fmla="*/ 3010 w 5344"/>
                  <a:gd name="T31" fmla="*/ 334 h 3140"/>
                  <a:gd name="T32" fmla="*/ 1430 w 5344"/>
                  <a:gd name="T33" fmla="*/ 208 h 3140"/>
                  <a:gd name="T34" fmla="*/ 407 w 5344"/>
                  <a:gd name="T35" fmla="*/ 73 h 3140"/>
                  <a:gd name="T36" fmla="*/ 385 w 5344"/>
                  <a:gd name="T37" fmla="*/ 267 h 3140"/>
                  <a:gd name="T38" fmla="*/ 330 w 5344"/>
                  <a:gd name="T39" fmla="*/ 144 h 3140"/>
                  <a:gd name="T40" fmla="*/ 247 w 5344"/>
                  <a:gd name="T41" fmla="*/ 293 h 3140"/>
                  <a:gd name="T42" fmla="*/ 139 w 5344"/>
                  <a:gd name="T43" fmla="*/ 649 h 3140"/>
                  <a:gd name="T44" fmla="*/ 25 w 5344"/>
                  <a:gd name="T45" fmla="*/ 1222 h 3140"/>
                  <a:gd name="T46" fmla="*/ 128 w 5344"/>
                  <a:gd name="T47" fmla="*/ 1446 h 3140"/>
                  <a:gd name="T48" fmla="*/ 167 w 5344"/>
                  <a:gd name="T49" fmla="*/ 1682 h 3140"/>
                  <a:gd name="T50" fmla="*/ 242 w 5344"/>
                  <a:gd name="T51" fmla="*/ 1886 h 3140"/>
                  <a:gd name="T52" fmla="*/ 409 w 5344"/>
                  <a:gd name="T53" fmla="*/ 2022 h 3140"/>
                  <a:gd name="T54" fmla="*/ 625 w 5344"/>
                  <a:gd name="T55" fmla="*/ 2177 h 3140"/>
                  <a:gd name="T56" fmla="*/ 1008 w 5344"/>
                  <a:gd name="T57" fmla="*/ 2360 h 3140"/>
                  <a:gd name="T58" fmla="*/ 1487 w 5344"/>
                  <a:gd name="T59" fmla="*/ 2429 h 3140"/>
                  <a:gd name="T60" fmla="*/ 1874 w 5344"/>
                  <a:gd name="T61" fmla="*/ 2688 h 3140"/>
                  <a:gd name="T62" fmla="*/ 2195 w 5344"/>
                  <a:gd name="T63" fmla="*/ 2698 h 3140"/>
                  <a:gd name="T64" fmla="*/ 2421 w 5344"/>
                  <a:gd name="T65" fmla="*/ 2985 h 3140"/>
                  <a:gd name="T66" fmla="*/ 2735 w 5344"/>
                  <a:gd name="T67" fmla="*/ 3089 h 3140"/>
                  <a:gd name="T68" fmla="*/ 2827 w 5344"/>
                  <a:gd name="T69" fmla="*/ 2833 h 3140"/>
                  <a:gd name="T70" fmla="*/ 3220 w 5344"/>
                  <a:gd name="T71" fmla="*/ 2682 h 3140"/>
                  <a:gd name="T72" fmla="*/ 3462 w 5344"/>
                  <a:gd name="T73" fmla="*/ 2678 h 3140"/>
                  <a:gd name="T74" fmla="*/ 3633 w 5344"/>
                  <a:gd name="T75" fmla="*/ 2668 h 3140"/>
                  <a:gd name="T76" fmla="*/ 3495 w 5344"/>
                  <a:gd name="T77" fmla="*/ 2570 h 3140"/>
                  <a:gd name="T78" fmla="*/ 3702 w 5344"/>
                  <a:gd name="T79" fmla="*/ 2462 h 3140"/>
                  <a:gd name="T80" fmla="*/ 3989 w 5344"/>
                  <a:gd name="T81" fmla="*/ 2493 h 3140"/>
                  <a:gd name="T82" fmla="*/ 4232 w 5344"/>
                  <a:gd name="T83" fmla="*/ 2543 h 3140"/>
                  <a:gd name="T84" fmla="*/ 4358 w 5344"/>
                  <a:gd name="T85" fmla="*/ 2755 h 3140"/>
                  <a:gd name="T86" fmla="*/ 4472 w 5344"/>
                  <a:gd name="T87" fmla="*/ 2888 h 3140"/>
                  <a:gd name="T88" fmla="*/ 4721 w 5344"/>
                  <a:gd name="T89" fmla="*/ 2873 h 3140"/>
                  <a:gd name="T90" fmla="*/ 4486 w 5344"/>
                  <a:gd name="T91" fmla="*/ 2432 h 3140"/>
                  <a:gd name="T92" fmla="*/ 4543 w 5344"/>
                  <a:gd name="T93" fmla="*/ 2098 h 3140"/>
                  <a:gd name="T94" fmla="*/ 4898 w 5344"/>
                  <a:gd name="T95" fmla="*/ 1584 h 3140"/>
                  <a:gd name="T96" fmla="*/ 4879 w 5344"/>
                  <a:gd name="T97" fmla="*/ 1590 h 3140"/>
                  <a:gd name="T98" fmla="*/ 4804 w 5344"/>
                  <a:gd name="T99" fmla="*/ 1464 h 3140"/>
                  <a:gd name="T100" fmla="*/ 4735 w 5344"/>
                  <a:gd name="T101" fmla="*/ 1197 h 3140"/>
                  <a:gd name="T102" fmla="*/ 4833 w 5344"/>
                  <a:gd name="T103" fmla="*/ 1181 h 3140"/>
                  <a:gd name="T104" fmla="*/ 5112 w 5344"/>
                  <a:gd name="T105" fmla="*/ 863 h 3140"/>
                  <a:gd name="T106" fmla="*/ 5101 w 5344"/>
                  <a:gd name="T107" fmla="*/ 806 h 3140"/>
                  <a:gd name="T108" fmla="*/ 5154 w 5344"/>
                  <a:gd name="T109" fmla="*/ 678 h 3140"/>
                  <a:gd name="T110" fmla="*/ 5118 w 5344"/>
                  <a:gd name="T111" fmla="*/ 580 h 3140"/>
                  <a:gd name="T112" fmla="*/ 5289 w 5344"/>
                  <a:gd name="T113" fmla="*/ 356 h 3140"/>
                  <a:gd name="T114" fmla="*/ 5173 w 5344"/>
                  <a:gd name="T115" fmla="*/ 73 h 3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44" h="3140">
                    <a:moveTo>
                      <a:pt x="5152" y="20"/>
                    </a:moveTo>
                    <a:lnTo>
                      <a:pt x="5124" y="0"/>
                    </a:lnTo>
                    <a:lnTo>
                      <a:pt x="5095" y="0"/>
                    </a:lnTo>
                    <a:lnTo>
                      <a:pt x="5075" y="0"/>
                    </a:lnTo>
                    <a:lnTo>
                      <a:pt x="5063" y="26"/>
                    </a:lnTo>
                    <a:lnTo>
                      <a:pt x="5040" y="20"/>
                    </a:lnTo>
                    <a:lnTo>
                      <a:pt x="5020" y="26"/>
                    </a:lnTo>
                    <a:lnTo>
                      <a:pt x="5010" y="53"/>
                    </a:lnTo>
                    <a:lnTo>
                      <a:pt x="4971" y="124"/>
                    </a:lnTo>
                    <a:lnTo>
                      <a:pt x="4991" y="169"/>
                    </a:lnTo>
                    <a:lnTo>
                      <a:pt x="4973" y="220"/>
                    </a:lnTo>
                    <a:lnTo>
                      <a:pt x="4987" y="242"/>
                    </a:lnTo>
                    <a:lnTo>
                      <a:pt x="4983" y="283"/>
                    </a:lnTo>
                    <a:lnTo>
                      <a:pt x="4977" y="322"/>
                    </a:lnTo>
                    <a:lnTo>
                      <a:pt x="4953" y="328"/>
                    </a:lnTo>
                    <a:lnTo>
                      <a:pt x="4936" y="305"/>
                    </a:lnTo>
                    <a:lnTo>
                      <a:pt x="4898" y="389"/>
                    </a:lnTo>
                    <a:lnTo>
                      <a:pt x="4830" y="407"/>
                    </a:lnTo>
                    <a:lnTo>
                      <a:pt x="4737" y="432"/>
                    </a:lnTo>
                    <a:lnTo>
                      <a:pt x="4672" y="448"/>
                    </a:lnTo>
                    <a:lnTo>
                      <a:pt x="4619" y="493"/>
                    </a:lnTo>
                    <a:lnTo>
                      <a:pt x="4584" y="540"/>
                    </a:lnTo>
                    <a:lnTo>
                      <a:pt x="4554" y="540"/>
                    </a:lnTo>
                    <a:lnTo>
                      <a:pt x="4521" y="595"/>
                    </a:lnTo>
                    <a:lnTo>
                      <a:pt x="4535" y="611"/>
                    </a:lnTo>
                    <a:lnTo>
                      <a:pt x="4545" y="652"/>
                    </a:lnTo>
                    <a:lnTo>
                      <a:pt x="4529" y="668"/>
                    </a:lnTo>
                    <a:lnTo>
                      <a:pt x="4505" y="700"/>
                    </a:lnTo>
                    <a:lnTo>
                      <a:pt x="4480" y="705"/>
                    </a:lnTo>
                    <a:lnTo>
                      <a:pt x="4470" y="729"/>
                    </a:lnTo>
                    <a:lnTo>
                      <a:pt x="4427" y="735"/>
                    </a:lnTo>
                    <a:lnTo>
                      <a:pt x="4366" y="735"/>
                    </a:lnTo>
                    <a:lnTo>
                      <a:pt x="4315" y="764"/>
                    </a:lnTo>
                    <a:lnTo>
                      <a:pt x="4321" y="812"/>
                    </a:lnTo>
                    <a:lnTo>
                      <a:pt x="4307" y="849"/>
                    </a:lnTo>
                    <a:lnTo>
                      <a:pt x="4266" y="900"/>
                    </a:lnTo>
                    <a:lnTo>
                      <a:pt x="4215" y="949"/>
                    </a:lnTo>
                    <a:lnTo>
                      <a:pt x="4165" y="967"/>
                    </a:lnTo>
                    <a:lnTo>
                      <a:pt x="4148" y="1006"/>
                    </a:lnTo>
                    <a:lnTo>
                      <a:pt x="4044" y="1047"/>
                    </a:lnTo>
                    <a:lnTo>
                      <a:pt x="3989" y="1036"/>
                    </a:lnTo>
                    <a:lnTo>
                      <a:pt x="3975" y="1022"/>
                    </a:lnTo>
                    <a:lnTo>
                      <a:pt x="4000" y="996"/>
                    </a:lnTo>
                    <a:lnTo>
                      <a:pt x="4004" y="965"/>
                    </a:lnTo>
                    <a:lnTo>
                      <a:pt x="3985" y="935"/>
                    </a:lnTo>
                    <a:lnTo>
                      <a:pt x="4008" y="920"/>
                    </a:lnTo>
                    <a:lnTo>
                      <a:pt x="4038" y="927"/>
                    </a:lnTo>
                    <a:lnTo>
                      <a:pt x="4030" y="865"/>
                    </a:lnTo>
                    <a:lnTo>
                      <a:pt x="4024" y="814"/>
                    </a:lnTo>
                    <a:lnTo>
                      <a:pt x="4008" y="770"/>
                    </a:lnTo>
                    <a:lnTo>
                      <a:pt x="3981" y="749"/>
                    </a:lnTo>
                    <a:lnTo>
                      <a:pt x="3941" y="735"/>
                    </a:lnTo>
                    <a:lnTo>
                      <a:pt x="3912" y="757"/>
                    </a:lnTo>
                    <a:lnTo>
                      <a:pt x="3886" y="796"/>
                    </a:lnTo>
                    <a:lnTo>
                      <a:pt x="3853" y="786"/>
                    </a:lnTo>
                    <a:lnTo>
                      <a:pt x="3867" y="766"/>
                    </a:lnTo>
                    <a:lnTo>
                      <a:pt x="3879" y="757"/>
                    </a:lnTo>
                    <a:lnTo>
                      <a:pt x="3898" y="745"/>
                    </a:lnTo>
                    <a:lnTo>
                      <a:pt x="3928" y="713"/>
                    </a:lnTo>
                    <a:lnTo>
                      <a:pt x="3906" y="649"/>
                    </a:lnTo>
                    <a:lnTo>
                      <a:pt x="3898" y="595"/>
                    </a:lnTo>
                    <a:lnTo>
                      <a:pt x="3853" y="590"/>
                    </a:lnTo>
                    <a:lnTo>
                      <a:pt x="3774" y="540"/>
                    </a:lnTo>
                    <a:lnTo>
                      <a:pt x="3725" y="560"/>
                    </a:lnTo>
                    <a:lnTo>
                      <a:pt x="3719" y="584"/>
                    </a:lnTo>
                    <a:lnTo>
                      <a:pt x="3727" y="601"/>
                    </a:lnTo>
                    <a:lnTo>
                      <a:pt x="3706" y="611"/>
                    </a:lnTo>
                    <a:lnTo>
                      <a:pt x="3702" y="649"/>
                    </a:lnTo>
                    <a:lnTo>
                      <a:pt x="3684" y="649"/>
                    </a:lnTo>
                    <a:lnTo>
                      <a:pt x="3647" y="682"/>
                    </a:lnTo>
                    <a:lnTo>
                      <a:pt x="3633" y="704"/>
                    </a:lnTo>
                    <a:lnTo>
                      <a:pt x="3625" y="729"/>
                    </a:lnTo>
                    <a:lnTo>
                      <a:pt x="3625" y="790"/>
                    </a:lnTo>
                    <a:lnTo>
                      <a:pt x="3617" y="853"/>
                    </a:lnTo>
                    <a:lnTo>
                      <a:pt x="3633" y="892"/>
                    </a:lnTo>
                    <a:lnTo>
                      <a:pt x="3656" y="955"/>
                    </a:lnTo>
                    <a:lnTo>
                      <a:pt x="3656" y="1032"/>
                    </a:lnTo>
                    <a:lnTo>
                      <a:pt x="3633" y="1114"/>
                    </a:lnTo>
                    <a:lnTo>
                      <a:pt x="3598" y="1120"/>
                    </a:lnTo>
                    <a:lnTo>
                      <a:pt x="3572" y="1108"/>
                    </a:lnTo>
                    <a:lnTo>
                      <a:pt x="3550" y="1077"/>
                    </a:lnTo>
                    <a:lnTo>
                      <a:pt x="3525" y="1032"/>
                    </a:lnTo>
                    <a:lnTo>
                      <a:pt x="3533" y="971"/>
                    </a:lnTo>
                    <a:lnTo>
                      <a:pt x="3533" y="929"/>
                    </a:lnTo>
                    <a:lnTo>
                      <a:pt x="3513" y="894"/>
                    </a:lnTo>
                    <a:lnTo>
                      <a:pt x="3515" y="817"/>
                    </a:lnTo>
                    <a:lnTo>
                      <a:pt x="3525" y="760"/>
                    </a:lnTo>
                    <a:lnTo>
                      <a:pt x="3529" y="729"/>
                    </a:lnTo>
                    <a:lnTo>
                      <a:pt x="3568" y="678"/>
                    </a:lnTo>
                    <a:lnTo>
                      <a:pt x="3544" y="652"/>
                    </a:lnTo>
                    <a:lnTo>
                      <a:pt x="3525" y="664"/>
                    </a:lnTo>
                    <a:lnTo>
                      <a:pt x="3513" y="694"/>
                    </a:lnTo>
                    <a:lnTo>
                      <a:pt x="3470" y="739"/>
                    </a:lnTo>
                    <a:lnTo>
                      <a:pt x="3495" y="700"/>
                    </a:lnTo>
                    <a:lnTo>
                      <a:pt x="3495" y="676"/>
                    </a:lnTo>
                    <a:lnTo>
                      <a:pt x="3489" y="643"/>
                    </a:lnTo>
                    <a:lnTo>
                      <a:pt x="3495" y="613"/>
                    </a:lnTo>
                    <a:lnTo>
                      <a:pt x="3513" y="590"/>
                    </a:lnTo>
                    <a:lnTo>
                      <a:pt x="3519" y="546"/>
                    </a:lnTo>
                    <a:lnTo>
                      <a:pt x="3525" y="529"/>
                    </a:lnTo>
                    <a:lnTo>
                      <a:pt x="3537" y="562"/>
                    </a:lnTo>
                    <a:lnTo>
                      <a:pt x="3574" y="566"/>
                    </a:lnTo>
                    <a:lnTo>
                      <a:pt x="3598" y="540"/>
                    </a:lnTo>
                    <a:lnTo>
                      <a:pt x="3633" y="525"/>
                    </a:lnTo>
                    <a:lnTo>
                      <a:pt x="3676" y="523"/>
                    </a:lnTo>
                    <a:lnTo>
                      <a:pt x="3696" y="535"/>
                    </a:lnTo>
                    <a:lnTo>
                      <a:pt x="3725" y="533"/>
                    </a:lnTo>
                    <a:lnTo>
                      <a:pt x="3774" y="519"/>
                    </a:lnTo>
                    <a:lnTo>
                      <a:pt x="3802" y="519"/>
                    </a:lnTo>
                    <a:lnTo>
                      <a:pt x="3804" y="497"/>
                    </a:lnTo>
                    <a:lnTo>
                      <a:pt x="3810" y="497"/>
                    </a:lnTo>
                    <a:lnTo>
                      <a:pt x="3786" y="474"/>
                    </a:lnTo>
                    <a:lnTo>
                      <a:pt x="3761" y="460"/>
                    </a:lnTo>
                    <a:lnTo>
                      <a:pt x="3715" y="448"/>
                    </a:lnTo>
                    <a:lnTo>
                      <a:pt x="3672" y="448"/>
                    </a:lnTo>
                    <a:lnTo>
                      <a:pt x="3647" y="442"/>
                    </a:lnTo>
                    <a:lnTo>
                      <a:pt x="3633" y="426"/>
                    </a:lnTo>
                    <a:lnTo>
                      <a:pt x="3588" y="421"/>
                    </a:lnTo>
                    <a:lnTo>
                      <a:pt x="3544" y="430"/>
                    </a:lnTo>
                    <a:lnTo>
                      <a:pt x="3515" y="432"/>
                    </a:lnTo>
                    <a:lnTo>
                      <a:pt x="3484" y="460"/>
                    </a:lnTo>
                    <a:lnTo>
                      <a:pt x="3440" y="442"/>
                    </a:lnTo>
                    <a:lnTo>
                      <a:pt x="3403" y="430"/>
                    </a:lnTo>
                    <a:lnTo>
                      <a:pt x="3366" y="448"/>
                    </a:lnTo>
                    <a:lnTo>
                      <a:pt x="3338" y="436"/>
                    </a:lnTo>
                    <a:lnTo>
                      <a:pt x="3368" y="395"/>
                    </a:lnTo>
                    <a:lnTo>
                      <a:pt x="3358" y="379"/>
                    </a:lnTo>
                    <a:lnTo>
                      <a:pt x="3342" y="385"/>
                    </a:lnTo>
                    <a:lnTo>
                      <a:pt x="3299" y="432"/>
                    </a:lnTo>
                    <a:lnTo>
                      <a:pt x="3269" y="472"/>
                    </a:lnTo>
                    <a:lnTo>
                      <a:pt x="3238" y="511"/>
                    </a:lnTo>
                    <a:lnTo>
                      <a:pt x="3191" y="505"/>
                    </a:lnTo>
                    <a:lnTo>
                      <a:pt x="3175" y="458"/>
                    </a:lnTo>
                    <a:lnTo>
                      <a:pt x="3155" y="460"/>
                    </a:lnTo>
                    <a:lnTo>
                      <a:pt x="3142" y="497"/>
                    </a:lnTo>
                    <a:lnTo>
                      <a:pt x="3091" y="499"/>
                    </a:lnTo>
                    <a:lnTo>
                      <a:pt x="3146" y="430"/>
                    </a:lnTo>
                    <a:lnTo>
                      <a:pt x="3279" y="346"/>
                    </a:lnTo>
                    <a:lnTo>
                      <a:pt x="3289" y="328"/>
                    </a:lnTo>
                    <a:lnTo>
                      <a:pt x="3214" y="332"/>
                    </a:lnTo>
                    <a:lnTo>
                      <a:pt x="3136" y="305"/>
                    </a:lnTo>
                    <a:lnTo>
                      <a:pt x="3110" y="340"/>
                    </a:lnTo>
                    <a:lnTo>
                      <a:pt x="3051" y="318"/>
                    </a:lnTo>
                    <a:lnTo>
                      <a:pt x="3010" y="334"/>
                    </a:lnTo>
                    <a:lnTo>
                      <a:pt x="2984" y="293"/>
                    </a:lnTo>
                    <a:lnTo>
                      <a:pt x="2920" y="295"/>
                    </a:lnTo>
                    <a:lnTo>
                      <a:pt x="2900" y="311"/>
                    </a:lnTo>
                    <a:lnTo>
                      <a:pt x="2827" y="267"/>
                    </a:lnTo>
                    <a:lnTo>
                      <a:pt x="2816" y="226"/>
                    </a:lnTo>
                    <a:lnTo>
                      <a:pt x="2729" y="206"/>
                    </a:lnTo>
                    <a:lnTo>
                      <a:pt x="2768" y="267"/>
                    </a:lnTo>
                    <a:lnTo>
                      <a:pt x="1507" y="230"/>
                    </a:lnTo>
                    <a:lnTo>
                      <a:pt x="1430" y="208"/>
                    </a:lnTo>
                    <a:lnTo>
                      <a:pt x="1297" y="195"/>
                    </a:lnTo>
                    <a:lnTo>
                      <a:pt x="1126" y="169"/>
                    </a:lnTo>
                    <a:lnTo>
                      <a:pt x="914" y="149"/>
                    </a:lnTo>
                    <a:lnTo>
                      <a:pt x="831" y="136"/>
                    </a:lnTo>
                    <a:lnTo>
                      <a:pt x="717" y="118"/>
                    </a:lnTo>
                    <a:lnTo>
                      <a:pt x="635" y="98"/>
                    </a:lnTo>
                    <a:lnTo>
                      <a:pt x="412" y="37"/>
                    </a:lnTo>
                    <a:lnTo>
                      <a:pt x="399" y="41"/>
                    </a:lnTo>
                    <a:lnTo>
                      <a:pt x="407" y="73"/>
                    </a:lnTo>
                    <a:lnTo>
                      <a:pt x="418" y="104"/>
                    </a:lnTo>
                    <a:lnTo>
                      <a:pt x="409" y="118"/>
                    </a:lnTo>
                    <a:lnTo>
                      <a:pt x="393" y="134"/>
                    </a:lnTo>
                    <a:lnTo>
                      <a:pt x="403" y="155"/>
                    </a:lnTo>
                    <a:lnTo>
                      <a:pt x="432" y="206"/>
                    </a:lnTo>
                    <a:lnTo>
                      <a:pt x="409" y="242"/>
                    </a:lnTo>
                    <a:lnTo>
                      <a:pt x="393" y="287"/>
                    </a:lnTo>
                    <a:lnTo>
                      <a:pt x="356" y="287"/>
                    </a:lnTo>
                    <a:lnTo>
                      <a:pt x="385" y="267"/>
                    </a:lnTo>
                    <a:lnTo>
                      <a:pt x="395" y="242"/>
                    </a:lnTo>
                    <a:lnTo>
                      <a:pt x="389" y="220"/>
                    </a:lnTo>
                    <a:lnTo>
                      <a:pt x="369" y="212"/>
                    </a:lnTo>
                    <a:lnTo>
                      <a:pt x="379" y="197"/>
                    </a:lnTo>
                    <a:lnTo>
                      <a:pt x="407" y="203"/>
                    </a:lnTo>
                    <a:lnTo>
                      <a:pt x="407" y="191"/>
                    </a:lnTo>
                    <a:lnTo>
                      <a:pt x="389" y="151"/>
                    </a:lnTo>
                    <a:lnTo>
                      <a:pt x="369" y="149"/>
                    </a:lnTo>
                    <a:lnTo>
                      <a:pt x="330" y="144"/>
                    </a:lnTo>
                    <a:lnTo>
                      <a:pt x="297" y="114"/>
                    </a:lnTo>
                    <a:lnTo>
                      <a:pt x="275" y="100"/>
                    </a:lnTo>
                    <a:lnTo>
                      <a:pt x="247" y="89"/>
                    </a:lnTo>
                    <a:lnTo>
                      <a:pt x="232" y="118"/>
                    </a:lnTo>
                    <a:lnTo>
                      <a:pt x="245" y="157"/>
                    </a:lnTo>
                    <a:lnTo>
                      <a:pt x="247" y="195"/>
                    </a:lnTo>
                    <a:lnTo>
                      <a:pt x="245" y="238"/>
                    </a:lnTo>
                    <a:lnTo>
                      <a:pt x="245" y="277"/>
                    </a:lnTo>
                    <a:lnTo>
                      <a:pt x="247" y="293"/>
                    </a:lnTo>
                    <a:lnTo>
                      <a:pt x="265" y="322"/>
                    </a:lnTo>
                    <a:lnTo>
                      <a:pt x="247" y="344"/>
                    </a:lnTo>
                    <a:lnTo>
                      <a:pt x="251" y="360"/>
                    </a:lnTo>
                    <a:lnTo>
                      <a:pt x="255" y="391"/>
                    </a:lnTo>
                    <a:lnTo>
                      <a:pt x="232" y="401"/>
                    </a:lnTo>
                    <a:lnTo>
                      <a:pt x="212" y="472"/>
                    </a:lnTo>
                    <a:lnTo>
                      <a:pt x="196" y="535"/>
                    </a:lnTo>
                    <a:lnTo>
                      <a:pt x="171" y="597"/>
                    </a:lnTo>
                    <a:lnTo>
                      <a:pt x="139" y="649"/>
                    </a:lnTo>
                    <a:lnTo>
                      <a:pt x="110" y="713"/>
                    </a:lnTo>
                    <a:lnTo>
                      <a:pt x="78" y="751"/>
                    </a:lnTo>
                    <a:lnTo>
                      <a:pt x="78" y="847"/>
                    </a:lnTo>
                    <a:lnTo>
                      <a:pt x="78" y="935"/>
                    </a:lnTo>
                    <a:lnTo>
                      <a:pt x="69" y="967"/>
                    </a:lnTo>
                    <a:lnTo>
                      <a:pt x="35" y="1026"/>
                    </a:lnTo>
                    <a:lnTo>
                      <a:pt x="0" y="1083"/>
                    </a:lnTo>
                    <a:lnTo>
                      <a:pt x="35" y="1159"/>
                    </a:lnTo>
                    <a:lnTo>
                      <a:pt x="25" y="1222"/>
                    </a:lnTo>
                    <a:lnTo>
                      <a:pt x="16" y="1263"/>
                    </a:lnTo>
                    <a:lnTo>
                      <a:pt x="49" y="1340"/>
                    </a:lnTo>
                    <a:lnTo>
                      <a:pt x="73" y="1391"/>
                    </a:lnTo>
                    <a:lnTo>
                      <a:pt x="104" y="1413"/>
                    </a:lnTo>
                    <a:lnTo>
                      <a:pt x="137" y="1375"/>
                    </a:lnTo>
                    <a:lnTo>
                      <a:pt x="147" y="1401"/>
                    </a:lnTo>
                    <a:lnTo>
                      <a:pt x="157" y="1417"/>
                    </a:lnTo>
                    <a:lnTo>
                      <a:pt x="124" y="1423"/>
                    </a:lnTo>
                    <a:lnTo>
                      <a:pt x="128" y="1446"/>
                    </a:lnTo>
                    <a:lnTo>
                      <a:pt x="98" y="1430"/>
                    </a:lnTo>
                    <a:lnTo>
                      <a:pt x="102" y="1478"/>
                    </a:lnTo>
                    <a:lnTo>
                      <a:pt x="114" y="1519"/>
                    </a:lnTo>
                    <a:lnTo>
                      <a:pt x="120" y="1550"/>
                    </a:lnTo>
                    <a:lnTo>
                      <a:pt x="161" y="1544"/>
                    </a:lnTo>
                    <a:lnTo>
                      <a:pt x="153" y="1560"/>
                    </a:lnTo>
                    <a:lnTo>
                      <a:pt x="120" y="1584"/>
                    </a:lnTo>
                    <a:lnTo>
                      <a:pt x="120" y="1631"/>
                    </a:lnTo>
                    <a:lnTo>
                      <a:pt x="167" y="1682"/>
                    </a:lnTo>
                    <a:lnTo>
                      <a:pt x="187" y="1698"/>
                    </a:lnTo>
                    <a:lnTo>
                      <a:pt x="173" y="1719"/>
                    </a:lnTo>
                    <a:lnTo>
                      <a:pt x="190" y="1749"/>
                    </a:lnTo>
                    <a:lnTo>
                      <a:pt x="196" y="1784"/>
                    </a:lnTo>
                    <a:lnTo>
                      <a:pt x="208" y="1806"/>
                    </a:lnTo>
                    <a:lnTo>
                      <a:pt x="216" y="1831"/>
                    </a:lnTo>
                    <a:lnTo>
                      <a:pt x="220" y="1859"/>
                    </a:lnTo>
                    <a:lnTo>
                      <a:pt x="208" y="1874"/>
                    </a:lnTo>
                    <a:lnTo>
                      <a:pt x="242" y="1886"/>
                    </a:lnTo>
                    <a:lnTo>
                      <a:pt x="271" y="1888"/>
                    </a:lnTo>
                    <a:lnTo>
                      <a:pt x="297" y="1882"/>
                    </a:lnTo>
                    <a:lnTo>
                      <a:pt x="330" y="1886"/>
                    </a:lnTo>
                    <a:lnTo>
                      <a:pt x="336" y="1910"/>
                    </a:lnTo>
                    <a:lnTo>
                      <a:pt x="344" y="1930"/>
                    </a:lnTo>
                    <a:lnTo>
                      <a:pt x="377" y="1965"/>
                    </a:lnTo>
                    <a:lnTo>
                      <a:pt x="389" y="1977"/>
                    </a:lnTo>
                    <a:lnTo>
                      <a:pt x="407" y="2006"/>
                    </a:lnTo>
                    <a:lnTo>
                      <a:pt x="409" y="2022"/>
                    </a:lnTo>
                    <a:lnTo>
                      <a:pt x="438" y="2038"/>
                    </a:lnTo>
                    <a:lnTo>
                      <a:pt x="462" y="2059"/>
                    </a:lnTo>
                    <a:lnTo>
                      <a:pt x="491" y="2102"/>
                    </a:lnTo>
                    <a:lnTo>
                      <a:pt x="495" y="2153"/>
                    </a:lnTo>
                    <a:lnTo>
                      <a:pt x="495" y="2177"/>
                    </a:lnTo>
                    <a:lnTo>
                      <a:pt x="521" y="2181"/>
                    </a:lnTo>
                    <a:lnTo>
                      <a:pt x="550" y="2177"/>
                    </a:lnTo>
                    <a:lnTo>
                      <a:pt x="579" y="2175"/>
                    </a:lnTo>
                    <a:lnTo>
                      <a:pt x="625" y="2177"/>
                    </a:lnTo>
                    <a:lnTo>
                      <a:pt x="668" y="2177"/>
                    </a:lnTo>
                    <a:lnTo>
                      <a:pt x="723" y="2177"/>
                    </a:lnTo>
                    <a:lnTo>
                      <a:pt x="764" y="2181"/>
                    </a:lnTo>
                    <a:lnTo>
                      <a:pt x="770" y="2207"/>
                    </a:lnTo>
                    <a:lnTo>
                      <a:pt x="760" y="2228"/>
                    </a:lnTo>
                    <a:lnTo>
                      <a:pt x="807" y="2258"/>
                    </a:lnTo>
                    <a:lnTo>
                      <a:pt x="855" y="2279"/>
                    </a:lnTo>
                    <a:lnTo>
                      <a:pt x="943" y="2324"/>
                    </a:lnTo>
                    <a:lnTo>
                      <a:pt x="1008" y="2360"/>
                    </a:lnTo>
                    <a:lnTo>
                      <a:pt x="1081" y="2389"/>
                    </a:lnTo>
                    <a:lnTo>
                      <a:pt x="1155" y="2411"/>
                    </a:lnTo>
                    <a:lnTo>
                      <a:pt x="1206" y="2417"/>
                    </a:lnTo>
                    <a:lnTo>
                      <a:pt x="1248" y="2411"/>
                    </a:lnTo>
                    <a:lnTo>
                      <a:pt x="1312" y="2417"/>
                    </a:lnTo>
                    <a:lnTo>
                      <a:pt x="1356" y="2423"/>
                    </a:lnTo>
                    <a:lnTo>
                      <a:pt x="1405" y="2419"/>
                    </a:lnTo>
                    <a:lnTo>
                      <a:pt x="1448" y="2429"/>
                    </a:lnTo>
                    <a:lnTo>
                      <a:pt x="1487" y="2429"/>
                    </a:lnTo>
                    <a:lnTo>
                      <a:pt x="1489" y="2375"/>
                    </a:lnTo>
                    <a:lnTo>
                      <a:pt x="1560" y="2385"/>
                    </a:lnTo>
                    <a:lnTo>
                      <a:pt x="1641" y="2389"/>
                    </a:lnTo>
                    <a:lnTo>
                      <a:pt x="1703" y="2458"/>
                    </a:lnTo>
                    <a:lnTo>
                      <a:pt x="1782" y="2521"/>
                    </a:lnTo>
                    <a:lnTo>
                      <a:pt x="1825" y="2570"/>
                    </a:lnTo>
                    <a:lnTo>
                      <a:pt x="1827" y="2611"/>
                    </a:lnTo>
                    <a:lnTo>
                      <a:pt x="1841" y="2656"/>
                    </a:lnTo>
                    <a:lnTo>
                      <a:pt x="1874" y="2688"/>
                    </a:lnTo>
                    <a:lnTo>
                      <a:pt x="1904" y="2715"/>
                    </a:lnTo>
                    <a:lnTo>
                      <a:pt x="1998" y="2770"/>
                    </a:lnTo>
                    <a:lnTo>
                      <a:pt x="2030" y="2765"/>
                    </a:lnTo>
                    <a:lnTo>
                      <a:pt x="2047" y="2749"/>
                    </a:lnTo>
                    <a:lnTo>
                      <a:pt x="2059" y="2713"/>
                    </a:lnTo>
                    <a:lnTo>
                      <a:pt x="2067" y="2688"/>
                    </a:lnTo>
                    <a:lnTo>
                      <a:pt x="2104" y="2684"/>
                    </a:lnTo>
                    <a:lnTo>
                      <a:pt x="2145" y="2688"/>
                    </a:lnTo>
                    <a:lnTo>
                      <a:pt x="2195" y="2698"/>
                    </a:lnTo>
                    <a:lnTo>
                      <a:pt x="2224" y="2715"/>
                    </a:lnTo>
                    <a:lnTo>
                      <a:pt x="2263" y="2735"/>
                    </a:lnTo>
                    <a:lnTo>
                      <a:pt x="2277" y="2761"/>
                    </a:lnTo>
                    <a:lnTo>
                      <a:pt x="2297" y="2806"/>
                    </a:lnTo>
                    <a:lnTo>
                      <a:pt x="2316" y="2847"/>
                    </a:lnTo>
                    <a:lnTo>
                      <a:pt x="2336" y="2878"/>
                    </a:lnTo>
                    <a:lnTo>
                      <a:pt x="2375" y="2902"/>
                    </a:lnTo>
                    <a:lnTo>
                      <a:pt x="2409" y="2935"/>
                    </a:lnTo>
                    <a:lnTo>
                      <a:pt x="2421" y="2985"/>
                    </a:lnTo>
                    <a:lnTo>
                      <a:pt x="2430" y="3022"/>
                    </a:lnTo>
                    <a:lnTo>
                      <a:pt x="2458" y="3085"/>
                    </a:lnTo>
                    <a:lnTo>
                      <a:pt x="2493" y="3093"/>
                    </a:lnTo>
                    <a:lnTo>
                      <a:pt x="2535" y="3108"/>
                    </a:lnTo>
                    <a:lnTo>
                      <a:pt x="2576" y="3118"/>
                    </a:lnTo>
                    <a:lnTo>
                      <a:pt x="2627" y="3120"/>
                    </a:lnTo>
                    <a:lnTo>
                      <a:pt x="2656" y="3140"/>
                    </a:lnTo>
                    <a:lnTo>
                      <a:pt x="2729" y="3136"/>
                    </a:lnTo>
                    <a:lnTo>
                      <a:pt x="2735" y="3089"/>
                    </a:lnTo>
                    <a:lnTo>
                      <a:pt x="2694" y="3053"/>
                    </a:lnTo>
                    <a:lnTo>
                      <a:pt x="2686" y="3000"/>
                    </a:lnTo>
                    <a:lnTo>
                      <a:pt x="2715" y="2961"/>
                    </a:lnTo>
                    <a:lnTo>
                      <a:pt x="2711" y="2924"/>
                    </a:lnTo>
                    <a:lnTo>
                      <a:pt x="2723" y="2910"/>
                    </a:lnTo>
                    <a:lnTo>
                      <a:pt x="2729" y="2882"/>
                    </a:lnTo>
                    <a:lnTo>
                      <a:pt x="2757" y="2867"/>
                    </a:lnTo>
                    <a:lnTo>
                      <a:pt x="2802" y="2833"/>
                    </a:lnTo>
                    <a:lnTo>
                      <a:pt x="2827" y="2833"/>
                    </a:lnTo>
                    <a:lnTo>
                      <a:pt x="2882" y="2800"/>
                    </a:lnTo>
                    <a:lnTo>
                      <a:pt x="2920" y="2766"/>
                    </a:lnTo>
                    <a:lnTo>
                      <a:pt x="2979" y="2735"/>
                    </a:lnTo>
                    <a:lnTo>
                      <a:pt x="2963" y="2692"/>
                    </a:lnTo>
                    <a:lnTo>
                      <a:pt x="2975" y="2682"/>
                    </a:lnTo>
                    <a:lnTo>
                      <a:pt x="2992" y="2725"/>
                    </a:lnTo>
                    <a:lnTo>
                      <a:pt x="3069" y="2658"/>
                    </a:lnTo>
                    <a:lnTo>
                      <a:pt x="3136" y="2662"/>
                    </a:lnTo>
                    <a:lnTo>
                      <a:pt x="3220" y="2682"/>
                    </a:lnTo>
                    <a:lnTo>
                      <a:pt x="3289" y="2672"/>
                    </a:lnTo>
                    <a:lnTo>
                      <a:pt x="3322" y="2664"/>
                    </a:lnTo>
                    <a:lnTo>
                      <a:pt x="3305" y="2637"/>
                    </a:lnTo>
                    <a:lnTo>
                      <a:pt x="3334" y="2641"/>
                    </a:lnTo>
                    <a:lnTo>
                      <a:pt x="3356" y="2664"/>
                    </a:lnTo>
                    <a:lnTo>
                      <a:pt x="3356" y="2684"/>
                    </a:lnTo>
                    <a:lnTo>
                      <a:pt x="3417" y="2688"/>
                    </a:lnTo>
                    <a:lnTo>
                      <a:pt x="3450" y="2692"/>
                    </a:lnTo>
                    <a:lnTo>
                      <a:pt x="3462" y="2678"/>
                    </a:lnTo>
                    <a:lnTo>
                      <a:pt x="3489" y="2702"/>
                    </a:lnTo>
                    <a:lnTo>
                      <a:pt x="3513" y="2708"/>
                    </a:lnTo>
                    <a:lnTo>
                      <a:pt x="3539" y="2702"/>
                    </a:lnTo>
                    <a:lnTo>
                      <a:pt x="3519" y="2664"/>
                    </a:lnTo>
                    <a:lnTo>
                      <a:pt x="3548" y="2664"/>
                    </a:lnTo>
                    <a:lnTo>
                      <a:pt x="3568" y="2674"/>
                    </a:lnTo>
                    <a:lnTo>
                      <a:pt x="3596" y="2694"/>
                    </a:lnTo>
                    <a:lnTo>
                      <a:pt x="3613" y="2688"/>
                    </a:lnTo>
                    <a:lnTo>
                      <a:pt x="3633" y="2668"/>
                    </a:lnTo>
                    <a:lnTo>
                      <a:pt x="3621" y="2641"/>
                    </a:lnTo>
                    <a:lnTo>
                      <a:pt x="3592" y="2631"/>
                    </a:lnTo>
                    <a:lnTo>
                      <a:pt x="3574" y="2617"/>
                    </a:lnTo>
                    <a:lnTo>
                      <a:pt x="3588" y="2590"/>
                    </a:lnTo>
                    <a:lnTo>
                      <a:pt x="3588" y="2560"/>
                    </a:lnTo>
                    <a:lnTo>
                      <a:pt x="3558" y="2560"/>
                    </a:lnTo>
                    <a:lnTo>
                      <a:pt x="3533" y="2590"/>
                    </a:lnTo>
                    <a:lnTo>
                      <a:pt x="3529" y="2550"/>
                    </a:lnTo>
                    <a:lnTo>
                      <a:pt x="3495" y="2570"/>
                    </a:lnTo>
                    <a:lnTo>
                      <a:pt x="3462" y="2582"/>
                    </a:lnTo>
                    <a:lnTo>
                      <a:pt x="3454" y="2564"/>
                    </a:lnTo>
                    <a:lnTo>
                      <a:pt x="3476" y="2531"/>
                    </a:lnTo>
                    <a:lnTo>
                      <a:pt x="3568" y="2548"/>
                    </a:lnTo>
                    <a:lnTo>
                      <a:pt x="3588" y="2515"/>
                    </a:lnTo>
                    <a:lnTo>
                      <a:pt x="3631" y="2503"/>
                    </a:lnTo>
                    <a:lnTo>
                      <a:pt x="3684" y="2515"/>
                    </a:lnTo>
                    <a:lnTo>
                      <a:pt x="3702" y="2503"/>
                    </a:lnTo>
                    <a:lnTo>
                      <a:pt x="3702" y="2462"/>
                    </a:lnTo>
                    <a:lnTo>
                      <a:pt x="3725" y="2513"/>
                    </a:lnTo>
                    <a:lnTo>
                      <a:pt x="3735" y="2531"/>
                    </a:lnTo>
                    <a:lnTo>
                      <a:pt x="3774" y="2513"/>
                    </a:lnTo>
                    <a:lnTo>
                      <a:pt x="3804" y="2478"/>
                    </a:lnTo>
                    <a:lnTo>
                      <a:pt x="3818" y="2499"/>
                    </a:lnTo>
                    <a:lnTo>
                      <a:pt x="3843" y="2505"/>
                    </a:lnTo>
                    <a:lnTo>
                      <a:pt x="3886" y="2491"/>
                    </a:lnTo>
                    <a:lnTo>
                      <a:pt x="3967" y="2478"/>
                    </a:lnTo>
                    <a:lnTo>
                      <a:pt x="3989" y="2493"/>
                    </a:lnTo>
                    <a:lnTo>
                      <a:pt x="4008" y="2519"/>
                    </a:lnTo>
                    <a:lnTo>
                      <a:pt x="4044" y="2525"/>
                    </a:lnTo>
                    <a:lnTo>
                      <a:pt x="4077" y="2529"/>
                    </a:lnTo>
                    <a:lnTo>
                      <a:pt x="4114" y="2513"/>
                    </a:lnTo>
                    <a:lnTo>
                      <a:pt x="4142" y="2487"/>
                    </a:lnTo>
                    <a:lnTo>
                      <a:pt x="4165" y="2480"/>
                    </a:lnTo>
                    <a:lnTo>
                      <a:pt x="4181" y="2491"/>
                    </a:lnTo>
                    <a:lnTo>
                      <a:pt x="4201" y="2513"/>
                    </a:lnTo>
                    <a:lnTo>
                      <a:pt x="4232" y="2543"/>
                    </a:lnTo>
                    <a:lnTo>
                      <a:pt x="4262" y="2548"/>
                    </a:lnTo>
                    <a:lnTo>
                      <a:pt x="4289" y="2554"/>
                    </a:lnTo>
                    <a:lnTo>
                      <a:pt x="4315" y="2580"/>
                    </a:lnTo>
                    <a:lnTo>
                      <a:pt x="4336" y="2611"/>
                    </a:lnTo>
                    <a:lnTo>
                      <a:pt x="4354" y="2631"/>
                    </a:lnTo>
                    <a:lnTo>
                      <a:pt x="4344" y="2674"/>
                    </a:lnTo>
                    <a:lnTo>
                      <a:pt x="4348" y="2710"/>
                    </a:lnTo>
                    <a:lnTo>
                      <a:pt x="4348" y="2735"/>
                    </a:lnTo>
                    <a:lnTo>
                      <a:pt x="4358" y="2755"/>
                    </a:lnTo>
                    <a:lnTo>
                      <a:pt x="4372" y="2759"/>
                    </a:lnTo>
                    <a:lnTo>
                      <a:pt x="4378" y="2719"/>
                    </a:lnTo>
                    <a:lnTo>
                      <a:pt x="4397" y="2743"/>
                    </a:lnTo>
                    <a:lnTo>
                      <a:pt x="4383" y="2770"/>
                    </a:lnTo>
                    <a:lnTo>
                      <a:pt x="4378" y="2794"/>
                    </a:lnTo>
                    <a:lnTo>
                      <a:pt x="4395" y="2806"/>
                    </a:lnTo>
                    <a:lnTo>
                      <a:pt x="4431" y="2841"/>
                    </a:lnTo>
                    <a:lnTo>
                      <a:pt x="4456" y="2847"/>
                    </a:lnTo>
                    <a:lnTo>
                      <a:pt x="4472" y="2888"/>
                    </a:lnTo>
                    <a:lnTo>
                      <a:pt x="4490" y="2896"/>
                    </a:lnTo>
                    <a:lnTo>
                      <a:pt x="4515" y="2943"/>
                    </a:lnTo>
                    <a:lnTo>
                      <a:pt x="4549" y="2959"/>
                    </a:lnTo>
                    <a:lnTo>
                      <a:pt x="4582" y="2971"/>
                    </a:lnTo>
                    <a:lnTo>
                      <a:pt x="4604" y="3006"/>
                    </a:lnTo>
                    <a:lnTo>
                      <a:pt x="4649" y="3000"/>
                    </a:lnTo>
                    <a:lnTo>
                      <a:pt x="4716" y="2985"/>
                    </a:lnTo>
                    <a:lnTo>
                      <a:pt x="4731" y="2916"/>
                    </a:lnTo>
                    <a:lnTo>
                      <a:pt x="4721" y="2873"/>
                    </a:lnTo>
                    <a:lnTo>
                      <a:pt x="4721" y="2796"/>
                    </a:lnTo>
                    <a:lnTo>
                      <a:pt x="4706" y="2772"/>
                    </a:lnTo>
                    <a:lnTo>
                      <a:pt x="4672" y="2735"/>
                    </a:lnTo>
                    <a:lnTo>
                      <a:pt x="4643" y="2694"/>
                    </a:lnTo>
                    <a:lnTo>
                      <a:pt x="4619" y="2643"/>
                    </a:lnTo>
                    <a:lnTo>
                      <a:pt x="4594" y="2582"/>
                    </a:lnTo>
                    <a:lnTo>
                      <a:pt x="4554" y="2529"/>
                    </a:lnTo>
                    <a:lnTo>
                      <a:pt x="4521" y="2487"/>
                    </a:lnTo>
                    <a:lnTo>
                      <a:pt x="4486" y="2432"/>
                    </a:lnTo>
                    <a:lnTo>
                      <a:pt x="4456" y="2385"/>
                    </a:lnTo>
                    <a:lnTo>
                      <a:pt x="4446" y="2344"/>
                    </a:lnTo>
                    <a:lnTo>
                      <a:pt x="4442" y="2311"/>
                    </a:lnTo>
                    <a:lnTo>
                      <a:pt x="4450" y="2287"/>
                    </a:lnTo>
                    <a:lnTo>
                      <a:pt x="4456" y="2277"/>
                    </a:lnTo>
                    <a:lnTo>
                      <a:pt x="4456" y="2210"/>
                    </a:lnTo>
                    <a:lnTo>
                      <a:pt x="4492" y="2150"/>
                    </a:lnTo>
                    <a:lnTo>
                      <a:pt x="4486" y="2110"/>
                    </a:lnTo>
                    <a:lnTo>
                      <a:pt x="4543" y="2098"/>
                    </a:lnTo>
                    <a:lnTo>
                      <a:pt x="4611" y="2032"/>
                    </a:lnTo>
                    <a:lnTo>
                      <a:pt x="4647" y="1924"/>
                    </a:lnTo>
                    <a:lnTo>
                      <a:pt x="4735" y="1888"/>
                    </a:lnTo>
                    <a:lnTo>
                      <a:pt x="4790" y="1790"/>
                    </a:lnTo>
                    <a:lnTo>
                      <a:pt x="4877" y="1757"/>
                    </a:lnTo>
                    <a:lnTo>
                      <a:pt x="4918" y="1682"/>
                    </a:lnTo>
                    <a:lnTo>
                      <a:pt x="4918" y="1627"/>
                    </a:lnTo>
                    <a:lnTo>
                      <a:pt x="4922" y="1580"/>
                    </a:lnTo>
                    <a:lnTo>
                      <a:pt x="4898" y="1584"/>
                    </a:lnTo>
                    <a:lnTo>
                      <a:pt x="4898" y="1658"/>
                    </a:lnTo>
                    <a:lnTo>
                      <a:pt x="4847" y="1719"/>
                    </a:lnTo>
                    <a:lnTo>
                      <a:pt x="4774" y="1733"/>
                    </a:lnTo>
                    <a:lnTo>
                      <a:pt x="4847" y="1698"/>
                    </a:lnTo>
                    <a:lnTo>
                      <a:pt x="4804" y="1682"/>
                    </a:lnTo>
                    <a:lnTo>
                      <a:pt x="4847" y="1672"/>
                    </a:lnTo>
                    <a:lnTo>
                      <a:pt x="4869" y="1674"/>
                    </a:lnTo>
                    <a:lnTo>
                      <a:pt x="4883" y="1631"/>
                    </a:lnTo>
                    <a:lnTo>
                      <a:pt x="4879" y="1590"/>
                    </a:lnTo>
                    <a:lnTo>
                      <a:pt x="4839" y="1590"/>
                    </a:lnTo>
                    <a:lnTo>
                      <a:pt x="4784" y="1607"/>
                    </a:lnTo>
                    <a:lnTo>
                      <a:pt x="4784" y="1570"/>
                    </a:lnTo>
                    <a:lnTo>
                      <a:pt x="4818" y="1586"/>
                    </a:lnTo>
                    <a:lnTo>
                      <a:pt x="4865" y="1562"/>
                    </a:lnTo>
                    <a:lnTo>
                      <a:pt x="4873" y="1540"/>
                    </a:lnTo>
                    <a:lnTo>
                      <a:pt x="4839" y="1529"/>
                    </a:lnTo>
                    <a:lnTo>
                      <a:pt x="4843" y="1484"/>
                    </a:lnTo>
                    <a:lnTo>
                      <a:pt x="4804" y="1464"/>
                    </a:lnTo>
                    <a:lnTo>
                      <a:pt x="4790" y="1482"/>
                    </a:lnTo>
                    <a:lnTo>
                      <a:pt x="4776" y="1448"/>
                    </a:lnTo>
                    <a:lnTo>
                      <a:pt x="4784" y="1411"/>
                    </a:lnTo>
                    <a:lnTo>
                      <a:pt x="4790" y="1372"/>
                    </a:lnTo>
                    <a:lnTo>
                      <a:pt x="4721" y="1346"/>
                    </a:lnTo>
                    <a:lnTo>
                      <a:pt x="4741" y="1338"/>
                    </a:lnTo>
                    <a:lnTo>
                      <a:pt x="4721" y="1258"/>
                    </a:lnTo>
                    <a:lnTo>
                      <a:pt x="4721" y="1208"/>
                    </a:lnTo>
                    <a:lnTo>
                      <a:pt x="4735" y="1197"/>
                    </a:lnTo>
                    <a:lnTo>
                      <a:pt x="4735" y="1263"/>
                    </a:lnTo>
                    <a:lnTo>
                      <a:pt x="4761" y="1309"/>
                    </a:lnTo>
                    <a:lnTo>
                      <a:pt x="4800" y="1354"/>
                    </a:lnTo>
                    <a:lnTo>
                      <a:pt x="4800" y="1436"/>
                    </a:lnTo>
                    <a:lnTo>
                      <a:pt x="4843" y="1442"/>
                    </a:lnTo>
                    <a:lnTo>
                      <a:pt x="4877" y="1360"/>
                    </a:lnTo>
                    <a:lnTo>
                      <a:pt x="4877" y="1238"/>
                    </a:lnTo>
                    <a:lnTo>
                      <a:pt x="4830" y="1206"/>
                    </a:lnTo>
                    <a:lnTo>
                      <a:pt x="4833" y="1181"/>
                    </a:lnTo>
                    <a:lnTo>
                      <a:pt x="4888" y="1206"/>
                    </a:lnTo>
                    <a:lnTo>
                      <a:pt x="4914" y="1146"/>
                    </a:lnTo>
                    <a:lnTo>
                      <a:pt x="4918" y="1094"/>
                    </a:lnTo>
                    <a:lnTo>
                      <a:pt x="4918" y="1006"/>
                    </a:lnTo>
                    <a:lnTo>
                      <a:pt x="4892" y="979"/>
                    </a:lnTo>
                    <a:lnTo>
                      <a:pt x="4906" y="955"/>
                    </a:lnTo>
                    <a:lnTo>
                      <a:pt x="4924" y="979"/>
                    </a:lnTo>
                    <a:lnTo>
                      <a:pt x="5032" y="924"/>
                    </a:lnTo>
                    <a:lnTo>
                      <a:pt x="5112" y="863"/>
                    </a:lnTo>
                    <a:lnTo>
                      <a:pt x="5054" y="857"/>
                    </a:lnTo>
                    <a:lnTo>
                      <a:pt x="4971" y="904"/>
                    </a:lnTo>
                    <a:lnTo>
                      <a:pt x="4918" y="924"/>
                    </a:lnTo>
                    <a:lnTo>
                      <a:pt x="4953" y="878"/>
                    </a:lnTo>
                    <a:lnTo>
                      <a:pt x="4991" y="857"/>
                    </a:lnTo>
                    <a:lnTo>
                      <a:pt x="5012" y="865"/>
                    </a:lnTo>
                    <a:lnTo>
                      <a:pt x="5071" y="835"/>
                    </a:lnTo>
                    <a:lnTo>
                      <a:pt x="5085" y="806"/>
                    </a:lnTo>
                    <a:lnTo>
                      <a:pt x="5101" y="806"/>
                    </a:lnTo>
                    <a:lnTo>
                      <a:pt x="5124" y="790"/>
                    </a:lnTo>
                    <a:lnTo>
                      <a:pt x="5152" y="760"/>
                    </a:lnTo>
                    <a:lnTo>
                      <a:pt x="5197" y="776"/>
                    </a:lnTo>
                    <a:lnTo>
                      <a:pt x="5219" y="757"/>
                    </a:lnTo>
                    <a:lnTo>
                      <a:pt x="5240" y="729"/>
                    </a:lnTo>
                    <a:lnTo>
                      <a:pt x="5219" y="692"/>
                    </a:lnTo>
                    <a:lnTo>
                      <a:pt x="5189" y="668"/>
                    </a:lnTo>
                    <a:lnTo>
                      <a:pt x="5173" y="664"/>
                    </a:lnTo>
                    <a:lnTo>
                      <a:pt x="5154" y="678"/>
                    </a:lnTo>
                    <a:lnTo>
                      <a:pt x="5173" y="705"/>
                    </a:lnTo>
                    <a:lnTo>
                      <a:pt x="5183" y="725"/>
                    </a:lnTo>
                    <a:lnTo>
                      <a:pt x="5160" y="725"/>
                    </a:lnTo>
                    <a:lnTo>
                      <a:pt x="5130" y="688"/>
                    </a:lnTo>
                    <a:lnTo>
                      <a:pt x="5105" y="694"/>
                    </a:lnTo>
                    <a:lnTo>
                      <a:pt x="5112" y="668"/>
                    </a:lnTo>
                    <a:lnTo>
                      <a:pt x="5124" y="641"/>
                    </a:lnTo>
                    <a:lnTo>
                      <a:pt x="5099" y="637"/>
                    </a:lnTo>
                    <a:lnTo>
                      <a:pt x="5118" y="580"/>
                    </a:lnTo>
                    <a:lnTo>
                      <a:pt x="5112" y="546"/>
                    </a:lnTo>
                    <a:lnTo>
                      <a:pt x="5142" y="523"/>
                    </a:lnTo>
                    <a:lnTo>
                      <a:pt x="5124" y="487"/>
                    </a:lnTo>
                    <a:lnTo>
                      <a:pt x="5152" y="472"/>
                    </a:lnTo>
                    <a:lnTo>
                      <a:pt x="5181" y="448"/>
                    </a:lnTo>
                    <a:lnTo>
                      <a:pt x="5211" y="438"/>
                    </a:lnTo>
                    <a:lnTo>
                      <a:pt x="5219" y="381"/>
                    </a:lnTo>
                    <a:lnTo>
                      <a:pt x="5248" y="381"/>
                    </a:lnTo>
                    <a:lnTo>
                      <a:pt x="5289" y="356"/>
                    </a:lnTo>
                    <a:lnTo>
                      <a:pt x="5311" y="328"/>
                    </a:lnTo>
                    <a:lnTo>
                      <a:pt x="5344" y="301"/>
                    </a:lnTo>
                    <a:lnTo>
                      <a:pt x="5340" y="263"/>
                    </a:lnTo>
                    <a:lnTo>
                      <a:pt x="5295" y="244"/>
                    </a:lnTo>
                    <a:lnTo>
                      <a:pt x="5266" y="206"/>
                    </a:lnTo>
                    <a:lnTo>
                      <a:pt x="5217" y="206"/>
                    </a:lnTo>
                    <a:lnTo>
                      <a:pt x="5193" y="165"/>
                    </a:lnTo>
                    <a:lnTo>
                      <a:pt x="5187" y="118"/>
                    </a:lnTo>
                    <a:lnTo>
                      <a:pt x="5173" y="73"/>
                    </a:lnTo>
                    <a:lnTo>
                      <a:pt x="5152" y="20"/>
                    </a:lnTo>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sp>
          <p:nvSpPr>
            <p:cNvPr id="561" name="Freeform 571"/>
            <p:cNvSpPr>
              <a:spLocks/>
            </p:cNvSpPr>
            <p:nvPr/>
          </p:nvSpPr>
          <p:spPr bwMode="auto">
            <a:xfrm>
              <a:off x="92" y="888"/>
              <a:ext cx="839" cy="895"/>
            </a:xfrm>
            <a:custGeom>
              <a:avLst/>
              <a:gdLst>
                <a:gd name="T0" fmla="*/ 279 w 1678"/>
                <a:gd name="T1" fmla="*/ 0 h 1790"/>
                <a:gd name="T2" fmla="*/ 224 w 1678"/>
                <a:gd name="T3" fmla="*/ 2 h 1790"/>
                <a:gd name="T4" fmla="*/ 171 w 1678"/>
                <a:gd name="T5" fmla="*/ 10 h 1790"/>
                <a:gd name="T6" fmla="*/ 124 w 1678"/>
                <a:gd name="T7" fmla="*/ 22 h 1790"/>
                <a:gd name="T8" fmla="*/ 83 w 1678"/>
                <a:gd name="T9" fmla="*/ 37 h 1790"/>
                <a:gd name="T10" fmla="*/ 65 w 1678"/>
                <a:gd name="T11" fmla="*/ 47 h 1790"/>
                <a:gd name="T12" fmla="*/ 47 w 1678"/>
                <a:gd name="T13" fmla="*/ 57 h 1790"/>
                <a:gd name="T14" fmla="*/ 33 w 1678"/>
                <a:gd name="T15" fmla="*/ 67 h 1790"/>
                <a:gd name="T16" fmla="*/ 22 w 1678"/>
                <a:gd name="T17" fmla="*/ 79 h 1790"/>
                <a:gd name="T18" fmla="*/ 12 w 1678"/>
                <a:gd name="T19" fmla="*/ 90 h 1790"/>
                <a:gd name="T20" fmla="*/ 6 w 1678"/>
                <a:gd name="T21" fmla="*/ 102 h 1790"/>
                <a:gd name="T22" fmla="*/ 2 w 1678"/>
                <a:gd name="T23" fmla="*/ 114 h 1790"/>
                <a:gd name="T24" fmla="*/ 0 w 1678"/>
                <a:gd name="T25" fmla="*/ 128 h 1790"/>
                <a:gd name="T26" fmla="*/ 0 w 1678"/>
                <a:gd name="T27" fmla="*/ 450 h 1790"/>
                <a:gd name="T28" fmla="*/ 0 w 1678"/>
                <a:gd name="T29" fmla="*/ 642 h 1790"/>
                <a:gd name="T30" fmla="*/ 2 w 1678"/>
                <a:gd name="T31" fmla="*/ 656 h 1790"/>
                <a:gd name="T32" fmla="*/ 6 w 1678"/>
                <a:gd name="T33" fmla="*/ 668 h 1790"/>
                <a:gd name="T34" fmla="*/ 12 w 1678"/>
                <a:gd name="T35" fmla="*/ 682 h 1790"/>
                <a:gd name="T36" fmla="*/ 22 w 1678"/>
                <a:gd name="T37" fmla="*/ 694 h 1790"/>
                <a:gd name="T38" fmla="*/ 33 w 1678"/>
                <a:gd name="T39" fmla="*/ 705 h 1790"/>
                <a:gd name="T40" fmla="*/ 47 w 1678"/>
                <a:gd name="T41" fmla="*/ 715 h 1790"/>
                <a:gd name="T42" fmla="*/ 65 w 1678"/>
                <a:gd name="T43" fmla="*/ 725 h 1790"/>
                <a:gd name="T44" fmla="*/ 83 w 1678"/>
                <a:gd name="T45" fmla="*/ 735 h 1790"/>
                <a:gd name="T46" fmla="*/ 124 w 1678"/>
                <a:gd name="T47" fmla="*/ 750 h 1790"/>
                <a:gd name="T48" fmla="*/ 171 w 1678"/>
                <a:gd name="T49" fmla="*/ 762 h 1790"/>
                <a:gd name="T50" fmla="*/ 224 w 1678"/>
                <a:gd name="T51" fmla="*/ 770 h 1790"/>
                <a:gd name="T52" fmla="*/ 279 w 1678"/>
                <a:gd name="T53" fmla="*/ 772 h 1790"/>
                <a:gd name="T54" fmla="*/ 413 w 1678"/>
                <a:gd name="T55" fmla="*/ 1790 h 1790"/>
                <a:gd name="T56" fmla="*/ 700 w 1678"/>
                <a:gd name="T57" fmla="*/ 772 h 1790"/>
                <a:gd name="T58" fmla="*/ 1399 w 1678"/>
                <a:gd name="T59" fmla="*/ 772 h 1790"/>
                <a:gd name="T60" fmla="*/ 1456 w 1678"/>
                <a:gd name="T61" fmla="*/ 770 h 1790"/>
                <a:gd name="T62" fmla="*/ 1507 w 1678"/>
                <a:gd name="T63" fmla="*/ 762 h 1790"/>
                <a:gd name="T64" fmla="*/ 1554 w 1678"/>
                <a:gd name="T65" fmla="*/ 750 h 1790"/>
                <a:gd name="T66" fmla="*/ 1596 w 1678"/>
                <a:gd name="T67" fmla="*/ 735 h 1790"/>
                <a:gd name="T68" fmla="*/ 1613 w 1678"/>
                <a:gd name="T69" fmla="*/ 725 h 1790"/>
                <a:gd name="T70" fmla="*/ 1631 w 1678"/>
                <a:gd name="T71" fmla="*/ 715 h 1790"/>
                <a:gd name="T72" fmla="*/ 1645 w 1678"/>
                <a:gd name="T73" fmla="*/ 705 h 1790"/>
                <a:gd name="T74" fmla="*/ 1656 w 1678"/>
                <a:gd name="T75" fmla="*/ 694 h 1790"/>
                <a:gd name="T76" fmla="*/ 1666 w 1678"/>
                <a:gd name="T77" fmla="*/ 682 h 1790"/>
                <a:gd name="T78" fmla="*/ 1672 w 1678"/>
                <a:gd name="T79" fmla="*/ 668 h 1790"/>
                <a:gd name="T80" fmla="*/ 1676 w 1678"/>
                <a:gd name="T81" fmla="*/ 656 h 1790"/>
                <a:gd name="T82" fmla="*/ 1678 w 1678"/>
                <a:gd name="T83" fmla="*/ 642 h 1790"/>
                <a:gd name="T84" fmla="*/ 1678 w 1678"/>
                <a:gd name="T85" fmla="*/ 450 h 1790"/>
                <a:gd name="T86" fmla="*/ 1678 w 1678"/>
                <a:gd name="T87" fmla="*/ 128 h 1790"/>
                <a:gd name="T88" fmla="*/ 1676 w 1678"/>
                <a:gd name="T89" fmla="*/ 114 h 1790"/>
                <a:gd name="T90" fmla="*/ 1672 w 1678"/>
                <a:gd name="T91" fmla="*/ 102 h 1790"/>
                <a:gd name="T92" fmla="*/ 1666 w 1678"/>
                <a:gd name="T93" fmla="*/ 90 h 1790"/>
                <a:gd name="T94" fmla="*/ 1656 w 1678"/>
                <a:gd name="T95" fmla="*/ 79 h 1790"/>
                <a:gd name="T96" fmla="*/ 1645 w 1678"/>
                <a:gd name="T97" fmla="*/ 67 h 1790"/>
                <a:gd name="T98" fmla="*/ 1631 w 1678"/>
                <a:gd name="T99" fmla="*/ 57 h 1790"/>
                <a:gd name="T100" fmla="*/ 1613 w 1678"/>
                <a:gd name="T101" fmla="*/ 47 h 1790"/>
                <a:gd name="T102" fmla="*/ 1596 w 1678"/>
                <a:gd name="T103" fmla="*/ 37 h 1790"/>
                <a:gd name="T104" fmla="*/ 1554 w 1678"/>
                <a:gd name="T105" fmla="*/ 22 h 1790"/>
                <a:gd name="T106" fmla="*/ 1507 w 1678"/>
                <a:gd name="T107" fmla="*/ 10 h 1790"/>
                <a:gd name="T108" fmla="*/ 1456 w 1678"/>
                <a:gd name="T109" fmla="*/ 2 h 1790"/>
                <a:gd name="T110" fmla="*/ 1399 w 1678"/>
                <a:gd name="T111" fmla="*/ 0 h 1790"/>
                <a:gd name="T112" fmla="*/ 700 w 1678"/>
                <a:gd name="T113" fmla="*/ 0 h 1790"/>
                <a:gd name="T114" fmla="*/ 279 w 1678"/>
                <a:gd name="T115" fmla="*/ 0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78" h="1790">
                  <a:moveTo>
                    <a:pt x="279" y="0"/>
                  </a:moveTo>
                  <a:lnTo>
                    <a:pt x="224" y="2"/>
                  </a:lnTo>
                  <a:lnTo>
                    <a:pt x="171" y="10"/>
                  </a:lnTo>
                  <a:lnTo>
                    <a:pt x="124" y="22"/>
                  </a:lnTo>
                  <a:lnTo>
                    <a:pt x="83" y="37"/>
                  </a:lnTo>
                  <a:lnTo>
                    <a:pt x="65" y="47"/>
                  </a:lnTo>
                  <a:lnTo>
                    <a:pt x="47" y="57"/>
                  </a:lnTo>
                  <a:lnTo>
                    <a:pt x="33" y="67"/>
                  </a:lnTo>
                  <a:lnTo>
                    <a:pt x="22" y="79"/>
                  </a:lnTo>
                  <a:lnTo>
                    <a:pt x="12" y="90"/>
                  </a:lnTo>
                  <a:lnTo>
                    <a:pt x="6" y="102"/>
                  </a:lnTo>
                  <a:lnTo>
                    <a:pt x="2" y="114"/>
                  </a:lnTo>
                  <a:lnTo>
                    <a:pt x="0" y="128"/>
                  </a:lnTo>
                  <a:lnTo>
                    <a:pt x="0" y="450"/>
                  </a:lnTo>
                  <a:lnTo>
                    <a:pt x="0" y="642"/>
                  </a:lnTo>
                  <a:lnTo>
                    <a:pt x="2" y="656"/>
                  </a:lnTo>
                  <a:lnTo>
                    <a:pt x="6" y="668"/>
                  </a:lnTo>
                  <a:lnTo>
                    <a:pt x="12" y="682"/>
                  </a:lnTo>
                  <a:lnTo>
                    <a:pt x="22" y="694"/>
                  </a:lnTo>
                  <a:lnTo>
                    <a:pt x="33" y="705"/>
                  </a:lnTo>
                  <a:lnTo>
                    <a:pt x="47" y="715"/>
                  </a:lnTo>
                  <a:lnTo>
                    <a:pt x="65" y="725"/>
                  </a:lnTo>
                  <a:lnTo>
                    <a:pt x="83" y="735"/>
                  </a:lnTo>
                  <a:lnTo>
                    <a:pt x="124" y="750"/>
                  </a:lnTo>
                  <a:lnTo>
                    <a:pt x="171" y="762"/>
                  </a:lnTo>
                  <a:lnTo>
                    <a:pt x="224" y="770"/>
                  </a:lnTo>
                  <a:lnTo>
                    <a:pt x="279" y="772"/>
                  </a:lnTo>
                  <a:lnTo>
                    <a:pt x="413" y="1790"/>
                  </a:lnTo>
                  <a:lnTo>
                    <a:pt x="700" y="772"/>
                  </a:lnTo>
                  <a:lnTo>
                    <a:pt x="1399" y="772"/>
                  </a:lnTo>
                  <a:lnTo>
                    <a:pt x="1456" y="770"/>
                  </a:lnTo>
                  <a:lnTo>
                    <a:pt x="1507" y="762"/>
                  </a:lnTo>
                  <a:lnTo>
                    <a:pt x="1554" y="750"/>
                  </a:lnTo>
                  <a:lnTo>
                    <a:pt x="1596" y="735"/>
                  </a:lnTo>
                  <a:lnTo>
                    <a:pt x="1613" y="725"/>
                  </a:lnTo>
                  <a:lnTo>
                    <a:pt x="1631" y="715"/>
                  </a:lnTo>
                  <a:lnTo>
                    <a:pt x="1645" y="705"/>
                  </a:lnTo>
                  <a:lnTo>
                    <a:pt x="1656" y="694"/>
                  </a:lnTo>
                  <a:lnTo>
                    <a:pt x="1666" y="682"/>
                  </a:lnTo>
                  <a:lnTo>
                    <a:pt x="1672" y="668"/>
                  </a:lnTo>
                  <a:lnTo>
                    <a:pt x="1676" y="656"/>
                  </a:lnTo>
                  <a:lnTo>
                    <a:pt x="1678" y="642"/>
                  </a:lnTo>
                  <a:lnTo>
                    <a:pt x="1678" y="450"/>
                  </a:lnTo>
                  <a:lnTo>
                    <a:pt x="1678" y="128"/>
                  </a:lnTo>
                  <a:lnTo>
                    <a:pt x="1676" y="114"/>
                  </a:lnTo>
                  <a:lnTo>
                    <a:pt x="1672" y="102"/>
                  </a:lnTo>
                  <a:lnTo>
                    <a:pt x="1666" y="90"/>
                  </a:lnTo>
                  <a:lnTo>
                    <a:pt x="1656" y="79"/>
                  </a:lnTo>
                  <a:lnTo>
                    <a:pt x="1645" y="67"/>
                  </a:lnTo>
                  <a:lnTo>
                    <a:pt x="1631" y="57"/>
                  </a:lnTo>
                  <a:lnTo>
                    <a:pt x="1613" y="47"/>
                  </a:lnTo>
                  <a:lnTo>
                    <a:pt x="1596" y="37"/>
                  </a:lnTo>
                  <a:lnTo>
                    <a:pt x="1554" y="22"/>
                  </a:lnTo>
                  <a:lnTo>
                    <a:pt x="1507" y="10"/>
                  </a:lnTo>
                  <a:lnTo>
                    <a:pt x="1456" y="2"/>
                  </a:lnTo>
                  <a:lnTo>
                    <a:pt x="1399" y="0"/>
                  </a:lnTo>
                  <a:lnTo>
                    <a:pt x="700" y="0"/>
                  </a:lnTo>
                  <a:lnTo>
                    <a:pt x="279" y="0"/>
                  </a:lnTo>
                  <a:close/>
                </a:path>
              </a:pathLst>
            </a:custGeom>
            <a:solidFill>
              <a:srgbClr val="FFFFFF"/>
            </a:solidFill>
            <a:ln w="9525">
              <a:solidFill>
                <a:srgbClr val="000000"/>
              </a:solidFill>
              <a:prstDash val="solid"/>
              <a:round/>
              <a:headEnd/>
              <a:tailEnd/>
            </a:ln>
          </p:spPr>
          <p:txBody>
            <a:bodyPr/>
            <a:lstStyle/>
            <a:p>
              <a:endParaRPr lang="cs-CZ"/>
            </a:p>
          </p:txBody>
        </p:sp>
        <p:sp>
          <p:nvSpPr>
            <p:cNvPr id="562" name="Rectangle 572"/>
            <p:cNvSpPr>
              <a:spLocks noChangeArrowheads="1"/>
            </p:cNvSpPr>
            <p:nvPr/>
          </p:nvSpPr>
          <p:spPr bwMode="auto">
            <a:xfrm>
              <a:off x="146" y="929"/>
              <a:ext cx="18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USA</a:t>
              </a:r>
              <a:endParaRPr lang="cs-CZ" sz="2400" b="0">
                <a:solidFill>
                  <a:schemeClr val="tx1"/>
                </a:solidFill>
                <a:latin typeface="Times New Roman" pitchFamily="18" charset="0"/>
                <a:ea typeface="ＭＳ Ｐゴシック" pitchFamily="34" charset="-128"/>
              </a:endParaRPr>
            </a:p>
          </p:txBody>
        </p:sp>
        <p:sp>
          <p:nvSpPr>
            <p:cNvPr id="563" name="Rectangle 573"/>
            <p:cNvSpPr>
              <a:spLocks noChangeArrowheads="1"/>
            </p:cNvSpPr>
            <p:nvPr/>
          </p:nvSpPr>
          <p:spPr bwMode="auto">
            <a:xfrm>
              <a:off x="146" y="1036"/>
              <a:ext cx="810"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Již existují kontrakty </a:t>
              </a:r>
              <a:endParaRPr lang="cs-CZ" sz="2400" b="0">
                <a:solidFill>
                  <a:schemeClr val="tx1"/>
                </a:solidFill>
                <a:latin typeface="Times New Roman" pitchFamily="18" charset="0"/>
                <a:ea typeface="ＭＳ Ｐゴシック" pitchFamily="34" charset="-128"/>
              </a:endParaRPr>
            </a:p>
          </p:txBody>
        </p:sp>
        <p:sp>
          <p:nvSpPr>
            <p:cNvPr id="564" name="Rectangle 574"/>
            <p:cNvSpPr>
              <a:spLocks noChangeArrowheads="1"/>
            </p:cNvSpPr>
            <p:nvPr/>
          </p:nvSpPr>
          <p:spPr bwMode="auto">
            <a:xfrm>
              <a:off x="146" y="1140"/>
              <a:ext cx="71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pro výstavbu jádra</a:t>
              </a:r>
              <a:endParaRPr lang="cs-CZ" sz="2400" b="0">
                <a:solidFill>
                  <a:schemeClr val="tx1"/>
                </a:solidFill>
                <a:latin typeface="Times New Roman" pitchFamily="18" charset="0"/>
                <a:ea typeface="ＭＳ Ｐゴシック" pitchFamily="34" charset="-128"/>
              </a:endParaRPr>
            </a:p>
          </p:txBody>
        </p:sp>
        <p:sp>
          <p:nvSpPr>
            <p:cNvPr id="565" name="Freeform 575"/>
            <p:cNvSpPr>
              <a:spLocks/>
            </p:cNvSpPr>
            <p:nvPr/>
          </p:nvSpPr>
          <p:spPr bwMode="auto">
            <a:xfrm>
              <a:off x="2514" y="3042"/>
              <a:ext cx="1151" cy="948"/>
            </a:xfrm>
            <a:custGeom>
              <a:avLst/>
              <a:gdLst>
                <a:gd name="T0" fmla="*/ 849 w 2301"/>
                <a:gd name="T1" fmla="*/ 1123 h 1896"/>
                <a:gd name="T2" fmla="*/ 790 w 2301"/>
                <a:gd name="T3" fmla="*/ 1125 h 1896"/>
                <a:gd name="T4" fmla="*/ 735 w 2301"/>
                <a:gd name="T5" fmla="*/ 1133 h 1896"/>
                <a:gd name="T6" fmla="*/ 686 w 2301"/>
                <a:gd name="T7" fmla="*/ 1145 h 1896"/>
                <a:gd name="T8" fmla="*/ 643 w 2301"/>
                <a:gd name="T9" fmla="*/ 1161 h 1896"/>
                <a:gd name="T10" fmla="*/ 625 w 2301"/>
                <a:gd name="T11" fmla="*/ 1171 h 1896"/>
                <a:gd name="T12" fmla="*/ 608 w 2301"/>
                <a:gd name="T13" fmla="*/ 1180 h 1896"/>
                <a:gd name="T14" fmla="*/ 594 w 2301"/>
                <a:gd name="T15" fmla="*/ 1190 h 1896"/>
                <a:gd name="T16" fmla="*/ 582 w 2301"/>
                <a:gd name="T17" fmla="*/ 1202 h 1896"/>
                <a:gd name="T18" fmla="*/ 572 w 2301"/>
                <a:gd name="T19" fmla="*/ 1214 h 1896"/>
                <a:gd name="T20" fmla="*/ 564 w 2301"/>
                <a:gd name="T21" fmla="*/ 1226 h 1896"/>
                <a:gd name="T22" fmla="*/ 560 w 2301"/>
                <a:gd name="T23" fmla="*/ 1237 h 1896"/>
                <a:gd name="T24" fmla="*/ 558 w 2301"/>
                <a:gd name="T25" fmla="*/ 1251 h 1896"/>
                <a:gd name="T26" fmla="*/ 558 w 2301"/>
                <a:gd name="T27" fmla="*/ 1446 h 1896"/>
                <a:gd name="T28" fmla="*/ 558 w 2301"/>
                <a:gd name="T29" fmla="*/ 1766 h 1896"/>
                <a:gd name="T30" fmla="*/ 560 w 2301"/>
                <a:gd name="T31" fmla="*/ 1780 h 1896"/>
                <a:gd name="T32" fmla="*/ 564 w 2301"/>
                <a:gd name="T33" fmla="*/ 1791 h 1896"/>
                <a:gd name="T34" fmla="*/ 572 w 2301"/>
                <a:gd name="T35" fmla="*/ 1805 h 1896"/>
                <a:gd name="T36" fmla="*/ 582 w 2301"/>
                <a:gd name="T37" fmla="*/ 1817 h 1896"/>
                <a:gd name="T38" fmla="*/ 594 w 2301"/>
                <a:gd name="T39" fmla="*/ 1829 h 1896"/>
                <a:gd name="T40" fmla="*/ 608 w 2301"/>
                <a:gd name="T41" fmla="*/ 1839 h 1896"/>
                <a:gd name="T42" fmla="*/ 625 w 2301"/>
                <a:gd name="T43" fmla="*/ 1848 h 1896"/>
                <a:gd name="T44" fmla="*/ 643 w 2301"/>
                <a:gd name="T45" fmla="*/ 1858 h 1896"/>
                <a:gd name="T46" fmla="*/ 686 w 2301"/>
                <a:gd name="T47" fmla="*/ 1874 h 1896"/>
                <a:gd name="T48" fmla="*/ 735 w 2301"/>
                <a:gd name="T49" fmla="*/ 1886 h 1896"/>
                <a:gd name="T50" fmla="*/ 790 w 2301"/>
                <a:gd name="T51" fmla="*/ 1894 h 1896"/>
                <a:gd name="T52" fmla="*/ 849 w 2301"/>
                <a:gd name="T53" fmla="*/ 1896 h 1896"/>
                <a:gd name="T54" fmla="*/ 1285 w 2301"/>
                <a:gd name="T55" fmla="*/ 1896 h 1896"/>
                <a:gd name="T56" fmla="*/ 2011 w 2301"/>
                <a:gd name="T57" fmla="*/ 1896 h 1896"/>
                <a:gd name="T58" fmla="*/ 2069 w 2301"/>
                <a:gd name="T59" fmla="*/ 1894 h 1896"/>
                <a:gd name="T60" fmla="*/ 2124 w 2301"/>
                <a:gd name="T61" fmla="*/ 1886 h 1896"/>
                <a:gd name="T62" fmla="*/ 2174 w 2301"/>
                <a:gd name="T63" fmla="*/ 1874 h 1896"/>
                <a:gd name="T64" fmla="*/ 2217 w 2301"/>
                <a:gd name="T65" fmla="*/ 1858 h 1896"/>
                <a:gd name="T66" fmla="*/ 2235 w 2301"/>
                <a:gd name="T67" fmla="*/ 1848 h 1896"/>
                <a:gd name="T68" fmla="*/ 2252 w 2301"/>
                <a:gd name="T69" fmla="*/ 1839 h 1896"/>
                <a:gd name="T70" fmla="*/ 2266 w 2301"/>
                <a:gd name="T71" fmla="*/ 1829 h 1896"/>
                <a:gd name="T72" fmla="*/ 2278 w 2301"/>
                <a:gd name="T73" fmla="*/ 1817 h 1896"/>
                <a:gd name="T74" fmla="*/ 2288 w 2301"/>
                <a:gd name="T75" fmla="*/ 1805 h 1896"/>
                <a:gd name="T76" fmla="*/ 2295 w 2301"/>
                <a:gd name="T77" fmla="*/ 1791 h 1896"/>
                <a:gd name="T78" fmla="*/ 2299 w 2301"/>
                <a:gd name="T79" fmla="*/ 1780 h 1896"/>
                <a:gd name="T80" fmla="*/ 2301 w 2301"/>
                <a:gd name="T81" fmla="*/ 1766 h 1896"/>
                <a:gd name="T82" fmla="*/ 2301 w 2301"/>
                <a:gd name="T83" fmla="*/ 1446 h 1896"/>
                <a:gd name="T84" fmla="*/ 2301 w 2301"/>
                <a:gd name="T85" fmla="*/ 1251 h 1896"/>
                <a:gd name="T86" fmla="*/ 2299 w 2301"/>
                <a:gd name="T87" fmla="*/ 1237 h 1896"/>
                <a:gd name="T88" fmla="*/ 2295 w 2301"/>
                <a:gd name="T89" fmla="*/ 1226 h 1896"/>
                <a:gd name="T90" fmla="*/ 2288 w 2301"/>
                <a:gd name="T91" fmla="*/ 1214 h 1896"/>
                <a:gd name="T92" fmla="*/ 2278 w 2301"/>
                <a:gd name="T93" fmla="*/ 1202 h 1896"/>
                <a:gd name="T94" fmla="*/ 2266 w 2301"/>
                <a:gd name="T95" fmla="*/ 1190 h 1896"/>
                <a:gd name="T96" fmla="*/ 2252 w 2301"/>
                <a:gd name="T97" fmla="*/ 1180 h 1896"/>
                <a:gd name="T98" fmla="*/ 2235 w 2301"/>
                <a:gd name="T99" fmla="*/ 1171 h 1896"/>
                <a:gd name="T100" fmla="*/ 2217 w 2301"/>
                <a:gd name="T101" fmla="*/ 1161 h 1896"/>
                <a:gd name="T102" fmla="*/ 2174 w 2301"/>
                <a:gd name="T103" fmla="*/ 1145 h 1896"/>
                <a:gd name="T104" fmla="*/ 2124 w 2301"/>
                <a:gd name="T105" fmla="*/ 1133 h 1896"/>
                <a:gd name="T106" fmla="*/ 2069 w 2301"/>
                <a:gd name="T107" fmla="*/ 1125 h 1896"/>
                <a:gd name="T108" fmla="*/ 2011 w 2301"/>
                <a:gd name="T109" fmla="*/ 1123 h 1896"/>
                <a:gd name="T110" fmla="*/ 1285 w 2301"/>
                <a:gd name="T111" fmla="*/ 1123 h 1896"/>
                <a:gd name="T112" fmla="*/ 0 w 2301"/>
                <a:gd name="T113" fmla="*/ 0 h 1896"/>
                <a:gd name="T114" fmla="*/ 849 w 2301"/>
                <a:gd name="T115" fmla="*/ 1123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1" h="1896">
                  <a:moveTo>
                    <a:pt x="849" y="1123"/>
                  </a:moveTo>
                  <a:lnTo>
                    <a:pt x="790" y="1125"/>
                  </a:lnTo>
                  <a:lnTo>
                    <a:pt x="735" y="1133"/>
                  </a:lnTo>
                  <a:lnTo>
                    <a:pt x="686" y="1145"/>
                  </a:lnTo>
                  <a:lnTo>
                    <a:pt x="643" y="1161"/>
                  </a:lnTo>
                  <a:lnTo>
                    <a:pt x="625" y="1171"/>
                  </a:lnTo>
                  <a:lnTo>
                    <a:pt x="608" y="1180"/>
                  </a:lnTo>
                  <a:lnTo>
                    <a:pt x="594" y="1190"/>
                  </a:lnTo>
                  <a:lnTo>
                    <a:pt x="582" y="1202"/>
                  </a:lnTo>
                  <a:lnTo>
                    <a:pt x="572" y="1214"/>
                  </a:lnTo>
                  <a:lnTo>
                    <a:pt x="564" y="1226"/>
                  </a:lnTo>
                  <a:lnTo>
                    <a:pt x="560" y="1237"/>
                  </a:lnTo>
                  <a:lnTo>
                    <a:pt x="558" y="1251"/>
                  </a:lnTo>
                  <a:lnTo>
                    <a:pt x="558" y="1446"/>
                  </a:lnTo>
                  <a:lnTo>
                    <a:pt x="558" y="1766"/>
                  </a:lnTo>
                  <a:lnTo>
                    <a:pt x="560" y="1780"/>
                  </a:lnTo>
                  <a:lnTo>
                    <a:pt x="564" y="1791"/>
                  </a:lnTo>
                  <a:lnTo>
                    <a:pt x="572" y="1805"/>
                  </a:lnTo>
                  <a:lnTo>
                    <a:pt x="582" y="1817"/>
                  </a:lnTo>
                  <a:lnTo>
                    <a:pt x="594" y="1829"/>
                  </a:lnTo>
                  <a:lnTo>
                    <a:pt x="608" y="1839"/>
                  </a:lnTo>
                  <a:lnTo>
                    <a:pt x="625" y="1848"/>
                  </a:lnTo>
                  <a:lnTo>
                    <a:pt x="643" y="1858"/>
                  </a:lnTo>
                  <a:lnTo>
                    <a:pt x="686" y="1874"/>
                  </a:lnTo>
                  <a:lnTo>
                    <a:pt x="735" y="1886"/>
                  </a:lnTo>
                  <a:lnTo>
                    <a:pt x="790" y="1894"/>
                  </a:lnTo>
                  <a:lnTo>
                    <a:pt x="849" y="1896"/>
                  </a:lnTo>
                  <a:lnTo>
                    <a:pt x="1285" y="1896"/>
                  </a:lnTo>
                  <a:lnTo>
                    <a:pt x="2011" y="1896"/>
                  </a:lnTo>
                  <a:lnTo>
                    <a:pt x="2069" y="1894"/>
                  </a:lnTo>
                  <a:lnTo>
                    <a:pt x="2124" y="1886"/>
                  </a:lnTo>
                  <a:lnTo>
                    <a:pt x="2174" y="1874"/>
                  </a:lnTo>
                  <a:lnTo>
                    <a:pt x="2217" y="1858"/>
                  </a:lnTo>
                  <a:lnTo>
                    <a:pt x="2235" y="1848"/>
                  </a:lnTo>
                  <a:lnTo>
                    <a:pt x="2252" y="1839"/>
                  </a:lnTo>
                  <a:lnTo>
                    <a:pt x="2266" y="1829"/>
                  </a:lnTo>
                  <a:lnTo>
                    <a:pt x="2278" y="1817"/>
                  </a:lnTo>
                  <a:lnTo>
                    <a:pt x="2288" y="1805"/>
                  </a:lnTo>
                  <a:lnTo>
                    <a:pt x="2295" y="1791"/>
                  </a:lnTo>
                  <a:lnTo>
                    <a:pt x="2299" y="1780"/>
                  </a:lnTo>
                  <a:lnTo>
                    <a:pt x="2301" y="1766"/>
                  </a:lnTo>
                  <a:lnTo>
                    <a:pt x="2301" y="1446"/>
                  </a:lnTo>
                  <a:lnTo>
                    <a:pt x="2301" y="1251"/>
                  </a:lnTo>
                  <a:lnTo>
                    <a:pt x="2299" y="1237"/>
                  </a:lnTo>
                  <a:lnTo>
                    <a:pt x="2295" y="1226"/>
                  </a:lnTo>
                  <a:lnTo>
                    <a:pt x="2288" y="1214"/>
                  </a:lnTo>
                  <a:lnTo>
                    <a:pt x="2278" y="1202"/>
                  </a:lnTo>
                  <a:lnTo>
                    <a:pt x="2266" y="1190"/>
                  </a:lnTo>
                  <a:lnTo>
                    <a:pt x="2252" y="1180"/>
                  </a:lnTo>
                  <a:lnTo>
                    <a:pt x="2235" y="1171"/>
                  </a:lnTo>
                  <a:lnTo>
                    <a:pt x="2217" y="1161"/>
                  </a:lnTo>
                  <a:lnTo>
                    <a:pt x="2174" y="1145"/>
                  </a:lnTo>
                  <a:lnTo>
                    <a:pt x="2124" y="1133"/>
                  </a:lnTo>
                  <a:lnTo>
                    <a:pt x="2069" y="1125"/>
                  </a:lnTo>
                  <a:lnTo>
                    <a:pt x="2011" y="1123"/>
                  </a:lnTo>
                  <a:lnTo>
                    <a:pt x="1285" y="1123"/>
                  </a:lnTo>
                  <a:lnTo>
                    <a:pt x="0" y="0"/>
                  </a:lnTo>
                  <a:lnTo>
                    <a:pt x="849" y="1123"/>
                  </a:lnTo>
                  <a:close/>
                </a:path>
              </a:pathLst>
            </a:custGeom>
            <a:solidFill>
              <a:srgbClr val="FFFFFF"/>
            </a:solidFill>
            <a:ln w="9525">
              <a:solidFill>
                <a:srgbClr val="000000"/>
              </a:solidFill>
              <a:prstDash val="solid"/>
              <a:round/>
              <a:headEnd/>
              <a:tailEnd/>
            </a:ln>
          </p:spPr>
          <p:txBody>
            <a:bodyPr/>
            <a:lstStyle/>
            <a:p>
              <a:endParaRPr lang="cs-CZ"/>
            </a:p>
          </p:txBody>
        </p:sp>
        <p:sp>
          <p:nvSpPr>
            <p:cNvPr id="566" name="Rectangle 576"/>
            <p:cNvSpPr>
              <a:spLocks noChangeArrowheads="1"/>
            </p:cNvSpPr>
            <p:nvPr/>
          </p:nvSpPr>
          <p:spPr bwMode="auto">
            <a:xfrm>
              <a:off x="2848" y="3645"/>
              <a:ext cx="41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Slovinsko</a:t>
              </a:r>
              <a:endParaRPr lang="cs-CZ" sz="2400" b="0">
                <a:solidFill>
                  <a:schemeClr val="tx1"/>
                </a:solidFill>
                <a:latin typeface="Times New Roman" pitchFamily="18" charset="0"/>
                <a:ea typeface="ＭＳ Ｐゴシック" pitchFamily="34" charset="-128"/>
              </a:endParaRPr>
            </a:p>
          </p:txBody>
        </p:sp>
        <p:sp>
          <p:nvSpPr>
            <p:cNvPr id="567" name="Rectangle 577"/>
            <p:cNvSpPr>
              <a:spLocks noChangeArrowheads="1"/>
            </p:cNvSpPr>
            <p:nvPr/>
          </p:nvSpPr>
          <p:spPr bwMode="auto">
            <a:xfrm>
              <a:off x="2848" y="3752"/>
              <a:ext cx="31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568" name="Rectangle 578"/>
            <p:cNvSpPr>
              <a:spLocks noChangeArrowheads="1"/>
            </p:cNvSpPr>
            <p:nvPr/>
          </p:nvSpPr>
          <p:spPr bwMode="auto">
            <a:xfrm>
              <a:off x="3180" y="3752"/>
              <a:ext cx="43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rozšíření </a:t>
              </a:r>
              <a:endParaRPr lang="cs-CZ" sz="2400" b="0">
                <a:solidFill>
                  <a:schemeClr val="tx1"/>
                </a:solidFill>
                <a:latin typeface="Times New Roman" pitchFamily="18" charset="0"/>
                <a:ea typeface="ＭＳ Ｐゴシック" pitchFamily="34" charset="-128"/>
              </a:endParaRPr>
            </a:p>
          </p:txBody>
        </p:sp>
        <p:sp>
          <p:nvSpPr>
            <p:cNvPr id="569" name="Rectangle 579"/>
            <p:cNvSpPr>
              <a:spLocks noChangeArrowheads="1"/>
            </p:cNvSpPr>
            <p:nvPr/>
          </p:nvSpPr>
          <p:spPr bwMode="auto">
            <a:xfrm>
              <a:off x="2848" y="3856"/>
              <a:ext cx="43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NPP Krško</a:t>
              </a:r>
              <a:endParaRPr lang="cs-CZ" sz="2400" b="0">
                <a:solidFill>
                  <a:schemeClr val="tx1"/>
                </a:solidFill>
                <a:latin typeface="Times New Roman" pitchFamily="18" charset="0"/>
                <a:ea typeface="ＭＳ Ｐゴシック" pitchFamily="34" charset="-128"/>
              </a:endParaRPr>
            </a:p>
          </p:txBody>
        </p:sp>
        <p:sp>
          <p:nvSpPr>
            <p:cNvPr id="570" name="Freeform 580"/>
            <p:cNvSpPr>
              <a:spLocks/>
            </p:cNvSpPr>
            <p:nvPr/>
          </p:nvSpPr>
          <p:spPr bwMode="auto">
            <a:xfrm>
              <a:off x="637" y="2092"/>
              <a:ext cx="1567" cy="550"/>
            </a:xfrm>
            <a:custGeom>
              <a:avLst/>
              <a:gdLst>
                <a:gd name="T0" fmla="*/ 275 w 3134"/>
                <a:gd name="T1" fmla="*/ 0 h 1100"/>
                <a:gd name="T2" fmla="*/ 220 w 3134"/>
                <a:gd name="T3" fmla="*/ 2 h 1100"/>
                <a:gd name="T4" fmla="*/ 169 w 3134"/>
                <a:gd name="T5" fmla="*/ 10 h 1100"/>
                <a:gd name="T6" fmla="*/ 121 w 3134"/>
                <a:gd name="T7" fmla="*/ 21 h 1100"/>
                <a:gd name="T8" fmla="*/ 80 w 3134"/>
                <a:gd name="T9" fmla="*/ 37 h 1100"/>
                <a:gd name="T10" fmla="*/ 62 w 3134"/>
                <a:gd name="T11" fmla="*/ 47 h 1100"/>
                <a:gd name="T12" fmla="*/ 47 w 3134"/>
                <a:gd name="T13" fmla="*/ 57 h 1100"/>
                <a:gd name="T14" fmla="*/ 33 w 3134"/>
                <a:gd name="T15" fmla="*/ 67 h 1100"/>
                <a:gd name="T16" fmla="*/ 21 w 3134"/>
                <a:gd name="T17" fmla="*/ 78 h 1100"/>
                <a:gd name="T18" fmla="*/ 11 w 3134"/>
                <a:gd name="T19" fmla="*/ 90 h 1100"/>
                <a:gd name="T20" fmla="*/ 5 w 3134"/>
                <a:gd name="T21" fmla="*/ 102 h 1100"/>
                <a:gd name="T22" fmla="*/ 2 w 3134"/>
                <a:gd name="T23" fmla="*/ 114 h 1100"/>
                <a:gd name="T24" fmla="*/ 0 w 3134"/>
                <a:gd name="T25" fmla="*/ 127 h 1100"/>
                <a:gd name="T26" fmla="*/ 0 w 3134"/>
                <a:gd name="T27" fmla="*/ 450 h 1100"/>
                <a:gd name="T28" fmla="*/ 0 w 3134"/>
                <a:gd name="T29" fmla="*/ 642 h 1100"/>
                <a:gd name="T30" fmla="*/ 2 w 3134"/>
                <a:gd name="T31" fmla="*/ 656 h 1100"/>
                <a:gd name="T32" fmla="*/ 5 w 3134"/>
                <a:gd name="T33" fmla="*/ 668 h 1100"/>
                <a:gd name="T34" fmla="*/ 11 w 3134"/>
                <a:gd name="T35" fmla="*/ 681 h 1100"/>
                <a:gd name="T36" fmla="*/ 21 w 3134"/>
                <a:gd name="T37" fmla="*/ 693 h 1100"/>
                <a:gd name="T38" fmla="*/ 33 w 3134"/>
                <a:gd name="T39" fmla="*/ 705 h 1100"/>
                <a:gd name="T40" fmla="*/ 47 w 3134"/>
                <a:gd name="T41" fmla="*/ 715 h 1100"/>
                <a:gd name="T42" fmla="*/ 62 w 3134"/>
                <a:gd name="T43" fmla="*/ 725 h 1100"/>
                <a:gd name="T44" fmla="*/ 80 w 3134"/>
                <a:gd name="T45" fmla="*/ 735 h 1100"/>
                <a:gd name="T46" fmla="*/ 121 w 3134"/>
                <a:gd name="T47" fmla="*/ 750 h 1100"/>
                <a:gd name="T48" fmla="*/ 169 w 3134"/>
                <a:gd name="T49" fmla="*/ 762 h 1100"/>
                <a:gd name="T50" fmla="*/ 220 w 3134"/>
                <a:gd name="T51" fmla="*/ 770 h 1100"/>
                <a:gd name="T52" fmla="*/ 275 w 3134"/>
                <a:gd name="T53" fmla="*/ 772 h 1100"/>
                <a:gd name="T54" fmla="*/ 962 w 3134"/>
                <a:gd name="T55" fmla="*/ 772 h 1100"/>
                <a:gd name="T56" fmla="*/ 1375 w 3134"/>
                <a:gd name="T57" fmla="*/ 772 h 1100"/>
                <a:gd name="T58" fmla="*/ 1430 w 3134"/>
                <a:gd name="T59" fmla="*/ 770 h 1100"/>
                <a:gd name="T60" fmla="*/ 1481 w 3134"/>
                <a:gd name="T61" fmla="*/ 762 h 1100"/>
                <a:gd name="T62" fmla="*/ 1528 w 3134"/>
                <a:gd name="T63" fmla="*/ 750 h 1100"/>
                <a:gd name="T64" fmla="*/ 1570 w 3134"/>
                <a:gd name="T65" fmla="*/ 735 h 1100"/>
                <a:gd name="T66" fmla="*/ 1587 w 3134"/>
                <a:gd name="T67" fmla="*/ 725 h 1100"/>
                <a:gd name="T68" fmla="*/ 1603 w 3134"/>
                <a:gd name="T69" fmla="*/ 715 h 1100"/>
                <a:gd name="T70" fmla="*/ 1617 w 3134"/>
                <a:gd name="T71" fmla="*/ 705 h 1100"/>
                <a:gd name="T72" fmla="*/ 1628 w 3134"/>
                <a:gd name="T73" fmla="*/ 693 h 1100"/>
                <a:gd name="T74" fmla="*/ 1638 w 3134"/>
                <a:gd name="T75" fmla="*/ 681 h 1100"/>
                <a:gd name="T76" fmla="*/ 1644 w 3134"/>
                <a:gd name="T77" fmla="*/ 668 h 1100"/>
                <a:gd name="T78" fmla="*/ 1648 w 3134"/>
                <a:gd name="T79" fmla="*/ 656 h 1100"/>
                <a:gd name="T80" fmla="*/ 1650 w 3134"/>
                <a:gd name="T81" fmla="*/ 642 h 1100"/>
                <a:gd name="T82" fmla="*/ 3134 w 3134"/>
                <a:gd name="T83" fmla="*/ 1100 h 1100"/>
                <a:gd name="T84" fmla="*/ 1650 w 3134"/>
                <a:gd name="T85" fmla="*/ 450 h 1100"/>
                <a:gd name="T86" fmla="*/ 1650 w 3134"/>
                <a:gd name="T87" fmla="*/ 127 h 1100"/>
                <a:gd name="T88" fmla="*/ 1648 w 3134"/>
                <a:gd name="T89" fmla="*/ 114 h 1100"/>
                <a:gd name="T90" fmla="*/ 1644 w 3134"/>
                <a:gd name="T91" fmla="*/ 102 h 1100"/>
                <a:gd name="T92" fmla="*/ 1638 w 3134"/>
                <a:gd name="T93" fmla="*/ 90 h 1100"/>
                <a:gd name="T94" fmla="*/ 1628 w 3134"/>
                <a:gd name="T95" fmla="*/ 78 h 1100"/>
                <a:gd name="T96" fmla="*/ 1617 w 3134"/>
                <a:gd name="T97" fmla="*/ 67 h 1100"/>
                <a:gd name="T98" fmla="*/ 1603 w 3134"/>
                <a:gd name="T99" fmla="*/ 57 h 1100"/>
                <a:gd name="T100" fmla="*/ 1587 w 3134"/>
                <a:gd name="T101" fmla="*/ 47 h 1100"/>
                <a:gd name="T102" fmla="*/ 1570 w 3134"/>
                <a:gd name="T103" fmla="*/ 37 h 1100"/>
                <a:gd name="T104" fmla="*/ 1528 w 3134"/>
                <a:gd name="T105" fmla="*/ 21 h 1100"/>
                <a:gd name="T106" fmla="*/ 1481 w 3134"/>
                <a:gd name="T107" fmla="*/ 10 h 1100"/>
                <a:gd name="T108" fmla="*/ 1430 w 3134"/>
                <a:gd name="T109" fmla="*/ 2 h 1100"/>
                <a:gd name="T110" fmla="*/ 1375 w 3134"/>
                <a:gd name="T111" fmla="*/ 0 h 1100"/>
                <a:gd name="T112" fmla="*/ 962 w 3134"/>
                <a:gd name="T113" fmla="*/ 0 h 1100"/>
                <a:gd name="T114" fmla="*/ 275 w 3134"/>
                <a:gd name="T115" fmla="*/ 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34" h="1100">
                  <a:moveTo>
                    <a:pt x="275" y="0"/>
                  </a:moveTo>
                  <a:lnTo>
                    <a:pt x="220" y="2"/>
                  </a:lnTo>
                  <a:lnTo>
                    <a:pt x="169" y="10"/>
                  </a:lnTo>
                  <a:lnTo>
                    <a:pt x="121" y="21"/>
                  </a:lnTo>
                  <a:lnTo>
                    <a:pt x="80" y="37"/>
                  </a:lnTo>
                  <a:lnTo>
                    <a:pt x="62" y="47"/>
                  </a:lnTo>
                  <a:lnTo>
                    <a:pt x="47" y="57"/>
                  </a:lnTo>
                  <a:lnTo>
                    <a:pt x="33" y="67"/>
                  </a:lnTo>
                  <a:lnTo>
                    <a:pt x="21" y="78"/>
                  </a:lnTo>
                  <a:lnTo>
                    <a:pt x="11" y="90"/>
                  </a:lnTo>
                  <a:lnTo>
                    <a:pt x="5" y="102"/>
                  </a:lnTo>
                  <a:lnTo>
                    <a:pt x="2" y="114"/>
                  </a:lnTo>
                  <a:lnTo>
                    <a:pt x="0" y="127"/>
                  </a:lnTo>
                  <a:lnTo>
                    <a:pt x="0" y="450"/>
                  </a:lnTo>
                  <a:lnTo>
                    <a:pt x="0" y="642"/>
                  </a:lnTo>
                  <a:lnTo>
                    <a:pt x="2" y="656"/>
                  </a:lnTo>
                  <a:lnTo>
                    <a:pt x="5" y="668"/>
                  </a:lnTo>
                  <a:lnTo>
                    <a:pt x="11" y="681"/>
                  </a:lnTo>
                  <a:lnTo>
                    <a:pt x="21" y="693"/>
                  </a:lnTo>
                  <a:lnTo>
                    <a:pt x="33" y="705"/>
                  </a:lnTo>
                  <a:lnTo>
                    <a:pt x="47" y="715"/>
                  </a:lnTo>
                  <a:lnTo>
                    <a:pt x="62" y="725"/>
                  </a:lnTo>
                  <a:lnTo>
                    <a:pt x="80" y="735"/>
                  </a:lnTo>
                  <a:lnTo>
                    <a:pt x="121" y="750"/>
                  </a:lnTo>
                  <a:lnTo>
                    <a:pt x="169" y="762"/>
                  </a:lnTo>
                  <a:lnTo>
                    <a:pt x="220" y="770"/>
                  </a:lnTo>
                  <a:lnTo>
                    <a:pt x="275" y="772"/>
                  </a:lnTo>
                  <a:lnTo>
                    <a:pt x="962" y="772"/>
                  </a:lnTo>
                  <a:lnTo>
                    <a:pt x="1375" y="772"/>
                  </a:lnTo>
                  <a:lnTo>
                    <a:pt x="1430" y="770"/>
                  </a:lnTo>
                  <a:lnTo>
                    <a:pt x="1481" y="762"/>
                  </a:lnTo>
                  <a:lnTo>
                    <a:pt x="1528" y="750"/>
                  </a:lnTo>
                  <a:lnTo>
                    <a:pt x="1570" y="735"/>
                  </a:lnTo>
                  <a:lnTo>
                    <a:pt x="1587" y="725"/>
                  </a:lnTo>
                  <a:lnTo>
                    <a:pt x="1603" y="715"/>
                  </a:lnTo>
                  <a:lnTo>
                    <a:pt x="1617" y="705"/>
                  </a:lnTo>
                  <a:lnTo>
                    <a:pt x="1628" y="693"/>
                  </a:lnTo>
                  <a:lnTo>
                    <a:pt x="1638" y="681"/>
                  </a:lnTo>
                  <a:lnTo>
                    <a:pt x="1644" y="668"/>
                  </a:lnTo>
                  <a:lnTo>
                    <a:pt x="1648" y="656"/>
                  </a:lnTo>
                  <a:lnTo>
                    <a:pt x="1650" y="642"/>
                  </a:lnTo>
                  <a:lnTo>
                    <a:pt x="3134" y="1100"/>
                  </a:lnTo>
                  <a:lnTo>
                    <a:pt x="1650" y="450"/>
                  </a:lnTo>
                  <a:lnTo>
                    <a:pt x="1650" y="127"/>
                  </a:lnTo>
                  <a:lnTo>
                    <a:pt x="1648" y="114"/>
                  </a:lnTo>
                  <a:lnTo>
                    <a:pt x="1644" y="102"/>
                  </a:lnTo>
                  <a:lnTo>
                    <a:pt x="1638" y="90"/>
                  </a:lnTo>
                  <a:lnTo>
                    <a:pt x="1628" y="78"/>
                  </a:lnTo>
                  <a:lnTo>
                    <a:pt x="1617" y="67"/>
                  </a:lnTo>
                  <a:lnTo>
                    <a:pt x="1603" y="57"/>
                  </a:lnTo>
                  <a:lnTo>
                    <a:pt x="1587" y="47"/>
                  </a:lnTo>
                  <a:lnTo>
                    <a:pt x="1570" y="37"/>
                  </a:lnTo>
                  <a:lnTo>
                    <a:pt x="1528" y="21"/>
                  </a:lnTo>
                  <a:lnTo>
                    <a:pt x="1481" y="10"/>
                  </a:lnTo>
                  <a:lnTo>
                    <a:pt x="1430" y="2"/>
                  </a:lnTo>
                  <a:lnTo>
                    <a:pt x="1375" y="0"/>
                  </a:lnTo>
                  <a:lnTo>
                    <a:pt x="962" y="0"/>
                  </a:lnTo>
                  <a:lnTo>
                    <a:pt x="275" y="0"/>
                  </a:lnTo>
                  <a:close/>
                </a:path>
              </a:pathLst>
            </a:custGeom>
            <a:solidFill>
              <a:srgbClr val="FFFFFF"/>
            </a:solidFill>
            <a:ln w="9525">
              <a:solidFill>
                <a:srgbClr val="000000"/>
              </a:solidFill>
              <a:prstDash val="solid"/>
              <a:round/>
              <a:headEnd/>
              <a:tailEnd/>
            </a:ln>
          </p:spPr>
          <p:txBody>
            <a:bodyPr/>
            <a:lstStyle/>
            <a:p>
              <a:endParaRPr lang="cs-CZ"/>
            </a:p>
          </p:txBody>
        </p:sp>
        <p:sp>
          <p:nvSpPr>
            <p:cNvPr id="571" name="Rectangle 581"/>
            <p:cNvSpPr>
              <a:spLocks noChangeArrowheads="1"/>
            </p:cNvSpPr>
            <p:nvPr/>
          </p:nvSpPr>
          <p:spPr bwMode="auto">
            <a:xfrm>
              <a:off x="690" y="2133"/>
              <a:ext cx="39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Německo</a:t>
              </a:r>
              <a:endParaRPr lang="cs-CZ" sz="2400" b="0">
                <a:solidFill>
                  <a:schemeClr val="tx1"/>
                </a:solidFill>
                <a:latin typeface="Times New Roman" pitchFamily="18" charset="0"/>
                <a:ea typeface="ＭＳ Ｐゴシック" pitchFamily="34" charset="-128"/>
              </a:endParaRPr>
            </a:p>
          </p:txBody>
        </p:sp>
        <p:sp>
          <p:nvSpPr>
            <p:cNvPr id="572" name="Rectangle 582"/>
            <p:cNvSpPr>
              <a:spLocks noChangeArrowheads="1"/>
            </p:cNvSpPr>
            <p:nvPr/>
          </p:nvSpPr>
          <p:spPr bwMode="auto">
            <a:xfrm>
              <a:off x="690" y="2240"/>
              <a:ext cx="363"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dirty="0" smtClean="0">
                  <a:solidFill>
                    <a:srgbClr val="000000"/>
                  </a:solidFill>
                  <a:ea typeface="ＭＳ Ｐゴシック" pitchFamily="34" charset="-128"/>
                </a:rPr>
                <a:t>Odstavení</a:t>
              </a:r>
              <a:endParaRPr lang="cs-CZ" sz="2400" b="0" dirty="0">
                <a:solidFill>
                  <a:schemeClr val="tx1"/>
                </a:solidFill>
                <a:latin typeface="Times New Roman" pitchFamily="18" charset="0"/>
                <a:ea typeface="ＭＳ Ｐゴシック" pitchFamily="34" charset="-128"/>
              </a:endParaRPr>
            </a:p>
          </p:txBody>
        </p:sp>
        <p:sp>
          <p:nvSpPr>
            <p:cNvPr id="574" name="Rectangle 584"/>
            <p:cNvSpPr>
              <a:spLocks noChangeArrowheads="1"/>
            </p:cNvSpPr>
            <p:nvPr/>
          </p:nvSpPr>
          <p:spPr bwMode="auto">
            <a:xfrm>
              <a:off x="690" y="2344"/>
              <a:ext cx="315" cy="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dirty="0" smtClean="0">
                  <a:solidFill>
                    <a:srgbClr val="000000"/>
                  </a:solidFill>
                  <a:ea typeface="ＭＳ Ｐゴシック" pitchFamily="34" charset="-128"/>
                </a:rPr>
                <a:t>do 2022 </a:t>
              </a:r>
              <a:endParaRPr lang="cs-CZ" sz="2400" b="0" dirty="0">
                <a:solidFill>
                  <a:schemeClr val="tx1"/>
                </a:solidFill>
                <a:latin typeface="Times New Roman" pitchFamily="18" charset="0"/>
                <a:ea typeface="ＭＳ Ｐゴシック" pitchFamily="34" charset="-128"/>
              </a:endParaRPr>
            </a:p>
          </p:txBody>
        </p:sp>
        <p:sp>
          <p:nvSpPr>
            <p:cNvPr id="575" name="Freeform 585"/>
            <p:cNvSpPr>
              <a:spLocks/>
            </p:cNvSpPr>
            <p:nvPr/>
          </p:nvSpPr>
          <p:spPr bwMode="auto">
            <a:xfrm>
              <a:off x="2625" y="1317"/>
              <a:ext cx="1037" cy="499"/>
            </a:xfrm>
            <a:custGeom>
              <a:avLst/>
              <a:gdLst>
                <a:gd name="T0" fmla="*/ 720 w 2073"/>
                <a:gd name="T1" fmla="*/ 0 h 998"/>
                <a:gd name="T2" fmla="*/ 665 w 2073"/>
                <a:gd name="T3" fmla="*/ 3 h 998"/>
                <a:gd name="T4" fmla="*/ 614 w 2073"/>
                <a:gd name="T5" fmla="*/ 13 h 998"/>
                <a:gd name="T6" fmla="*/ 568 w 2073"/>
                <a:gd name="T7" fmla="*/ 29 h 998"/>
                <a:gd name="T8" fmla="*/ 529 w 2073"/>
                <a:gd name="T9" fmla="*/ 49 h 998"/>
                <a:gd name="T10" fmla="*/ 511 w 2073"/>
                <a:gd name="T11" fmla="*/ 60 h 998"/>
                <a:gd name="T12" fmla="*/ 496 w 2073"/>
                <a:gd name="T13" fmla="*/ 72 h 998"/>
                <a:gd name="T14" fmla="*/ 482 w 2073"/>
                <a:gd name="T15" fmla="*/ 86 h 998"/>
                <a:gd name="T16" fmla="*/ 470 w 2073"/>
                <a:gd name="T17" fmla="*/ 102 h 998"/>
                <a:gd name="T18" fmla="*/ 460 w 2073"/>
                <a:gd name="T19" fmla="*/ 117 h 998"/>
                <a:gd name="T20" fmla="*/ 454 w 2073"/>
                <a:gd name="T21" fmla="*/ 133 h 998"/>
                <a:gd name="T22" fmla="*/ 450 w 2073"/>
                <a:gd name="T23" fmla="*/ 149 h 998"/>
                <a:gd name="T24" fmla="*/ 448 w 2073"/>
                <a:gd name="T25" fmla="*/ 167 h 998"/>
                <a:gd name="T26" fmla="*/ 448 w 2073"/>
                <a:gd name="T27" fmla="*/ 581 h 998"/>
                <a:gd name="T28" fmla="*/ 0 w 2073"/>
                <a:gd name="T29" fmla="*/ 548 h 998"/>
                <a:gd name="T30" fmla="*/ 448 w 2073"/>
                <a:gd name="T31" fmla="*/ 831 h 998"/>
                <a:gd name="T32" fmla="*/ 450 w 2073"/>
                <a:gd name="T33" fmla="*/ 848 h 998"/>
                <a:gd name="T34" fmla="*/ 454 w 2073"/>
                <a:gd name="T35" fmla="*/ 864 h 998"/>
                <a:gd name="T36" fmla="*/ 460 w 2073"/>
                <a:gd name="T37" fmla="*/ 880 h 998"/>
                <a:gd name="T38" fmla="*/ 470 w 2073"/>
                <a:gd name="T39" fmla="*/ 895 h 998"/>
                <a:gd name="T40" fmla="*/ 482 w 2073"/>
                <a:gd name="T41" fmla="*/ 911 h 998"/>
                <a:gd name="T42" fmla="*/ 496 w 2073"/>
                <a:gd name="T43" fmla="*/ 925 h 998"/>
                <a:gd name="T44" fmla="*/ 511 w 2073"/>
                <a:gd name="T45" fmla="*/ 937 h 998"/>
                <a:gd name="T46" fmla="*/ 529 w 2073"/>
                <a:gd name="T47" fmla="*/ 948 h 998"/>
                <a:gd name="T48" fmla="*/ 568 w 2073"/>
                <a:gd name="T49" fmla="*/ 970 h 998"/>
                <a:gd name="T50" fmla="*/ 614 w 2073"/>
                <a:gd name="T51" fmla="*/ 984 h 998"/>
                <a:gd name="T52" fmla="*/ 665 w 2073"/>
                <a:gd name="T53" fmla="*/ 994 h 998"/>
                <a:gd name="T54" fmla="*/ 720 w 2073"/>
                <a:gd name="T55" fmla="*/ 998 h 998"/>
                <a:gd name="T56" fmla="*/ 1126 w 2073"/>
                <a:gd name="T57" fmla="*/ 998 h 998"/>
                <a:gd name="T58" fmla="*/ 1802 w 2073"/>
                <a:gd name="T59" fmla="*/ 998 h 998"/>
                <a:gd name="T60" fmla="*/ 1857 w 2073"/>
                <a:gd name="T61" fmla="*/ 994 h 998"/>
                <a:gd name="T62" fmla="*/ 1908 w 2073"/>
                <a:gd name="T63" fmla="*/ 984 h 998"/>
                <a:gd name="T64" fmla="*/ 1954 w 2073"/>
                <a:gd name="T65" fmla="*/ 970 h 998"/>
                <a:gd name="T66" fmla="*/ 1995 w 2073"/>
                <a:gd name="T67" fmla="*/ 948 h 998"/>
                <a:gd name="T68" fmla="*/ 2011 w 2073"/>
                <a:gd name="T69" fmla="*/ 937 h 998"/>
                <a:gd name="T70" fmla="*/ 2026 w 2073"/>
                <a:gd name="T71" fmla="*/ 925 h 998"/>
                <a:gd name="T72" fmla="*/ 2040 w 2073"/>
                <a:gd name="T73" fmla="*/ 911 h 998"/>
                <a:gd name="T74" fmla="*/ 2052 w 2073"/>
                <a:gd name="T75" fmla="*/ 895 h 998"/>
                <a:gd name="T76" fmla="*/ 2062 w 2073"/>
                <a:gd name="T77" fmla="*/ 880 h 998"/>
                <a:gd name="T78" fmla="*/ 2068 w 2073"/>
                <a:gd name="T79" fmla="*/ 864 h 998"/>
                <a:gd name="T80" fmla="*/ 2071 w 2073"/>
                <a:gd name="T81" fmla="*/ 848 h 998"/>
                <a:gd name="T82" fmla="*/ 2073 w 2073"/>
                <a:gd name="T83" fmla="*/ 831 h 998"/>
                <a:gd name="T84" fmla="*/ 2073 w 2073"/>
                <a:gd name="T85" fmla="*/ 581 h 998"/>
                <a:gd name="T86" fmla="*/ 2073 w 2073"/>
                <a:gd name="T87" fmla="*/ 167 h 998"/>
                <a:gd name="T88" fmla="*/ 2071 w 2073"/>
                <a:gd name="T89" fmla="*/ 149 h 998"/>
                <a:gd name="T90" fmla="*/ 2068 w 2073"/>
                <a:gd name="T91" fmla="*/ 133 h 998"/>
                <a:gd name="T92" fmla="*/ 2062 w 2073"/>
                <a:gd name="T93" fmla="*/ 117 h 998"/>
                <a:gd name="T94" fmla="*/ 2052 w 2073"/>
                <a:gd name="T95" fmla="*/ 102 h 998"/>
                <a:gd name="T96" fmla="*/ 2040 w 2073"/>
                <a:gd name="T97" fmla="*/ 86 h 998"/>
                <a:gd name="T98" fmla="*/ 2026 w 2073"/>
                <a:gd name="T99" fmla="*/ 72 h 998"/>
                <a:gd name="T100" fmla="*/ 2011 w 2073"/>
                <a:gd name="T101" fmla="*/ 60 h 998"/>
                <a:gd name="T102" fmla="*/ 1995 w 2073"/>
                <a:gd name="T103" fmla="*/ 49 h 998"/>
                <a:gd name="T104" fmla="*/ 1954 w 2073"/>
                <a:gd name="T105" fmla="*/ 29 h 998"/>
                <a:gd name="T106" fmla="*/ 1908 w 2073"/>
                <a:gd name="T107" fmla="*/ 13 h 998"/>
                <a:gd name="T108" fmla="*/ 1857 w 2073"/>
                <a:gd name="T109" fmla="*/ 3 h 998"/>
                <a:gd name="T110" fmla="*/ 1802 w 2073"/>
                <a:gd name="T111" fmla="*/ 0 h 998"/>
                <a:gd name="T112" fmla="*/ 1126 w 2073"/>
                <a:gd name="T113" fmla="*/ 0 h 998"/>
                <a:gd name="T114" fmla="*/ 720 w 2073"/>
                <a:gd name="T115" fmla="*/ 0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73" h="998">
                  <a:moveTo>
                    <a:pt x="720" y="0"/>
                  </a:moveTo>
                  <a:lnTo>
                    <a:pt x="665" y="3"/>
                  </a:lnTo>
                  <a:lnTo>
                    <a:pt x="614" y="13"/>
                  </a:lnTo>
                  <a:lnTo>
                    <a:pt x="568" y="29"/>
                  </a:lnTo>
                  <a:lnTo>
                    <a:pt x="529" y="49"/>
                  </a:lnTo>
                  <a:lnTo>
                    <a:pt x="511" y="60"/>
                  </a:lnTo>
                  <a:lnTo>
                    <a:pt x="496" y="72"/>
                  </a:lnTo>
                  <a:lnTo>
                    <a:pt x="482" y="86"/>
                  </a:lnTo>
                  <a:lnTo>
                    <a:pt x="470" y="102"/>
                  </a:lnTo>
                  <a:lnTo>
                    <a:pt x="460" y="117"/>
                  </a:lnTo>
                  <a:lnTo>
                    <a:pt x="454" y="133"/>
                  </a:lnTo>
                  <a:lnTo>
                    <a:pt x="450" y="149"/>
                  </a:lnTo>
                  <a:lnTo>
                    <a:pt x="448" y="167"/>
                  </a:lnTo>
                  <a:lnTo>
                    <a:pt x="448" y="581"/>
                  </a:lnTo>
                  <a:lnTo>
                    <a:pt x="0" y="548"/>
                  </a:lnTo>
                  <a:lnTo>
                    <a:pt x="448" y="831"/>
                  </a:lnTo>
                  <a:lnTo>
                    <a:pt x="450" y="848"/>
                  </a:lnTo>
                  <a:lnTo>
                    <a:pt x="454" y="864"/>
                  </a:lnTo>
                  <a:lnTo>
                    <a:pt x="460" y="880"/>
                  </a:lnTo>
                  <a:lnTo>
                    <a:pt x="470" y="895"/>
                  </a:lnTo>
                  <a:lnTo>
                    <a:pt x="482" y="911"/>
                  </a:lnTo>
                  <a:lnTo>
                    <a:pt x="496" y="925"/>
                  </a:lnTo>
                  <a:lnTo>
                    <a:pt x="511" y="937"/>
                  </a:lnTo>
                  <a:lnTo>
                    <a:pt x="529" y="948"/>
                  </a:lnTo>
                  <a:lnTo>
                    <a:pt x="568" y="970"/>
                  </a:lnTo>
                  <a:lnTo>
                    <a:pt x="614" y="984"/>
                  </a:lnTo>
                  <a:lnTo>
                    <a:pt x="665" y="994"/>
                  </a:lnTo>
                  <a:lnTo>
                    <a:pt x="720" y="998"/>
                  </a:lnTo>
                  <a:lnTo>
                    <a:pt x="1126" y="998"/>
                  </a:lnTo>
                  <a:lnTo>
                    <a:pt x="1802" y="998"/>
                  </a:lnTo>
                  <a:lnTo>
                    <a:pt x="1857" y="994"/>
                  </a:lnTo>
                  <a:lnTo>
                    <a:pt x="1908" y="984"/>
                  </a:lnTo>
                  <a:lnTo>
                    <a:pt x="1954" y="970"/>
                  </a:lnTo>
                  <a:lnTo>
                    <a:pt x="1995" y="948"/>
                  </a:lnTo>
                  <a:lnTo>
                    <a:pt x="2011" y="937"/>
                  </a:lnTo>
                  <a:lnTo>
                    <a:pt x="2026" y="925"/>
                  </a:lnTo>
                  <a:lnTo>
                    <a:pt x="2040" y="911"/>
                  </a:lnTo>
                  <a:lnTo>
                    <a:pt x="2052" y="895"/>
                  </a:lnTo>
                  <a:lnTo>
                    <a:pt x="2062" y="880"/>
                  </a:lnTo>
                  <a:lnTo>
                    <a:pt x="2068" y="864"/>
                  </a:lnTo>
                  <a:lnTo>
                    <a:pt x="2071" y="848"/>
                  </a:lnTo>
                  <a:lnTo>
                    <a:pt x="2073" y="831"/>
                  </a:lnTo>
                  <a:lnTo>
                    <a:pt x="2073" y="581"/>
                  </a:lnTo>
                  <a:lnTo>
                    <a:pt x="2073" y="167"/>
                  </a:lnTo>
                  <a:lnTo>
                    <a:pt x="2071" y="149"/>
                  </a:lnTo>
                  <a:lnTo>
                    <a:pt x="2068" y="133"/>
                  </a:lnTo>
                  <a:lnTo>
                    <a:pt x="2062" y="117"/>
                  </a:lnTo>
                  <a:lnTo>
                    <a:pt x="2052" y="102"/>
                  </a:lnTo>
                  <a:lnTo>
                    <a:pt x="2040" y="86"/>
                  </a:lnTo>
                  <a:lnTo>
                    <a:pt x="2026" y="72"/>
                  </a:lnTo>
                  <a:lnTo>
                    <a:pt x="2011" y="60"/>
                  </a:lnTo>
                  <a:lnTo>
                    <a:pt x="1995" y="49"/>
                  </a:lnTo>
                  <a:lnTo>
                    <a:pt x="1954" y="29"/>
                  </a:lnTo>
                  <a:lnTo>
                    <a:pt x="1908" y="13"/>
                  </a:lnTo>
                  <a:lnTo>
                    <a:pt x="1857" y="3"/>
                  </a:lnTo>
                  <a:lnTo>
                    <a:pt x="1802" y="0"/>
                  </a:lnTo>
                  <a:lnTo>
                    <a:pt x="1126" y="0"/>
                  </a:lnTo>
                  <a:lnTo>
                    <a:pt x="720" y="0"/>
                  </a:lnTo>
                  <a:close/>
                </a:path>
              </a:pathLst>
            </a:custGeom>
            <a:solidFill>
              <a:srgbClr val="FFFFFF"/>
            </a:solidFill>
            <a:ln w="9525">
              <a:solidFill>
                <a:srgbClr val="000000"/>
              </a:solidFill>
              <a:prstDash val="solid"/>
              <a:round/>
              <a:headEnd/>
              <a:tailEnd/>
            </a:ln>
          </p:spPr>
          <p:txBody>
            <a:bodyPr/>
            <a:lstStyle/>
            <a:p>
              <a:endParaRPr lang="cs-CZ"/>
            </a:p>
          </p:txBody>
        </p:sp>
        <p:sp>
          <p:nvSpPr>
            <p:cNvPr id="576" name="Rectangle 586"/>
            <p:cNvSpPr>
              <a:spLocks noChangeArrowheads="1"/>
            </p:cNvSpPr>
            <p:nvPr/>
          </p:nvSpPr>
          <p:spPr bwMode="auto">
            <a:xfrm>
              <a:off x="2902" y="1362"/>
              <a:ext cx="36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Švédsko</a:t>
              </a:r>
              <a:endParaRPr lang="cs-CZ" sz="2400" b="0">
                <a:solidFill>
                  <a:schemeClr val="tx1"/>
                </a:solidFill>
                <a:latin typeface="Times New Roman" pitchFamily="18" charset="0"/>
                <a:ea typeface="ＭＳ Ｐゴシック" pitchFamily="34" charset="-128"/>
              </a:endParaRPr>
            </a:p>
          </p:txBody>
        </p:sp>
        <p:sp>
          <p:nvSpPr>
            <p:cNvPr id="577" name="Rectangle 587"/>
            <p:cNvSpPr>
              <a:spLocks noChangeArrowheads="1"/>
            </p:cNvSpPr>
            <p:nvPr/>
          </p:nvSpPr>
          <p:spPr bwMode="auto">
            <a:xfrm>
              <a:off x="2902" y="1469"/>
              <a:ext cx="31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578" name="Rectangle 588"/>
            <p:cNvSpPr>
              <a:spLocks noChangeArrowheads="1"/>
            </p:cNvSpPr>
            <p:nvPr/>
          </p:nvSpPr>
          <p:spPr bwMode="auto">
            <a:xfrm>
              <a:off x="3234" y="1469"/>
              <a:ext cx="7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579" name="Rectangle 589"/>
            <p:cNvSpPr>
              <a:spLocks noChangeArrowheads="1"/>
            </p:cNvSpPr>
            <p:nvPr/>
          </p:nvSpPr>
          <p:spPr bwMode="auto">
            <a:xfrm>
              <a:off x="2902" y="1573"/>
              <a:ext cx="33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kladu </a:t>
              </a:r>
              <a:endParaRPr lang="cs-CZ" sz="2400" b="0">
                <a:solidFill>
                  <a:schemeClr val="tx1"/>
                </a:solidFill>
                <a:latin typeface="Times New Roman" pitchFamily="18" charset="0"/>
                <a:ea typeface="ＭＳ Ｐゴシック" pitchFamily="34" charset="-128"/>
              </a:endParaRPr>
            </a:p>
          </p:txBody>
        </p:sp>
        <p:sp>
          <p:nvSpPr>
            <p:cNvPr id="580" name="Rectangle 590"/>
            <p:cNvSpPr>
              <a:spLocks noChangeArrowheads="1"/>
            </p:cNvSpPr>
            <p:nvPr/>
          </p:nvSpPr>
          <p:spPr bwMode="auto">
            <a:xfrm>
              <a:off x="2902" y="1677"/>
              <a:ext cx="474"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dstavování</a:t>
              </a:r>
              <a:endParaRPr lang="cs-CZ" sz="2400" b="0">
                <a:solidFill>
                  <a:schemeClr val="tx1"/>
                </a:solidFill>
                <a:latin typeface="Times New Roman" pitchFamily="18" charset="0"/>
                <a:ea typeface="ＭＳ Ｐゴシック" pitchFamily="34" charset="-128"/>
              </a:endParaRPr>
            </a:p>
          </p:txBody>
        </p:sp>
        <p:sp>
          <p:nvSpPr>
            <p:cNvPr id="591" name="Freeform 601"/>
            <p:cNvSpPr>
              <a:spLocks/>
            </p:cNvSpPr>
            <p:nvPr/>
          </p:nvSpPr>
          <p:spPr bwMode="auto">
            <a:xfrm>
              <a:off x="2893" y="1735"/>
              <a:ext cx="1152" cy="738"/>
            </a:xfrm>
            <a:custGeom>
              <a:avLst/>
              <a:gdLst>
                <a:gd name="T0" fmla="*/ 872 w 2303"/>
                <a:gd name="T1" fmla="*/ 0 h 1475"/>
                <a:gd name="T2" fmla="*/ 815 w 2303"/>
                <a:gd name="T3" fmla="*/ 2 h 1475"/>
                <a:gd name="T4" fmla="*/ 762 w 2303"/>
                <a:gd name="T5" fmla="*/ 9 h 1475"/>
                <a:gd name="T6" fmla="*/ 713 w 2303"/>
                <a:gd name="T7" fmla="*/ 21 h 1475"/>
                <a:gd name="T8" fmla="*/ 672 w 2303"/>
                <a:gd name="T9" fmla="*/ 37 h 1475"/>
                <a:gd name="T10" fmla="*/ 652 w 2303"/>
                <a:gd name="T11" fmla="*/ 47 h 1475"/>
                <a:gd name="T12" fmla="*/ 637 w 2303"/>
                <a:gd name="T13" fmla="*/ 57 h 1475"/>
                <a:gd name="T14" fmla="*/ 623 w 2303"/>
                <a:gd name="T15" fmla="*/ 66 h 1475"/>
                <a:gd name="T16" fmla="*/ 609 w 2303"/>
                <a:gd name="T17" fmla="*/ 78 h 1475"/>
                <a:gd name="T18" fmla="*/ 601 w 2303"/>
                <a:gd name="T19" fmla="*/ 90 h 1475"/>
                <a:gd name="T20" fmla="*/ 593 w 2303"/>
                <a:gd name="T21" fmla="*/ 102 h 1475"/>
                <a:gd name="T22" fmla="*/ 589 w 2303"/>
                <a:gd name="T23" fmla="*/ 113 h 1475"/>
                <a:gd name="T24" fmla="*/ 587 w 2303"/>
                <a:gd name="T25" fmla="*/ 127 h 1475"/>
                <a:gd name="T26" fmla="*/ 587 w 2303"/>
                <a:gd name="T27" fmla="*/ 449 h 1475"/>
                <a:gd name="T28" fmla="*/ 587 w 2303"/>
                <a:gd name="T29" fmla="*/ 642 h 1475"/>
                <a:gd name="T30" fmla="*/ 589 w 2303"/>
                <a:gd name="T31" fmla="*/ 656 h 1475"/>
                <a:gd name="T32" fmla="*/ 593 w 2303"/>
                <a:gd name="T33" fmla="*/ 668 h 1475"/>
                <a:gd name="T34" fmla="*/ 601 w 2303"/>
                <a:gd name="T35" fmla="*/ 681 h 1475"/>
                <a:gd name="T36" fmla="*/ 609 w 2303"/>
                <a:gd name="T37" fmla="*/ 693 h 1475"/>
                <a:gd name="T38" fmla="*/ 623 w 2303"/>
                <a:gd name="T39" fmla="*/ 705 h 1475"/>
                <a:gd name="T40" fmla="*/ 637 w 2303"/>
                <a:gd name="T41" fmla="*/ 715 h 1475"/>
                <a:gd name="T42" fmla="*/ 652 w 2303"/>
                <a:gd name="T43" fmla="*/ 725 h 1475"/>
                <a:gd name="T44" fmla="*/ 672 w 2303"/>
                <a:gd name="T45" fmla="*/ 734 h 1475"/>
                <a:gd name="T46" fmla="*/ 713 w 2303"/>
                <a:gd name="T47" fmla="*/ 750 h 1475"/>
                <a:gd name="T48" fmla="*/ 762 w 2303"/>
                <a:gd name="T49" fmla="*/ 762 h 1475"/>
                <a:gd name="T50" fmla="*/ 815 w 2303"/>
                <a:gd name="T51" fmla="*/ 770 h 1475"/>
                <a:gd name="T52" fmla="*/ 872 w 2303"/>
                <a:gd name="T53" fmla="*/ 772 h 1475"/>
                <a:gd name="T54" fmla="*/ 0 w 2303"/>
                <a:gd name="T55" fmla="*/ 1475 h 1475"/>
                <a:gd name="T56" fmla="*/ 1303 w 2303"/>
                <a:gd name="T57" fmla="*/ 772 h 1475"/>
                <a:gd name="T58" fmla="*/ 2016 w 2303"/>
                <a:gd name="T59" fmla="*/ 772 h 1475"/>
                <a:gd name="T60" fmla="*/ 2075 w 2303"/>
                <a:gd name="T61" fmla="*/ 770 h 1475"/>
                <a:gd name="T62" fmla="*/ 2128 w 2303"/>
                <a:gd name="T63" fmla="*/ 762 h 1475"/>
                <a:gd name="T64" fmla="*/ 2177 w 2303"/>
                <a:gd name="T65" fmla="*/ 750 h 1475"/>
                <a:gd name="T66" fmla="*/ 2218 w 2303"/>
                <a:gd name="T67" fmla="*/ 734 h 1475"/>
                <a:gd name="T68" fmla="*/ 2238 w 2303"/>
                <a:gd name="T69" fmla="*/ 725 h 1475"/>
                <a:gd name="T70" fmla="*/ 2254 w 2303"/>
                <a:gd name="T71" fmla="*/ 715 h 1475"/>
                <a:gd name="T72" fmla="*/ 2267 w 2303"/>
                <a:gd name="T73" fmla="*/ 705 h 1475"/>
                <a:gd name="T74" fmla="*/ 2281 w 2303"/>
                <a:gd name="T75" fmla="*/ 693 h 1475"/>
                <a:gd name="T76" fmla="*/ 2289 w 2303"/>
                <a:gd name="T77" fmla="*/ 681 h 1475"/>
                <a:gd name="T78" fmla="*/ 2297 w 2303"/>
                <a:gd name="T79" fmla="*/ 668 h 1475"/>
                <a:gd name="T80" fmla="*/ 2301 w 2303"/>
                <a:gd name="T81" fmla="*/ 656 h 1475"/>
                <a:gd name="T82" fmla="*/ 2303 w 2303"/>
                <a:gd name="T83" fmla="*/ 642 h 1475"/>
                <a:gd name="T84" fmla="*/ 2303 w 2303"/>
                <a:gd name="T85" fmla="*/ 449 h 1475"/>
                <a:gd name="T86" fmla="*/ 2303 w 2303"/>
                <a:gd name="T87" fmla="*/ 127 h 1475"/>
                <a:gd name="T88" fmla="*/ 2301 w 2303"/>
                <a:gd name="T89" fmla="*/ 113 h 1475"/>
                <a:gd name="T90" fmla="*/ 2297 w 2303"/>
                <a:gd name="T91" fmla="*/ 102 h 1475"/>
                <a:gd name="T92" fmla="*/ 2289 w 2303"/>
                <a:gd name="T93" fmla="*/ 90 h 1475"/>
                <a:gd name="T94" fmla="*/ 2281 w 2303"/>
                <a:gd name="T95" fmla="*/ 78 h 1475"/>
                <a:gd name="T96" fmla="*/ 2267 w 2303"/>
                <a:gd name="T97" fmla="*/ 66 h 1475"/>
                <a:gd name="T98" fmla="*/ 2254 w 2303"/>
                <a:gd name="T99" fmla="*/ 57 h 1475"/>
                <a:gd name="T100" fmla="*/ 2238 w 2303"/>
                <a:gd name="T101" fmla="*/ 47 h 1475"/>
                <a:gd name="T102" fmla="*/ 2218 w 2303"/>
                <a:gd name="T103" fmla="*/ 37 h 1475"/>
                <a:gd name="T104" fmla="*/ 2177 w 2303"/>
                <a:gd name="T105" fmla="*/ 21 h 1475"/>
                <a:gd name="T106" fmla="*/ 2128 w 2303"/>
                <a:gd name="T107" fmla="*/ 9 h 1475"/>
                <a:gd name="T108" fmla="*/ 2075 w 2303"/>
                <a:gd name="T109" fmla="*/ 2 h 1475"/>
                <a:gd name="T110" fmla="*/ 2016 w 2303"/>
                <a:gd name="T111" fmla="*/ 0 h 1475"/>
                <a:gd name="T112" fmla="*/ 1303 w 2303"/>
                <a:gd name="T113" fmla="*/ 0 h 1475"/>
                <a:gd name="T114" fmla="*/ 872 w 2303"/>
                <a:gd name="T115" fmla="*/ 0 h 1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3" h="1475">
                  <a:moveTo>
                    <a:pt x="872" y="0"/>
                  </a:moveTo>
                  <a:lnTo>
                    <a:pt x="815" y="2"/>
                  </a:lnTo>
                  <a:lnTo>
                    <a:pt x="762" y="9"/>
                  </a:lnTo>
                  <a:lnTo>
                    <a:pt x="713" y="21"/>
                  </a:lnTo>
                  <a:lnTo>
                    <a:pt x="672" y="37"/>
                  </a:lnTo>
                  <a:lnTo>
                    <a:pt x="652" y="47"/>
                  </a:lnTo>
                  <a:lnTo>
                    <a:pt x="637" y="57"/>
                  </a:lnTo>
                  <a:lnTo>
                    <a:pt x="623" y="66"/>
                  </a:lnTo>
                  <a:lnTo>
                    <a:pt x="609" y="78"/>
                  </a:lnTo>
                  <a:lnTo>
                    <a:pt x="601" y="90"/>
                  </a:lnTo>
                  <a:lnTo>
                    <a:pt x="593" y="102"/>
                  </a:lnTo>
                  <a:lnTo>
                    <a:pt x="589" y="113"/>
                  </a:lnTo>
                  <a:lnTo>
                    <a:pt x="587" y="127"/>
                  </a:lnTo>
                  <a:lnTo>
                    <a:pt x="587" y="449"/>
                  </a:lnTo>
                  <a:lnTo>
                    <a:pt x="587" y="642"/>
                  </a:lnTo>
                  <a:lnTo>
                    <a:pt x="589" y="656"/>
                  </a:lnTo>
                  <a:lnTo>
                    <a:pt x="593" y="668"/>
                  </a:lnTo>
                  <a:lnTo>
                    <a:pt x="601" y="681"/>
                  </a:lnTo>
                  <a:lnTo>
                    <a:pt x="609" y="693"/>
                  </a:lnTo>
                  <a:lnTo>
                    <a:pt x="623" y="705"/>
                  </a:lnTo>
                  <a:lnTo>
                    <a:pt x="637" y="715"/>
                  </a:lnTo>
                  <a:lnTo>
                    <a:pt x="652" y="725"/>
                  </a:lnTo>
                  <a:lnTo>
                    <a:pt x="672" y="734"/>
                  </a:lnTo>
                  <a:lnTo>
                    <a:pt x="713" y="750"/>
                  </a:lnTo>
                  <a:lnTo>
                    <a:pt x="762" y="762"/>
                  </a:lnTo>
                  <a:lnTo>
                    <a:pt x="815" y="770"/>
                  </a:lnTo>
                  <a:lnTo>
                    <a:pt x="872" y="772"/>
                  </a:lnTo>
                  <a:lnTo>
                    <a:pt x="0" y="1475"/>
                  </a:lnTo>
                  <a:lnTo>
                    <a:pt x="1303" y="772"/>
                  </a:lnTo>
                  <a:lnTo>
                    <a:pt x="2016" y="772"/>
                  </a:lnTo>
                  <a:lnTo>
                    <a:pt x="2075" y="770"/>
                  </a:lnTo>
                  <a:lnTo>
                    <a:pt x="2128" y="762"/>
                  </a:lnTo>
                  <a:lnTo>
                    <a:pt x="2177" y="750"/>
                  </a:lnTo>
                  <a:lnTo>
                    <a:pt x="2218" y="734"/>
                  </a:lnTo>
                  <a:lnTo>
                    <a:pt x="2238" y="725"/>
                  </a:lnTo>
                  <a:lnTo>
                    <a:pt x="2254" y="715"/>
                  </a:lnTo>
                  <a:lnTo>
                    <a:pt x="2267" y="705"/>
                  </a:lnTo>
                  <a:lnTo>
                    <a:pt x="2281" y="693"/>
                  </a:lnTo>
                  <a:lnTo>
                    <a:pt x="2289" y="681"/>
                  </a:lnTo>
                  <a:lnTo>
                    <a:pt x="2297" y="668"/>
                  </a:lnTo>
                  <a:lnTo>
                    <a:pt x="2301" y="656"/>
                  </a:lnTo>
                  <a:lnTo>
                    <a:pt x="2303" y="642"/>
                  </a:lnTo>
                  <a:lnTo>
                    <a:pt x="2303" y="449"/>
                  </a:lnTo>
                  <a:lnTo>
                    <a:pt x="2303" y="127"/>
                  </a:lnTo>
                  <a:lnTo>
                    <a:pt x="2301" y="113"/>
                  </a:lnTo>
                  <a:lnTo>
                    <a:pt x="2297" y="102"/>
                  </a:lnTo>
                  <a:lnTo>
                    <a:pt x="2289" y="90"/>
                  </a:lnTo>
                  <a:lnTo>
                    <a:pt x="2281" y="78"/>
                  </a:lnTo>
                  <a:lnTo>
                    <a:pt x="2267" y="66"/>
                  </a:lnTo>
                  <a:lnTo>
                    <a:pt x="2254" y="57"/>
                  </a:lnTo>
                  <a:lnTo>
                    <a:pt x="2238" y="47"/>
                  </a:lnTo>
                  <a:lnTo>
                    <a:pt x="2218" y="37"/>
                  </a:lnTo>
                  <a:lnTo>
                    <a:pt x="2177" y="21"/>
                  </a:lnTo>
                  <a:lnTo>
                    <a:pt x="2128" y="9"/>
                  </a:lnTo>
                  <a:lnTo>
                    <a:pt x="2075" y="2"/>
                  </a:lnTo>
                  <a:lnTo>
                    <a:pt x="2016" y="0"/>
                  </a:lnTo>
                  <a:lnTo>
                    <a:pt x="1303" y="0"/>
                  </a:lnTo>
                  <a:lnTo>
                    <a:pt x="872" y="0"/>
                  </a:lnTo>
                  <a:close/>
                </a:path>
              </a:pathLst>
            </a:custGeom>
            <a:solidFill>
              <a:srgbClr val="FFFFFF"/>
            </a:solidFill>
            <a:ln w="9525">
              <a:solidFill>
                <a:srgbClr val="000000"/>
              </a:solidFill>
              <a:prstDash val="solid"/>
              <a:round/>
              <a:headEnd/>
              <a:tailEnd/>
            </a:ln>
          </p:spPr>
          <p:txBody>
            <a:bodyPr/>
            <a:lstStyle/>
            <a:p>
              <a:endParaRPr lang="cs-CZ"/>
            </a:p>
          </p:txBody>
        </p:sp>
        <p:sp>
          <p:nvSpPr>
            <p:cNvPr id="592" name="Rectangle 602"/>
            <p:cNvSpPr>
              <a:spLocks noChangeArrowheads="1"/>
            </p:cNvSpPr>
            <p:nvPr/>
          </p:nvSpPr>
          <p:spPr bwMode="auto">
            <a:xfrm>
              <a:off x="3242" y="1776"/>
              <a:ext cx="28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Polsko</a:t>
              </a:r>
              <a:endParaRPr lang="cs-CZ" sz="2400" b="0">
                <a:solidFill>
                  <a:schemeClr val="tx1"/>
                </a:solidFill>
                <a:latin typeface="Times New Roman" pitchFamily="18" charset="0"/>
                <a:ea typeface="ＭＳ Ｐゴシック" pitchFamily="34" charset="-128"/>
              </a:endParaRPr>
            </a:p>
          </p:txBody>
        </p:sp>
        <p:sp>
          <p:nvSpPr>
            <p:cNvPr id="593" name="Rectangle 603"/>
            <p:cNvSpPr>
              <a:spLocks noChangeArrowheads="1"/>
            </p:cNvSpPr>
            <p:nvPr/>
          </p:nvSpPr>
          <p:spPr bwMode="auto">
            <a:xfrm>
              <a:off x="3242" y="1883"/>
              <a:ext cx="36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tevřena</a:t>
              </a:r>
              <a:endParaRPr lang="cs-CZ" sz="2400" b="0">
                <a:solidFill>
                  <a:schemeClr val="tx1"/>
                </a:solidFill>
                <a:latin typeface="Times New Roman" pitchFamily="18" charset="0"/>
                <a:ea typeface="ＭＳ Ｐゴシック" pitchFamily="34" charset="-128"/>
              </a:endParaRPr>
            </a:p>
          </p:txBody>
        </p:sp>
        <p:sp>
          <p:nvSpPr>
            <p:cNvPr id="594" name="Rectangle 604"/>
            <p:cNvSpPr>
              <a:spLocks noChangeArrowheads="1"/>
            </p:cNvSpPr>
            <p:nvPr/>
          </p:nvSpPr>
          <p:spPr bwMode="auto">
            <a:xfrm>
              <a:off x="3619" y="1883"/>
              <a:ext cx="29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iskuze</a:t>
              </a:r>
              <a:endParaRPr lang="cs-CZ" sz="2400" b="0">
                <a:solidFill>
                  <a:schemeClr val="tx1"/>
                </a:solidFill>
                <a:latin typeface="Times New Roman" pitchFamily="18" charset="0"/>
                <a:ea typeface="ＭＳ Ｐゴシック" pitchFamily="34" charset="-128"/>
              </a:endParaRPr>
            </a:p>
          </p:txBody>
        </p:sp>
        <p:sp>
          <p:nvSpPr>
            <p:cNvPr id="595" name="Rectangle 605"/>
            <p:cNvSpPr>
              <a:spLocks noChangeArrowheads="1"/>
            </p:cNvSpPr>
            <p:nvPr/>
          </p:nvSpPr>
          <p:spPr bwMode="auto">
            <a:xfrm>
              <a:off x="3937" y="1883"/>
              <a:ext cx="7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 </a:t>
              </a:r>
              <a:endParaRPr lang="cs-CZ" sz="2400" b="0">
                <a:solidFill>
                  <a:schemeClr val="tx1"/>
                </a:solidFill>
                <a:latin typeface="Times New Roman" pitchFamily="18" charset="0"/>
                <a:ea typeface="ＭＳ Ｐゴシック" pitchFamily="34" charset="-128"/>
              </a:endParaRPr>
            </a:p>
          </p:txBody>
        </p:sp>
        <p:sp>
          <p:nvSpPr>
            <p:cNvPr id="596" name="Rectangle 606"/>
            <p:cNvSpPr>
              <a:spLocks noChangeArrowheads="1"/>
            </p:cNvSpPr>
            <p:nvPr/>
          </p:nvSpPr>
          <p:spPr bwMode="auto">
            <a:xfrm>
              <a:off x="3242" y="1987"/>
              <a:ext cx="703"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ýstavbě 1. bloku </a:t>
              </a:r>
              <a:endParaRPr lang="cs-CZ" sz="2400" b="0">
                <a:solidFill>
                  <a:schemeClr val="tx1"/>
                </a:solidFill>
                <a:latin typeface="Times New Roman" pitchFamily="18" charset="0"/>
                <a:ea typeface="ＭＳ Ｐゴシック" pitchFamily="34" charset="-128"/>
              </a:endParaRPr>
            </a:p>
          </p:txBody>
        </p:sp>
        <p:sp>
          <p:nvSpPr>
            <p:cNvPr id="597" name="Freeform 607"/>
            <p:cNvSpPr>
              <a:spLocks/>
            </p:cNvSpPr>
            <p:nvPr/>
          </p:nvSpPr>
          <p:spPr bwMode="auto">
            <a:xfrm>
              <a:off x="2840" y="2149"/>
              <a:ext cx="1705" cy="645"/>
            </a:xfrm>
            <a:custGeom>
              <a:avLst/>
              <a:gdLst>
                <a:gd name="T0" fmla="*/ 1890 w 3409"/>
                <a:gd name="T1" fmla="*/ 0 h 1289"/>
                <a:gd name="T2" fmla="*/ 1829 w 3409"/>
                <a:gd name="T3" fmla="*/ 4 h 1289"/>
                <a:gd name="T4" fmla="*/ 1772 w 3409"/>
                <a:gd name="T5" fmla="*/ 13 h 1289"/>
                <a:gd name="T6" fmla="*/ 1721 w 3409"/>
                <a:gd name="T7" fmla="*/ 29 h 1289"/>
                <a:gd name="T8" fmla="*/ 1676 w 3409"/>
                <a:gd name="T9" fmla="*/ 49 h 1289"/>
                <a:gd name="T10" fmla="*/ 1656 w 3409"/>
                <a:gd name="T11" fmla="*/ 61 h 1289"/>
                <a:gd name="T12" fmla="*/ 1638 w 3409"/>
                <a:gd name="T13" fmla="*/ 72 h 1289"/>
                <a:gd name="T14" fmla="*/ 1625 w 3409"/>
                <a:gd name="T15" fmla="*/ 86 h 1289"/>
                <a:gd name="T16" fmla="*/ 1611 w 3409"/>
                <a:gd name="T17" fmla="*/ 102 h 1289"/>
                <a:gd name="T18" fmla="*/ 1601 w 3409"/>
                <a:gd name="T19" fmla="*/ 118 h 1289"/>
                <a:gd name="T20" fmla="*/ 1593 w 3409"/>
                <a:gd name="T21" fmla="*/ 133 h 1289"/>
                <a:gd name="T22" fmla="*/ 1589 w 3409"/>
                <a:gd name="T23" fmla="*/ 149 h 1289"/>
                <a:gd name="T24" fmla="*/ 1587 w 3409"/>
                <a:gd name="T25" fmla="*/ 167 h 1289"/>
                <a:gd name="T26" fmla="*/ 1587 w 3409"/>
                <a:gd name="T27" fmla="*/ 581 h 1289"/>
                <a:gd name="T28" fmla="*/ 0 w 3409"/>
                <a:gd name="T29" fmla="*/ 1289 h 1289"/>
                <a:gd name="T30" fmla="*/ 1587 w 3409"/>
                <a:gd name="T31" fmla="*/ 831 h 1289"/>
                <a:gd name="T32" fmla="*/ 1589 w 3409"/>
                <a:gd name="T33" fmla="*/ 848 h 1289"/>
                <a:gd name="T34" fmla="*/ 1593 w 3409"/>
                <a:gd name="T35" fmla="*/ 864 h 1289"/>
                <a:gd name="T36" fmla="*/ 1601 w 3409"/>
                <a:gd name="T37" fmla="*/ 880 h 1289"/>
                <a:gd name="T38" fmla="*/ 1611 w 3409"/>
                <a:gd name="T39" fmla="*/ 896 h 1289"/>
                <a:gd name="T40" fmla="*/ 1625 w 3409"/>
                <a:gd name="T41" fmla="*/ 911 h 1289"/>
                <a:gd name="T42" fmla="*/ 1638 w 3409"/>
                <a:gd name="T43" fmla="*/ 925 h 1289"/>
                <a:gd name="T44" fmla="*/ 1656 w 3409"/>
                <a:gd name="T45" fmla="*/ 937 h 1289"/>
                <a:gd name="T46" fmla="*/ 1676 w 3409"/>
                <a:gd name="T47" fmla="*/ 949 h 1289"/>
                <a:gd name="T48" fmla="*/ 1721 w 3409"/>
                <a:gd name="T49" fmla="*/ 970 h 1289"/>
                <a:gd name="T50" fmla="*/ 1772 w 3409"/>
                <a:gd name="T51" fmla="*/ 984 h 1289"/>
                <a:gd name="T52" fmla="*/ 1829 w 3409"/>
                <a:gd name="T53" fmla="*/ 994 h 1289"/>
                <a:gd name="T54" fmla="*/ 1890 w 3409"/>
                <a:gd name="T55" fmla="*/ 998 h 1289"/>
                <a:gd name="T56" fmla="*/ 2346 w 3409"/>
                <a:gd name="T57" fmla="*/ 998 h 1289"/>
                <a:gd name="T58" fmla="*/ 3104 w 3409"/>
                <a:gd name="T59" fmla="*/ 998 h 1289"/>
                <a:gd name="T60" fmla="*/ 3165 w 3409"/>
                <a:gd name="T61" fmla="*/ 994 h 1289"/>
                <a:gd name="T62" fmla="*/ 3224 w 3409"/>
                <a:gd name="T63" fmla="*/ 984 h 1289"/>
                <a:gd name="T64" fmla="*/ 3275 w 3409"/>
                <a:gd name="T65" fmla="*/ 970 h 1289"/>
                <a:gd name="T66" fmla="*/ 3299 w 3409"/>
                <a:gd name="T67" fmla="*/ 960 h 1289"/>
                <a:gd name="T68" fmla="*/ 3320 w 3409"/>
                <a:gd name="T69" fmla="*/ 949 h 1289"/>
                <a:gd name="T70" fmla="*/ 3340 w 3409"/>
                <a:gd name="T71" fmla="*/ 937 h 1289"/>
                <a:gd name="T72" fmla="*/ 3358 w 3409"/>
                <a:gd name="T73" fmla="*/ 925 h 1289"/>
                <a:gd name="T74" fmla="*/ 3371 w 3409"/>
                <a:gd name="T75" fmla="*/ 911 h 1289"/>
                <a:gd name="T76" fmla="*/ 3385 w 3409"/>
                <a:gd name="T77" fmla="*/ 896 h 1289"/>
                <a:gd name="T78" fmla="*/ 3395 w 3409"/>
                <a:gd name="T79" fmla="*/ 880 h 1289"/>
                <a:gd name="T80" fmla="*/ 3403 w 3409"/>
                <a:gd name="T81" fmla="*/ 864 h 1289"/>
                <a:gd name="T82" fmla="*/ 3407 w 3409"/>
                <a:gd name="T83" fmla="*/ 848 h 1289"/>
                <a:gd name="T84" fmla="*/ 3409 w 3409"/>
                <a:gd name="T85" fmla="*/ 831 h 1289"/>
                <a:gd name="T86" fmla="*/ 3409 w 3409"/>
                <a:gd name="T87" fmla="*/ 581 h 1289"/>
                <a:gd name="T88" fmla="*/ 3409 w 3409"/>
                <a:gd name="T89" fmla="*/ 167 h 1289"/>
                <a:gd name="T90" fmla="*/ 3407 w 3409"/>
                <a:gd name="T91" fmla="*/ 149 h 1289"/>
                <a:gd name="T92" fmla="*/ 3403 w 3409"/>
                <a:gd name="T93" fmla="*/ 133 h 1289"/>
                <a:gd name="T94" fmla="*/ 3395 w 3409"/>
                <a:gd name="T95" fmla="*/ 118 h 1289"/>
                <a:gd name="T96" fmla="*/ 3385 w 3409"/>
                <a:gd name="T97" fmla="*/ 102 h 1289"/>
                <a:gd name="T98" fmla="*/ 3371 w 3409"/>
                <a:gd name="T99" fmla="*/ 86 h 1289"/>
                <a:gd name="T100" fmla="*/ 3358 w 3409"/>
                <a:gd name="T101" fmla="*/ 72 h 1289"/>
                <a:gd name="T102" fmla="*/ 3340 w 3409"/>
                <a:gd name="T103" fmla="*/ 61 h 1289"/>
                <a:gd name="T104" fmla="*/ 3320 w 3409"/>
                <a:gd name="T105" fmla="*/ 49 h 1289"/>
                <a:gd name="T106" fmla="*/ 3299 w 3409"/>
                <a:gd name="T107" fmla="*/ 37 h 1289"/>
                <a:gd name="T108" fmla="*/ 3275 w 3409"/>
                <a:gd name="T109" fmla="*/ 29 h 1289"/>
                <a:gd name="T110" fmla="*/ 3224 w 3409"/>
                <a:gd name="T111" fmla="*/ 13 h 1289"/>
                <a:gd name="T112" fmla="*/ 3165 w 3409"/>
                <a:gd name="T113" fmla="*/ 4 h 1289"/>
                <a:gd name="T114" fmla="*/ 3104 w 3409"/>
                <a:gd name="T115" fmla="*/ 0 h 1289"/>
                <a:gd name="T116" fmla="*/ 2346 w 3409"/>
                <a:gd name="T117" fmla="*/ 0 h 1289"/>
                <a:gd name="T118" fmla="*/ 1890 w 3409"/>
                <a:gd name="T119" fmla="*/ 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09" h="1289">
                  <a:moveTo>
                    <a:pt x="1890" y="0"/>
                  </a:moveTo>
                  <a:lnTo>
                    <a:pt x="1829" y="4"/>
                  </a:lnTo>
                  <a:lnTo>
                    <a:pt x="1772" y="13"/>
                  </a:lnTo>
                  <a:lnTo>
                    <a:pt x="1721" y="29"/>
                  </a:lnTo>
                  <a:lnTo>
                    <a:pt x="1676" y="49"/>
                  </a:lnTo>
                  <a:lnTo>
                    <a:pt x="1656" y="61"/>
                  </a:lnTo>
                  <a:lnTo>
                    <a:pt x="1638" y="72"/>
                  </a:lnTo>
                  <a:lnTo>
                    <a:pt x="1625" y="86"/>
                  </a:lnTo>
                  <a:lnTo>
                    <a:pt x="1611" y="102"/>
                  </a:lnTo>
                  <a:lnTo>
                    <a:pt x="1601" y="118"/>
                  </a:lnTo>
                  <a:lnTo>
                    <a:pt x="1593" y="133"/>
                  </a:lnTo>
                  <a:lnTo>
                    <a:pt x="1589" y="149"/>
                  </a:lnTo>
                  <a:lnTo>
                    <a:pt x="1587" y="167"/>
                  </a:lnTo>
                  <a:lnTo>
                    <a:pt x="1587" y="581"/>
                  </a:lnTo>
                  <a:lnTo>
                    <a:pt x="0" y="1289"/>
                  </a:lnTo>
                  <a:lnTo>
                    <a:pt x="1587" y="831"/>
                  </a:lnTo>
                  <a:lnTo>
                    <a:pt x="1589" y="848"/>
                  </a:lnTo>
                  <a:lnTo>
                    <a:pt x="1593" y="864"/>
                  </a:lnTo>
                  <a:lnTo>
                    <a:pt x="1601" y="880"/>
                  </a:lnTo>
                  <a:lnTo>
                    <a:pt x="1611" y="896"/>
                  </a:lnTo>
                  <a:lnTo>
                    <a:pt x="1625" y="911"/>
                  </a:lnTo>
                  <a:lnTo>
                    <a:pt x="1638" y="925"/>
                  </a:lnTo>
                  <a:lnTo>
                    <a:pt x="1656" y="937"/>
                  </a:lnTo>
                  <a:lnTo>
                    <a:pt x="1676" y="949"/>
                  </a:lnTo>
                  <a:lnTo>
                    <a:pt x="1721" y="970"/>
                  </a:lnTo>
                  <a:lnTo>
                    <a:pt x="1772" y="984"/>
                  </a:lnTo>
                  <a:lnTo>
                    <a:pt x="1829" y="994"/>
                  </a:lnTo>
                  <a:lnTo>
                    <a:pt x="1890" y="998"/>
                  </a:lnTo>
                  <a:lnTo>
                    <a:pt x="2346" y="998"/>
                  </a:lnTo>
                  <a:lnTo>
                    <a:pt x="3104" y="998"/>
                  </a:lnTo>
                  <a:lnTo>
                    <a:pt x="3165" y="994"/>
                  </a:lnTo>
                  <a:lnTo>
                    <a:pt x="3224" y="984"/>
                  </a:lnTo>
                  <a:lnTo>
                    <a:pt x="3275" y="970"/>
                  </a:lnTo>
                  <a:lnTo>
                    <a:pt x="3299" y="960"/>
                  </a:lnTo>
                  <a:lnTo>
                    <a:pt x="3320" y="949"/>
                  </a:lnTo>
                  <a:lnTo>
                    <a:pt x="3340" y="937"/>
                  </a:lnTo>
                  <a:lnTo>
                    <a:pt x="3358" y="925"/>
                  </a:lnTo>
                  <a:lnTo>
                    <a:pt x="3371" y="911"/>
                  </a:lnTo>
                  <a:lnTo>
                    <a:pt x="3385" y="896"/>
                  </a:lnTo>
                  <a:lnTo>
                    <a:pt x="3395" y="880"/>
                  </a:lnTo>
                  <a:lnTo>
                    <a:pt x="3403" y="864"/>
                  </a:lnTo>
                  <a:lnTo>
                    <a:pt x="3407" y="848"/>
                  </a:lnTo>
                  <a:lnTo>
                    <a:pt x="3409" y="831"/>
                  </a:lnTo>
                  <a:lnTo>
                    <a:pt x="3409" y="581"/>
                  </a:lnTo>
                  <a:lnTo>
                    <a:pt x="3409" y="167"/>
                  </a:lnTo>
                  <a:lnTo>
                    <a:pt x="3407" y="149"/>
                  </a:lnTo>
                  <a:lnTo>
                    <a:pt x="3403" y="133"/>
                  </a:lnTo>
                  <a:lnTo>
                    <a:pt x="3395" y="118"/>
                  </a:lnTo>
                  <a:lnTo>
                    <a:pt x="3385" y="102"/>
                  </a:lnTo>
                  <a:lnTo>
                    <a:pt x="3371" y="86"/>
                  </a:lnTo>
                  <a:lnTo>
                    <a:pt x="3358" y="72"/>
                  </a:lnTo>
                  <a:lnTo>
                    <a:pt x="3340" y="61"/>
                  </a:lnTo>
                  <a:lnTo>
                    <a:pt x="3320" y="49"/>
                  </a:lnTo>
                  <a:lnTo>
                    <a:pt x="3299" y="37"/>
                  </a:lnTo>
                  <a:lnTo>
                    <a:pt x="3275" y="29"/>
                  </a:lnTo>
                  <a:lnTo>
                    <a:pt x="3224" y="13"/>
                  </a:lnTo>
                  <a:lnTo>
                    <a:pt x="3165" y="4"/>
                  </a:lnTo>
                  <a:lnTo>
                    <a:pt x="3104" y="0"/>
                  </a:lnTo>
                  <a:lnTo>
                    <a:pt x="2346" y="0"/>
                  </a:lnTo>
                  <a:lnTo>
                    <a:pt x="1890" y="0"/>
                  </a:lnTo>
                  <a:close/>
                </a:path>
              </a:pathLst>
            </a:custGeom>
            <a:solidFill>
              <a:srgbClr val="FFFFFF"/>
            </a:solidFill>
            <a:ln w="9525">
              <a:solidFill>
                <a:srgbClr val="000000"/>
              </a:solidFill>
              <a:prstDash val="solid"/>
              <a:round/>
              <a:headEnd/>
              <a:tailEnd/>
            </a:ln>
          </p:spPr>
          <p:txBody>
            <a:bodyPr/>
            <a:lstStyle/>
            <a:p>
              <a:endParaRPr lang="cs-CZ"/>
            </a:p>
          </p:txBody>
        </p:sp>
        <p:sp>
          <p:nvSpPr>
            <p:cNvPr id="598" name="Rectangle 608"/>
            <p:cNvSpPr>
              <a:spLocks noChangeArrowheads="1"/>
            </p:cNvSpPr>
            <p:nvPr/>
          </p:nvSpPr>
          <p:spPr bwMode="auto">
            <a:xfrm>
              <a:off x="3691" y="2194"/>
              <a:ext cx="441"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a:solidFill>
                    <a:srgbClr val="000000"/>
                  </a:solidFill>
                  <a:ea typeface="ＭＳ Ｐゴシック" pitchFamily="34" charset="-128"/>
                </a:rPr>
                <a:t>Slovensko</a:t>
              </a:r>
              <a:endParaRPr lang="cs-CZ" sz="2400" b="0">
                <a:solidFill>
                  <a:schemeClr val="tx1"/>
                </a:solidFill>
                <a:latin typeface="Times New Roman" pitchFamily="18" charset="0"/>
                <a:ea typeface="ＭＳ Ｐゴシック" pitchFamily="34" charset="-128"/>
              </a:endParaRPr>
            </a:p>
          </p:txBody>
        </p:sp>
        <p:sp>
          <p:nvSpPr>
            <p:cNvPr id="599" name="Rectangle 609"/>
            <p:cNvSpPr>
              <a:spLocks noChangeArrowheads="1"/>
            </p:cNvSpPr>
            <p:nvPr/>
          </p:nvSpPr>
          <p:spPr bwMode="auto">
            <a:xfrm>
              <a:off x="3691" y="2301"/>
              <a:ext cx="82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Oznámena výstavba </a:t>
              </a:r>
              <a:endParaRPr lang="cs-CZ" sz="2400" b="0">
                <a:solidFill>
                  <a:schemeClr val="tx1"/>
                </a:solidFill>
                <a:latin typeface="Times New Roman" pitchFamily="18" charset="0"/>
                <a:ea typeface="ＭＳ Ｐゴシック" pitchFamily="34" charset="-128"/>
              </a:endParaRPr>
            </a:p>
          </p:txBody>
        </p:sp>
        <p:sp>
          <p:nvSpPr>
            <p:cNvPr id="600" name="Rectangle 610"/>
            <p:cNvSpPr>
              <a:spLocks noChangeArrowheads="1"/>
            </p:cNvSpPr>
            <p:nvPr/>
          </p:nvSpPr>
          <p:spPr bwMode="auto">
            <a:xfrm>
              <a:off x="3691" y="2405"/>
              <a:ext cx="822"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další kapacity VVER </a:t>
              </a:r>
              <a:endParaRPr lang="cs-CZ" sz="2400" b="0">
                <a:solidFill>
                  <a:schemeClr val="tx1"/>
                </a:solidFill>
                <a:latin typeface="Times New Roman" pitchFamily="18" charset="0"/>
                <a:ea typeface="ＭＳ Ｐゴシック" pitchFamily="34" charset="-128"/>
              </a:endParaRPr>
            </a:p>
          </p:txBody>
        </p:sp>
        <p:sp>
          <p:nvSpPr>
            <p:cNvPr id="601" name="Rectangle 611"/>
            <p:cNvSpPr>
              <a:spLocks noChangeArrowheads="1"/>
            </p:cNvSpPr>
            <p:nvPr/>
          </p:nvSpPr>
          <p:spPr bwMode="auto">
            <a:xfrm>
              <a:off x="3691" y="2509"/>
              <a:ext cx="805"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l" eaLnBrk="1" hangingPunct="1">
                <a:lnSpc>
                  <a:spcPct val="100000"/>
                </a:lnSpc>
              </a:pPr>
              <a:r>
                <a:rPr lang="cs-CZ" sz="1100" b="0">
                  <a:solidFill>
                    <a:srgbClr val="000000"/>
                  </a:solidFill>
                  <a:ea typeface="ＭＳ Ｐゴシック" pitchFamily="34" charset="-128"/>
                </a:rPr>
                <a:t>v EMO 3&amp;4 a EBO 5</a:t>
              </a:r>
              <a:endParaRPr lang="cs-CZ" sz="2400" b="0">
                <a:solidFill>
                  <a:schemeClr val="tx1"/>
                </a:solidFill>
                <a:latin typeface="Times New Roman" pitchFamily="18" charset="0"/>
                <a:ea typeface="ＭＳ Ｐゴシック" pitchFamily="34" charset="-128"/>
              </a:endParaRPr>
            </a:p>
          </p:txBody>
        </p:sp>
      </p:grpSp>
      <p:sp>
        <p:nvSpPr>
          <p:cNvPr id="581" name="Slide Number Placeholder 5"/>
          <p:cNvSpPr txBox="1">
            <a:spLocks/>
          </p:cNvSpPr>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36</a:t>
            </a:fld>
            <a:endParaRPr lang="en-US" dirty="0"/>
          </a:p>
        </p:txBody>
      </p:sp>
      <p:sp>
        <p:nvSpPr>
          <p:cNvPr id="582" name="Footer Placeholder 4"/>
          <p:cNvSpPr txBox="1">
            <a:spLocks/>
          </p:cNvSpPr>
          <p:nvPr/>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sp>
        <p:nvSpPr>
          <p:cNvPr id="584" name="TextovéPole 583"/>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6033031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Fosilní paliva</a:t>
            </a:r>
            <a:endParaRPr lang="cs-CZ" dirty="0"/>
          </a:p>
        </p:txBody>
      </p:sp>
      <p:sp>
        <p:nvSpPr>
          <p:cNvPr id="3" name="Zástupný symbol pro obsah 2"/>
          <p:cNvSpPr>
            <a:spLocks noGrp="1"/>
          </p:cNvSpPr>
          <p:nvPr>
            <p:ph idx="1"/>
          </p:nvPr>
        </p:nvSpPr>
        <p:spPr/>
        <p:txBody>
          <a:bodyPr/>
          <a:lstStyle/>
          <a:p>
            <a:r>
              <a:rPr lang="cs-CZ" dirty="0" smtClean="0"/>
              <a:t>ČR má zásoby hnědého a černého uhlí</a:t>
            </a:r>
          </a:p>
          <a:p>
            <a:pPr lvl="1"/>
            <a:r>
              <a:rPr lang="cs-CZ" dirty="0" smtClean="0"/>
              <a:t>Bezpečnost dodávek</a:t>
            </a:r>
          </a:p>
          <a:p>
            <a:pPr lvl="1"/>
            <a:r>
              <a:rPr lang="cs-CZ" dirty="0" smtClean="0"/>
              <a:t>Ekonomicky </a:t>
            </a:r>
            <a:r>
              <a:rPr lang="cs-CZ" dirty="0"/>
              <a:t>stabilní </a:t>
            </a:r>
            <a:r>
              <a:rPr lang="cs-CZ" dirty="0" smtClean="0"/>
              <a:t>zdroj</a:t>
            </a:r>
          </a:p>
          <a:p>
            <a:pPr lvl="1"/>
            <a:r>
              <a:rPr lang="cs-CZ" dirty="0" smtClean="0"/>
              <a:t>Snižuje závislost </a:t>
            </a:r>
            <a:r>
              <a:rPr lang="cs-CZ" dirty="0"/>
              <a:t>na energetickém dovozu</a:t>
            </a:r>
          </a:p>
          <a:p>
            <a:r>
              <a:rPr lang="cs-CZ" dirty="0" smtClean="0"/>
              <a:t>Klíčová </a:t>
            </a:r>
            <a:r>
              <a:rPr lang="cs-CZ" dirty="0"/>
              <a:t>pro kombinovanou výrobu elektřiny  a tepla</a:t>
            </a:r>
          </a:p>
          <a:p>
            <a:pPr lvl="1"/>
            <a:endParaRPr lang="cs-CZ" dirty="0"/>
          </a:p>
        </p:txBody>
      </p:sp>
      <p:pic>
        <p:nvPicPr>
          <p:cNvPr id="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2200" y="4725144"/>
            <a:ext cx="2092325" cy="1350963"/>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ovéPole 6"/>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7997978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Plynná paliva</a:t>
            </a:r>
            <a:endParaRPr lang="cs-CZ" dirty="0"/>
          </a:p>
        </p:txBody>
      </p:sp>
      <p:sp>
        <p:nvSpPr>
          <p:cNvPr id="3" name="Zástupný symbol pro obsah 2"/>
          <p:cNvSpPr>
            <a:spLocks noGrp="1"/>
          </p:cNvSpPr>
          <p:nvPr>
            <p:ph idx="1"/>
          </p:nvPr>
        </p:nvSpPr>
        <p:spPr>
          <a:xfrm>
            <a:off x="457200" y="1600200"/>
            <a:ext cx="6707088" cy="4525963"/>
          </a:xfrm>
        </p:spPr>
        <p:txBody>
          <a:bodyPr>
            <a:normAutofit/>
          </a:bodyPr>
          <a:lstStyle/>
          <a:p>
            <a:r>
              <a:rPr lang="cs-CZ" dirty="0" smtClean="0"/>
              <a:t>Nedílná </a:t>
            </a:r>
            <a:r>
              <a:rPr lang="cs-CZ" dirty="0"/>
              <a:t>součást energetického mixu ČR</a:t>
            </a:r>
          </a:p>
          <a:p>
            <a:r>
              <a:rPr lang="cs-CZ" dirty="0" smtClean="0"/>
              <a:t>Jejich </a:t>
            </a:r>
            <a:r>
              <a:rPr lang="cs-CZ" dirty="0"/>
              <a:t>podíl bude trvale mírně stoupat</a:t>
            </a:r>
          </a:p>
          <a:p>
            <a:r>
              <a:rPr lang="cs-CZ" dirty="0" smtClean="0"/>
              <a:t>ČR </a:t>
            </a:r>
            <a:r>
              <a:rPr lang="cs-CZ" dirty="0"/>
              <a:t>buduje nové zásobníky plynu </a:t>
            </a:r>
            <a:r>
              <a:rPr lang="cs-CZ" dirty="0" smtClean="0"/>
              <a:t>a propojení </a:t>
            </a:r>
            <a:r>
              <a:rPr lang="cs-CZ" dirty="0"/>
              <a:t>s okolními státy</a:t>
            </a:r>
          </a:p>
          <a:p>
            <a:r>
              <a:rPr lang="cs-CZ" dirty="0" smtClean="0"/>
              <a:t>Zvyšuje </a:t>
            </a:r>
            <a:r>
              <a:rPr lang="cs-CZ" dirty="0"/>
              <a:t>dovozní závislost, proto nerelevantní pro výrobu elektřiny a tepla</a:t>
            </a:r>
          </a:p>
          <a:p>
            <a:endParaRPr lang="cs-CZ" dirty="0"/>
          </a:p>
          <a:p>
            <a:pPr lvl="1"/>
            <a:endParaRPr lang="cs-CZ" dirty="0"/>
          </a:p>
        </p:txBody>
      </p:sp>
      <p:pic>
        <p:nvPicPr>
          <p:cNvPr id="5" name="Picture 4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47048" y="2132856"/>
            <a:ext cx="2325344" cy="28712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8" name="TextovéPole 7"/>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75835183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Kapalná paliva</a:t>
            </a:r>
            <a:endParaRPr lang="cs-CZ" dirty="0"/>
          </a:p>
        </p:txBody>
      </p:sp>
      <p:sp>
        <p:nvSpPr>
          <p:cNvPr id="3" name="Zástupný symbol pro obsah 2"/>
          <p:cNvSpPr>
            <a:spLocks noGrp="1"/>
          </p:cNvSpPr>
          <p:nvPr>
            <p:ph idx="1"/>
          </p:nvPr>
        </p:nvSpPr>
        <p:spPr>
          <a:xfrm>
            <a:off x="457200" y="1600200"/>
            <a:ext cx="7931224" cy="4525963"/>
          </a:xfrm>
        </p:spPr>
        <p:txBody>
          <a:bodyPr>
            <a:noAutofit/>
          </a:bodyPr>
          <a:lstStyle/>
          <a:p>
            <a:r>
              <a:rPr lang="cs-CZ" sz="2800" dirty="0" smtClean="0"/>
              <a:t>V </a:t>
            </a:r>
            <a:r>
              <a:rPr lang="cs-CZ" sz="2800" dirty="0"/>
              <a:t>ČR minimální využití pro výrobu elektřiny a tepla</a:t>
            </a:r>
          </a:p>
          <a:p>
            <a:r>
              <a:rPr lang="cs-CZ" sz="2800" dirty="0" smtClean="0"/>
              <a:t>Využívaná </a:t>
            </a:r>
            <a:r>
              <a:rPr lang="cs-CZ" sz="2800" dirty="0"/>
              <a:t>v průmyslu a dopravě</a:t>
            </a:r>
          </a:p>
          <a:p>
            <a:r>
              <a:rPr lang="cs-CZ" sz="2800" dirty="0" smtClean="0"/>
              <a:t>V </a:t>
            </a:r>
            <a:r>
              <a:rPr lang="cs-CZ" sz="2800" dirty="0"/>
              <a:t>budoucnu více druhů pohonu v dopravě, menší důraz na kapalná paliva</a:t>
            </a:r>
          </a:p>
          <a:p>
            <a:r>
              <a:rPr lang="cs-CZ" sz="2800" dirty="0" smtClean="0"/>
              <a:t>Předpokládá </a:t>
            </a:r>
            <a:r>
              <a:rPr lang="cs-CZ" sz="2800" dirty="0"/>
              <a:t>se trvalý pokles dovozu kapalných paliv pro energetické využití</a:t>
            </a:r>
          </a:p>
          <a:p>
            <a:endParaRPr lang="cs-CZ" dirty="0"/>
          </a:p>
          <a:p>
            <a:endParaRPr lang="cs-CZ" dirty="0"/>
          </a:p>
          <a:p>
            <a:pPr lvl="1"/>
            <a:endParaRPr lang="cs-CZ" dirty="0"/>
          </a:p>
        </p:txBody>
      </p:sp>
      <p:pic>
        <p:nvPicPr>
          <p:cNvPr id="8" name="Picture 5" descr="F:\DATA\PREZENTACE\tankování.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6797" y="4437112"/>
            <a:ext cx="2589213" cy="1725612"/>
          </a:xfrm>
          <a:prstGeom prst="rect">
            <a:avLst/>
          </a:prstGeom>
          <a:noFill/>
          <a:extLst>
            <a:ext uri="{909E8E84-426E-40DD-AFC4-6F175D3DCCD1}">
              <a14:hiddenFill xmlns:a14="http://schemas.microsoft.com/office/drawing/2010/main">
                <a:solidFill>
                  <a:srgbClr val="FFFFFF"/>
                </a:solidFill>
              </a14:hiddenFill>
            </a:ext>
          </a:extLst>
        </p:spPr>
      </p:pic>
      <p:sp>
        <p:nvSpPr>
          <p:cNvPr id="9" name="TextovéPole 8"/>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119570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Nadpis 1"/>
          <p:cNvSpPr>
            <a:spLocks noGrp="1"/>
          </p:cNvSpPr>
          <p:nvPr>
            <p:ph type="title"/>
          </p:nvPr>
        </p:nvSpPr>
        <p:spPr>
          <a:xfrm>
            <a:off x="1475656" y="428625"/>
            <a:ext cx="6408711" cy="425450"/>
          </a:xfrm>
        </p:spPr>
        <p:txBody>
          <a:bodyPr>
            <a:noAutofit/>
          </a:bodyPr>
          <a:lstStyle/>
          <a:p>
            <a:pPr algn="l"/>
            <a:r>
              <a:rPr lang="cs-CZ" dirty="0"/>
              <a:t>Scénáře pro udržitelný rozvoj</a:t>
            </a:r>
          </a:p>
        </p:txBody>
      </p:sp>
      <p:pic>
        <p:nvPicPr>
          <p:cNvPr id="266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124744"/>
            <a:ext cx="8599488" cy="501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8" name="TextovéPole 7"/>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51984640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Obnovitelné zdroje energie</a:t>
            </a:r>
            <a:endParaRPr lang="cs-CZ" dirty="0"/>
          </a:p>
        </p:txBody>
      </p:sp>
      <p:sp>
        <p:nvSpPr>
          <p:cNvPr id="3" name="Zástupný symbol pro obsah 2"/>
          <p:cNvSpPr>
            <a:spLocks noGrp="1"/>
          </p:cNvSpPr>
          <p:nvPr>
            <p:ph idx="1"/>
          </p:nvPr>
        </p:nvSpPr>
        <p:spPr>
          <a:xfrm>
            <a:off x="457200" y="1600200"/>
            <a:ext cx="7931224" cy="4525963"/>
          </a:xfrm>
        </p:spPr>
        <p:txBody>
          <a:bodyPr>
            <a:noAutofit/>
          </a:bodyPr>
          <a:lstStyle/>
          <a:p>
            <a:r>
              <a:rPr lang="cs-CZ" sz="2800" dirty="0" smtClean="0"/>
              <a:t>Akční </a:t>
            </a:r>
            <a:r>
              <a:rPr lang="cs-CZ" sz="2800" dirty="0"/>
              <a:t>plán ČR pro obnovitelné zdroje:</a:t>
            </a:r>
          </a:p>
          <a:p>
            <a:pPr lvl="1">
              <a:buClr>
                <a:srgbClr val="0070C0"/>
              </a:buClr>
            </a:pPr>
            <a:r>
              <a:rPr lang="cs-CZ" sz="2400" dirty="0"/>
              <a:t>2020: 13% podíl na hrubé spotřebě </a:t>
            </a:r>
            <a:r>
              <a:rPr lang="cs-CZ" sz="2400" dirty="0" smtClean="0"/>
              <a:t>energie </a:t>
            </a:r>
          </a:p>
          <a:p>
            <a:pPr lvl="1">
              <a:buClr>
                <a:srgbClr val="0070C0"/>
              </a:buClr>
            </a:pPr>
            <a:r>
              <a:rPr lang="cs-CZ" sz="2400" dirty="0" smtClean="0"/>
              <a:t>2020</a:t>
            </a:r>
            <a:r>
              <a:rPr lang="cs-CZ" sz="2400" dirty="0"/>
              <a:t>: cca 9% podíl na primárních zdrojích </a:t>
            </a:r>
            <a:r>
              <a:rPr lang="cs-CZ" sz="2400" dirty="0" smtClean="0"/>
              <a:t>energie </a:t>
            </a:r>
          </a:p>
          <a:p>
            <a:pPr lvl="1">
              <a:buClr>
                <a:srgbClr val="0070C0"/>
              </a:buClr>
            </a:pPr>
            <a:r>
              <a:rPr lang="cs-CZ" sz="2400" dirty="0" smtClean="0"/>
              <a:t>2050</a:t>
            </a:r>
            <a:r>
              <a:rPr lang="cs-CZ" sz="2400" dirty="0"/>
              <a:t>: cca 15% podíl na primárních zdrojích energie</a:t>
            </a:r>
          </a:p>
          <a:p>
            <a:r>
              <a:rPr lang="cs-CZ" sz="2800" dirty="0" smtClean="0"/>
              <a:t>Limitujícími </a:t>
            </a:r>
            <a:r>
              <a:rPr lang="cs-CZ" sz="2800" dirty="0"/>
              <a:t>faktory OZE</a:t>
            </a:r>
          </a:p>
          <a:p>
            <a:pPr lvl="1">
              <a:buClr>
                <a:srgbClr val="0070C0"/>
              </a:buClr>
            </a:pPr>
            <a:r>
              <a:rPr lang="cs-CZ" sz="2400" dirty="0"/>
              <a:t>rozloha, charakter krajiny a klimatické podmínky</a:t>
            </a:r>
          </a:p>
          <a:p>
            <a:r>
              <a:rPr lang="cs-CZ" sz="2800" dirty="0" smtClean="0"/>
              <a:t>Lokální </a:t>
            </a:r>
            <a:r>
              <a:rPr lang="cs-CZ" sz="2800" dirty="0"/>
              <a:t>význam OZE</a:t>
            </a:r>
          </a:p>
          <a:p>
            <a:pPr lvl="1">
              <a:buClr>
                <a:srgbClr val="0070C0"/>
              </a:buClr>
            </a:pPr>
            <a:r>
              <a:rPr lang="cs-CZ" sz="2400" dirty="0"/>
              <a:t>kvůli fyzikálním a ekonomickým vlastnostem</a:t>
            </a:r>
          </a:p>
          <a:p>
            <a:pPr marL="0" indent="0">
              <a:buNone/>
            </a:pPr>
            <a:endParaRPr lang="cs-CZ" sz="2800" dirty="0"/>
          </a:p>
          <a:p>
            <a:endParaRPr lang="cs-CZ" sz="2800" dirty="0"/>
          </a:p>
          <a:p>
            <a:endParaRPr lang="cs-CZ" sz="2800" dirty="0"/>
          </a:p>
          <a:p>
            <a:endParaRPr lang="cs-CZ" sz="2800" dirty="0"/>
          </a:p>
          <a:p>
            <a:pPr lvl="1"/>
            <a:endParaRPr lang="cs-CZ" dirty="0"/>
          </a:p>
        </p:txBody>
      </p:sp>
      <p:pic>
        <p:nvPicPr>
          <p:cNvPr id="9"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200485" y="5013176"/>
            <a:ext cx="162560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ovéPole 7"/>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633043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Jaderné palivo</a:t>
            </a:r>
            <a:endParaRPr lang="cs-CZ" dirty="0"/>
          </a:p>
        </p:txBody>
      </p:sp>
      <p:sp>
        <p:nvSpPr>
          <p:cNvPr id="3" name="Zástupný symbol pro obsah 2"/>
          <p:cNvSpPr>
            <a:spLocks noGrp="1"/>
          </p:cNvSpPr>
          <p:nvPr>
            <p:ph idx="1"/>
          </p:nvPr>
        </p:nvSpPr>
        <p:spPr>
          <a:xfrm>
            <a:off x="457200" y="1600200"/>
            <a:ext cx="7931224" cy="4525963"/>
          </a:xfrm>
        </p:spPr>
        <p:txBody>
          <a:bodyPr>
            <a:noAutofit/>
          </a:bodyPr>
          <a:lstStyle/>
          <a:p>
            <a:r>
              <a:rPr lang="cs-CZ" sz="2800" dirty="0" smtClean="0"/>
              <a:t>Vyrábí </a:t>
            </a:r>
            <a:r>
              <a:rPr lang="cs-CZ" sz="2800" dirty="0"/>
              <a:t>zhruba 1/3 elektrické energie</a:t>
            </a:r>
          </a:p>
          <a:p>
            <a:r>
              <a:rPr lang="cs-CZ" sz="2800" dirty="0" smtClean="0"/>
              <a:t>Výroba </a:t>
            </a:r>
            <a:r>
              <a:rPr lang="cs-CZ" sz="2800" dirty="0"/>
              <a:t>elektřiny z jádra bude stoupat</a:t>
            </a:r>
          </a:p>
          <a:p>
            <a:pPr lvl="1">
              <a:buClr>
                <a:srgbClr val="0070C0"/>
              </a:buClr>
            </a:pPr>
            <a:r>
              <a:rPr lang="cs-CZ" sz="2400" dirty="0" smtClean="0"/>
              <a:t>Dostavba </a:t>
            </a:r>
            <a:r>
              <a:rPr lang="cs-CZ" sz="2400" dirty="0"/>
              <a:t>Temelína</a:t>
            </a:r>
          </a:p>
          <a:p>
            <a:pPr lvl="1">
              <a:buClr>
                <a:srgbClr val="0070C0"/>
              </a:buClr>
            </a:pPr>
            <a:r>
              <a:rPr lang="cs-CZ" sz="2400" dirty="0" smtClean="0"/>
              <a:t>Využití </a:t>
            </a:r>
            <a:r>
              <a:rPr lang="cs-CZ" sz="2400" dirty="0"/>
              <a:t>reaktorů IV. generace po roce 2040</a:t>
            </a:r>
          </a:p>
          <a:p>
            <a:r>
              <a:rPr lang="cs-CZ" sz="2800" dirty="0" smtClean="0"/>
              <a:t>ČR </a:t>
            </a:r>
            <a:r>
              <a:rPr lang="cs-CZ" sz="2800" dirty="0"/>
              <a:t>má vlastní zásoby uranu</a:t>
            </a:r>
          </a:p>
          <a:p>
            <a:r>
              <a:rPr lang="cs-CZ" sz="2800" dirty="0" smtClean="0"/>
              <a:t>Bezemisní </a:t>
            </a:r>
            <a:r>
              <a:rPr lang="cs-CZ" sz="2800" dirty="0"/>
              <a:t>a stabilní </a:t>
            </a:r>
            <a:r>
              <a:rPr lang="cs-CZ" sz="2800" dirty="0" smtClean="0"/>
              <a:t>zdroj</a:t>
            </a:r>
          </a:p>
          <a:p>
            <a:r>
              <a:rPr lang="cs-CZ" sz="2800" dirty="0"/>
              <a:t>Dořešení otázky trvalého úložiště jaderného odpadu</a:t>
            </a:r>
          </a:p>
          <a:p>
            <a:pPr marL="0" indent="0">
              <a:buNone/>
            </a:pPr>
            <a:endParaRPr lang="cs-CZ" sz="2800" dirty="0"/>
          </a:p>
          <a:p>
            <a:pPr marL="0" indent="0">
              <a:buNone/>
            </a:pPr>
            <a:endParaRPr lang="cs-CZ" sz="2800" dirty="0"/>
          </a:p>
          <a:p>
            <a:endParaRPr lang="cs-CZ" sz="2800" dirty="0"/>
          </a:p>
          <a:p>
            <a:endParaRPr lang="cs-CZ" sz="2800" dirty="0"/>
          </a:p>
          <a:p>
            <a:endParaRPr lang="cs-CZ" sz="2800" dirty="0"/>
          </a:p>
          <a:p>
            <a:pPr lvl="1"/>
            <a:endParaRPr lang="cs-CZ" dirty="0"/>
          </a:p>
        </p:txBody>
      </p:sp>
      <p:pic>
        <p:nvPicPr>
          <p:cNvPr id="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64288" y="5044845"/>
            <a:ext cx="1826700" cy="1395196"/>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ovéPole 8"/>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222205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a:t>Možnosti využívání odpadu</a:t>
            </a:r>
          </a:p>
        </p:txBody>
      </p:sp>
      <p:sp>
        <p:nvSpPr>
          <p:cNvPr id="3" name="Zástupný symbol pro obsah 2"/>
          <p:cNvSpPr>
            <a:spLocks noGrp="1"/>
          </p:cNvSpPr>
          <p:nvPr>
            <p:ph idx="1"/>
          </p:nvPr>
        </p:nvSpPr>
        <p:spPr>
          <a:xfrm>
            <a:off x="467544" y="1844824"/>
            <a:ext cx="8229600" cy="4525963"/>
          </a:xfrm>
        </p:spPr>
        <p:txBody>
          <a:bodyPr>
            <a:normAutofit fontScale="92500" lnSpcReduction="10000"/>
          </a:bodyPr>
          <a:lstStyle/>
          <a:p>
            <a:r>
              <a:rPr lang="cs-CZ" sz="3300" dirty="0" smtClean="0"/>
              <a:t>Tuzemský </a:t>
            </a:r>
            <a:r>
              <a:rPr lang="cs-CZ" sz="3300" dirty="0"/>
              <a:t>zdroj energie</a:t>
            </a:r>
          </a:p>
          <a:p>
            <a:pPr lvl="1">
              <a:buClr>
                <a:srgbClr val="EB6A0A"/>
              </a:buClr>
              <a:buSzPct val="75000"/>
            </a:pPr>
            <a:r>
              <a:rPr lang="cs-CZ" dirty="0" smtClean="0"/>
              <a:t>Energetická </a:t>
            </a:r>
            <a:r>
              <a:rPr lang="cs-CZ" dirty="0"/>
              <a:t>bezpečnost</a:t>
            </a:r>
          </a:p>
          <a:p>
            <a:pPr lvl="1">
              <a:buClr>
                <a:srgbClr val="EB6A0A"/>
              </a:buClr>
              <a:buSzPct val="75000"/>
            </a:pPr>
            <a:r>
              <a:rPr lang="cs-CZ" dirty="0"/>
              <a:t>Snižuje dovozní závislost</a:t>
            </a:r>
          </a:p>
          <a:p>
            <a:pPr lvl="1">
              <a:buClr>
                <a:srgbClr val="EB6A0A"/>
              </a:buClr>
              <a:buSzPct val="75000"/>
            </a:pPr>
            <a:r>
              <a:rPr lang="cs-CZ" dirty="0"/>
              <a:t>Vhodné pro teplárenství</a:t>
            </a:r>
          </a:p>
          <a:p>
            <a:pPr lvl="1">
              <a:buClr>
                <a:srgbClr val="EB6A0A"/>
              </a:buClr>
              <a:buSzPct val="75000"/>
            </a:pPr>
            <a:r>
              <a:rPr lang="cs-CZ" dirty="0"/>
              <a:t>Částečná náhrada uhlí</a:t>
            </a:r>
          </a:p>
          <a:p>
            <a:pPr lvl="1">
              <a:buClr>
                <a:srgbClr val="EB6A0A"/>
              </a:buClr>
              <a:buSzPct val="75000"/>
            </a:pPr>
            <a:r>
              <a:rPr lang="cs-CZ" dirty="0"/>
              <a:t>Kogenerační výroba</a:t>
            </a:r>
          </a:p>
          <a:p>
            <a:pPr lvl="1">
              <a:buClr>
                <a:srgbClr val="EB6A0A"/>
              </a:buClr>
              <a:buSzPct val="75000"/>
            </a:pPr>
            <a:r>
              <a:rPr lang="cs-CZ" dirty="0"/>
              <a:t>Vhodné pro </a:t>
            </a:r>
            <a:r>
              <a:rPr lang="cs-CZ" dirty="0" err="1"/>
              <a:t>vícepalivové</a:t>
            </a:r>
            <a:r>
              <a:rPr lang="cs-CZ" dirty="0"/>
              <a:t> systémy</a:t>
            </a:r>
          </a:p>
          <a:p>
            <a:pPr lvl="1">
              <a:buClr>
                <a:srgbClr val="EB6A0A"/>
              </a:buClr>
              <a:buSzPct val="75000"/>
            </a:pPr>
            <a:r>
              <a:rPr lang="cs-CZ" dirty="0"/>
              <a:t>Povinnost neskládkovat od vstupu ČR do EU</a:t>
            </a:r>
          </a:p>
          <a:p>
            <a:r>
              <a:rPr lang="cs-CZ" sz="3300" dirty="0" smtClean="0"/>
              <a:t>Obnovitelný </a:t>
            </a:r>
            <a:r>
              <a:rPr lang="cs-CZ" sz="3300" dirty="0"/>
              <a:t>zdroj energie</a:t>
            </a:r>
          </a:p>
          <a:p>
            <a:pPr lvl="1">
              <a:buClr>
                <a:srgbClr val="EB6A0A"/>
              </a:buClr>
              <a:buSzPct val="75000"/>
            </a:pPr>
            <a:r>
              <a:rPr lang="cs-CZ" dirty="0" smtClean="0"/>
              <a:t>Nefosilní </a:t>
            </a:r>
            <a:r>
              <a:rPr lang="cs-CZ" dirty="0"/>
              <a:t>zdroj energie</a:t>
            </a:r>
          </a:p>
          <a:p>
            <a:pPr lvl="1">
              <a:buClr>
                <a:srgbClr val="EB6A0A"/>
              </a:buClr>
              <a:buSzPct val="75000"/>
            </a:pPr>
            <a:r>
              <a:rPr lang="cs-CZ" dirty="0" smtClean="0"/>
              <a:t>„</a:t>
            </a:r>
            <a:r>
              <a:rPr lang="cs-CZ" dirty="0"/>
              <a:t>Zatím“ neexportovatelný zdroj </a:t>
            </a:r>
          </a:p>
          <a:p>
            <a:pPr lvl="1">
              <a:buClr>
                <a:srgbClr val="003399"/>
              </a:buClr>
              <a:buSzPct val="75000"/>
            </a:pPr>
            <a:endParaRPr lang="cs-CZ" sz="2900" dirty="0"/>
          </a:p>
        </p:txBody>
      </p:sp>
      <p:grpSp>
        <p:nvGrpSpPr>
          <p:cNvPr id="6" name="Skupina 5"/>
          <p:cNvGrpSpPr/>
          <p:nvPr/>
        </p:nvGrpSpPr>
        <p:grpSpPr>
          <a:xfrm>
            <a:off x="1691680" y="1124744"/>
            <a:ext cx="7136308" cy="4921201"/>
            <a:chOff x="1691680" y="1124744"/>
            <a:chExt cx="7136308" cy="4921201"/>
          </a:xfrm>
        </p:grpSpPr>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1680" y="1124744"/>
              <a:ext cx="7136308" cy="4921201"/>
            </a:xfrm>
            <a:prstGeom prst="rect">
              <a:avLst/>
            </a:prstGeo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6"/>
            <p:cNvSpPr>
              <a:spLocks noChangeArrowheads="1"/>
            </p:cNvSpPr>
            <p:nvPr/>
          </p:nvSpPr>
          <p:spPr bwMode="auto">
            <a:xfrm>
              <a:off x="2051720" y="3861048"/>
              <a:ext cx="1333500" cy="495300"/>
            </a:xfrm>
            <a:prstGeom prst="ellipse">
              <a:avLst/>
            </a:prstGeom>
            <a:noFill/>
            <a:ln w="19050">
              <a:solidFill>
                <a:srgbClr val="FF0000"/>
              </a:solidFill>
              <a:round/>
              <a:headEnd/>
              <a:tailEnd/>
            </a:ln>
            <a:effectLst/>
            <a:extLst>
              <a:ext uri="{909E8E84-426E-40DD-AFC4-6F175D3DCCD1}">
                <a14:hiddenFill xmlns:a14="http://schemas.microsoft.com/office/drawing/2010/main">
                  <a:solidFill>
                    <a:srgbClr val="3366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grpSp>
      <p:sp>
        <p:nvSpPr>
          <p:cNvPr id="9" name="TextovéPole 8"/>
          <p:cNvSpPr txBox="1"/>
          <p:nvPr/>
        </p:nvSpPr>
        <p:spPr>
          <a:xfrm>
            <a:off x="3647863" y="6510336"/>
            <a:ext cx="1279517" cy="253916"/>
          </a:xfrm>
          <a:prstGeom prst="rect">
            <a:avLst/>
          </a:prstGeom>
          <a:noFill/>
        </p:spPr>
        <p:txBody>
          <a:bodyPr wrap="none" rtlCol="0">
            <a:spAutoFit/>
          </a:bodyPr>
          <a:lstStyle/>
          <a:p>
            <a:r>
              <a:rPr lang="cs-CZ" sz="1050" dirty="0" smtClean="0">
                <a:solidFill>
                  <a:srgbClr val="000000"/>
                </a:solidFill>
                <a:latin typeface="Arial Narrow" pitchFamily="34" charset="0"/>
              </a:rPr>
              <a:t>3</a:t>
            </a:r>
            <a:r>
              <a:rPr lang="cs-CZ" sz="1050" dirty="0">
                <a:solidFill>
                  <a:srgbClr val="000000"/>
                </a:solidFill>
                <a:latin typeface="Arial Narrow" pitchFamily="34" charset="0"/>
              </a:rPr>
              <a:t>. Tuzemské </a:t>
            </a:r>
            <a:r>
              <a:rPr lang="cs-CZ" sz="1050" dirty="0" smtClean="0">
                <a:solidFill>
                  <a:srgbClr val="000000"/>
                </a:solidFill>
                <a:latin typeface="Arial Narrow" pitchFamily="34" charset="0"/>
              </a:rPr>
              <a:t>možnosti</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970195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68828" y="2133134"/>
            <a:ext cx="6106885" cy="1390650"/>
          </a:xfrm>
        </p:spPr>
        <p:txBody>
          <a:bodyPr/>
          <a:lstStyle/>
          <a:p>
            <a:pPr algn="l"/>
            <a:r>
              <a:rPr lang="cs-CZ" sz="4400" dirty="0" smtClean="0"/>
              <a:t>Státní energetická koncepce ČR</a:t>
            </a:r>
            <a:endParaRPr lang="cs-CZ" sz="4400" dirty="0"/>
          </a:p>
        </p:txBody>
      </p:sp>
      <p:sp>
        <p:nvSpPr>
          <p:cNvPr id="4" name="Zástupný symbol pro text 3"/>
          <p:cNvSpPr>
            <a:spLocks noGrp="1"/>
          </p:cNvSpPr>
          <p:nvPr>
            <p:ph type="body" sz="quarter" idx="13"/>
          </p:nvPr>
        </p:nvSpPr>
        <p:spPr/>
        <p:txBody>
          <a:bodyPr/>
          <a:lstStyle/>
          <a:p>
            <a:r>
              <a:rPr lang="cs-CZ" dirty="0" smtClean="0"/>
              <a:t>4</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43</a:t>
            </a:fld>
            <a:endParaRPr lang="cs-CZ"/>
          </a:p>
        </p:txBody>
      </p:sp>
      <p:sp>
        <p:nvSpPr>
          <p:cNvPr id="6" name="Podnadpis 2"/>
          <p:cNvSpPr>
            <a:spLocks noGrp="1"/>
          </p:cNvSpPr>
          <p:nvPr>
            <p:ph type="subTitle" idx="1"/>
          </p:nvPr>
        </p:nvSpPr>
        <p:spPr>
          <a:xfrm>
            <a:off x="1079654" y="3505200"/>
            <a:ext cx="4682168" cy="1752600"/>
          </a:xfrm>
        </p:spPr>
        <p:txBody>
          <a:bodyPr/>
          <a:lstStyle/>
          <a:p>
            <a:pPr algn="l">
              <a:buFont typeface="Arial" pitchFamily="34" charset="0"/>
              <a:buNone/>
              <a:defRPr/>
            </a:pPr>
            <a:endParaRPr lang="cs-CZ" dirty="0"/>
          </a:p>
        </p:txBody>
      </p:sp>
    </p:spTree>
    <p:extLst>
      <p:ext uri="{BB962C8B-B14F-4D97-AF65-F5344CB8AC3E}">
        <p14:creationId xmlns:p14="http://schemas.microsoft.com/office/powerpoint/2010/main" val="18405491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Strategické priority energetiky</a:t>
            </a:r>
            <a:endParaRPr lang="cs-CZ" dirty="0"/>
          </a:p>
        </p:txBody>
      </p:sp>
      <p:sp>
        <p:nvSpPr>
          <p:cNvPr id="3" name="Zástupný symbol pro obsah 2"/>
          <p:cNvSpPr>
            <a:spLocks noGrp="1"/>
          </p:cNvSpPr>
          <p:nvPr>
            <p:ph idx="1"/>
          </p:nvPr>
        </p:nvSpPr>
        <p:spPr/>
        <p:txBody>
          <a:bodyPr>
            <a:normAutofit fontScale="92500" lnSpcReduction="20000"/>
          </a:bodyPr>
          <a:lstStyle/>
          <a:p>
            <a:pPr marL="514350" indent="-514350">
              <a:buFont typeface="+mj-lt"/>
              <a:buAutoNum type="arabicPeriod"/>
            </a:pPr>
            <a:r>
              <a:rPr lang="cs-CZ" dirty="0" smtClean="0"/>
              <a:t>Vyvážený </a:t>
            </a:r>
            <a:r>
              <a:rPr lang="cs-CZ" dirty="0"/>
              <a:t>mix </a:t>
            </a:r>
            <a:r>
              <a:rPr lang="cs-CZ" dirty="0" smtClean="0"/>
              <a:t>zdrojů</a:t>
            </a:r>
          </a:p>
          <a:p>
            <a:pPr marL="914400" lvl="1" indent="-514350"/>
            <a:r>
              <a:rPr lang="cs-CZ" dirty="0"/>
              <a:t>Široký zdrojový mix - důraz na využití tuzemských zdrojů</a:t>
            </a:r>
          </a:p>
          <a:p>
            <a:pPr marL="914400" lvl="1" indent="-514350"/>
            <a:r>
              <a:rPr lang="cs-CZ" dirty="0"/>
              <a:t>Soběstačnost ve výrobě elektřiny - důraz na udržení přebytkové výkonové kapacity a regulačních </a:t>
            </a:r>
            <a:r>
              <a:rPr lang="cs-CZ" dirty="0" smtClean="0"/>
              <a:t>výkonů</a:t>
            </a:r>
            <a:endParaRPr lang="cs-CZ" dirty="0"/>
          </a:p>
          <a:p>
            <a:pPr marL="514350" indent="-514350">
              <a:buFont typeface="+mj-lt"/>
              <a:buAutoNum type="arabicPeriod"/>
            </a:pPr>
            <a:r>
              <a:rPr lang="cs-CZ" dirty="0" smtClean="0"/>
              <a:t>Rozvoj infrastruktury</a:t>
            </a:r>
          </a:p>
          <a:p>
            <a:pPr marL="914400" lvl="1" indent="-514350"/>
            <a:r>
              <a:rPr lang="cs-CZ" sz="2900" dirty="0"/>
              <a:t>Posílení rezervních kapacit a zásobníků energií</a:t>
            </a:r>
          </a:p>
          <a:p>
            <a:pPr marL="514350" indent="-514350">
              <a:buFont typeface="+mj-lt"/>
              <a:buAutoNum type="arabicPeriod"/>
            </a:pPr>
            <a:r>
              <a:rPr lang="cs-CZ" dirty="0" smtClean="0"/>
              <a:t>Rozvoj </a:t>
            </a:r>
            <a:r>
              <a:rPr lang="cs-CZ" dirty="0"/>
              <a:t>trhu s </a:t>
            </a:r>
            <a:r>
              <a:rPr lang="cs-CZ" dirty="0" smtClean="0"/>
              <a:t>energií</a:t>
            </a:r>
          </a:p>
          <a:p>
            <a:pPr marL="914400" lvl="1" indent="-514350"/>
            <a:r>
              <a:rPr lang="cs-CZ" dirty="0" smtClean="0"/>
              <a:t>Diverzifikace </a:t>
            </a:r>
            <a:r>
              <a:rPr lang="cs-CZ" dirty="0"/>
              <a:t>zdrojů</a:t>
            </a:r>
          </a:p>
          <a:p>
            <a:pPr marL="514350" indent="-514350">
              <a:buFont typeface="+mj-lt"/>
              <a:buAutoNum type="arabicPeriod"/>
            </a:pPr>
            <a:r>
              <a:rPr lang="cs-CZ" dirty="0" smtClean="0"/>
              <a:t>Konkurenceschopnost</a:t>
            </a:r>
            <a:r>
              <a:rPr lang="cs-CZ" dirty="0"/>
              <a:t>, soběstačnost, odolnost a energetická bezpečnost</a:t>
            </a:r>
          </a:p>
          <a:p>
            <a:pPr marL="514350" indent="-514350">
              <a:buFont typeface="+mj-lt"/>
              <a:buAutoNum type="arabicPeriod"/>
            </a:pPr>
            <a:r>
              <a:rPr lang="cs-CZ" dirty="0" smtClean="0"/>
              <a:t>Zvyšování </a:t>
            </a:r>
            <a:r>
              <a:rPr lang="cs-CZ" dirty="0"/>
              <a:t>energetické účinnosti a úspor </a:t>
            </a:r>
            <a:r>
              <a:rPr lang="cs-CZ" dirty="0" smtClean="0"/>
              <a:t>energie</a:t>
            </a:r>
          </a:p>
          <a:p>
            <a:pPr marL="914400" lvl="1" indent="-514350"/>
            <a:r>
              <a:rPr lang="cs-CZ" sz="2900" dirty="0"/>
              <a:t>Snižování energetické náročnosti</a:t>
            </a:r>
          </a:p>
          <a:p>
            <a:pPr marL="514350" indent="-514350">
              <a:buFont typeface="+mj-lt"/>
              <a:buAutoNum type="arabicPeriod"/>
            </a:pPr>
            <a:r>
              <a:rPr lang="cs-CZ" dirty="0" smtClean="0"/>
              <a:t>Podpora </a:t>
            </a:r>
            <a:r>
              <a:rPr lang="cs-CZ" dirty="0"/>
              <a:t>výzkumu, vývoje a vzdělávání</a:t>
            </a:r>
          </a:p>
          <a:p>
            <a:pPr marL="514350" indent="-514350">
              <a:buFont typeface="+mj-lt"/>
              <a:buAutoNum type="arabicPeriod"/>
            </a:pPr>
            <a:endParaRPr lang="cs-CZ" sz="2800" dirty="0" smtClean="0"/>
          </a:p>
        </p:txBody>
      </p:sp>
      <p:pic>
        <p:nvPicPr>
          <p:cNvPr id="6" name="Picture 9" descr="Zobrazit podrobnost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0513" y="4620289"/>
            <a:ext cx="1596411" cy="1596410"/>
          </a:xfrm>
          <a:prstGeom prst="rect">
            <a:avLst/>
          </a:prstGeom>
          <a:noFill/>
          <a:extLst>
            <a:ext uri="{909E8E84-426E-40DD-AFC4-6F175D3DCCD1}">
              <a14:hiddenFill xmlns:a14="http://schemas.microsoft.com/office/drawing/2010/main">
                <a:solidFill>
                  <a:srgbClr val="FFFFFF"/>
                </a:solidFill>
              </a14:hiddenFill>
            </a:ext>
          </a:extLst>
        </p:spPr>
      </p:pic>
      <p:sp>
        <p:nvSpPr>
          <p:cNvPr id="8" name="TextovéPole 7"/>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33018007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Energetická bezpečnost ČR</a:t>
            </a:r>
            <a:endParaRPr lang="cs-CZ" dirty="0"/>
          </a:p>
        </p:txBody>
      </p:sp>
      <p:sp>
        <p:nvSpPr>
          <p:cNvPr id="3" name="Zástupný symbol pro obsah 2"/>
          <p:cNvSpPr>
            <a:spLocks noGrp="1"/>
          </p:cNvSpPr>
          <p:nvPr>
            <p:ph idx="1"/>
          </p:nvPr>
        </p:nvSpPr>
        <p:spPr/>
        <p:txBody>
          <a:bodyPr>
            <a:normAutofit fontScale="92500" lnSpcReduction="10000"/>
          </a:bodyPr>
          <a:lstStyle/>
          <a:p>
            <a:r>
              <a:rPr lang="cs-CZ" dirty="0" smtClean="0"/>
              <a:t>Posílit  </a:t>
            </a:r>
            <a:r>
              <a:rPr lang="cs-CZ" dirty="0"/>
              <a:t>roli ČR v procesu postupné integrace energetických trhů</a:t>
            </a:r>
          </a:p>
          <a:p>
            <a:r>
              <a:rPr lang="cs-CZ" dirty="0" smtClean="0"/>
              <a:t>ČR </a:t>
            </a:r>
            <a:r>
              <a:rPr lang="cs-CZ" dirty="0"/>
              <a:t>klíčovým průsečíkem transevropských sítí ve střední Evropě na ose S-J a V-Z (plyn i elektřina) a také jako budoucí tranzitér ropy</a:t>
            </a:r>
          </a:p>
          <a:p>
            <a:r>
              <a:rPr lang="cs-CZ" dirty="0" smtClean="0"/>
              <a:t>ČR </a:t>
            </a:r>
            <a:r>
              <a:rPr lang="cs-CZ" dirty="0"/>
              <a:t>současně dodavatelem elektřiny a regulačních služeb pro region střední Evropy </a:t>
            </a:r>
          </a:p>
          <a:p>
            <a:pPr marL="914400" lvl="1" indent="-514350"/>
            <a:r>
              <a:rPr lang="cs-CZ" dirty="0"/>
              <a:t>vzhledem k očekávanému nedostatku zdrojů v okolních zemích má ČR za cíl zabezpečit trvale přebytkovou bilanci výroby elektřiny</a:t>
            </a:r>
          </a:p>
          <a:p>
            <a:r>
              <a:rPr lang="cs-CZ" dirty="0" smtClean="0"/>
              <a:t>Energetickou </a:t>
            </a:r>
            <a:r>
              <a:rPr lang="cs-CZ" dirty="0"/>
              <a:t>bezpečnost ČR lze posilovat maximální soběstačností v dodávkách vstupních komodit a diverzifikací: zdrojů (mixu paliv), zdrojových teritorií a přepravních cest</a:t>
            </a:r>
          </a:p>
          <a:p>
            <a:pPr marL="514350" indent="-514350">
              <a:buFont typeface="+mj-lt"/>
              <a:buAutoNum type="arabicPeriod"/>
            </a:pPr>
            <a:endParaRPr lang="cs-CZ" dirty="0"/>
          </a:p>
          <a:p>
            <a:pPr marL="514350" indent="-514350">
              <a:buFont typeface="+mj-lt"/>
              <a:buAutoNum type="arabicPeriod"/>
            </a:pPr>
            <a:endParaRPr lang="cs-CZ" sz="2800" dirty="0" smtClean="0"/>
          </a:p>
        </p:txBody>
      </p:sp>
      <p:sp>
        <p:nvSpPr>
          <p:cNvPr id="5" name="TextovéPole 4"/>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96620973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19114" y="142875"/>
            <a:ext cx="6904944" cy="857250"/>
          </a:xfrm>
        </p:spPr>
        <p:txBody>
          <a:bodyPr>
            <a:noAutofit/>
          </a:bodyPr>
          <a:lstStyle/>
          <a:p>
            <a:r>
              <a:rPr lang="en-GB" dirty="0"/>
              <a:t>Dom</a:t>
            </a:r>
            <a:r>
              <a:rPr lang="cs-CZ" dirty="0" err="1"/>
              <a:t>ácí</a:t>
            </a:r>
            <a:r>
              <a:rPr lang="cs-CZ" dirty="0"/>
              <a:t> spotřeba primárních </a:t>
            </a:r>
            <a:r>
              <a:rPr lang="en-GB" dirty="0" err="1"/>
              <a:t>energ</a:t>
            </a:r>
            <a:r>
              <a:rPr lang="cs-CZ" dirty="0"/>
              <a:t>etických zdrojů do roku</a:t>
            </a:r>
            <a:r>
              <a:rPr lang="en-GB" dirty="0"/>
              <a:t> 2050</a:t>
            </a:r>
            <a:endParaRPr lang="cs-CZ" dirty="0"/>
          </a:p>
        </p:txBody>
      </p:sp>
      <p:sp>
        <p:nvSpPr>
          <p:cNvPr id="3" name="Rectangle 3"/>
          <p:cNvSpPr txBox="1">
            <a:spLocks noChangeArrowheads="1"/>
          </p:cNvSpPr>
          <p:nvPr/>
        </p:nvSpPr>
        <p:spPr bwMode="auto">
          <a:xfrm>
            <a:off x="251520" y="5635774"/>
            <a:ext cx="8568952" cy="817562"/>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80000"/>
              </a:lnSpc>
              <a:buClr>
                <a:schemeClr val="hlink"/>
              </a:buClr>
              <a:buNone/>
            </a:pPr>
            <a:r>
              <a:rPr lang="cs-CZ" sz="1800" dirty="0" smtClean="0">
                <a:solidFill>
                  <a:srgbClr val="000000"/>
                </a:solidFill>
              </a:rPr>
              <a:t>Předpokládá se stagnace celkové tuzemské spotřeby primárních energetických zdrojů  a energie potřebná k pokrytí přírůstku hrubé přidané hodnoty (HPH) je plně kompenzována úsporami energie a zvyšováním efektivnosti přeměn, dopravy a užití energie</a:t>
            </a:r>
          </a:p>
        </p:txBody>
      </p:sp>
      <p:pic>
        <p:nvPicPr>
          <p:cNvPr id="4"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35744" y="1652736"/>
            <a:ext cx="5802313" cy="3819525"/>
          </a:xfrm>
          <a:prstGeom prst="rect">
            <a:avLst/>
          </a:prstGeom>
          <a:noFill/>
          <a:extLst>
            <a:ext uri="{909E8E84-426E-40DD-AFC4-6F175D3DCCD1}">
              <a14:hiddenFill xmlns:a14="http://schemas.microsoft.com/office/drawing/2010/main">
                <a:solidFill>
                  <a:srgbClr val="FFFFFF"/>
                </a:solidFill>
              </a14:hiddenFill>
            </a:ext>
          </a:extLst>
        </p:spPr>
      </p:pic>
      <p:sp>
        <p:nvSpPr>
          <p:cNvPr id="5" name="Zaoblený obdélníkový popisek 12"/>
          <p:cNvSpPr>
            <a:spLocks noChangeArrowheads="1"/>
          </p:cNvSpPr>
          <p:nvPr/>
        </p:nvSpPr>
        <p:spPr bwMode="auto">
          <a:xfrm>
            <a:off x="6388744" y="2643336"/>
            <a:ext cx="857250" cy="428625"/>
          </a:xfrm>
          <a:prstGeom prst="wedgeRoundRectCallout">
            <a:avLst>
              <a:gd name="adj1" fmla="val -41111"/>
              <a:gd name="adj2" fmla="val -107037"/>
              <a:gd name="adj3" fmla="val 16667"/>
            </a:avLst>
          </a:prstGeom>
          <a:solidFill>
            <a:srgbClr val="99CCFF"/>
          </a:solidFill>
          <a:ln w="9525" algn="ctr">
            <a:solidFill>
              <a:schemeClr val="tx1"/>
            </a:solidFill>
            <a:round/>
            <a:headEnd/>
            <a:tailEnd/>
          </a:ln>
        </p:spPr>
        <p:txBody>
          <a:bodyPr/>
          <a:lstStyle/>
          <a:p>
            <a:pPr>
              <a:lnSpc>
                <a:spcPct val="100000"/>
              </a:lnSpc>
            </a:pPr>
            <a:r>
              <a:rPr lang="cs-CZ" sz="2000">
                <a:solidFill>
                  <a:srgbClr val="034EA2"/>
                </a:solidFill>
                <a:latin typeface="Verdana" pitchFamily="34" charset="0"/>
                <a:ea typeface="ＭＳ Ｐゴシック" pitchFamily="34" charset="-128"/>
              </a:rPr>
              <a:t>BAU</a:t>
            </a:r>
          </a:p>
        </p:txBody>
      </p:sp>
      <p:sp>
        <p:nvSpPr>
          <p:cNvPr id="9"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46</a:t>
            </a:fld>
            <a:endParaRPr lang="en-US" dirty="0"/>
          </a:p>
        </p:txBody>
      </p:sp>
      <p:sp>
        <p:nvSpPr>
          <p:cNvPr id="10"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1" name="TextovéPole 10"/>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18343823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Autofit/>
          </a:bodyPr>
          <a:lstStyle/>
          <a:p>
            <a:r>
              <a:rPr lang="cs-CZ" dirty="0" smtClean="0"/>
              <a:t>Snížení energetické náročnosti</a:t>
            </a:r>
            <a:endParaRPr lang="cs-CZ" dirty="0"/>
          </a:p>
        </p:txBody>
      </p:sp>
      <p:sp>
        <p:nvSpPr>
          <p:cNvPr id="3" name="Rectangle 3"/>
          <p:cNvSpPr txBox="1">
            <a:spLocks noChangeArrowheads="1"/>
          </p:cNvSpPr>
          <p:nvPr/>
        </p:nvSpPr>
        <p:spPr bwMode="auto">
          <a:xfrm>
            <a:off x="251520" y="5517232"/>
            <a:ext cx="8568952" cy="817562"/>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80000"/>
              </a:lnSpc>
              <a:buClr>
                <a:schemeClr val="hlink"/>
              </a:buClr>
              <a:buNone/>
            </a:pPr>
            <a:r>
              <a:rPr lang="cs-CZ" sz="1800" dirty="0" smtClean="0">
                <a:solidFill>
                  <a:srgbClr val="000000"/>
                </a:solidFill>
              </a:rPr>
              <a:t>Energetická </a:t>
            </a:r>
            <a:r>
              <a:rPr lang="cs-CZ" sz="1800" dirty="0">
                <a:solidFill>
                  <a:srgbClr val="000000"/>
                </a:solidFill>
              </a:rPr>
              <a:t>náročnost tvorby hrubé přidané hodnoty se bude postupně trvale snižovat. Proti roku 2005 se předpokládá její pokles o cca 40 % do roku 2020, o cca 55 % do roku 2030 a o cca 70 % do roku 2050. V roce 2020 by se ČR měla dostat na úroveň ekonomicky vyspělých zemí EU</a:t>
            </a:r>
          </a:p>
          <a:p>
            <a:pPr marL="0" indent="0">
              <a:lnSpc>
                <a:spcPct val="80000"/>
              </a:lnSpc>
              <a:buClr>
                <a:schemeClr val="hlink"/>
              </a:buClr>
              <a:buNone/>
            </a:pPr>
            <a:endParaRPr lang="cs-CZ" sz="1800" dirty="0" smtClean="0">
              <a:solidFill>
                <a:srgbClr val="000000"/>
              </a:solidFill>
            </a:endParaRPr>
          </a:p>
        </p:txBody>
      </p:sp>
      <p:pic>
        <p:nvPicPr>
          <p:cNvPr id="8" name="Picture 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5680" y="1366320"/>
            <a:ext cx="6576679" cy="4039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47</a:t>
            </a:fld>
            <a:endParaRPr lang="en-US" dirty="0"/>
          </a:p>
        </p:txBody>
      </p:sp>
      <p:sp>
        <p:nvSpPr>
          <p:cNvPr id="11"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2" name="TextovéPole 11"/>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41469530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Autofit/>
          </a:bodyPr>
          <a:lstStyle/>
          <a:p>
            <a:r>
              <a:rPr lang="cs-CZ" dirty="0" smtClean="0"/>
              <a:t>Snížení emisí CO</a:t>
            </a:r>
            <a:r>
              <a:rPr lang="cs-CZ" baseline="-25000" dirty="0" smtClean="0"/>
              <a:t>2</a:t>
            </a:r>
            <a:endParaRPr lang="cs-CZ" baseline="-25000" dirty="0"/>
          </a:p>
        </p:txBody>
      </p:sp>
      <p:sp>
        <p:nvSpPr>
          <p:cNvPr id="3" name="Rectangle 3"/>
          <p:cNvSpPr txBox="1">
            <a:spLocks noChangeArrowheads="1"/>
          </p:cNvSpPr>
          <p:nvPr/>
        </p:nvSpPr>
        <p:spPr bwMode="auto">
          <a:xfrm>
            <a:off x="251520" y="5517232"/>
            <a:ext cx="8568952" cy="817562"/>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80000"/>
              </a:lnSpc>
              <a:buClr>
                <a:schemeClr val="hlink"/>
              </a:buClr>
              <a:buNone/>
            </a:pPr>
            <a:r>
              <a:rPr lang="cs-CZ" sz="1800" dirty="0" smtClean="0">
                <a:solidFill>
                  <a:srgbClr val="000000"/>
                </a:solidFill>
              </a:rPr>
              <a:t>Do </a:t>
            </a:r>
            <a:r>
              <a:rPr lang="cs-CZ" sz="1800" dirty="0">
                <a:solidFill>
                  <a:srgbClr val="000000"/>
                </a:solidFill>
              </a:rPr>
              <a:t>roku 2050 dosáhne ČR významného snížení všech základních druhů emisí (CO</a:t>
            </a:r>
            <a:r>
              <a:rPr lang="cs-CZ" sz="1800" baseline="-25000" dirty="0">
                <a:solidFill>
                  <a:srgbClr val="000000"/>
                </a:solidFill>
              </a:rPr>
              <a:t>2</a:t>
            </a:r>
            <a:r>
              <a:rPr lang="cs-CZ" sz="1800" dirty="0">
                <a:solidFill>
                  <a:srgbClr val="000000"/>
                </a:solidFill>
              </a:rPr>
              <a:t>, </a:t>
            </a:r>
            <a:r>
              <a:rPr lang="cs-CZ" sz="1800" dirty="0" err="1">
                <a:solidFill>
                  <a:srgbClr val="000000"/>
                </a:solidFill>
              </a:rPr>
              <a:t>NO</a:t>
            </a:r>
            <a:r>
              <a:rPr lang="cs-CZ" sz="1800" baseline="-25000" dirty="0" err="1">
                <a:solidFill>
                  <a:srgbClr val="000000"/>
                </a:solidFill>
              </a:rPr>
              <a:t>x</a:t>
            </a:r>
            <a:r>
              <a:rPr lang="cs-CZ" sz="1800" dirty="0">
                <a:solidFill>
                  <a:srgbClr val="000000"/>
                </a:solidFill>
              </a:rPr>
              <a:t> a SO</a:t>
            </a:r>
            <a:r>
              <a:rPr lang="cs-CZ" sz="1800" baseline="-25000" dirty="0">
                <a:solidFill>
                  <a:srgbClr val="000000"/>
                </a:solidFill>
              </a:rPr>
              <a:t>2</a:t>
            </a:r>
            <a:r>
              <a:rPr lang="cs-CZ" sz="1800" dirty="0">
                <a:solidFill>
                  <a:srgbClr val="000000"/>
                </a:solidFill>
              </a:rPr>
              <a:t>). Snížení emisí CO</a:t>
            </a:r>
            <a:r>
              <a:rPr lang="cs-CZ" sz="1800" baseline="-25000" dirty="0">
                <a:solidFill>
                  <a:srgbClr val="000000"/>
                </a:solidFill>
              </a:rPr>
              <a:t>2</a:t>
            </a:r>
            <a:r>
              <a:rPr lang="cs-CZ" sz="1800" dirty="0">
                <a:solidFill>
                  <a:srgbClr val="000000"/>
                </a:solidFill>
              </a:rPr>
              <a:t> v roce 2050 (73 mil. tun) proti roku 1990 (165 mil. tun) se předpokládá o více než 50 %</a:t>
            </a:r>
          </a:p>
          <a:p>
            <a:pPr marL="0" indent="0">
              <a:lnSpc>
                <a:spcPct val="80000"/>
              </a:lnSpc>
              <a:buClr>
                <a:schemeClr val="hlink"/>
              </a:buClr>
              <a:buNone/>
            </a:pPr>
            <a:endParaRPr lang="cs-CZ" sz="1800" dirty="0">
              <a:solidFill>
                <a:srgbClr val="000000"/>
              </a:solidFill>
            </a:endParaRPr>
          </a:p>
          <a:p>
            <a:pPr marL="0" indent="0">
              <a:lnSpc>
                <a:spcPct val="80000"/>
              </a:lnSpc>
              <a:buClr>
                <a:schemeClr val="hlink"/>
              </a:buClr>
              <a:buNone/>
            </a:pPr>
            <a:endParaRPr lang="cs-CZ" sz="1800" dirty="0" smtClean="0">
              <a:solidFill>
                <a:srgbClr val="000000"/>
              </a:solidFill>
            </a:endParaRPr>
          </a:p>
        </p:txBody>
      </p:sp>
      <p:pic>
        <p:nvPicPr>
          <p:cNvPr id="9"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1074" y="1360134"/>
            <a:ext cx="6663293" cy="4085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48</a:t>
            </a:fld>
            <a:endParaRPr lang="en-US" dirty="0"/>
          </a:p>
        </p:txBody>
      </p:sp>
      <p:sp>
        <p:nvSpPr>
          <p:cNvPr id="11"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2" name="TextovéPole 11"/>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19712325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Autofit/>
          </a:bodyPr>
          <a:lstStyle/>
          <a:p>
            <a:r>
              <a:rPr lang="cs-CZ" dirty="0" smtClean="0"/>
              <a:t>Snížení emisí No</a:t>
            </a:r>
            <a:r>
              <a:rPr lang="cs-CZ" baseline="-25000" dirty="0" smtClean="0"/>
              <a:t>x </a:t>
            </a:r>
            <a:r>
              <a:rPr lang="cs-CZ" dirty="0" smtClean="0"/>
              <a:t>a SO</a:t>
            </a:r>
            <a:r>
              <a:rPr lang="cs-CZ" baseline="-25000" dirty="0" smtClean="0"/>
              <a:t>2</a:t>
            </a:r>
            <a:endParaRPr lang="cs-CZ" baseline="-25000" dirty="0"/>
          </a:p>
        </p:txBody>
      </p:sp>
      <p:sp>
        <p:nvSpPr>
          <p:cNvPr id="3" name="Rectangle 3"/>
          <p:cNvSpPr txBox="1">
            <a:spLocks noChangeArrowheads="1"/>
          </p:cNvSpPr>
          <p:nvPr/>
        </p:nvSpPr>
        <p:spPr bwMode="auto">
          <a:xfrm>
            <a:off x="251520" y="5517232"/>
            <a:ext cx="8568952" cy="817562"/>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80000"/>
              </a:lnSpc>
              <a:buClr>
                <a:schemeClr val="hlink"/>
              </a:buClr>
              <a:buNone/>
            </a:pPr>
            <a:r>
              <a:rPr lang="cs-CZ" sz="2000" dirty="0" smtClean="0">
                <a:solidFill>
                  <a:srgbClr val="000000"/>
                </a:solidFill>
              </a:rPr>
              <a:t>Do </a:t>
            </a:r>
            <a:r>
              <a:rPr lang="cs-CZ" sz="2000" dirty="0">
                <a:solidFill>
                  <a:srgbClr val="000000"/>
                </a:solidFill>
              </a:rPr>
              <a:t>roku 2050 dosáhne ČR významného snížení všech základních druhů emisí (CO</a:t>
            </a:r>
            <a:r>
              <a:rPr lang="cs-CZ" sz="2000" baseline="-25000" dirty="0">
                <a:solidFill>
                  <a:srgbClr val="000000"/>
                </a:solidFill>
              </a:rPr>
              <a:t>2</a:t>
            </a:r>
            <a:r>
              <a:rPr lang="cs-CZ" sz="2000" dirty="0">
                <a:solidFill>
                  <a:srgbClr val="000000"/>
                </a:solidFill>
              </a:rPr>
              <a:t>, </a:t>
            </a:r>
            <a:r>
              <a:rPr lang="cs-CZ" sz="2000" dirty="0" err="1">
                <a:solidFill>
                  <a:srgbClr val="000000"/>
                </a:solidFill>
              </a:rPr>
              <a:t>NO</a:t>
            </a:r>
            <a:r>
              <a:rPr lang="cs-CZ" sz="2000" baseline="-25000" dirty="0" err="1">
                <a:solidFill>
                  <a:srgbClr val="000000"/>
                </a:solidFill>
              </a:rPr>
              <a:t>x</a:t>
            </a:r>
            <a:r>
              <a:rPr lang="cs-CZ" sz="2000" dirty="0">
                <a:solidFill>
                  <a:srgbClr val="000000"/>
                </a:solidFill>
              </a:rPr>
              <a:t> a SO</a:t>
            </a:r>
            <a:r>
              <a:rPr lang="cs-CZ" sz="2000" baseline="-25000" dirty="0">
                <a:solidFill>
                  <a:srgbClr val="000000"/>
                </a:solidFill>
              </a:rPr>
              <a:t>2</a:t>
            </a:r>
            <a:r>
              <a:rPr lang="cs-CZ" sz="2000" dirty="0">
                <a:solidFill>
                  <a:srgbClr val="000000"/>
                </a:solidFill>
              </a:rPr>
              <a:t> ). Snížení </a:t>
            </a:r>
            <a:r>
              <a:rPr lang="cs-CZ" sz="2000" dirty="0" err="1">
                <a:solidFill>
                  <a:srgbClr val="000000"/>
                </a:solidFill>
              </a:rPr>
              <a:t>NO</a:t>
            </a:r>
            <a:r>
              <a:rPr lang="cs-CZ" sz="2000" baseline="-25000" dirty="0" err="1">
                <a:solidFill>
                  <a:srgbClr val="000000"/>
                </a:solidFill>
              </a:rPr>
              <a:t>x</a:t>
            </a:r>
            <a:r>
              <a:rPr lang="cs-CZ" sz="2000" dirty="0">
                <a:solidFill>
                  <a:srgbClr val="000000"/>
                </a:solidFill>
              </a:rPr>
              <a:t> a SO</a:t>
            </a:r>
            <a:r>
              <a:rPr lang="cs-CZ" sz="2000" baseline="-25000" dirty="0">
                <a:solidFill>
                  <a:srgbClr val="000000"/>
                </a:solidFill>
              </a:rPr>
              <a:t>2</a:t>
            </a:r>
            <a:r>
              <a:rPr lang="cs-CZ" sz="2000" dirty="0">
                <a:solidFill>
                  <a:srgbClr val="000000"/>
                </a:solidFill>
              </a:rPr>
              <a:t> do roku 2050 se předpokládá ještě výraznější než u CO</a:t>
            </a:r>
            <a:r>
              <a:rPr lang="cs-CZ" sz="2000" baseline="-25000" dirty="0">
                <a:solidFill>
                  <a:srgbClr val="000000"/>
                </a:solidFill>
              </a:rPr>
              <a:t>2</a:t>
            </a:r>
            <a:r>
              <a:rPr lang="cs-CZ" sz="2000" dirty="0">
                <a:solidFill>
                  <a:srgbClr val="000000"/>
                </a:solidFill>
              </a:rPr>
              <a:t>. </a:t>
            </a:r>
          </a:p>
          <a:p>
            <a:pPr marL="0" indent="0">
              <a:lnSpc>
                <a:spcPct val="80000"/>
              </a:lnSpc>
              <a:buClr>
                <a:schemeClr val="hlink"/>
              </a:buClr>
              <a:buNone/>
            </a:pPr>
            <a:endParaRPr lang="cs-CZ" sz="2000" dirty="0">
              <a:solidFill>
                <a:srgbClr val="000000"/>
              </a:solidFill>
            </a:endParaRPr>
          </a:p>
          <a:p>
            <a:pPr marL="0" indent="0">
              <a:lnSpc>
                <a:spcPct val="80000"/>
              </a:lnSpc>
              <a:buClr>
                <a:schemeClr val="hlink"/>
              </a:buClr>
              <a:buNone/>
            </a:pPr>
            <a:endParaRPr lang="cs-CZ" sz="2000" dirty="0">
              <a:solidFill>
                <a:srgbClr val="000000"/>
              </a:solidFill>
            </a:endParaRPr>
          </a:p>
          <a:p>
            <a:pPr marL="0" indent="0">
              <a:lnSpc>
                <a:spcPct val="80000"/>
              </a:lnSpc>
              <a:buClr>
                <a:schemeClr val="hlink"/>
              </a:buClr>
              <a:buNone/>
            </a:pPr>
            <a:endParaRPr lang="cs-CZ" sz="2000" dirty="0" smtClean="0">
              <a:solidFill>
                <a:srgbClr val="000000"/>
              </a:solidFill>
            </a:endParaRPr>
          </a:p>
        </p:txBody>
      </p:sp>
      <p:pic>
        <p:nvPicPr>
          <p:cNvPr id="8"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5934" y="1412775"/>
            <a:ext cx="6791145" cy="3989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Název souboru: j0402479.jpg&#10;Klíčová slova: enviromentální, fotografie, komíny ...&#10;Velikost souboru: 255 k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7079" y="1412775"/>
            <a:ext cx="1295400"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49</a:t>
            </a:fld>
            <a:endParaRPr lang="en-US" dirty="0"/>
          </a:p>
        </p:txBody>
      </p:sp>
      <p:sp>
        <p:nvSpPr>
          <p:cNvPr id="12"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3" name="TextovéPole 12"/>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84191745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rmAutofit/>
          </a:bodyPr>
          <a:lstStyle/>
          <a:p>
            <a:r>
              <a:rPr lang="en-GB" dirty="0"/>
              <a:t>IEA IDR Recommendation</a:t>
            </a:r>
            <a:endParaRPr lang="cs-CZ"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0113" y="1116356"/>
            <a:ext cx="7153275" cy="4652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a:spLocks noChangeArrowheads="1"/>
          </p:cNvSpPr>
          <p:nvPr>
            <p:custDataLst>
              <p:tags r:id="rId1"/>
            </p:custDataLst>
          </p:nvPr>
        </p:nvSpPr>
        <p:spPr bwMode="auto">
          <a:xfrm>
            <a:off x="323528" y="5911127"/>
            <a:ext cx="856932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nSpc>
                <a:spcPct val="80000"/>
              </a:lnSpc>
              <a:spcBef>
                <a:spcPct val="20000"/>
              </a:spcBef>
            </a:pPr>
            <a:r>
              <a:rPr lang="cs-CZ" sz="2000" dirty="0" smtClean="0">
                <a:solidFill>
                  <a:srgbClr val="000000"/>
                </a:solidFill>
              </a:rPr>
              <a:t>Mix </a:t>
            </a:r>
            <a:r>
              <a:rPr lang="cs-CZ" sz="2000" dirty="0">
                <a:solidFill>
                  <a:srgbClr val="000000"/>
                </a:solidFill>
              </a:rPr>
              <a:t>JE, OZE a fosilních paliv bude nutný za účelem dekarbonizace sektoru </a:t>
            </a:r>
            <a:r>
              <a:rPr lang="cs-CZ" sz="2000" dirty="0" smtClean="0">
                <a:solidFill>
                  <a:srgbClr val="000000"/>
                </a:solidFill>
              </a:rPr>
              <a:t>energetiky</a:t>
            </a:r>
            <a:r>
              <a:rPr lang="cs-CZ" sz="2000" dirty="0">
                <a:solidFill>
                  <a:srgbClr val="000000"/>
                </a:solidFill>
              </a:rPr>
              <a:t>. </a:t>
            </a:r>
            <a:endParaRPr lang="en-GB" sz="2000" dirty="0">
              <a:solidFill>
                <a:srgbClr val="000000"/>
              </a:solidFill>
            </a:endParaRPr>
          </a:p>
        </p:txBody>
      </p:sp>
      <p:sp>
        <p:nvSpPr>
          <p:cNvPr id="5" name="Oval 5"/>
          <p:cNvSpPr>
            <a:spLocks noChangeArrowheads="1"/>
          </p:cNvSpPr>
          <p:nvPr/>
        </p:nvSpPr>
        <p:spPr bwMode="auto">
          <a:xfrm>
            <a:off x="4403725" y="2048789"/>
            <a:ext cx="1117600" cy="3748087"/>
          </a:xfrm>
          <a:prstGeom prst="ellipse">
            <a:avLst/>
          </a:prstGeom>
          <a:noFill/>
          <a:ln w="19050">
            <a:solidFill>
              <a:srgbClr val="FF0000"/>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cs-CZ"/>
          </a:p>
        </p:txBody>
      </p:sp>
      <p:sp>
        <p:nvSpPr>
          <p:cNvPr id="8" name="Slide Number Placeholder 5"/>
          <p:cNvSpPr txBox="1">
            <a:spLocks/>
          </p:cNvSpPr>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5</a:t>
            </a:fld>
            <a:endParaRPr lang="en-US" dirty="0"/>
          </a:p>
        </p:txBody>
      </p:sp>
      <p:sp>
        <p:nvSpPr>
          <p:cNvPr id="9" name="Footer Placeholder 4"/>
          <p:cNvSpPr txBox="1">
            <a:spLocks/>
          </p:cNvSpPr>
          <p:nvPr/>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sp>
        <p:nvSpPr>
          <p:cNvPr id="11" name="TextovéPole 10"/>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89369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noAutofit/>
          </a:bodyPr>
          <a:lstStyle/>
          <a:p>
            <a:r>
              <a:rPr lang="cs-CZ" dirty="0" smtClean="0"/>
              <a:t>Energetický </a:t>
            </a:r>
            <a:r>
              <a:rPr lang="cs-CZ" dirty="0"/>
              <a:t>mix </a:t>
            </a:r>
            <a:r>
              <a:rPr lang="cs-CZ" dirty="0" smtClean="0"/>
              <a:t>PEZ </a:t>
            </a:r>
            <a:r>
              <a:rPr lang="cs-CZ" dirty="0"/>
              <a:t>v r. </a:t>
            </a:r>
            <a:r>
              <a:rPr lang="cs-CZ" dirty="0" smtClean="0"/>
              <a:t>2050</a:t>
            </a:r>
            <a:endParaRPr lang="cs-CZ" dirty="0"/>
          </a:p>
        </p:txBody>
      </p:sp>
      <p:pic>
        <p:nvPicPr>
          <p:cNvPr id="10" name="Picture 1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3412" y="1339472"/>
            <a:ext cx="7623232" cy="4681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50</a:t>
            </a:fld>
            <a:endParaRPr lang="en-US" dirty="0"/>
          </a:p>
        </p:txBody>
      </p:sp>
      <p:sp>
        <p:nvSpPr>
          <p:cNvPr id="11"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7" name="TextovéPole 6"/>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70151340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ChangeArrowheads="1"/>
          </p:cNvSpPr>
          <p:nvPr>
            <p:ph type="title"/>
          </p:nvPr>
        </p:nvSpPr>
        <p:spPr>
          <a:xfrm>
            <a:off x="478968" y="188640"/>
            <a:ext cx="7075714" cy="860425"/>
          </a:xfrm>
        </p:spPr>
        <p:txBody>
          <a:bodyPr>
            <a:noAutofit/>
          </a:bodyPr>
          <a:lstStyle/>
          <a:p>
            <a:pPr>
              <a:defRPr/>
            </a:pPr>
            <a:r>
              <a:rPr lang="cs-CZ" dirty="0" err="1"/>
              <a:t>Elektromobilita</a:t>
            </a:r>
            <a:r>
              <a:rPr lang="cs-CZ" dirty="0"/>
              <a:t> vs. výroba </a:t>
            </a:r>
            <a:r>
              <a:rPr lang="cs-CZ" dirty="0" smtClean="0"/>
              <a:t>elektřiny</a:t>
            </a:r>
            <a:endParaRPr lang="cs-CZ" dirty="0"/>
          </a:p>
        </p:txBody>
      </p:sp>
      <p:pic>
        <p:nvPicPr>
          <p:cNvPr id="196618" name="Picture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9550" y="933450"/>
            <a:ext cx="8478838" cy="5281613"/>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6619" name="AutoShape 11"/>
          <p:cNvSpPr>
            <a:spLocks noChangeArrowheads="1"/>
          </p:cNvSpPr>
          <p:nvPr/>
        </p:nvSpPr>
        <p:spPr bwMode="auto">
          <a:xfrm>
            <a:off x="7213600" y="2698750"/>
            <a:ext cx="231775" cy="725488"/>
          </a:xfrm>
          <a:prstGeom prst="upDownArrow">
            <a:avLst>
              <a:gd name="adj1" fmla="val 50000"/>
              <a:gd name="adj2" fmla="val 62603"/>
            </a:avLst>
          </a:prstGeom>
          <a:solidFill>
            <a:srgbClr val="3366FF"/>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sp>
        <p:nvSpPr>
          <p:cNvPr id="196620" name="Text Box 12"/>
          <p:cNvSpPr txBox="1">
            <a:spLocks noChangeArrowheads="1"/>
          </p:cNvSpPr>
          <p:nvPr/>
        </p:nvSpPr>
        <p:spPr bwMode="auto">
          <a:xfrm>
            <a:off x="7493000" y="2876550"/>
            <a:ext cx="993775" cy="336550"/>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cs-CZ" sz="1800" b="1">
                <a:solidFill>
                  <a:schemeClr val="accent2"/>
                </a:solidFill>
              </a:rPr>
              <a:t>12 TWh</a:t>
            </a:r>
          </a:p>
        </p:txBody>
      </p:sp>
      <p:sp>
        <p:nvSpPr>
          <p:cNvPr id="7" name="TextovéPole 6"/>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3988484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196618"/>
                                        </p:tgtEl>
                                        <p:attrNameLst>
                                          <p:attrName>style.visibility</p:attrName>
                                        </p:attrNameLst>
                                      </p:cBhvr>
                                      <p:to>
                                        <p:strVal val="visible"/>
                                      </p:to>
                                    </p:set>
                                    <p:animEffect transition="in" filter="wipe(left)">
                                      <p:cBhvr>
                                        <p:cTn id="7" dur="1000"/>
                                        <p:tgtEl>
                                          <p:spTgt spid="19661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6" presetClass="entr" presetSubtype="42" fill="hold" grpId="0" nodeType="clickEffect">
                                  <p:stCondLst>
                                    <p:cond delay="0"/>
                                  </p:stCondLst>
                                  <p:childTnLst>
                                    <p:set>
                                      <p:cBhvr>
                                        <p:cTn id="11" dur="1" fill="hold">
                                          <p:stCondLst>
                                            <p:cond delay="0"/>
                                          </p:stCondLst>
                                        </p:cTn>
                                        <p:tgtEl>
                                          <p:spTgt spid="196619"/>
                                        </p:tgtEl>
                                        <p:attrNameLst>
                                          <p:attrName>style.visibility</p:attrName>
                                        </p:attrNameLst>
                                      </p:cBhvr>
                                      <p:to>
                                        <p:strVal val="visible"/>
                                      </p:to>
                                    </p:set>
                                    <p:animEffect transition="in" filter="barn(outHorizontal)">
                                      <p:cBhvr>
                                        <p:cTn id="12" dur="500"/>
                                        <p:tgtEl>
                                          <p:spTgt spid="196619"/>
                                        </p:tgtEl>
                                      </p:cBhvr>
                                    </p:animEffect>
                                  </p:childTnLst>
                                </p:cTn>
                              </p:par>
                            </p:childTnLst>
                          </p:cTn>
                        </p:par>
                        <p:par>
                          <p:cTn id="13" fill="hold" nodeType="afterGroup">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96620"/>
                                        </p:tgtEl>
                                        <p:attrNameLst>
                                          <p:attrName>style.visibility</p:attrName>
                                        </p:attrNameLst>
                                      </p:cBhvr>
                                      <p:to>
                                        <p:strVal val="visible"/>
                                      </p:to>
                                    </p:set>
                                    <p:animEffect transition="in" filter="wipe(left)">
                                      <p:cBhvr>
                                        <p:cTn id="16" dur="2000"/>
                                        <p:tgtEl>
                                          <p:spTgt spid="1966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6619" grpId="0" animBg="1"/>
      <p:bldP spid="19662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787"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12913" y="3357563"/>
            <a:ext cx="162560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770" name="Rectangle 2"/>
          <p:cNvSpPr>
            <a:spLocks noGrp="1" noChangeArrowheads="1"/>
          </p:cNvSpPr>
          <p:nvPr>
            <p:ph type="title"/>
          </p:nvPr>
        </p:nvSpPr>
        <p:spPr>
          <a:xfrm>
            <a:off x="1262063" y="332656"/>
            <a:ext cx="5765800" cy="476250"/>
          </a:xfrm>
        </p:spPr>
        <p:txBody>
          <a:bodyPr>
            <a:noAutofit/>
          </a:bodyPr>
          <a:lstStyle/>
          <a:p>
            <a:pPr>
              <a:defRPr/>
            </a:pPr>
            <a:r>
              <a:rPr lang="cs-CZ" dirty="0"/>
              <a:t>Dopady na energetický mix</a:t>
            </a:r>
          </a:p>
        </p:txBody>
      </p:sp>
      <p:sp>
        <p:nvSpPr>
          <p:cNvPr id="160778" name="Text Box 10"/>
          <p:cNvSpPr txBox="1">
            <a:spLocks noChangeArrowheads="1"/>
          </p:cNvSpPr>
          <p:nvPr/>
        </p:nvSpPr>
        <p:spPr bwMode="auto">
          <a:xfrm rot="-5400000">
            <a:off x="-159544" y="3115470"/>
            <a:ext cx="1755775" cy="41751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cs-CZ">
                <a:solidFill>
                  <a:srgbClr val="003399"/>
                </a:solidFill>
              </a:rPr>
              <a:t>12 TWh/rok</a:t>
            </a:r>
          </a:p>
        </p:txBody>
      </p:sp>
      <p:sp>
        <p:nvSpPr>
          <p:cNvPr id="160779" name="Text Box 11"/>
          <p:cNvSpPr txBox="1">
            <a:spLocks noChangeArrowheads="1"/>
          </p:cNvSpPr>
          <p:nvPr/>
        </p:nvSpPr>
        <p:spPr bwMode="auto">
          <a:xfrm>
            <a:off x="954088" y="2830513"/>
            <a:ext cx="669925" cy="99536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en-US" sz="6600">
                <a:solidFill>
                  <a:srgbClr val="003399"/>
                </a:solidFill>
                <a:cs typeface="Arial" pitchFamily="34" charset="0"/>
              </a:rPr>
              <a:t>~</a:t>
            </a:r>
          </a:p>
        </p:txBody>
      </p:sp>
      <p:sp>
        <p:nvSpPr>
          <p:cNvPr id="160781" name="Text Box 13"/>
          <p:cNvSpPr txBox="1">
            <a:spLocks noChangeArrowheads="1"/>
          </p:cNvSpPr>
          <p:nvPr/>
        </p:nvSpPr>
        <p:spPr bwMode="auto">
          <a:xfrm>
            <a:off x="1789113" y="1066800"/>
            <a:ext cx="2846387" cy="417513"/>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cs-CZ">
                <a:solidFill>
                  <a:srgbClr val="003399"/>
                </a:solidFill>
                <a:cs typeface="Arial" pitchFamily="34" charset="0"/>
              </a:rPr>
              <a:t>1x 1.500 MW </a:t>
            </a:r>
            <a:r>
              <a:rPr lang="cs-CZ" baseline="-25000">
                <a:solidFill>
                  <a:srgbClr val="003399"/>
                </a:solidFill>
                <a:cs typeface="Arial" pitchFamily="34" charset="0"/>
              </a:rPr>
              <a:t>inst. </a:t>
            </a:r>
            <a:r>
              <a:rPr lang="cs-CZ">
                <a:solidFill>
                  <a:srgbClr val="003399"/>
                </a:solidFill>
                <a:cs typeface="Arial" pitchFamily="34" charset="0"/>
              </a:rPr>
              <a:t>JE</a:t>
            </a:r>
            <a:endParaRPr lang="en-US">
              <a:solidFill>
                <a:srgbClr val="003399"/>
              </a:solidFill>
              <a:cs typeface="Arial" pitchFamily="34" charset="0"/>
            </a:endParaRPr>
          </a:p>
        </p:txBody>
      </p:sp>
      <p:pic>
        <p:nvPicPr>
          <p:cNvPr id="160782" name="Picture 6" descr="edu letecky2"/>
          <p:cNvPicPr>
            <a:picLocks noChangeArrowheads="1"/>
          </p:cNvPicPr>
          <p:nvPr/>
        </p:nvPicPr>
        <p:blipFill>
          <a:blip r:embed="rId3">
            <a:extLst>
              <a:ext uri="{28A0092B-C50C-407E-A947-70E740481C1C}">
                <a14:useLocalDpi xmlns:a14="http://schemas.microsoft.com/office/drawing/2010/main" val="0"/>
              </a:ext>
            </a:extLst>
          </a:blip>
          <a:srcRect l="2147" r="14629"/>
          <a:stretch>
            <a:fillRect/>
          </a:stretch>
        </p:blipFill>
        <p:spPr bwMode="auto">
          <a:xfrm>
            <a:off x="4767263" y="933450"/>
            <a:ext cx="3708400" cy="177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783" name="Text Box 15"/>
          <p:cNvSpPr txBox="1">
            <a:spLocks noChangeArrowheads="1"/>
          </p:cNvSpPr>
          <p:nvPr/>
        </p:nvSpPr>
        <p:spPr bwMode="auto">
          <a:xfrm>
            <a:off x="1738313" y="2954338"/>
            <a:ext cx="2981325" cy="41751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cs-CZ">
                <a:solidFill>
                  <a:srgbClr val="003399"/>
                </a:solidFill>
                <a:cs typeface="Arial" pitchFamily="34" charset="0"/>
              </a:rPr>
              <a:t>4.500x 2 MW </a:t>
            </a:r>
            <a:r>
              <a:rPr lang="cs-CZ" baseline="-25000">
                <a:solidFill>
                  <a:srgbClr val="003399"/>
                </a:solidFill>
                <a:cs typeface="Arial" pitchFamily="34" charset="0"/>
              </a:rPr>
              <a:t>inst. </a:t>
            </a:r>
            <a:r>
              <a:rPr lang="cs-CZ">
                <a:solidFill>
                  <a:srgbClr val="003399"/>
                </a:solidFill>
                <a:cs typeface="Arial" pitchFamily="34" charset="0"/>
              </a:rPr>
              <a:t>V</a:t>
            </a:r>
            <a:r>
              <a:rPr lang="cs-CZ">
                <a:solidFill>
                  <a:srgbClr val="003399"/>
                </a:solidFill>
              </a:rPr>
              <a:t>t</a:t>
            </a:r>
            <a:r>
              <a:rPr lang="cs-CZ">
                <a:solidFill>
                  <a:srgbClr val="003399"/>
                </a:solidFill>
                <a:cs typeface="Arial" pitchFamily="34" charset="0"/>
              </a:rPr>
              <a:t>E</a:t>
            </a:r>
            <a:endParaRPr lang="en-US">
              <a:solidFill>
                <a:srgbClr val="003399"/>
              </a:solidFill>
              <a:cs typeface="Arial" pitchFamily="34" charset="0"/>
            </a:endParaRPr>
          </a:p>
        </p:txBody>
      </p:sp>
      <p:pic>
        <p:nvPicPr>
          <p:cNvPr id="160786" name="Obrázek 5" descr="image_mini.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79438" y="5038725"/>
            <a:ext cx="1981200" cy="131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89"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614613" y="3359150"/>
            <a:ext cx="1625600"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0"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14738" y="3359150"/>
            <a:ext cx="1625600"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1"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73600" y="3360738"/>
            <a:ext cx="162560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2"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75313" y="3362325"/>
            <a:ext cx="1625600"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3" name="Obrázek 4" descr="image_mini.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62750" y="3363913"/>
            <a:ext cx="1625600"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0794" name="Text Box 26"/>
          <p:cNvSpPr txBox="1">
            <a:spLocks noChangeArrowheads="1"/>
          </p:cNvSpPr>
          <p:nvPr/>
        </p:nvSpPr>
        <p:spPr bwMode="auto">
          <a:xfrm>
            <a:off x="1706563" y="4584700"/>
            <a:ext cx="3455987" cy="417513"/>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a:tabLst>
                <a:tab pos="8001000" algn="l"/>
              </a:tabLst>
              <a:defRPr sz="2400">
                <a:solidFill>
                  <a:schemeClr val="bg1"/>
                </a:solidFill>
                <a:latin typeface="Arial" pitchFamily="34" charset="0"/>
              </a:defRPr>
            </a:lvl1pPr>
            <a:lvl2pPr marL="742950" indent="-285750" defTabSz="900113">
              <a:tabLst>
                <a:tab pos="8001000" algn="l"/>
              </a:tabLst>
              <a:defRPr sz="2400">
                <a:solidFill>
                  <a:schemeClr val="bg1"/>
                </a:solidFill>
                <a:latin typeface="Arial" pitchFamily="34" charset="0"/>
              </a:defRPr>
            </a:lvl2pPr>
            <a:lvl3pPr marL="1143000" indent="-228600" defTabSz="900113">
              <a:tabLst>
                <a:tab pos="8001000" algn="l"/>
              </a:tabLst>
              <a:defRPr sz="2400">
                <a:solidFill>
                  <a:schemeClr val="bg1"/>
                </a:solidFill>
                <a:latin typeface="Arial" pitchFamily="34" charset="0"/>
              </a:defRPr>
            </a:lvl3pPr>
            <a:lvl4pPr marL="1600200" indent="-228600" defTabSz="900113">
              <a:tabLst>
                <a:tab pos="8001000" algn="l"/>
              </a:tabLst>
              <a:defRPr sz="2400">
                <a:solidFill>
                  <a:schemeClr val="bg1"/>
                </a:solidFill>
                <a:latin typeface="Arial" pitchFamily="34" charset="0"/>
              </a:defRPr>
            </a:lvl4pPr>
            <a:lvl5pPr marL="2057400" indent="-228600" defTabSz="900113">
              <a:tabLst>
                <a:tab pos="8001000" algn="l"/>
              </a:tabLst>
              <a:defRPr sz="2400">
                <a:solidFill>
                  <a:schemeClr val="bg1"/>
                </a:solidFill>
                <a:latin typeface="Arial" pitchFamily="34" charset="0"/>
              </a:defRPr>
            </a:lvl5pPr>
            <a:lvl6pPr marL="25146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6pPr>
            <a:lvl7pPr marL="29718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7pPr>
            <a:lvl8pPr marL="34290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8pPr>
            <a:lvl9pPr marL="3886200" indent="-228600" algn="ctr" defTabSz="900113" eaLnBrk="0" fontAlgn="base" hangingPunct="0">
              <a:lnSpc>
                <a:spcPct val="90000"/>
              </a:lnSpc>
              <a:spcBef>
                <a:spcPct val="0"/>
              </a:spcBef>
              <a:spcAft>
                <a:spcPct val="0"/>
              </a:spcAft>
              <a:tabLst>
                <a:tab pos="8001000" algn="l"/>
              </a:tabLst>
              <a:defRPr sz="2400">
                <a:solidFill>
                  <a:schemeClr val="bg1"/>
                </a:solidFill>
                <a:latin typeface="Arial" pitchFamily="34" charset="0"/>
              </a:defRPr>
            </a:lvl9pPr>
          </a:lstStyle>
          <a:p>
            <a:r>
              <a:rPr lang="cs-CZ">
                <a:solidFill>
                  <a:srgbClr val="003399"/>
                </a:solidFill>
                <a:cs typeface="Arial" pitchFamily="34" charset="0"/>
              </a:rPr>
              <a:t>4.500ha x 0,2 kW </a:t>
            </a:r>
            <a:r>
              <a:rPr lang="cs-CZ" baseline="-25000">
                <a:solidFill>
                  <a:srgbClr val="003399"/>
                </a:solidFill>
                <a:cs typeface="Arial" pitchFamily="34" charset="0"/>
              </a:rPr>
              <a:t>p. </a:t>
            </a:r>
            <a:r>
              <a:rPr lang="cs-CZ">
                <a:solidFill>
                  <a:srgbClr val="003399"/>
                </a:solidFill>
                <a:cs typeface="Arial" pitchFamily="34" charset="0"/>
              </a:rPr>
              <a:t>FVE</a:t>
            </a:r>
            <a:endParaRPr lang="en-US">
              <a:solidFill>
                <a:srgbClr val="003399"/>
              </a:solidFill>
              <a:cs typeface="Arial" pitchFamily="34" charset="0"/>
            </a:endParaRPr>
          </a:p>
        </p:txBody>
      </p:sp>
      <p:pic>
        <p:nvPicPr>
          <p:cNvPr id="160795" name="Obrázek 5" descr="image_mini.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552700" y="5040313"/>
            <a:ext cx="1981200" cy="131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6" name="Obrázek 5" descr="image_mini.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11675" y="5041900"/>
            <a:ext cx="1981200" cy="131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97" name="Obrázek 5" descr="image_mini.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470650" y="5043488"/>
            <a:ext cx="1981200" cy="131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52</a:t>
            </a:fld>
            <a:endParaRPr lang="en-US" dirty="0"/>
          </a:p>
        </p:txBody>
      </p:sp>
      <p:sp>
        <p:nvSpPr>
          <p:cNvPr id="26"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22" name="TextovéPole 21"/>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91705761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42" fill="hold" grpId="0" nodeType="clickEffect">
                                  <p:stCondLst>
                                    <p:cond delay="0"/>
                                  </p:stCondLst>
                                  <p:childTnLst>
                                    <p:set>
                                      <p:cBhvr>
                                        <p:cTn id="6" dur="1" fill="hold">
                                          <p:stCondLst>
                                            <p:cond delay="0"/>
                                          </p:stCondLst>
                                        </p:cTn>
                                        <p:tgtEl>
                                          <p:spTgt spid="160778"/>
                                        </p:tgtEl>
                                        <p:attrNameLst>
                                          <p:attrName>style.visibility</p:attrName>
                                        </p:attrNameLst>
                                      </p:cBhvr>
                                      <p:to>
                                        <p:strVal val="visible"/>
                                      </p:to>
                                    </p:set>
                                    <p:animEffect transition="in" filter="barn(outHorizontal)">
                                      <p:cBhvr>
                                        <p:cTn id="7" dur="1000"/>
                                        <p:tgtEl>
                                          <p:spTgt spid="160778"/>
                                        </p:tgtEl>
                                      </p:cBhvr>
                                    </p:animEffect>
                                  </p:childTnLst>
                                </p:cTn>
                              </p:par>
                            </p:childTnLst>
                          </p:cTn>
                        </p:par>
                        <p:par>
                          <p:cTn id="8" fill="hold" nodeType="afterGroup">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16077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60781"/>
                                        </p:tgtEl>
                                        <p:attrNameLst>
                                          <p:attrName>style.visibility</p:attrName>
                                        </p:attrNameLst>
                                      </p:cBhvr>
                                      <p:to>
                                        <p:strVal val="visible"/>
                                      </p:to>
                                    </p:set>
                                    <p:animEffect transition="in" filter="wipe(left)">
                                      <p:cBhvr>
                                        <p:cTn id="15" dur="1000"/>
                                        <p:tgtEl>
                                          <p:spTgt spid="160781"/>
                                        </p:tgtEl>
                                      </p:cBhvr>
                                    </p:animEffect>
                                  </p:childTnLst>
                                </p:cTn>
                              </p:par>
                            </p:childTnLst>
                          </p:cTn>
                        </p:par>
                        <p:par>
                          <p:cTn id="16" fill="hold" nodeType="afterGroup">
                            <p:stCondLst>
                              <p:cond delay="1000"/>
                            </p:stCondLst>
                            <p:childTnLst>
                              <p:par>
                                <p:cTn id="17" presetID="22" presetClass="entr" presetSubtype="8" fill="hold" nodeType="afterEffect">
                                  <p:stCondLst>
                                    <p:cond delay="0"/>
                                  </p:stCondLst>
                                  <p:childTnLst>
                                    <p:set>
                                      <p:cBhvr>
                                        <p:cTn id="18" dur="1" fill="hold">
                                          <p:stCondLst>
                                            <p:cond delay="0"/>
                                          </p:stCondLst>
                                        </p:cTn>
                                        <p:tgtEl>
                                          <p:spTgt spid="160782"/>
                                        </p:tgtEl>
                                        <p:attrNameLst>
                                          <p:attrName>style.visibility</p:attrName>
                                        </p:attrNameLst>
                                      </p:cBhvr>
                                      <p:to>
                                        <p:strVal val="visible"/>
                                      </p:to>
                                    </p:set>
                                    <p:animEffect transition="in" filter="wipe(left)">
                                      <p:cBhvr>
                                        <p:cTn id="19" dur="3000"/>
                                        <p:tgtEl>
                                          <p:spTgt spid="160782"/>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160783"/>
                                        </p:tgtEl>
                                        <p:attrNameLst>
                                          <p:attrName>style.visibility</p:attrName>
                                        </p:attrNameLst>
                                      </p:cBhvr>
                                      <p:to>
                                        <p:strVal val="visible"/>
                                      </p:to>
                                    </p:set>
                                    <p:anim calcmode="lin" valueType="num">
                                      <p:cBhvr additive="base">
                                        <p:cTn id="24" dur="1000" fill="hold"/>
                                        <p:tgtEl>
                                          <p:spTgt spid="160783"/>
                                        </p:tgtEl>
                                        <p:attrNameLst>
                                          <p:attrName>ppt_x</p:attrName>
                                        </p:attrNameLst>
                                      </p:cBhvr>
                                      <p:tavLst>
                                        <p:tav tm="0">
                                          <p:val>
                                            <p:strVal val="1+#ppt_w/2"/>
                                          </p:val>
                                        </p:tav>
                                        <p:tav tm="100000">
                                          <p:val>
                                            <p:strVal val="#ppt_x"/>
                                          </p:val>
                                        </p:tav>
                                      </p:tavLst>
                                    </p:anim>
                                    <p:anim calcmode="lin" valueType="num">
                                      <p:cBhvr additive="base">
                                        <p:cTn id="25" dur="1000" fill="hold"/>
                                        <p:tgtEl>
                                          <p:spTgt spid="160783"/>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1000"/>
                            </p:stCondLst>
                            <p:childTnLst>
                              <p:par>
                                <p:cTn id="27" presetID="1" presetClass="entr" presetSubtype="0" fill="hold" nodeType="afterEffect">
                                  <p:stCondLst>
                                    <p:cond delay="0"/>
                                  </p:stCondLst>
                                  <p:childTnLst>
                                    <p:set>
                                      <p:cBhvr>
                                        <p:cTn id="28" dur="1" fill="hold">
                                          <p:stCondLst>
                                            <p:cond delay="0"/>
                                          </p:stCondLst>
                                        </p:cTn>
                                        <p:tgtEl>
                                          <p:spTgt spid="160787"/>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8" fill="hold" nodeType="clickEffect">
                                  <p:stCondLst>
                                    <p:cond delay="0"/>
                                  </p:stCondLst>
                                  <p:childTnLst>
                                    <p:set>
                                      <p:cBhvr>
                                        <p:cTn id="32" dur="1" fill="hold">
                                          <p:stCondLst>
                                            <p:cond delay="0"/>
                                          </p:stCondLst>
                                        </p:cTn>
                                        <p:tgtEl>
                                          <p:spTgt spid="160787"/>
                                        </p:tgtEl>
                                        <p:attrNameLst>
                                          <p:attrName>style.visibility</p:attrName>
                                        </p:attrNameLst>
                                      </p:cBhvr>
                                      <p:to>
                                        <p:strVal val="visible"/>
                                      </p:to>
                                    </p:set>
                                    <p:animEffect transition="in" filter="wipe(left)">
                                      <p:cBhvr>
                                        <p:cTn id="33" dur="500"/>
                                        <p:tgtEl>
                                          <p:spTgt spid="160787"/>
                                        </p:tgtEl>
                                      </p:cBhvr>
                                    </p:animEffect>
                                  </p:childTnLst>
                                </p:cTn>
                              </p:par>
                            </p:childTnLst>
                          </p:cTn>
                        </p:par>
                        <p:par>
                          <p:cTn id="34" fill="hold" nodeType="afterGroup">
                            <p:stCondLst>
                              <p:cond delay="500"/>
                            </p:stCondLst>
                            <p:childTnLst>
                              <p:par>
                                <p:cTn id="35" presetID="22" presetClass="entr" presetSubtype="8" fill="hold" nodeType="afterEffect">
                                  <p:stCondLst>
                                    <p:cond delay="0"/>
                                  </p:stCondLst>
                                  <p:childTnLst>
                                    <p:set>
                                      <p:cBhvr>
                                        <p:cTn id="36" dur="1" fill="hold">
                                          <p:stCondLst>
                                            <p:cond delay="0"/>
                                          </p:stCondLst>
                                        </p:cTn>
                                        <p:tgtEl>
                                          <p:spTgt spid="160789"/>
                                        </p:tgtEl>
                                        <p:attrNameLst>
                                          <p:attrName>style.visibility</p:attrName>
                                        </p:attrNameLst>
                                      </p:cBhvr>
                                      <p:to>
                                        <p:strVal val="visible"/>
                                      </p:to>
                                    </p:set>
                                    <p:animEffect transition="in" filter="wipe(left)">
                                      <p:cBhvr>
                                        <p:cTn id="37" dur="1000"/>
                                        <p:tgtEl>
                                          <p:spTgt spid="160789"/>
                                        </p:tgtEl>
                                      </p:cBhvr>
                                    </p:animEffect>
                                  </p:childTnLst>
                                </p:cTn>
                              </p:par>
                            </p:childTnLst>
                          </p:cTn>
                        </p:par>
                        <p:par>
                          <p:cTn id="38" fill="hold" nodeType="afterGroup">
                            <p:stCondLst>
                              <p:cond delay="1500"/>
                            </p:stCondLst>
                            <p:childTnLst>
                              <p:par>
                                <p:cTn id="39" presetID="22" presetClass="entr" presetSubtype="8" fill="hold" nodeType="afterEffect">
                                  <p:stCondLst>
                                    <p:cond delay="0"/>
                                  </p:stCondLst>
                                  <p:childTnLst>
                                    <p:set>
                                      <p:cBhvr>
                                        <p:cTn id="40" dur="1" fill="hold">
                                          <p:stCondLst>
                                            <p:cond delay="0"/>
                                          </p:stCondLst>
                                        </p:cTn>
                                        <p:tgtEl>
                                          <p:spTgt spid="160790"/>
                                        </p:tgtEl>
                                        <p:attrNameLst>
                                          <p:attrName>style.visibility</p:attrName>
                                        </p:attrNameLst>
                                      </p:cBhvr>
                                      <p:to>
                                        <p:strVal val="visible"/>
                                      </p:to>
                                    </p:set>
                                    <p:animEffect transition="in" filter="wipe(left)">
                                      <p:cBhvr>
                                        <p:cTn id="41" dur="1000"/>
                                        <p:tgtEl>
                                          <p:spTgt spid="160790"/>
                                        </p:tgtEl>
                                      </p:cBhvr>
                                    </p:animEffect>
                                  </p:childTnLst>
                                </p:cTn>
                              </p:par>
                            </p:childTnLst>
                          </p:cTn>
                        </p:par>
                        <p:par>
                          <p:cTn id="42" fill="hold" nodeType="afterGroup">
                            <p:stCondLst>
                              <p:cond delay="2500"/>
                            </p:stCondLst>
                            <p:childTnLst>
                              <p:par>
                                <p:cTn id="43" presetID="22" presetClass="entr" presetSubtype="8" fill="hold" nodeType="afterEffect">
                                  <p:stCondLst>
                                    <p:cond delay="0"/>
                                  </p:stCondLst>
                                  <p:childTnLst>
                                    <p:set>
                                      <p:cBhvr>
                                        <p:cTn id="44" dur="1" fill="hold">
                                          <p:stCondLst>
                                            <p:cond delay="0"/>
                                          </p:stCondLst>
                                        </p:cTn>
                                        <p:tgtEl>
                                          <p:spTgt spid="160791"/>
                                        </p:tgtEl>
                                        <p:attrNameLst>
                                          <p:attrName>style.visibility</p:attrName>
                                        </p:attrNameLst>
                                      </p:cBhvr>
                                      <p:to>
                                        <p:strVal val="visible"/>
                                      </p:to>
                                    </p:set>
                                    <p:animEffect transition="in" filter="wipe(left)">
                                      <p:cBhvr>
                                        <p:cTn id="45" dur="1000"/>
                                        <p:tgtEl>
                                          <p:spTgt spid="160791"/>
                                        </p:tgtEl>
                                      </p:cBhvr>
                                    </p:animEffect>
                                  </p:childTnLst>
                                </p:cTn>
                              </p:par>
                            </p:childTnLst>
                          </p:cTn>
                        </p:par>
                        <p:par>
                          <p:cTn id="46" fill="hold" nodeType="afterGroup">
                            <p:stCondLst>
                              <p:cond delay="3500"/>
                            </p:stCondLst>
                            <p:childTnLst>
                              <p:par>
                                <p:cTn id="47" presetID="22" presetClass="entr" presetSubtype="8" fill="hold" nodeType="afterEffect">
                                  <p:stCondLst>
                                    <p:cond delay="0"/>
                                  </p:stCondLst>
                                  <p:childTnLst>
                                    <p:set>
                                      <p:cBhvr>
                                        <p:cTn id="48" dur="1" fill="hold">
                                          <p:stCondLst>
                                            <p:cond delay="0"/>
                                          </p:stCondLst>
                                        </p:cTn>
                                        <p:tgtEl>
                                          <p:spTgt spid="160792"/>
                                        </p:tgtEl>
                                        <p:attrNameLst>
                                          <p:attrName>style.visibility</p:attrName>
                                        </p:attrNameLst>
                                      </p:cBhvr>
                                      <p:to>
                                        <p:strVal val="visible"/>
                                      </p:to>
                                    </p:set>
                                    <p:animEffect transition="in" filter="wipe(left)">
                                      <p:cBhvr>
                                        <p:cTn id="49" dur="1000"/>
                                        <p:tgtEl>
                                          <p:spTgt spid="160792"/>
                                        </p:tgtEl>
                                      </p:cBhvr>
                                    </p:animEffect>
                                  </p:childTnLst>
                                </p:cTn>
                              </p:par>
                            </p:childTnLst>
                          </p:cTn>
                        </p:par>
                        <p:par>
                          <p:cTn id="50" fill="hold" nodeType="afterGroup">
                            <p:stCondLst>
                              <p:cond delay="4500"/>
                            </p:stCondLst>
                            <p:childTnLst>
                              <p:par>
                                <p:cTn id="51" presetID="22" presetClass="entr" presetSubtype="8" fill="hold" nodeType="afterEffect">
                                  <p:stCondLst>
                                    <p:cond delay="0"/>
                                  </p:stCondLst>
                                  <p:childTnLst>
                                    <p:set>
                                      <p:cBhvr>
                                        <p:cTn id="52" dur="1" fill="hold">
                                          <p:stCondLst>
                                            <p:cond delay="0"/>
                                          </p:stCondLst>
                                        </p:cTn>
                                        <p:tgtEl>
                                          <p:spTgt spid="160793"/>
                                        </p:tgtEl>
                                        <p:attrNameLst>
                                          <p:attrName>style.visibility</p:attrName>
                                        </p:attrNameLst>
                                      </p:cBhvr>
                                      <p:to>
                                        <p:strVal val="visible"/>
                                      </p:to>
                                    </p:set>
                                    <p:animEffect transition="in" filter="wipe(left)">
                                      <p:cBhvr>
                                        <p:cTn id="53" dur="2000"/>
                                        <p:tgtEl>
                                          <p:spTgt spid="160793"/>
                                        </p:tgtEl>
                                      </p:cBhvr>
                                    </p:animEffect>
                                  </p:childTnLst>
                                </p:cTn>
                              </p:par>
                            </p:childTnLst>
                          </p:cTn>
                        </p:par>
                      </p:childTnLst>
                    </p:cTn>
                  </p:par>
                  <p:par>
                    <p:cTn id="54" fill="hold" nodeType="clickPar">
                      <p:stCondLst>
                        <p:cond delay="indefinite"/>
                      </p:stCondLst>
                      <p:childTnLst>
                        <p:par>
                          <p:cTn id="55" fill="hold" nodeType="withGroup">
                            <p:stCondLst>
                              <p:cond delay="0"/>
                            </p:stCondLst>
                            <p:childTnLst>
                              <p:par>
                                <p:cTn id="56" presetID="3" presetClass="entr" presetSubtype="5" fill="hold" grpId="0" nodeType="clickEffect">
                                  <p:stCondLst>
                                    <p:cond delay="0"/>
                                  </p:stCondLst>
                                  <p:childTnLst>
                                    <p:set>
                                      <p:cBhvr>
                                        <p:cTn id="57" dur="1" fill="hold">
                                          <p:stCondLst>
                                            <p:cond delay="0"/>
                                          </p:stCondLst>
                                        </p:cTn>
                                        <p:tgtEl>
                                          <p:spTgt spid="160794"/>
                                        </p:tgtEl>
                                        <p:attrNameLst>
                                          <p:attrName>style.visibility</p:attrName>
                                        </p:attrNameLst>
                                      </p:cBhvr>
                                      <p:to>
                                        <p:strVal val="visible"/>
                                      </p:to>
                                    </p:set>
                                    <p:animEffect transition="in" filter="blinds(vertical)">
                                      <p:cBhvr>
                                        <p:cTn id="58" dur="500"/>
                                        <p:tgtEl>
                                          <p:spTgt spid="160794"/>
                                        </p:tgtEl>
                                      </p:cBhvr>
                                    </p:animEffect>
                                  </p:childTnLst>
                                </p:cTn>
                              </p:par>
                            </p:childTnLst>
                          </p:cTn>
                        </p:par>
                      </p:childTnLst>
                    </p:cTn>
                  </p:par>
                  <p:par>
                    <p:cTn id="59" fill="hold" nodeType="clickPar">
                      <p:stCondLst>
                        <p:cond delay="indefinite"/>
                      </p:stCondLst>
                      <p:childTnLst>
                        <p:par>
                          <p:cTn id="60" fill="hold" nodeType="withGroup">
                            <p:stCondLst>
                              <p:cond delay="0"/>
                            </p:stCondLst>
                            <p:childTnLst>
                              <p:par>
                                <p:cTn id="61" presetID="3" presetClass="entr" presetSubtype="5" fill="hold" nodeType="clickEffect">
                                  <p:stCondLst>
                                    <p:cond delay="0"/>
                                  </p:stCondLst>
                                  <p:childTnLst>
                                    <p:set>
                                      <p:cBhvr>
                                        <p:cTn id="62" dur="1" fill="hold">
                                          <p:stCondLst>
                                            <p:cond delay="0"/>
                                          </p:stCondLst>
                                        </p:cTn>
                                        <p:tgtEl>
                                          <p:spTgt spid="160786"/>
                                        </p:tgtEl>
                                        <p:attrNameLst>
                                          <p:attrName>style.visibility</p:attrName>
                                        </p:attrNameLst>
                                      </p:cBhvr>
                                      <p:to>
                                        <p:strVal val="visible"/>
                                      </p:to>
                                    </p:set>
                                    <p:animEffect transition="in" filter="blinds(vertical)">
                                      <p:cBhvr>
                                        <p:cTn id="63" dur="500"/>
                                        <p:tgtEl>
                                          <p:spTgt spid="160786"/>
                                        </p:tgtEl>
                                      </p:cBhvr>
                                    </p:animEffect>
                                  </p:childTnLst>
                                </p:cTn>
                              </p:par>
                            </p:childTnLst>
                          </p:cTn>
                        </p:par>
                        <p:par>
                          <p:cTn id="64" fill="hold" nodeType="afterGroup">
                            <p:stCondLst>
                              <p:cond delay="500"/>
                            </p:stCondLst>
                            <p:childTnLst>
                              <p:par>
                                <p:cTn id="65" presetID="22" presetClass="entr" presetSubtype="8" fill="hold" nodeType="afterEffect">
                                  <p:stCondLst>
                                    <p:cond delay="0"/>
                                  </p:stCondLst>
                                  <p:childTnLst>
                                    <p:set>
                                      <p:cBhvr>
                                        <p:cTn id="66" dur="1" fill="hold">
                                          <p:stCondLst>
                                            <p:cond delay="0"/>
                                          </p:stCondLst>
                                        </p:cTn>
                                        <p:tgtEl>
                                          <p:spTgt spid="160795"/>
                                        </p:tgtEl>
                                        <p:attrNameLst>
                                          <p:attrName>style.visibility</p:attrName>
                                        </p:attrNameLst>
                                      </p:cBhvr>
                                      <p:to>
                                        <p:strVal val="visible"/>
                                      </p:to>
                                    </p:set>
                                    <p:animEffect transition="in" filter="wipe(left)">
                                      <p:cBhvr>
                                        <p:cTn id="67" dur="1000"/>
                                        <p:tgtEl>
                                          <p:spTgt spid="160795"/>
                                        </p:tgtEl>
                                      </p:cBhvr>
                                    </p:animEffect>
                                  </p:childTnLst>
                                </p:cTn>
                              </p:par>
                            </p:childTnLst>
                          </p:cTn>
                        </p:par>
                        <p:par>
                          <p:cTn id="68" fill="hold" nodeType="afterGroup">
                            <p:stCondLst>
                              <p:cond delay="1500"/>
                            </p:stCondLst>
                            <p:childTnLst>
                              <p:par>
                                <p:cTn id="69" presetID="22" presetClass="entr" presetSubtype="8" fill="hold" nodeType="afterEffect">
                                  <p:stCondLst>
                                    <p:cond delay="0"/>
                                  </p:stCondLst>
                                  <p:childTnLst>
                                    <p:set>
                                      <p:cBhvr>
                                        <p:cTn id="70" dur="1" fill="hold">
                                          <p:stCondLst>
                                            <p:cond delay="0"/>
                                          </p:stCondLst>
                                        </p:cTn>
                                        <p:tgtEl>
                                          <p:spTgt spid="160796"/>
                                        </p:tgtEl>
                                        <p:attrNameLst>
                                          <p:attrName>style.visibility</p:attrName>
                                        </p:attrNameLst>
                                      </p:cBhvr>
                                      <p:to>
                                        <p:strVal val="visible"/>
                                      </p:to>
                                    </p:set>
                                    <p:animEffect transition="in" filter="wipe(left)">
                                      <p:cBhvr>
                                        <p:cTn id="71" dur="1000"/>
                                        <p:tgtEl>
                                          <p:spTgt spid="160796"/>
                                        </p:tgtEl>
                                      </p:cBhvr>
                                    </p:animEffect>
                                  </p:childTnLst>
                                </p:cTn>
                              </p:par>
                            </p:childTnLst>
                          </p:cTn>
                        </p:par>
                        <p:par>
                          <p:cTn id="72" fill="hold" nodeType="afterGroup">
                            <p:stCondLst>
                              <p:cond delay="2500"/>
                            </p:stCondLst>
                            <p:childTnLst>
                              <p:par>
                                <p:cTn id="73" presetID="22" presetClass="entr" presetSubtype="8" fill="hold" nodeType="afterEffect">
                                  <p:stCondLst>
                                    <p:cond delay="0"/>
                                  </p:stCondLst>
                                  <p:childTnLst>
                                    <p:set>
                                      <p:cBhvr>
                                        <p:cTn id="74" dur="1" fill="hold">
                                          <p:stCondLst>
                                            <p:cond delay="0"/>
                                          </p:stCondLst>
                                        </p:cTn>
                                        <p:tgtEl>
                                          <p:spTgt spid="160797"/>
                                        </p:tgtEl>
                                        <p:attrNameLst>
                                          <p:attrName>style.visibility</p:attrName>
                                        </p:attrNameLst>
                                      </p:cBhvr>
                                      <p:to>
                                        <p:strVal val="visible"/>
                                      </p:to>
                                    </p:set>
                                    <p:animEffect transition="in" filter="wipe(left)">
                                      <p:cBhvr>
                                        <p:cTn id="75" dur="1000"/>
                                        <p:tgtEl>
                                          <p:spTgt spid="1607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0778" grpId="0"/>
      <p:bldP spid="160779" grpId="0"/>
      <p:bldP spid="160781" grpId="0"/>
      <p:bldP spid="160783" grpId="0"/>
      <p:bldP spid="160794" grpId="0"/>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Dovoz elektřiny</a:t>
            </a:r>
            <a:endParaRPr lang="cs-CZ" dirty="0"/>
          </a:p>
        </p:txBody>
      </p:sp>
      <p:sp>
        <p:nvSpPr>
          <p:cNvPr id="22" name="Rectangle 3"/>
          <p:cNvSpPr txBox="1">
            <a:spLocks noChangeArrowheads="1"/>
          </p:cNvSpPr>
          <p:nvPr/>
        </p:nvSpPr>
        <p:spPr bwMode="auto">
          <a:xfrm>
            <a:off x="457200" y="1179513"/>
            <a:ext cx="8229600" cy="4525962"/>
          </a:xfrm>
          <a:prstGeom prst="rect">
            <a:avLst/>
          </a:prstGeo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chemeClr val="hlink"/>
              </a:buClr>
              <a:buFontTx/>
              <a:buChar char="•"/>
            </a:pPr>
            <a:r>
              <a:rPr lang="cs-CZ" sz="2400" dirty="0" smtClean="0">
                <a:solidFill>
                  <a:srgbClr val="000000"/>
                </a:solidFill>
                <a:latin typeface="Verdana" pitchFamily="34" charset="0"/>
              </a:rPr>
              <a:t>není odkud dovážet elektřinu do ČR</a:t>
            </a:r>
          </a:p>
          <a:p>
            <a:pPr lvl="1">
              <a:buClr>
                <a:schemeClr val="hlink"/>
              </a:buClr>
              <a:buFontTx/>
              <a:buChar char="-"/>
            </a:pPr>
            <a:r>
              <a:rPr lang="cs-CZ" sz="2000" dirty="0" smtClean="0">
                <a:solidFill>
                  <a:srgbClr val="000000"/>
                </a:solidFill>
                <a:latin typeface="Verdana" pitchFamily="34" charset="0"/>
              </a:rPr>
              <a:t>kvůli omezení elektráren v Německu teď vyvážíme kolem 1500 MW</a:t>
            </a:r>
          </a:p>
          <a:p>
            <a:pPr>
              <a:spcBef>
                <a:spcPts val="600"/>
              </a:spcBef>
              <a:buClr>
                <a:srgbClr val="FF0000"/>
              </a:buClr>
              <a:buFont typeface="Wingdings" pitchFamily="2" charset="2"/>
              <a:buNone/>
            </a:pPr>
            <a:endParaRPr lang="cs-CZ" sz="2000" dirty="0" smtClean="0">
              <a:solidFill>
                <a:srgbClr val="000000"/>
              </a:solidFill>
              <a:latin typeface="Verdana" pitchFamily="34" charset="0"/>
            </a:endParaRPr>
          </a:p>
        </p:txBody>
      </p:sp>
      <p:sp>
        <p:nvSpPr>
          <p:cNvPr id="23" name="Text Box 5"/>
          <p:cNvSpPr txBox="1">
            <a:spLocks noChangeArrowheads="1"/>
          </p:cNvSpPr>
          <p:nvPr/>
        </p:nvSpPr>
        <p:spPr bwMode="auto">
          <a:xfrm>
            <a:off x="228600" y="6237312"/>
            <a:ext cx="19050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50000"/>
              </a:spcBef>
            </a:pPr>
            <a:r>
              <a:rPr lang="cs-CZ" sz="1000" dirty="0">
                <a:solidFill>
                  <a:srgbClr val="000000"/>
                </a:solidFill>
                <a:latin typeface="Arial Narrow" pitchFamily="34" charset="0"/>
              </a:rPr>
              <a:t>Zdroj: ČEPS</a:t>
            </a:r>
          </a:p>
        </p:txBody>
      </p:sp>
      <p:pic>
        <p:nvPicPr>
          <p:cNvPr id="24" name="Picture 6" descr="CEP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2573338"/>
            <a:ext cx="5486400" cy="3640137"/>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7"/>
          <p:cNvSpPr>
            <a:spLocks noChangeArrowheads="1"/>
          </p:cNvSpPr>
          <p:nvPr/>
        </p:nvSpPr>
        <p:spPr bwMode="auto">
          <a:xfrm>
            <a:off x="5867400" y="2895600"/>
            <a:ext cx="304800" cy="304800"/>
          </a:xfrm>
          <a:prstGeom prst="rect">
            <a:avLst/>
          </a:prstGeom>
          <a:solidFill>
            <a:srgbClr val="FF0000"/>
          </a:solidFill>
          <a:ln w="9525">
            <a:solidFill>
              <a:schemeClr val="tx1"/>
            </a:solidFill>
            <a:miter lim="800000"/>
            <a:headEnd/>
            <a:tailEnd/>
          </a:ln>
          <a:effectLst/>
          <a:extLst/>
        </p:spPr>
        <p:txBody>
          <a:bodyPr wrap="none" anchor="ctr"/>
          <a:lstStyle/>
          <a:p>
            <a:endParaRPr lang="cs-CZ"/>
          </a:p>
        </p:txBody>
      </p:sp>
      <p:sp>
        <p:nvSpPr>
          <p:cNvPr id="26" name="Rectangle 8"/>
          <p:cNvSpPr>
            <a:spLocks noChangeArrowheads="1"/>
          </p:cNvSpPr>
          <p:nvPr/>
        </p:nvSpPr>
        <p:spPr bwMode="auto">
          <a:xfrm>
            <a:off x="5867400" y="3429000"/>
            <a:ext cx="304800" cy="304800"/>
          </a:xfrm>
          <a:prstGeom prst="rect">
            <a:avLst/>
          </a:prstGeom>
          <a:solidFill>
            <a:srgbClr val="000000"/>
          </a:solidFill>
          <a:ln w="9525">
            <a:solidFill>
              <a:schemeClr val="tx1"/>
            </a:solidFill>
            <a:miter lim="800000"/>
            <a:headEnd/>
            <a:tailEnd/>
          </a:ln>
          <a:effectLst/>
          <a:extLst/>
        </p:spPr>
        <p:txBody>
          <a:bodyPr wrap="none" anchor="ctr"/>
          <a:lstStyle/>
          <a:p>
            <a:endParaRPr lang="cs-CZ"/>
          </a:p>
        </p:txBody>
      </p:sp>
      <p:sp>
        <p:nvSpPr>
          <p:cNvPr id="29" name="Text Box 9"/>
          <p:cNvSpPr txBox="1">
            <a:spLocks noChangeArrowheads="1"/>
          </p:cNvSpPr>
          <p:nvPr/>
        </p:nvSpPr>
        <p:spPr bwMode="auto">
          <a:xfrm>
            <a:off x="6400800" y="2819400"/>
            <a:ext cx="1828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50000"/>
              </a:spcBef>
            </a:pPr>
            <a:r>
              <a:rPr lang="cs-CZ" sz="2000" dirty="0">
                <a:solidFill>
                  <a:srgbClr val="FF0000"/>
                </a:solidFill>
              </a:rPr>
              <a:t>Plán</a:t>
            </a:r>
          </a:p>
        </p:txBody>
      </p:sp>
      <p:sp>
        <p:nvSpPr>
          <p:cNvPr id="30" name="Text Box 10"/>
          <p:cNvSpPr txBox="1">
            <a:spLocks noChangeArrowheads="1"/>
          </p:cNvSpPr>
          <p:nvPr/>
        </p:nvSpPr>
        <p:spPr bwMode="auto">
          <a:xfrm>
            <a:off x="6400800" y="3352800"/>
            <a:ext cx="1828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50000"/>
              </a:spcBef>
            </a:pPr>
            <a:r>
              <a:rPr lang="cs-CZ" sz="2000" dirty="0">
                <a:solidFill>
                  <a:srgbClr val="000000"/>
                </a:solidFill>
              </a:rPr>
              <a:t>Skutečnost</a:t>
            </a:r>
          </a:p>
        </p:txBody>
      </p:sp>
      <p:sp>
        <p:nvSpPr>
          <p:cNvPr id="31" name="Text Box 11"/>
          <p:cNvSpPr txBox="1">
            <a:spLocks noChangeArrowheads="1"/>
          </p:cNvSpPr>
          <p:nvPr/>
        </p:nvSpPr>
        <p:spPr bwMode="auto">
          <a:xfrm>
            <a:off x="5867400" y="5157788"/>
            <a:ext cx="2895600"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50000"/>
              </a:spcBef>
            </a:pPr>
            <a:r>
              <a:rPr lang="cs-CZ" sz="2000">
                <a:solidFill>
                  <a:srgbClr val="000000"/>
                </a:solidFill>
              </a:rPr>
              <a:t>Záporné hodnoty</a:t>
            </a:r>
          </a:p>
          <a:p>
            <a:pPr algn="r" eaLnBrk="1" hangingPunct="1">
              <a:lnSpc>
                <a:spcPct val="100000"/>
              </a:lnSpc>
              <a:spcBef>
                <a:spcPct val="50000"/>
              </a:spcBef>
            </a:pPr>
            <a:r>
              <a:rPr lang="cs-CZ" sz="2000">
                <a:solidFill>
                  <a:srgbClr val="000000"/>
                </a:solidFill>
              </a:rPr>
              <a:t>- vývoz</a:t>
            </a:r>
          </a:p>
        </p:txBody>
      </p:sp>
      <p:sp>
        <p:nvSpPr>
          <p:cNvPr id="32" name="Text Box 12"/>
          <p:cNvSpPr txBox="1">
            <a:spLocks noChangeArrowheads="1"/>
          </p:cNvSpPr>
          <p:nvPr/>
        </p:nvSpPr>
        <p:spPr bwMode="auto">
          <a:xfrm>
            <a:off x="5867400" y="4014788"/>
            <a:ext cx="2895600" cy="8636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eaLnBrk="1" hangingPunct="1">
              <a:lnSpc>
                <a:spcPct val="100000"/>
              </a:lnSpc>
              <a:spcBef>
                <a:spcPct val="50000"/>
              </a:spcBef>
            </a:pPr>
            <a:r>
              <a:rPr lang="cs-CZ" sz="2000">
                <a:solidFill>
                  <a:srgbClr val="000000"/>
                </a:solidFill>
              </a:rPr>
              <a:t>Kladné hodnoty</a:t>
            </a:r>
          </a:p>
          <a:p>
            <a:pPr algn="r" eaLnBrk="1" hangingPunct="1">
              <a:lnSpc>
                <a:spcPct val="100000"/>
              </a:lnSpc>
              <a:spcBef>
                <a:spcPct val="50000"/>
              </a:spcBef>
            </a:pPr>
            <a:r>
              <a:rPr lang="cs-CZ" sz="2000">
                <a:solidFill>
                  <a:srgbClr val="000000"/>
                </a:solidFill>
              </a:rPr>
              <a:t>+ dovoz</a:t>
            </a:r>
          </a:p>
        </p:txBody>
      </p:sp>
      <p:sp>
        <p:nvSpPr>
          <p:cNvPr id="15"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53</a:t>
            </a:fld>
            <a:endParaRPr lang="en-US" dirty="0"/>
          </a:p>
        </p:txBody>
      </p:sp>
      <p:sp>
        <p:nvSpPr>
          <p:cNvPr id="16"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7" name="TextovéPole 16"/>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29337661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57200" y="44624"/>
            <a:ext cx="7239000" cy="793576"/>
          </a:xfrm>
        </p:spPr>
        <p:txBody>
          <a:bodyPr/>
          <a:lstStyle/>
          <a:p>
            <a:r>
              <a:rPr lang="cs-CZ" dirty="0" smtClean="0"/>
              <a:t>Struktura výroby elektřiny 2030</a:t>
            </a:r>
            <a:endParaRPr lang="cs-CZ" dirty="0"/>
          </a:p>
        </p:txBody>
      </p:sp>
      <p:graphicFrame>
        <p:nvGraphicFramePr>
          <p:cNvPr id="3" name="Object 6"/>
          <p:cNvGraphicFramePr>
            <a:graphicFrameLocks noChangeAspect="1"/>
          </p:cNvGraphicFramePr>
          <p:nvPr/>
        </p:nvGraphicFramePr>
        <p:xfrm>
          <a:off x="804863" y="1525588"/>
          <a:ext cx="7807325" cy="4387850"/>
        </p:xfrm>
        <a:graphic>
          <a:graphicData uri="http://schemas.openxmlformats.org/presentationml/2006/ole">
            <mc:AlternateContent xmlns:mc="http://schemas.openxmlformats.org/markup-compatibility/2006">
              <mc:Choice xmlns:v="urn:schemas-microsoft-com:vml" Requires="v">
                <p:oleObj spid="_x0000_s6169" name="Graf" r:id="rId3" imgW="6829806" imgH="3838956" progId="Excel.Chart.8">
                  <p:embed/>
                </p:oleObj>
              </mc:Choice>
              <mc:Fallback>
                <p:oleObj name="Graf" r:id="rId3" imgW="6829806" imgH="3838956"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4863" y="1525588"/>
                        <a:ext cx="7807325" cy="4387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AutoShape 12"/>
          <p:cNvSpPr>
            <a:spLocks noChangeArrowheads="1"/>
          </p:cNvSpPr>
          <p:nvPr/>
        </p:nvSpPr>
        <p:spPr bwMode="auto">
          <a:xfrm>
            <a:off x="5418138" y="1319213"/>
            <a:ext cx="279400" cy="952500"/>
          </a:xfrm>
          <a:prstGeom prst="downArrow">
            <a:avLst>
              <a:gd name="adj1" fmla="val 50000"/>
              <a:gd name="adj2" fmla="val 85227"/>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sp>
        <p:nvSpPr>
          <p:cNvPr id="5" name="AutoShape 13"/>
          <p:cNvSpPr>
            <a:spLocks noChangeArrowheads="1"/>
          </p:cNvSpPr>
          <p:nvPr/>
        </p:nvSpPr>
        <p:spPr bwMode="auto">
          <a:xfrm>
            <a:off x="5791200" y="1308100"/>
            <a:ext cx="279400" cy="2693988"/>
          </a:xfrm>
          <a:prstGeom prst="downArrow">
            <a:avLst>
              <a:gd name="adj1" fmla="val 50000"/>
              <a:gd name="adj2" fmla="val 241051"/>
            </a:avLst>
          </a:prstGeom>
          <a:solidFill>
            <a:schemeClr val="folHlink"/>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sp>
        <p:nvSpPr>
          <p:cNvPr id="6" name="Text Box 14"/>
          <p:cNvSpPr txBox="1">
            <a:spLocks noChangeArrowheads="1"/>
          </p:cNvSpPr>
          <p:nvPr/>
        </p:nvSpPr>
        <p:spPr bwMode="auto">
          <a:xfrm>
            <a:off x="4370388" y="914400"/>
            <a:ext cx="2994410" cy="42832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cs-CZ" sz="2200" b="1" i="0" dirty="0">
                <a:solidFill>
                  <a:srgbClr val="000000"/>
                </a:solidFill>
              </a:rPr>
              <a:t>Nízkouhlíkové zdroje</a:t>
            </a:r>
          </a:p>
        </p:txBody>
      </p:sp>
      <p:sp>
        <p:nvSpPr>
          <p:cNvPr id="7" name="AutoShape 15"/>
          <p:cNvSpPr>
            <a:spLocks noChangeArrowheads="1"/>
          </p:cNvSpPr>
          <p:nvPr/>
        </p:nvSpPr>
        <p:spPr bwMode="auto">
          <a:xfrm flipV="1">
            <a:off x="5078413" y="5383898"/>
            <a:ext cx="279400" cy="798513"/>
          </a:xfrm>
          <a:prstGeom prst="downArrow">
            <a:avLst>
              <a:gd name="adj1" fmla="val 50000"/>
              <a:gd name="adj2" fmla="val 71449"/>
            </a:avLst>
          </a:prstGeom>
          <a:solidFill>
            <a:srgbClr val="800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sp>
        <p:nvSpPr>
          <p:cNvPr id="8" name="AutoShape 16"/>
          <p:cNvSpPr>
            <a:spLocks noChangeArrowheads="1"/>
          </p:cNvSpPr>
          <p:nvPr/>
        </p:nvSpPr>
        <p:spPr bwMode="auto">
          <a:xfrm flipV="1">
            <a:off x="6097588" y="5393423"/>
            <a:ext cx="279400" cy="798513"/>
          </a:xfrm>
          <a:prstGeom prst="downArrow">
            <a:avLst>
              <a:gd name="adj1" fmla="val 50000"/>
              <a:gd name="adj2" fmla="val 71449"/>
            </a:avLst>
          </a:prstGeom>
          <a:solidFill>
            <a:srgbClr val="800000"/>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endParaRPr lang="cs-CZ"/>
          </a:p>
        </p:txBody>
      </p:sp>
      <p:sp>
        <p:nvSpPr>
          <p:cNvPr id="9" name="Text Box 17"/>
          <p:cNvSpPr txBox="1">
            <a:spLocks noChangeArrowheads="1"/>
          </p:cNvSpPr>
          <p:nvPr/>
        </p:nvSpPr>
        <p:spPr bwMode="auto">
          <a:xfrm>
            <a:off x="4773613" y="6081713"/>
            <a:ext cx="2005358" cy="42832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r>
              <a:rPr lang="cs-CZ" sz="2200" b="1" i="0" dirty="0">
                <a:solidFill>
                  <a:srgbClr val="000000"/>
                </a:solidFill>
              </a:rPr>
              <a:t>Fosilní zdroje</a:t>
            </a:r>
          </a:p>
        </p:txBody>
      </p:sp>
      <p:sp>
        <p:nvSpPr>
          <p:cNvPr id="13"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54</a:t>
            </a:fld>
            <a:endParaRPr lang="en-US" dirty="0"/>
          </a:p>
        </p:txBody>
      </p:sp>
      <p:sp>
        <p:nvSpPr>
          <p:cNvPr id="14"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15" name="TextovéPole 14"/>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
        <p:nvSpPr>
          <p:cNvPr id="16" name="Zaoblený obdélníkový popisek 15"/>
          <p:cNvSpPr/>
          <p:nvPr/>
        </p:nvSpPr>
        <p:spPr>
          <a:xfrm>
            <a:off x="3187352" y="1444391"/>
            <a:ext cx="1584176" cy="952500"/>
          </a:xfrm>
          <a:prstGeom prst="wedgeRoundRectCallout">
            <a:avLst>
              <a:gd name="adj1" fmla="val 88195"/>
              <a:gd name="adj2" fmla="val 134109"/>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600" dirty="0" smtClean="0">
                <a:solidFill>
                  <a:srgbClr val="0070C0"/>
                </a:solidFill>
              </a:rPr>
              <a:t>Česká republika má vlastní zásoby uranu</a:t>
            </a:r>
            <a:endParaRPr lang="en-US" sz="1600" dirty="0">
              <a:solidFill>
                <a:srgbClr val="0070C0"/>
              </a:solidFill>
            </a:endParaRPr>
          </a:p>
        </p:txBody>
      </p:sp>
      <p:sp>
        <p:nvSpPr>
          <p:cNvPr id="17" name="Zaoblený obdélníkový popisek 16"/>
          <p:cNvSpPr/>
          <p:nvPr/>
        </p:nvSpPr>
        <p:spPr>
          <a:xfrm>
            <a:off x="3367148" y="5411614"/>
            <a:ext cx="1584176" cy="952500"/>
          </a:xfrm>
          <a:prstGeom prst="wedgeRoundRectCallout">
            <a:avLst>
              <a:gd name="adj1" fmla="val 59691"/>
              <a:gd name="adj2" fmla="val -129002"/>
              <a:gd name="adj3" fmla="val 1666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600" dirty="0">
                <a:solidFill>
                  <a:srgbClr val="0070C0"/>
                </a:solidFill>
              </a:rPr>
              <a:t>Česká republika má vlastní zásoby </a:t>
            </a:r>
            <a:r>
              <a:rPr lang="cs-CZ" sz="1600" dirty="0" smtClean="0">
                <a:solidFill>
                  <a:srgbClr val="0070C0"/>
                </a:solidFill>
              </a:rPr>
              <a:t>uhlí</a:t>
            </a:r>
            <a:endParaRPr lang="en-US" sz="1600" dirty="0">
              <a:solidFill>
                <a:srgbClr val="0070C0"/>
              </a:solidFill>
            </a:endParaRPr>
          </a:p>
        </p:txBody>
      </p:sp>
      <p:sp>
        <p:nvSpPr>
          <p:cNvPr id="18" name="Zaoblený obdélníkový popisek 17"/>
          <p:cNvSpPr/>
          <p:nvPr/>
        </p:nvSpPr>
        <p:spPr>
          <a:xfrm>
            <a:off x="6553152" y="5286029"/>
            <a:ext cx="1674759" cy="952500"/>
          </a:xfrm>
          <a:prstGeom prst="wedgeRoundRectCallout">
            <a:avLst>
              <a:gd name="adj1" fmla="val -67152"/>
              <a:gd name="adj2" fmla="val -101743"/>
              <a:gd name="adj3" fmla="val 16667"/>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600" dirty="0" smtClean="0">
                <a:solidFill>
                  <a:srgbClr val="BF2A34"/>
                </a:solidFill>
              </a:rPr>
              <a:t>Česká republika dováží většinu zemního plynu</a:t>
            </a:r>
            <a:endParaRPr lang="en-US" sz="1600" dirty="0">
              <a:solidFill>
                <a:srgbClr val="BF2A34"/>
              </a:solidFill>
            </a:endParaRPr>
          </a:p>
        </p:txBody>
      </p:sp>
    </p:spTree>
    <p:extLst>
      <p:ext uri="{BB962C8B-B14F-4D97-AF65-F5344CB8AC3E}">
        <p14:creationId xmlns:p14="http://schemas.microsoft.com/office/powerpoint/2010/main" val="3531846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769939" y="142875"/>
            <a:ext cx="6686776" cy="695325"/>
          </a:xfrm>
        </p:spPr>
        <p:txBody>
          <a:bodyPr/>
          <a:lstStyle/>
          <a:p>
            <a:r>
              <a:rPr lang="cs-CZ" dirty="0" smtClean="0"/>
              <a:t>Diverzifikace přepravních tras ZP</a:t>
            </a:r>
            <a:endParaRPr lang="cs-CZ" dirty="0"/>
          </a:p>
        </p:txBody>
      </p:sp>
      <p:grpSp>
        <p:nvGrpSpPr>
          <p:cNvPr id="5" name="Group 4"/>
          <p:cNvGrpSpPr>
            <a:grpSpLocks noChangeAspect="1"/>
          </p:cNvGrpSpPr>
          <p:nvPr/>
        </p:nvGrpSpPr>
        <p:grpSpPr bwMode="auto">
          <a:xfrm>
            <a:off x="1438275" y="1272310"/>
            <a:ext cx="4365625" cy="5109017"/>
            <a:chOff x="0" y="0"/>
            <a:chExt cx="9074" cy="11219"/>
          </a:xfrm>
        </p:grpSpPr>
        <p:sp>
          <p:nvSpPr>
            <p:cNvPr id="6" name="AutoShape 5"/>
            <p:cNvSpPr>
              <a:spLocks noChangeAspect="1" noChangeArrowheads="1" noTextEdit="1"/>
            </p:cNvSpPr>
            <p:nvPr/>
          </p:nvSpPr>
          <p:spPr bwMode="auto">
            <a:xfrm>
              <a:off x="0" y="0"/>
              <a:ext cx="9074" cy="1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cs-CZ"/>
            </a:p>
          </p:txBody>
        </p:sp>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074" cy="11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7"/>
            <p:cNvSpPr>
              <a:spLocks noChangeShapeType="1"/>
            </p:cNvSpPr>
            <p:nvPr/>
          </p:nvSpPr>
          <p:spPr bwMode="auto">
            <a:xfrm flipV="1">
              <a:off x="4500" y="9900"/>
              <a:ext cx="180" cy="540"/>
            </a:xfrm>
            <a:prstGeom prst="line">
              <a:avLst/>
            </a:prstGeom>
            <a:noFill/>
            <a:ln w="38100">
              <a:solidFill>
                <a:srgbClr val="0000FF"/>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9" name="Line 8"/>
            <p:cNvSpPr>
              <a:spLocks noChangeShapeType="1"/>
            </p:cNvSpPr>
            <p:nvPr/>
          </p:nvSpPr>
          <p:spPr bwMode="auto">
            <a:xfrm>
              <a:off x="3399" y="10051"/>
              <a:ext cx="1101" cy="389"/>
            </a:xfrm>
            <a:prstGeom prst="line">
              <a:avLst/>
            </a:prstGeom>
            <a:noFill/>
            <a:ln w="38100">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0" name="Line 9"/>
            <p:cNvSpPr>
              <a:spLocks noChangeShapeType="1"/>
            </p:cNvSpPr>
            <p:nvPr/>
          </p:nvSpPr>
          <p:spPr bwMode="auto">
            <a:xfrm>
              <a:off x="3197" y="2616"/>
              <a:ext cx="910" cy="887"/>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1" name="Line 10"/>
            <p:cNvSpPr>
              <a:spLocks noChangeShapeType="1"/>
            </p:cNvSpPr>
            <p:nvPr/>
          </p:nvSpPr>
          <p:spPr bwMode="auto">
            <a:xfrm>
              <a:off x="4114" y="3521"/>
              <a:ext cx="1067" cy="1247"/>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2" name="WordArt 11"/>
            <p:cNvSpPr>
              <a:spLocks noChangeArrowheads="1" noChangeShapeType="1" noTextEdit="1"/>
            </p:cNvSpPr>
            <p:nvPr/>
          </p:nvSpPr>
          <p:spPr bwMode="auto">
            <a:xfrm>
              <a:off x="3832" y="2909"/>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3</a:t>
              </a:r>
            </a:p>
          </p:txBody>
        </p:sp>
        <p:sp>
          <p:nvSpPr>
            <p:cNvPr id="13" name="WordArt 12"/>
            <p:cNvSpPr>
              <a:spLocks noChangeArrowheads="1" noChangeShapeType="1" noTextEdit="1"/>
            </p:cNvSpPr>
            <p:nvPr/>
          </p:nvSpPr>
          <p:spPr bwMode="auto">
            <a:xfrm>
              <a:off x="4706" y="3968"/>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4</a:t>
              </a:r>
            </a:p>
          </p:txBody>
        </p:sp>
        <p:sp>
          <p:nvSpPr>
            <p:cNvPr id="14" name="Line 13"/>
            <p:cNvSpPr>
              <a:spLocks noChangeShapeType="1"/>
            </p:cNvSpPr>
            <p:nvPr/>
          </p:nvSpPr>
          <p:spPr bwMode="auto">
            <a:xfrm flipH="1">
              <a:off x="5091" y="4753"/>
              <a:ext cx="114" cy="428"/>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5" name="WordArt 14"/>
            <p:cNvSpPr>
              <a:spLocks noChangeArrowheads="1" noChangeShapeType="1" noTextEdit="1"/>
            </p:cNvSpPr>
            <p:nvPr/>
          </p:nvSpPr>
          <p:spPr bwMode="auto">
            <a:xfrm>
              <a:off x="4680" y="4775"/>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5</a:t>
              </a:r>
            </a:p>
          </p:txBody>
        </p:sp>
        <p:sp>
          <p:nvSpPr>
            <p:cNvPr id="16" name="Line 15"/>
            <p:cNvSpPr>
              <a:spLocks noChangeShapeType="1"/>
            </p:cNvSpPr>
            <p:nvPr/>
          </p:nvSpPr>
          <p:spPr bwMode="auto">
            <a:xfrm flipV="1">
              <a:off x="4681" y="5153"/>
              <a:ext cx="442" cy="251"/>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17" name="WordArt 16"/>
            <p:cNvSpPr>
              <a:spLocks noChangeArrowheads="1" noChangeShapeType="1" noTextEdit="1"/>
            </p:cNvSpPr>
            <p:nvPr/>
          </p:nvSpPr>
          <p:spPr bwMode="auto">
            <a:xfrm>
              <a:off x="4886" y="5315"/>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6</a:t>
              </a:r>
            </a:p>
          </p:txBody>
        </p:sp>
        <p:sp>
          <p:nvSpPr>
            <p:cNvPr id="18" name="WordArt 17"/>
            <p:cNvSpPr>
              <a:spLocks noChangeArrowheads="1" noChangeShapeType="1" noTextEdit="1"/>
            </p:cNvSpPr>
            <p:nvPr/>
          </p:nvSpPr>
          <p:spPr bwMode="auto">
            <a:xfrm>
              <a:off x="1708" y="1033"/>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1</a:t>
              </a:r>
            </a:p>
          </p:txBody>
        </p:sp>
        <p:sp>
          <p:nvSpPr>
            <p:cNvPr id="19" name="Line 18"/>
            <p:cNvSpPr>
              <a:spLocks noChangeShapeType="1"/>
            </p:cNvSpPr>
            <p:nvPr/>
          </p:nvSpPr>
          <p:spPr bwMode="auto">
            <a:xfrm>
              <a:off x="2236" y="1079"/>
              <a:ext cx="245" cy="472"/>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0" name="WordArt 19"/>
            <p:cNvSpPr>
              <a:spLocks noChangeArrowheads="1" noChangeShapeType="1" noTextEdit="1"/>
            </p:cNvSpPr>
            <p:nvPr/>
          </p:nvSpPr>
          <p:spPr bwMode="auto">
            <a:xfrm>
              <a:off x="2481" y="1079"/>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2</a:t>
              </a:r>
            </a:p>
          </p:txBody>
        </p:sp>
        <p:sp>
          <p:nvSpPr>
            <p:cNvPr id="21" name="Line 20"/>
            <p:cNvSpPr>
              <a:spLocks noChangeShapeType="1"/>
            </p:cNvSpPr>
            <p:nvPr/>
          </p:nvSpPr>
          <p:spPr bwMode="auto">
            <a:xfrm flipH="1">
              <a:off x="3698" y="5467"/>
              <a:ext cx="900" cy="1020"/>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2" name="WordArt 21"/>
            <p:cNvSpPr>
              <a:spLocks noChangeArrowheads="1" noChangeShapeType="1" noTextEdit="1"/>
            </p:cNvSpPr>
            <p:nvPr/>
          </p:nvSpPr>
          <p:spPr bwMode="auto">
            <a:xfrm>
              <a:off x="4140" y="504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2.1</a:t>
              </a:r>
            </a:p>
          </p:txBody>
        </p:sp>
        <p:sp>
          <p:nvSpPr>
            <p:cNvPr id="23" name="Line 22"/>
            <p:cNvSpPr>
              <a:spLocks noChangeShapeType="1"/>
            </p:cNvSpPr>
            <p:nvPr/>
          </p:nvSpPr>
          <p:spPr bwMode="auto">
            <a:xfrm>
              <a:off x="3773" y="6402"/>
              <a:ext cx="49" cy="338"/>
            </a:xfrm>
            <a:prstGeom prst="line">
              <a:avLst/>
            </a:prstGeom>
            <a:noFill/>
            <a:ln w="38100">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4" name="WordArt 23"/>
            <p:cNvSpPr>
              <a:spLocks noChangeArrowheads="1" noChangeShapeType="1" noTextEdit="1"/>
            </p:cNvSpPr>
            <p:nvPr/>
          </p:nvSpPr>
          <p:spPr bwMode="auto">
            <a:xfrm>
              <a:off x="3240" y="630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2.3</a:t>
              </a:r>
            </a:p>
          </p:txBody>
        </p:sp>
        <p:sp>
          <p:nvSpPr>
            <p:cNvPr id="25" name="Line 24"/>
            <p:cNvSpPr>
              <a:spLocks noChangeShapeType="1"/>
            </p:cNvSpPr>
            <p:nvPr/>
          </p:nvSpPr>
          <p:spPr bwMode="auto">
            <a:xfrm>
              <a:off x="3698" y="6740"/>
              <a:ext cx="1260" cy="540"/>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6" name="Line 25"/>
            <p:cNvSpPr>
              <a:spLocks noChangeShapeType="1"/>
            </p:cNvSpPr>
            <p:nvPr/>
          </p:nvSpPr>
          <p:spPr bwMode="auto">
            <a:xfrm flipH="1">
              <a:off x="4500" y="5400"/>
              <a:ext cx="180" cy="1"/>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27" name="WordArt 26"/>
            <p:cNvSpPr>
              <a:spLocks noChangeArrowheads="1" noChangeShapeType="1" noTextEdit="1"/>
            </p:cNvSpPr>
            <p:nvPr/>
          </p:nvSpPr>
          <p:spPr bwMode="auto">
            <a:xfrm>
              <a:off x="3780" y="558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2.2</a:t>
              </a:r>
            </a:p>
          </p:txBody>
        </p:sp>
        <p:sp>
          <p:nvSpPr>
            <p:cNvPr id="28" name="WordArt 27"/>
            <p:cNvSpPr>
              <a:spLocks noChangeArrowheads="1" noChangeShapeType="1" noTextEdit="1"/>
            </p:cNvSpPr>
            <p:nvPr/>
          </p:nvSpPr>
          <p:spPr bwMode="auto">
            <a:xfrm>
              <a:off x="5220" y="738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3.2</a:t>
              </a:r>
            </a:p>
          </p:txBody>
        </p:sp>
        <p:sp>
          <p:nvSpPr>
            <p:cNvPr id="29" name="WordArt 28"/>
            <p:cNvSpPr>
              <a:spLocks noChangeArrowheads="1" noChangeShapeType="1" noTextEdit="1"/>
            </p:cNvSpPr>
            <p:nvPr/>
          </p:nvSpPr>
          <p:spPr bwMode="auto">
            <a:xfrm>
              <a:off x="4500" y="666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3.1</a:t>
              </a:r>
            </a:p>
          </p:txBody>
        </p:sp>
        <p:sp>
          <p:nvSpPr>
            <p:cNvPr id="30" name="WordArt 29"/>
            <p:cNvSpPr>
              <a:spLocks noChangeArrowheads="1" noChangeShapeType="1" noTextEdit="1"/>
            </p:cNvSpPr>
            <p:nvPr/>
          </p:nvSpPr>
          <p:spPr bwMode="auto">
            <a:xfrm>
              <a:off x="4320" y="900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4.1</a:t>
              </a:r>
            </a:p>
          </p:txBody>
        </p:sp>
        <p:sp>
          <p:nvSpPr>
            <p:cNvPr id="31" name="Line 30"/>
            <p:cNvSpPr>
              <a:spLocks noChangeShapeType="1"/>
            </p:cNvSpPr>
            <p:nvPr/>
          </p:nvSpPr>
          <p:spPr bwMode="auto">
            <a:xfrm flipV="1">
              <a:off x="4680" y="8820"/>
              <a:ext cx="1080" cy="1080"/>
            </a:xfrm>
            <a:prstGeom prst="line">
              <a:avLst/>
            </a:prstGeom>
            <a:noFill/>
            <a:ln w="38100">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32" name="WordArt 31"/>
            <p:cNvSpPr>
              <a:spLocks noChangeArrowheads="1" noChangeShapeType="1" noTextEdit="1"/>
            </p:cNvSpPr>
            <p:nvPr/>
          </p:nvSpPr>
          <p:spPr bwMode="auto">
            <a:xfrm>
              <a:off x="3240" y="954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5.1</a:t>
              </a:r>
            </a:p>
          </p:txBody>
        </p:sp>
        <p:sp>
          <p:nvSpPr>
            <p:cNvPr id="33" name="WordArt 32"/>
            <p:cNvSpPr>
              <a:spLocks noChangeArrowheads="1" noChangeShapeType="1" noTextEdit="1"/>
            </p:cNvSpPr>
            <p:nvPr/>
          </p:nvSpPr>
          <p:spPr bwMode="auto">
            <a:xfrm>
              <a:off x="1260" y="990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5.2</a:t>
              </a:r>
            </a:p>
          </p:txBody>
        </p:sp>
        <p:sp>
          <p:nvSpPr>
            <p:cNvPr id="34" name="WordArt 33"/>
            <p:cNvSpPr>
              <a:spLocks noChangeArrowheads="1" noChangeShapeType="1" noTextEdit="1"/>
            </p:cNvSpPr>
            <p:nvPr/>
          </p:nvSpPr>
          <p:spPr bwMode="auto">
            <a:xfrm>
              <a:off x="2160" y="135"/>
              <a:ext cx="2160" cy="546"/>
            </a:xfrm>
            <a:prstGeom prst="rect">
              <a:avLst/>
            </a:prstGeom>
          </p:spPr>
          <p:txBody>
            <a:bodyPr wrap="none" fromWordArt="1">
              <a:prstTxWarp prst="textPlain">
                <a:avLst>
                  <a:gd name="adj" fmla="val 50000"/>
                </a:avLst>
              </a:prstTxWarp>
            </a:bodyPr>
            <a:lstStyle/>
            <a:p>
              <a:r>
                <a:rPr lang="cs-CZ" sz="3600" kern="10">
                  <a:ln w="19050">
                    <a:solidFill>
                      <a:srgbClr val="99CCFF"/>
                    </a:solidFill>
                    <a:round/>
                    <a:headEnd/>
                    <a:tailEnd/>
                  </a:ln>
                  <a:solidFill>
                    <a:srgbClr val="0066CC"/>
                  </a:solidFill>
                  <a:effectLst>
                    <a:outerShdw dist="35921" dir="2700000" algn="ctr" rotWithShape="0">
                      <a:srgbClr val="990000"/>
                    </a:outerShdw>
                  </a:effectLst>
                  <a:latin typeface="Impact"/>
                </a:rPr>
                <a:t>POLSKIE LNG</a:t>
              </a:r>
            </a:p>
          </p:txBody>
        </p:sp>
        <p:sp>
          <p:nvSpPr>
            <p:cNvPr id="35" name="WordArt 34"/>
            <p:cNvSpPr>
              <a:spLocks noChangeArrowheads="1" noChangeShapeType="1" noTextEdit="1"/>
            </p:cNvSpPr>
            <p:nvPr/>
          </p:nvSpPr>
          <p:spPr bwMode="auto">
            <a:xfrm>
              <a:off x="5760" y="4598"/>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7</a:t>
              </a:r>
            </a:p>
          </p:txBody>
        </p:sp>
        <p:sp>
          <p:nvSpPr>
            <p:cNvPr id="36" name="Line 35"/>
            <p:cNvSpPr>
              <a:spLocks noChangeShapeType="1"/>
            </p:cNvSpPr>
            <p:nvPr/>
          </p:nvSpPr>
          <p:spPr bwMode="auto">
            <a:xfrm flipH="1">
              <a:off x="1797" y="10044"/>
              <a:ext cx="1620" cy="216"/>
            </a:xfrm>
            <a:prstGeom prst="line">
              <a:avLst/>
            </a:prstGeom>
            <a:noFill/>
            <a:ln w="38100">
              <a:solidFill>
                <a:srgbClr val="0000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37" name="Line 36"/>
            <p:cNvSpPr>
              <a:spLocks noChangeShapeType="1"/>
            </p:cNvSpPr>
            <p:nvPr/>
          </p:nvSpPr>
          <p:spPr bwMode="auto">
            <a:xfrm>
              <a:off x="5123" y="4775"/>
              <a:ext cx="1344" cy="378"/>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38" name="WordArt 37"/>
            <p:cNvSpPr>
              <a:spLocks noChangeArrowheads="1" noChangeShapeType="1" noTextEdit="1"/>
            </p:cNvSpPr>
            <p:nvPr/>
          </p:nvSpPr>
          <p:spPr bwMode="auto">
            <a:xfrm>
              <a:off x="6843" y="5040"/>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8</a:t>
              </a:r>
            </a:p>
          </p:txBody>
        </p:sp>
        <p:sp>
          <p:nvSpPr>
            <p:cNvPr id="39" name="Line 38"/>
            <p:cNvSpPr>
              <a:spLocks noChangeShapeType="1"/>
            </p:cNvSpPr>
            <p:nvPr/>
          </p:nvSpPr>
          <p:spPr bwMode="auto">
            <a:xfrm>
              <a:off x="6467" y="5153"/>
              <a:ext cx="516" cy="427"/>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sp>
          <p:nvSpPr>
            <p:cNvPr id="40" name="WordArt 39"/>
            <p:cNvSpPr>
              <a:spLocks noChangeArrowheads="1" noChangeShapeType="1" noTextEdit="1"/>
            </p:cNvSpPr>
            <p:nvPr/>
          </p:nvSpPr>
          <p:spPr bwMode="auto">
            <a:xfrm>
              <a:off x="7177" y="5955"/>
              <a:ext cx="334" cy="265"/>
            </a:xfrm>
            <a:prstGeom prst="rect">
              <a:avLst/>
            </a:prstGeom>
            <a:extLst>
              <a:ext uri="{AF507438-7753-43E0-B8FC-AC1667EBCBE1}">
                <a14:hiddenEffects xmlns:a14="http://schemas.microsoft.com/office/drawing/2010/main">
                  <a:effectLst/>
                </a14:hiddenEffects>
              </a:ext>
            </a:extLst>
          </p:spPr>
          <p:txBody>
            <a:bodyPr wrap="none" fromWordArt="1">
              <a:prstTxWarp prst="textPlain">
                <a:avLst>
                  <a:gd name="adj" fmla="val 50000"/>
                </a:avLst>
              </a:prstTxWarp>
              <a:scene3d>
                <a:camera prst="legacyPerspectiveBottomRight">
                  <a:rot lat="0" lon="21239999" rev="0"/>
                </a:camera>
                <a:lightRig rig="legacyHarsh3" dir="l"/>
              </a:scene3d>
              <a:sp3d extrusionH="430200" prstMaterial="legacyMatte">
                <a:extrusionClr>
                  <a:srgbClr val="C0C0C0"/>
                </a:extrusionClr>
              </a:sp3d>
            </a:bodyPr>
            <a:lstStyle/>
            <a:p>
              <a:r>
                <a:rPr lang="cs-CZ" sz="1000" kern="10">
                  <a:ln w="9525">
                    <a:round/>
                    <a:headEnd/>
                    <a:tailEnd/>
                  </a:ln>
                  <a:solidFill>
                    <a:srgbClr val="0000FF">
                      <a:alpha val="80000"/>
                    </a:srgbClr>
                  </a:solidFill>
                  <a:latin typeface="Arial Black"/>
                </a:rPr>
                <a:t>1.9</a:t>
              </a:r>
            </a:p>
          </p:txBody>
        </p:sp>
        <p:sp>
          <p:nvSpPr>
            <p:cNvPr id="41" name="Line 40"/>
            <p:cNvSpPr>
              <a:spLocks noChangeShapeType="1"/>
            </p:cNvSpPr>
            <p:nvPr/>
          </p:nvSpPr>
          <p:spPr bwMode="auto">
            <a:xfrm>
              <a:off x="6983" y="5580"/>
              <a:ext cx="108" cy="1160"/>
            </a:xfrm>
            <a:prstGeom prst="line">
              <a:avLst/>
            </a:prstGeom>
            <a:noFill/>
            <a:ln w="38100">
              <a:solidFill>
                <a:srgbClr val="0000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cs-CZ"/>
            </a:p>
          </p:txBody>
        </p:sp>
      </p:grpSp>
      <p:sp>
        <p:nvSpPr>
          <p:cNvPr id="42" name="Text Box 41"/>
          <p:cNvSpPr txBox="1">
            <a:spLocks noChangeArrowheads="1"/>
          </p:cNvSpPr>
          <p:nvPr/>
        </p:nvSpPr>
        <p:spPr bwMode="auto">
          <a:xfrm>
            <a:off x="6019800" y="1476375"/>
            <a:ext cx="2687252" cy="255672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spAutoFit/>
          </a:bodyPr>
          <a:lstStyle/>
          <a:p>
            <a:pPr algn="l" eaLnBrk="1" hangingPunct="1">
              <a:lnSpc>
                <a:spcPct val="100000"/>
              </a:lnSpc>
            </a:pPr>
            <a:r>
              <a:rPr lang="cs-CZ" sz="2400" b="1" i="0" dirty="0">
                <a:solidFill>
                  <a:srgbClr val="000000"/>
                </a:solidFill>
              </a:rPr>
              <a:t>Iniciativa V4</a:t>
            </a:r>
          </a:p>
          <a:p>
            <a:pPr algn="l" eaLnBrk="1" hangingPunct="1">
              <a:lnSpc>
                <a:spcPct val="100000"/>
              </a:lnSpc>
              <a:spcBef>
                <a:spcPct val="20000"/>
              </a:spcBef>
              <a:buClr>
                <a:schemeClr val="hlink"/>
              </a:buClr>
              <a:buFont typeface="Wingdings" pitchFamily="2" charset="2"/>
              <a:buNone/>
            </a:pPr>
            <a:r>
              <a:rPr lang="cs-CZ" sz="2000" b="1" i="0" dirty="0">
                <a:solidFill>
                  <a:srgbClr val="000000"/>
                </a:solidFill>
              </a:rPr>
              <a:t>Propojení sever – jih</a:t>
            </a:r>
          </a:p>
          <a:p>
            <a:pPr algn="l" eaLnBrk="1" hangingPunct="1">
              <a:lnSpc>
                <a:spcPct val="100000"/>
              </a:lnSpc>
              <a:spcBef>
                <a:spcPct val="20000"/>
              </a:spcBef>
              <a:buClr>
                <a:schemeClr val="hlink"/>
              </a:buClr>
              <a:buFont typeface="Wingdings" pitchFamily="2" charset="2"/>
              <a:buChar char="§"/>
            </a:pPr>
            <a:r>
              <a:rPr lang="cs-CZ" sz="2000" i="0" dirty="0">
                <a:solidFill>
                  <a:srgbClr val="000000"/>
                </a:solidFill>
              </a:rPr>
              <a:t> LNG </a:t>
            </a:r>
            <a:r>
              <a:rPr lang="en-GB" sz="2000" i="0" dirty="0" err="1">
                <a:solidFill>
                  <a:srgbClr val="000000"/>
                </a:solidFill>
              </a:rPr>
              <a:t>Świnoujście</a:t>
            </a:r>
            <a:endParaRPr lang="sk-SK" sz="2000" i="0" dirty="0">
              <a:solidFill>
                <a:srgbClr val="000000"/>
              </a:solidFill>
            </a:endParaRPr>
          </a:p>
          <a:p>
            <a:pPr algn="l" eaLnBrk="1" hangingPunct="1">
              <a:lnSpc>
                <a:spcPct val="100000"/>
              </a:lnSpc>
              <a:spcBef>
                <a:spcPct val="20000"/>
              </a:spcBef>
              <a:buClr>
                <a:schemeClr val="hlink"/>
              </a:buClr>
              <a:buFont typeface="Wingdings" pitchFamily="2" charset="2"/>
              <a:buChar char="§"/>
            </a:pPr>
            <a:r>
              <a:rPr lang="cs-CZ" sz="2000" i="0" dirty="0">
                <a:solidFill>
                  <a:srgbClr val="000000"/>
                </a:solidFill>
              </a:rPr>
              <a:t> LNG Krk</a:t>
            </a:r>
          </a:p>
          <a:p>
            <a:pPr algn="l" eaLnBrk="1" hangingPunct="1">
              <a:lnSpc>
                <a:spcPct val="100000"/>
              </a:lnSpc>
              <a:spcBef>
                <a:spcPct val="20000"/>
              </a:spcBef>
              <a:buClr>
                <a:schemeClr val="hlink"/>
              </a:buClr>
              <a:buFont typeface="Wingdings" pitchFamily="2" charset="2"/>
              <a:buChar char="n"/>
            </a:pPr>
            <a:endParaRPr lang="cs-CZ" sz="2000" i="0" dirty="0">
              <a:solidFill>
                <a:srgbClr val="000000"/>
              </a:solidFill>
            </a:endParaRPr>
          </a:p>
          <a:p>
            <a:pPr algn="l" eaLnBrk="1" hangingPunct="1">
              <a:lnSpc>
                <a:spcPct val="100000"/>
              </a:lnSpc>
            </a:pPr>
            <a:endParaRPr lang="cs-CZ" sz="2000" b="1" i="0" dirty="0">
              <a:solidFill>
                <a:srgbClr val="000000"/>
              </a:solidFill>
            </a:endParaRPr>
          </a:p>
          <a:p>
            <a:pPr algn="l" eaLnBrk="1" hangingPunct="1">
              <a:lnSpc>
                <a:spcPct val="100000"/>
              </a:lnSpc>
            </a:pPr>
            <a:endParaRPr lang="cs-CZ" sz="2000" b="1" i="0" dirty="0">
              <a:solidFill>
                <a:srgbClr val="000000"/>
              </a:solidFill>
            </a:endParaRPr>
          </a:p>
        </p:txBody>
      </p:sp>
      <p:sp>
        <p:nvSpPr>
          <p:cNvPr id="44" name="Slide Number Placeholder 5"/>
          <p:cNvSpPr>
            <a:spLocks noGrp="1"/>
          </p:cNvSpPr>
          <p:nvPr>
            <p:ph type="sldNum" sz="quarter" idx="10"/>
          </p:nvPr>
        </p:nvSpPr>
        <p:spPr>
          <a:xfrm>
            <a:off x="-4763" y="6510338"/>
            <a:ext cx="523876" cy="365125"/>
          </a:xfrm>
        </p:spPr>
        <p:txBody>
          <a:bodyPr/>
          <a:lstStyle>
            <a:lvl1pPr>
              <a:defRPr/>
            </a:lvl1pPr>
          </a:lstStyle>
          <a:p>
            <a:pPr>
              <a:defRPr/>
            </a:pPr>
            <a:fld id="{8DC3CFA4-B7E3-4271-9B07-7FBEE21321F1}" type="slidenum">
              <a:rPr lang="en-US"/>
              <a:pPr>
                <a:defRPr/>
              </a:pPr>
              <a:t>55</a:t>
            </a:fld>
            <a:endParaRPr lang="en-US" dirty="0"/>
          </a:p>
        </p:txBody>
      </p:sp>
      <p:sp>
        <p:nvSpPr>
          <p:cNvPr id="45" name="Footer Placeholder 4"/>
          <p:cNvSpPr>
            <a:spLocks noGrp="1"/>
          </p:cNvSpPr>
          <p:nvPr>
            <p:ph type="ftr" sz="quarter" idx="11"/>
          </p:nvPr>
        </p:nvSpPr>
        <p:spPr>
          <a:xfrm>
            <a:off x="6229350" y="6548438"/>
            <a:ext cx="2895600" cy="365125"/>
          </a:xfrm>
        </p:spPr>
        <p:txBody>
          <a:bodyPr/>
          <a:lstStyle>
            <a:lvl1pPr>
              <a:defRPr/>
            </a:lvl1pPr>
          </a:lstStyle>
          <a:p>
            <a:pPr>
              <a:defRPr/>
            </a:pPr>
            <a:r>
              <a:rPr lang="en-US"/>
              <a:t>www.vsb.cz</a:t>
            </a:r>
            <a:endParaRPr lang="en-US" dirty="0"/>
          </a:p>
        </p:txBody>
      </p:sp>
      <p:sp>
        <p:nvSpPr>
          <p:cNvPr id="46" name="TextovéPole 45"/>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65366558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Skupina 1"/>
          <p:cNvGrpSpPr/>
          <p:nvPr/>
        </p:nvGrpSpPr>
        <p:grpSpPr>
          <a:xfrm>
            <a:off x="1268771" y="2101235"/>
            <a:ext cx="6086984" cy="4325089"/>
            <a:chOff x="1005296" y="1537062"/>
            <a:chExt cx="6086984" cy="4325089"/>
          </a:xfrm>
        </p:grpSpPr>
        <p:sp>
          <p:nvSpPr>
            <p:cNvPr id="21" name="Šestiúhelník 20"/>
            <p:cNvSpPr/>
            <p:nvPr/>
          </p:nvSpPr>
          <p:spPr>
            <a:xfrm>
              <a:off x="3635896" y="3212976"/>
              <a:ext cx="1440160" cy="1152128"/>
            </a:xfrm>
            <a:prstGeom prst="hexagon">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600" dirty="0" smtClean="0">
                  <a:solidFill>
                    <a:srgbClr val="000000"/>
                  </a:solidFill>
                </a:rPr>
                <a:t>Průnik politik a koncepcí</a:t>
              </a:r>
              <a:endParaRPr lang="cs-CZ" sz="1600" dirty="0">
                <a:solidFill>
                  <a:srgbClr val="000000"/>
                </a:solidFill>
              </a:endParaRPr>
            </a:p>
          </p:txBody>
        </p:sp>
        <p:sp>
          <p:nvSpPr>
            <p:cNvPr id="22" name="TextovéPole 21"/>
            <p:cNvSpPr txBox="1"/>
            <p:nvPr/>
          </p:nvSpPr>
          <p:spPr>
            <a:xfrm rot="16200000">
              <a:off x="3704997" y="2198370"/>
              <a:ext cx="1301959" cy="830997"/>
            </a:xfrm>
            <a:prstGeom prst="rect">
              <a:avLst/>
            </a:prstGeom>
            <a:solidFill>
              <a:srgbClr val="00B0F0"/>
            </a:solidFill>
            <a:ln>
              <a:solidFill>
                <a:schemeClr val="tx1"/>
              </a:solidFill>
            </a:ln>
          </p:spPr>
          <p:txBody>
            <a:bodyPr wrap="none" rtlCol="0">
              <a:spAutoFit/>
            </a:bodyPr>
            <a:lstStyle/>
            <a:p>
              <a:pPr algn="ctr"/>
              <a:r>
                <a:rPr lang="cs-CZ" sz="1600" dirty="0" smtClean="0">
                  <a:solidFill>
                    <a:srgbClr val="000000"/>
                  </a:solidFill>
                </a:rPr>
                <a:t>Státní </a:t>
              </a:r>
            </a:p>
            <a:p>
              <a:pPr algn="ctr"/>
              <a:r>
                <a:rPr lang="cs-CZ" sz="1600" dirty="0" smtClean="0">
                  <a:solidFill>
                    <a:srgbClr val="000000"/>
                  </a:solidFill>
                </a:rPr>
                <a:t>energetická </a:t>
              </a:r>
            </a:p>
            <a:p>
              <a:pPr algn="ctr"/>
              <a:r>
                <a:rPr lang="cs-CZ" sz="1600" dirty="0" smtClean="0">
                  <a:solidFill>
                    <a:srgbClr val="000000"/>
                  </a:solidFill>
                </a:rPr>
                <a:t>koncepce</a:t>
              </a:r>
              <a:endParaRPr lang="cs-CZ" sz="1600" dirty="0">
                <a:solidFill>
                  <a:srgbClr val="000000"/>
                </a:solidFill>
              </a:endParaRPr>
            </a:p>
          </p:txBody>
        </p:sp>
        <p:sp>
          <p:nvSpPr>
            <p:cNvPr id="23" name="TextovéPole 22"/>
            <p:cNvSpPr txBox="1"/>
            <p:nvPr/>
          </p:nvSpPr>
          <p:spPr>
            <a:xfrm rot="20001827">
              <a:off x="4800968" y="2976892"/>
              <a:ext cx="1266693" cy="584775"/>
            </a:xfrm>
            <a:prstGeom prst="rect">
              <a:avLst/>
            </a:prstGeom>
            <a:solidFill>
              <a:schemeClr val="bg2">
                <a:lumMod val="75000"/>
              </a:schemeClr>
            </a:solidFill>
            <a:ln>
              <a:solidFill>
                <a:schemeClr val="tx1"/>
              </a:solidFill>
            </a:ln>
          </p:spPr>
          <p:txBody>
            <a:bodyPr wrap="none" rtlCol="0">
              <a:spAutoFit/>
            </a:bodyPr>
            <a:lstStyle/>
            <a:p>
              <a:pPr algn="ctr"/>
              <a:r>
                <a:rPr lang="cs-CZ" sz="1600" dirty="0" smtClean="0">
                  <a:solidFill>
                    <a:srgbClr val="000000"/>
                  </a:solidFill>
                </a:rPr>
                <a:t>Surovinová </a:t>
              </a:r>
            </a:p>
            <a:p>
              <a:pPr algn="ctr"/>
              <a:r>
                <a:rPr lang="cs-CZ" sz="1600" dirty="0" smtClean="0">
                  <a:solidFill>
                    <a:srgbClr val="000000"/>
                  </a:solidFill>
                </a:rPr>
                <a:t>politika</a:t>
              </a:r>
            </a:p>
          </p:txBody>
        </p:sp>
        <p:sp>
          <p:nvSpPr>
            <p:cNvPr id="24" name="TextovéPole 23"/>
            <p:cNvSpPr txBox="1"/>
            <p:nvPr/>
          </p:nvSpPr>
          <p:spPr>
            <a:xfrm rot="20001827">
              <a:off x="2117685" y="4140653"/>
              <a:ext cx="1837362" cy="584775"/>
            </a:xfrm>
            <a:prstGeom prst="rect">
              <a:avLst/>
            </a:prstGeom>
            <a:solidFill>
              <a:schemeClr val="accent6"/>
            </a:solidFill>
            <a:ln>
              <a:solidFill>
                <a:schemeClr val="tx1"/>
              </a:solidFill>
            </a:ln>
          </p:spPr>
          <p:txBody>
            <a:bodyPr wrap="none" rtlCol="0">
              <a:spAutoFit/>
            </a:bodyPr>
            <a:lstStyle/>
            <a:p>
              <a:pPr algn="ctr"/>
              <a:r>
                <a:rPr lang="cs-CZ" sz="1600" dirty="0" smtClean="0">
                  <a:solidFill>
                    <a:srgbClr val="000000"/>
                  </a:solidFill>
                </a:rPr>
                <a:t>Politika</a:t>
              </a:r>
              <a:endParaRPr lang="cs-CZ" sz="1600" dirty="0">
                <a:solidFill>
                  <a:srgbClr val="000000"/>
                </a:solidFill>
              </a:endParaRPr>
            </a:p>
            <a:p>
              <a:pPr algn="ctr"/>
              <a:r>
                <a:rPr lang="cs-CZ" sz="1600" dirty="0" smtClean="0">
                  <a:solidFill>
                    <a:srgbClr val="000000"/>
                  </a:solidFill>
                </a:rPr>
                <a:t>Územního rozvoje</a:t>
              </a:r>
              <a:endParaRPr lang="cs-CZ" sz="1600" dirty="0">
                <a:solidFill>
                  <a:srgbClr val="000000"/>
                </a:solidFill>
              </a:endParaRPr>
            </a:p>
          </p:txBody>
        </p:sp>
        <p:sp>
          <p:nvSpPr>
            <p:cNvPr id="25" name="TextovéPole 24"/>
            <p:cNvSpPr txBox="1"/>
            <p:nvPr/>
          </p:nvSpPr>
          <p:spPr>
            <a:xfrm rot="16200000">
              <a:off x="3604164" y="4548712"/>
              <a:ext cx="1473480" cy="830997"/>
            </a:xfrm>
            <a:prstGeom prst="rect">
              <a:avLst/>
            </a:prstGeom>
            <a:solidFill>
              <a:srgbClr val="92D050"/>
            </a:solidFill>
            <a:ln>
              <a:solidFill>
                <a:schemeClr val="tx1"/>
              </a:solidFill>
            </a:ln>
          </p:spPr>
          <p:txBody>
            <a:bodyPr wrap="none" rtlCol="0">
              <a:spAutoFit/>
            </a:bodyPr>
            <a:lstStyle/>
            <a:p>
              <a:pPr algn="ctr"/>
              <a:r>
                <a:rPr lang="cs-CZ" sz="1600" dirty="0" smtClean="0">
                  <a:solidFill>
                    <a:srgbClr val="000000"/>
                  </a:solidFill>
                </a:rPr>
                <a:t>Státní politika </a:t>
              </a:r>
            </a:p>
            <a:p>
              <a:pPr algn="ctr"/>
              <a:r>
                <a:rPr lang="cs-CZ" sz="1600" dirty="0" smtClean="0">
                  <a:solidFill>
                    <a:srgbClr val="000000"/>
                  </a:solidFill>
                </a:rPr>
                <a:t>životního</a:t>
              </a:r>
            </a:p>
            <a:p>
              <a:pPr algn="ctr"/>
              <a:r>
                <a:rPr lang="cs-CZ" sz="1600" dirty="0" smtClean="0">
                  <a:solidFill>
                    <a:srgbClr val="000000"/>
                  </a:solidFill>
                </a:rPr>
                <a:t>prostředí</a:t>
              </a:r>
              <a:endParaRPr lang="cs-CZ" sz="1600" dirty="0">
                <a:solidFill>
                  <a:srgbClr val="000000"/>
                </a:solidFill>
              </a:endParaRPr>
            </a:p>
          </p:txBody>
        </p:sp>
        <p:sp>
          <p:nvSpPr>
            <p:cNvPr id="26" name="TextovéPole 25"/>
            <p:cNvSpPr txBox="1"/>
            <p:nvPr/>
          </p:nvSpPr>
          <p:spPr>
            <a:xfrm rot="1636239">
              <a:off x="4786174" y="4140654"/>
              <a:ext cx="1620958" cy="584775"/>
            </a:xfrm>
            <a:prstGeom prst="rect">
              <a:avLst/>
            </a:prstGeom>
            <a:solidFill>
              <a:srgbClr val="FFFF00"/>
            </a:solidFill>
            <a:ln>
              <a:solidFill>
                <a:schemeClr val="tx1"/>
              </a:solidFill>
            </a:ln>
          </p:spPr>
          <p:txBody>
            <a:bodyPr wrap="none" rtlCol="0">
              <a:spAutoFit/>
            </a:bodyPr>
            <a:lstStyle/>
            <a:p>
              <a:pPr algn="ctr"/>
              <a:r>
                <a:rPr lang="cs-CZ" sz="1600" dirty="0" smtClean="0">
                  <a:solidFill>
                    <a:srgbClr val="000000"/>
                  </a:solidFill>
                </a:rPr>
                <a:t>Politika</a:t>
              </a:r>
            </a:p>
            <a:p>
              <a:pPr algn="ctr"/>
              <a:r>
                <a:rPr lang="cs-CZ" sz="1600" dirty="0">
                  <a:solidFill>
                    <a:srgbClr val="000000"/>
                  </a:solidFill>
                </a:rPr>
                <a:t>o</a:t>
              </a:r>
              <a:r>
                <a:rPr lang="cs-CZ" sz="1600" dirty="0" smtClean="0">
                  <a:solidFill>
                    <a:srgbClr val="000000"/>
                  </a:solidFill>
                </a:rPr>
                <a:t>chrany klimatu</a:t>
              </a:r>
            </a:p>
          </p:txBody>
        </p:sp>
        <p:sp>
          <p:nvSpPr>
            <p:cNvPr id="27" name="TextovéPole 26"/>
            <p:cNvSpPr txBox="1"/>
            <p:nvPr/>
          </p:nvSpPr>
          <p:spPr>
            <a:xfrm rot="1636239">
              <a:off x="2619658" y="2944539"/>
              <a:ext cx="1300357" cy="584775"/>
            </a:xfrm>
            <a:prstGeom prst="rect">
              <a:avLst/>
            </a:prstGeom>
            <a:solidFill>
              <a:srgbClr val="00B050"/>
            </a:solidFill>
            <a:ln>
              <a:solidFill>
                <a:schemeClr val="tx1"/>
              </a:solidFill>
            </a:ln>
          </p:spPr>
          <p:txBody>
            <a:bodyPr wrap="none" rtlCol="0">
              <a:spAutoFit/>
            </a:bodyPr>
            <a:lstStyle/>
            <a:p>
              <a:pPr algn="ctr"/>
              <a:r>
                <a:rPr lang="cs-CZ" sz="1600" dirty="0">
                  <a:solidFill>
                    <a:srgbClr val="000000"/>
                  </a:solidFill>
                </a:rPr>
                <a:t>Zemědělská</a:t>
              </a:r>
            </a:p>
            <a:p>
              <a:pPr algn="ctr"/>
              <a:r>
                <a:rPr lang="cs-CZ" sz="1600" dirty="0">
                  <a:solidFill>
                    <a:srgbClr val="000000"/>
                  </a:solidFill>
                </a:rPr>
                <a:t>politika</a:t>
              </a:r>
            </a:p>
          </p:txBody>
        </p:sp>
        <p:pic>
          <p:nvPicPr>
            <p:cNvPr id="28" name="Obrázek 2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30422" y="1537062"/>
              <a:ext cx="1861858" cy="879146"/>
            </a:xfrm>
            <a:prstGeom prst="rect">
              <a:avLst/>
            </a:prstGeom>
          </p:spPr>
        </p:pic>
        <p:pic>
          <p:nvPicPr>
            <p:cNvPr id="29" name="Obrázek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77838" y="5229567"/>
              <a:ext cx="2014442" cy="632584"/>
            </a:xfrm>
            <a:prstGeom prst="rect">
              <a:avLst/>
            </a:prstGeom>
          </p:spPr>
        </p:pic>
        <p:pic>
          <p:nvPicPr>
            <p:cNvPr id="30" name="Obrázek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9503" y="2014762"/>
              <a:ext cx="1596242" cy="906941"/>
            </a:xfrm>
            <a:prstGeom prst="rect">
              <a:avLst/>
            </a:prstGeom>
          </p:spPr>
        </p:pic>
        <p:pic>
          <p:nvPicPr>
            <p:cNvPr id="31" name="Obrázek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05296" y="5177867"/>
              <a:ext cx="1624655" cy="350645"/>
            </a:xfrm>
            <a:prstGeom prst="rect">
              <a:avLst/>
            </a:prstGeom>
          </p:spPr>
        </p:pic>
      </p:grpSp>
      <p:sp>
        <p:nvSpPr>
          <p:cNvPr id="69635" name="Rectangle 3"/>
          <p:cNvSpPr>
            <a:spLocks noGrp="1" noChangeArrowheads="1"/>
          </p:cNvSpPr>
          <p:nvPr>
            <p:ph type="body" idx="1"/>
          </p:nvPr>
        </p:nvSpPr>
        <p:spPr>
          <a:xfrm>
            <a:off x="342900" y="1091332"/>
            <a:ext cx="8116888" cy="5113337"/>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ormAutofit/>
          </a:bodyPr>
          <a:lstStyle/>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solidFill>
                  <a:srgbClr val="000000"/>
                </a:solidFill>
                <a:latin typeface="Verdana" pitchFamily="34" charset="0"/>
              </a:rPr>
              <a:t>Státní energetická koncepce není zákon</a:t>
            </a: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solidFill>
                  <a:srgbClr val="000000"/>
                </a:solidFill>
                <a:latin typeface="Verdana" pitchFamily="34" charset="0"/>
              </a:rPr>
              <a:t>Důležité jsou prováděcí předpisy (zákony, vyhlášky, nařízení …) </a:t>
            </a:r>
          </a:p>
          <a:p>
            <a:pPr marL="569913" indent="-569913" defTabSz="290513">
              <a:lnSpc>
                <a:spcPct val="90000"/>
              </a:lnSpc>
              <a:spcBef>
                <a:spcPct val="15000"/>
              </a:spcBef>
              <a:spcAft>
                <a:spcPct val="15000"/>
              </a:spcAft>
              <a:buClr>
                <a:schemeClr val="hlink"/>
              </a:buClr>
              <a:buFont typeface="Wingdings" pitchFamily="2" charset="2"/>
              <a:buChar char="§"/>
            </a:pPr>
            <a:r>
              <a:rPr lang="cs-CZ" sz="1800" dirty="0" smtClean="0">
                <a:solidFill>
                  <a:srgbClr val="000000"/>
                </a:solidFill>
                <a:latin typeface="Verdana" pitchFamily="34" charset="0"/>
              </a:rPr>
              <a:t>SEK není jediný, který ovlivňuje energetiku</a:t>
            </a:r>
          </a:p>
        </p:txBody>
      </p:sp>
      <p:sp>
        <p:nvSpPr>
          <p:cNvPr id="3" name="Nadpis 2"/>
          <p:cNvSpPr>
            <a:spLocks noGrp="1"/>
          </p:cNvSpPr>
          <p:nvPr>
            <p:ph type="title"/>
          </p:nvPr>
        </p:nvSpPr>
        <p:spPr/>
        <p:txBody>
          <a:bodyPr/>
          <a:lstStyle/>
          <a:p>
            <a:r>
              <a:rPr lang="cs-CZ" dirty="0"/>
              <a:t>Vazby SEK a dalších </a:t>
            </a:r>
            <a:r>
              <a:rPr lang="cs-CZ" dirty="0" smtClean="0"/>
              <a:t>politik</a:t>
            </a:r>
            <a:endParaRPr lang="cs-CZ" dirty="0"/>
          </a:p>
        </p:txBody>
      </p:sp>
      <p:sp>
        <p:nvSpPr>
          <p:cNvPr id="20" name="TextovéPole 19"/>
          <p:cNvSpPr txBox="1"/>
          <p:nvPr/>
        </p:nvSpPr>
        <p:spPr>
          <a:xfrm>
            <a:off x="3647863" y="6510336"/>
            <a:ext cx="1688283" cy="253916"/>
          </a:xfrm>
          <a:prstGeom prst="rect">
            <a:avLst/>
          </a:prstGeom>
          <a:noFill/>
        </p:spPr>
        <p:txBody>
          <a:bodyPr wrap="none" rtlCol="0">
            <a:spAutoFit/>
          </a:bodyPr>
          <a:lstStyle/>
          <a:p>
            <a:r>
              <a:rPr lang="cs-CZ" sz="1050" dirty="0" smtClean="0">
                <a:solidFill>
                  <a:srgbClr val="000000"/>
                </a:solidFill>
                <a:latin typeface="Arial Narrow" pitchFamily="34" charset="0"/>
              </a:rPr>
              <a:t>4. Státní energetická koncepce</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57749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69635">
                                            <p:txEl>
                                              <p:pRg st="0" end="0"/>
                                            </p:txEl>
                                          </p:spTgt>
                                        </p:tgtEl>
                                        <p:attrNameLst>
                                          <p:attrName>style.visibility</p:attrName>
                                        </p:attrNameLst>
                                      </p:cBhvr>
                                      <p:to>
                                        <p:strVal val="visible"/>
                                      </p:to>
                                    </p:set>
                                    <p:anim calcmode="lin" valueType="num">
                                      <p:cBhvr additive="base">
                                        <p:cTn id="7" dur="1000" fill="hold"/>
                                        <p:tgtEl>
                                          <p:spTgt spid="69635">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69635">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69635">
                                            <p:txEl>
                                              <p:pRg st="1" end="1"/>
                                            </p:txEl>
                                          </p:spTgt>
                                        </p:tgtEl>
                                        <p:attrNameLst>
                                          <p:attrName>style.visibility</p:attrName>
                                        </p:attrNameLst>
                                      </p:cBhvr>
                                      <p:to>
                                        <p:strVal val="visible"/>
                                      </p:to>
                                    </p:set>
                                    <p:anim calcmode="lin" valueType="num">
                                      <p:cBhvr additive="base">
                                        <p:cTn id="13" dur="1000" fill="hold"/>
                                        <p:tgtEl>
                                          <p:spTgt spid="69635">
                                            <p:txEl>
                                              <p:pRg st="1" end="1"/>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69635">
                                            <p:txEl>
                                              <p:pRg st="1" end="1"/>
                                            </p:txEl>
                                          </p:spTgt>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69635">
                                            <p:txEl>
                                              <p:pRg st="2" end="2"/>
                                            </p:txEl>
                                          </p:spTgt>
                                        </p:tgtEl>
                                        <p:attrNameLst>
                                          <p:attrName>style.visibility</p:attrName>
                                        </p:attrNameLst>
                                      </p:cBhvr>
                                      <p:to>
                                        <p:strVal val="visible"/>
                                      </p:to>
                                    </p:set>
                                    <p:anim calcmode="lin" valueType="num">
                                      <p:cBhvr additive="base">
                                        <p:cTn id="19" dur="1000" fill="hold"/>
                                        <p:tgtEl>
                                          <p:spTgt spid="69635">
                                            <p:txEl>
                                              <p:pRg st="2" end="2"/>
                                            </p:txEl>
                                          </p:spTgt>
                                        </p:tgtEl>
                                        <p:attrNameLst>
                                          <p:attrName>ppt_x</p:attrName>
                                        </p:attrNameLst>
                                      </p:cBhvr>
                                      <p:tavLst>
                                        <p:tav tm="0">
                                          <p:val>
                                            <p:strVal val="0-#ppt_w/2"/>
                                          </p:val>
                                        </p:tav>
                                        <p:tav tm="100000">
                                          <p:val>
                                            <p:strVal val="#ppt_x"/>
                                          </p:val>
                                        </p:tav>
                                      </p:tavLst>
                                    </p:anim>
                                    <p:anim calcmode="lin" valueType="num">
                                      <p:cBhvr additive="base">
                                        <p:cTn id="20" dur="1000" fill="hold"/>
                                        <p:tgtEl>
                                          <p:spTgt spid="69635">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635"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36171" y="2133134"/>
            <a:ext cx="6117772" cy="1390650"/>
          </a:xfrm>
        </p:spPr>
        <p:txBody>
          <a:bodyPr/>
          <a:lstStyle/>
          <a:p>
            <a:pPr algn="l"/>
            <a:r>
              <a:rPr lang="cs-CZ" sz="4400" dirty="0" smtClean="0"/>
              <a:t>Nové aktivity</a:t>
            </a:r>
            <a:endParaRPr lang="cs-CZ" sz="4400" dirty="0"/>
          </a:p>
        </p:txBody>
      </p:sp>
      <p:sp>
        <p:nvSpPr>
          <p:cNvPr id="4" name="Zástupný symbol pro text 3"/>
          <p:cNvSpPr>
            <a:spLocks noGrp="1"/>
          </p:cNvSpPr>
          <p:nvPr>
            <p:ph type="body" sz="quarter" idx="13"/>
          </p:nvPr>
        </p:nvSpPr>
        <p:spPr/>
        <p:txBody>
          <a:bodyPr/>
          <a:lstStyle/>
          <a:p>
            <a:r>
              <a:rPr lang="cs-CZ" dirty="0" smtClean="0"/>
              <a:t>5</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57</a:t>
            </a:fld>
            <a:endParaRPr lang="cs-CZ"/>
          </a:p>
        </p:txBody>
      </p:sp>
    </p:spTree>
    <p:extLst>
      <p:ext uri="{BB962C8B-B14F-4D97-AF65-F5344CB8AC3E}">
        <p14:creationId xmlns:p14="http://schemas.microsoft.com/office/powerpoint/2010/main" val="170155441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769938" y="142875"/>
            <a:ext cx="6599691" cy="760639"/>
          </a:xfrm>
        </p:spPr>
        <p:txBody>
          <a:bodyPr/>
          <a:lstStyle/>
          <a:p>
            <a:r>
              <a:rPr lang="cs-CZ" dirty="0" smtClean="0"/>
              <a:t>Smart řešení</a:t>
            </a:r>
            <a:endParaRPr lang="cs-CZ" dirty="0"/>
          </a:p>
        </p:txBody>
      </p:sp>
      <p:sp>
        <p:nvSpPr>
          <p:cNvPr id="3" name="Zástupný symbol pro obsah 2"/>
          <p:cNvSpPr>
            <a:spLocks noGrp="1"/>
          </p:cNvSpPr>
          <p:nvPr>
            <p:ph idx="1"/>
          </p:nvPr>
        </p:nvSpPr>
        <p:spPr/>
        <p:txBody>
          <a:bodyPr>
            <a:normAutofit/>
          </a:bodyPr>
          <a:lstStyle/>
          <a:p>
            <a:r>
              <a:rPr lang="cs-CZ" dirty="0" smtClean="0"/>
              <a:t>Smart </a:t>
            </a:r>
            <a:r>
              <a:rPr lang="en-US" dirty="0" smtClean="0"/>
              <a:t>Metering</a:t>
            </a:r>
          </a:p>
          <a:p>
            <a:r>
              <a:rPr lang="en-US" dirty="0" smtClean="0"/>
              <a:t>Smart Grids</a:t>
            </a:r>
          </a:p>
          <a:p>
            <a:r>
              <a:rPr lang="en-US" dirty="0" smtClean="0"/>
              <a:t>Smart Cities</a:t>
            </a:r>
            <a:endParaRPr lang="cs-CZ" dirty="0"/>
          </a:p>
        </p:txBody>
      </p:sp>
      <p:sp>
        <p:nvSpPr>
          <p:cNvPr id="6" name="TextovéPole 5"/>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pic>
        <p:nvPicPr>
          <p:cNvPr id="7" name="Obrázek 6"/>
          <p:cNvPicPr/>
          <p:nvPr/>
        </p:nvPicPr>
        <p:blipFill>
          <a:blip r:embed="rId2">
            <a:extLst>
              <a:ext uri="{28A0092B-C50C-407E-A947-70E740481C1C}">
                <a14:useLocalDpi xmlns:a14="http://schemas.microsoft.com/office/drawing/2010/main" val="0"/>
              </a:ext>
            </a:extLst>
          </a:blip>
          <a:srcRect/>
          <a:stretch>
            <a:fillRect/>
          </a:stretch>
        </p:blipFill>
        <p:spPr bwMode="auto">
          <a:xfrm>
            <a:off x="3084394" y="1247774"/>
            <a:ext cx="6059606" cy="5262561"/>
          </a:xfrm>
          <a:prstGeom prst="rect">
            <a:avLst/>
          </a:prstGeom>
          <a:noFill/>
          <a:ln>
            <a:noFill/>
          </a:ln>
        </p:spPr>
      </p:pic>
    </p:spTree>
    <p:extLst>
      <p:ext uri="{BB962C8B-B14F-4D97-AF65-F5344CB8AC3E}">
        <p14:creationId xmlns:p14="http://schemas.microsoft.com/office/powerpoint/2010/main" val="321195860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769938" y="142875"/>
            <a:ext cx="6599691" cy="760639"/>
          </a:xfrm>
        </p:spPr>
        <p:txBody>
          <a:bodyPr/>
          <a:lstStyle/>
          <a:p>
            <a:r>
              <a:rPr lang="cs-CZ" dirty="0"/>
              <a:t>Model Smart </a:t>
            </a:r>
            <a:r>
              <a:rPr lang="cs-CZ" dirty="0" err="1" smtClean="0"/>
              <a:t>Grids</a:t>
            </a:r>
            <a:endParaRPr lang="cs-CZ" dirty="0"/>
          </a:p>
        </p:txBody>
      </p:sp>
      <p:sp>
        <p:nvSpPr>
          <p:cNvPr id="6" name="TextovéPole 5"/>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9648" y="1113396"/>
            <a:ext cx="7488832" cy="4601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4"/>
          <p:cNvSpPr txBox="1">
            <a:spLocks noChangeArrowheads="1"/>
          </p:cNvSpPr>
          <p:nvPr/>
        </p:nvSpPr>
        <p:spPr bwMode="auto">
          <a:xfrm>
            <a:off x="323528" y="5734050"/>
            <a:ext cx="8475663" cy="591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88" tIns="46038" rIns="90488" bIns="46038">
            <a:spAutoFit/>
          </a:bodyPr>
          <a:lstStyle>
            <a:lvl1pPr marL="457200" indent="-457200">
              <a:defRPr sz="3000">
                <a:solidFill>
                  <a:schemeClr val="bg1"/>
                </a:solidFill>
                <a:latin typeface="Arial" pitchFamily="34" charset="0"/>
              </a:defRPr>
            </a:lvl1pPr>
            <a:lvl2pPr marL="742950" indent="-285750">
              <a:defRPr sz="3000">
                <a:solidFill>
                  <a:schemeClr val="bg1"/>
                </a:solidFill>
                <a:latin typeface="Arial" pitchFamily="34" charset="0"/>
              </a:defRPr>
            </a:lvl2pPr>
            <a:lvl3pPr marL="1143000" indent="-228600">
              <a:defRPr sz="3000">
                <a:solidFill>
                  <a:schemeClr val="bg1"/>
                </a:solidFill>
                <a:latin typeface="Arial" pitchFamily="34" charset="0"/>
              </a:defRPr>
            </a:lvl3pPr>
            <a:lvl4pPr marL="1600200" indent="-228600">
              <a:defRPr sz="3000">
                <a:solidFill>
                  <a:schemeClr val="bg1"/>
                </a:solidFill>
                <a:latin typeface="Arial" pitchFamily="34" charset="0"/>
              </a:defRPr>
            </a:lvl4pPr>
            <a:lvl5pPr marL="2057400" indent="-228600">
              <a:defRPr sz="3000">
                <a:solidFill>
                  <a:schemeClr val="bg1"/>
                </a:solidFill>
                <a:latin typeface="Arial" pitchFamily="34" charset="0"/>
              </a:defRPr>
            </a:lvl5pPr>
            <a:lvl6pPr marL="2514600" indent="-228600" algn="ctr" eaLnBrk="0" fontAlgn="base" hangingPunct="0">
              <a:lnSpc>
                <a:spcPct val="90000"/>
              </a:lnSpc>
              <a:spcBef>
                <a:spcPct val="0"/>
              </a:spcBef>
              <a:spcAft>
                <a:spcPct val="0"/>
              </a:spcAft>
              <a:defRPr sz="3000">
                <a:solidFill>
                  <a:schemeClr val="bg1"/>
                </a:solidFill>
                <a:latin typeface="Arial" pitchFamily="34" charset="0"/>
              </a:defRPr>
            </a:lvl6pPr>
            <a:lvl7pPr marL="2971800" indent="-228600" algn="ctr" eaLnBrk="0" fontAlgn="base" hangingPunct="0">
              <a:lnSpc>
                <a:spcPct val="90000"/>
              </a:lnSpc>
              <a:spcBef>
                <a:spcPct val="0"/>
              </a:spcBef>
              <a:spcAft>
                <a:spcPct val="0"/>
              </a:spcAft>
              <a:defRPr sz="3000">
                <a:solidFill>
                  <a:schemeClr val="bg1"/>
                </a:solidFill>
                <a:latin typeface="Arial" pitchFamily="34" charset="0"/>
              </a:defRPr>
            </a:lvl7pPr>
            <a:lvl8pPr marL="3429000" indent="-228600" algn="ctr" eaLnBrk="0" fontAlgn="base" hangingPunct="0">
              <a:lnSpc>
                <a:spcPct val="90000"/>
              </a:lnSpc>
              <a:spcBef>
                <a:spcPct val="0"/>
              </a:spcBef>
              <a:spcAft>
                <a:spcPct val="0"/>
              </a:spcAft>
              <a:defRPr sz="3000">
                <a:solidFill>
                  <a:schemeClr val="bg1"/>
                </a:solidFill>
                <a:latin typeface="Arial" pitchFamily="34" charset="0"/>
              </a:defRPr>
            </a:lvl8pPr>
            <a:lvl9pPr marL="3886200" indent="-228600" algn="ctr" eaLnBrk="0" fontAlgn="base" hangingPunct="0">
              <a:lnSpc>
                <a:spcPct val="90000"/>
              </a:lnSpc>
              <a:spcBef>
                <a:spcPct val="0"/>
              </a:spcBef>
              <a:spcAft>
                <a:spcPct val="0"/>
              </a:spcAft>
              <a:defRPr sz="3000">
                <a:solidFill>
                  <a:schemeClr val="bg1"/>
                </a:solidFill>
                <a:latin typeface="Arial" pitchFamily="34" charset="0"/>
              </a:defRPr>
            </a:lvl9pPr>
          </a:lstStyle>
          <a:p>
            <a:pPr marL="0" indent="0" algn="l" eaLnBrk="1" hangingPunct="1">
              <a:lnSpc>
                <a:spcPct val="80000"/>
              </a:lnSpc>
              <a:spcBef>
                <a:spcPct val="20000"/>
              </a:spcBef>
              <a:buClr>
                <a:schemeClr val="hlink"/>
              </a:buClr>
            </a:pPr>
            <a:r>
              <a:rPr lang="cs-CZ" sz="1800" b="1" i="0" dirty="0">
                <a:solidFill>
                  <a:schemeClr val="tx1"/>
                </a:solidFill>
              </a:rPr>
              <a:t>Plánované kroky až v úrovni 5 uvažují s inteligentními zákazníky </a:t>
            </a:r>
            <a:endParaRPr lang="cs-CZ" sz="1800" b="1" i="0" dirty="0" smtClean="0">
              <a:solidFill>
                <a:schemeClr val="tx1"/>
              </a:solidFill>
            </a:endParaRPr>
          </a:p>
          <a:p>
            <a:pPr marL="0" indent="0" algn="l" eaLnBrk="1" hangingPunct="1">
              <a:lnSpc>
                <a:spcPct val="80000"/>
              </a:lnSpc>
              <a:spcBef>
                <a:spcPct val="20000"/>
              </a:spcBef>
              <a:buClr>
                <a:schemeClr val="hlink"/>
              </a:buClr>
            </a:pPr>
            <a:r>
              <a:rPr lang="cs-CZ" sz="1800" b="1" i="0" dirty="0" smtClean="0">
                <a:solidFill>
                  <a:schemeClr val="tx1"/>
                </a:solidFill>
              </a:rPr>
              <a:t>(</a:t>
            </a:r>
            <a:r>
              <a:rPr lang="en-US" sz="1800" b="1" i="0" dirty="0">
                <a:solidFill>
                  <a:schemeClr val="tx1"/>
                </a:solidFill>
              </a:rPr>
              <a:t>Smart Customers)</a:t>
            </a:r>
            <a:endParaRPr lang="cs-CZ" sz="1800" b="1" i="0" dirty="0">
              <a:solidFill>
                <a:schemeClr val="tx1"/>
              </a:solidFill>
            </a:endParaRPr>
          </a:p>
        </p:txBody>
      </p:sp>
    </p:spTree>
    <p:extLst>
      <p:ext uri="{BB962C8B-B14F-4D97-AF65-F5344CB8AC3E}">
        <p14:creationId xmlns:p14="http://schemas.microsoft.com/office/powerpoint/2010/main" val="21620940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Struktura výrobních nákladů</a:t>
            </a:r>
            <a:endParaRPr lang="cs-CZ" dirty="0"/>
          </a:p>
        </p:txBody>
      </p:sp>
      <p:graphicFrame>
        <p:nvGraphicFramePr>
          <p:cNvPr id="3" name="Object 3"/>
          <p:cNvGraphicFramePr>
            <a:graphicFrameLocks noChangeAspect="1"/>
          </p:cNvGraphicFramePr>
          <p:nvPr/>
        </p:nvGraphicFramePr>
        <p:xfrm>
          <a:off x="0" y="1447800"/>
          <a:ext cx="9144000" cy="4557713"/>
        </p:xfrm>
        <a:graphic>
          <a:graphicData uri="http://schemas.openxmlformats.org/presentationml/2006/ole">
            <mc:AlternateContent xmlns:mc="http://schemas.openxmlformats.org/markup-compatibility/2006">
              <mc:Choice xmlns:v="urn:schemas-microsoft-com:vml" Requires="v">
                <p:oleObj spid="_x0000_s1051" r:id="rId3" imgW="9144793" imgH="4560203" progId="Excel.Chart.8">
                  <p:embed/>
                </p:oleObj>
              </mc:Choice>
              <mc:Fallback>
                <p:oleObj r:id="rId3" imgW="9144793" imgH="4560203"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1447800"/>
                        <a:ext cx="9144000" cy="455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Box 4"/>
          <p:cNvSpPr txBox="1">
            <a:spLocks noChangeArrowheads="1"/>
          </p:cNvSpPr>
          <p:nvPr/>
        </p:nvSpPr>
        <p:spPr bwMode="auto">
          <a:xfrm>
            <a:off x="428625" y="6215063"/>
            <a:ext cx="18002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3000">
                <a:solidFill>
                  <a:schemeClr val="bg1"/>
                </a:solidFill>
                <a:latin typeface="Arial" pitchFamily="34" charset="0"/>
              </a:defRPr>
            </a:lvl1pPr>
            <a:lvl2pPr marL="742950" indent="-285750">
              <a:defRPr sz="3000">
                <a:solidFill>
                  <a:schemeClr val="bg1"/>
                </a:solidFill>
                <a:latin typeface="Arial" pitchFamily="34" charset="0"/>
              </a:defRPr>
            </a:lvl2pPr>
            <a:lvl3pPr marL="1143000" indent="-228600">
              <a:defRPr sz="3000">
                <a:solidFill>
                  <a:schemeClr val="bg1"/>
                </a:solidFill>
                <a:latin typeface="Arial" pitchFamily="34" charset="0"/>
              </a:defRPr>
            </a:lvl3pPr>
            <a:lvl4pPr marL="1600200" indent="-228600">
              <a:defRPr sz="3000">
                <a:solidFill>
                  <a:schemeClr val="bg1"/>
                </a:solidFill>
                <a:latin typeface="Arial" pitchFamily="34" charset="0"/>
              </a:defRPr>
            </a:lvl4pPr>
            <a:lvl5pPr marL="2057400" indent="-228600">
              <a:defRPr sz="3000">
                <a:solidFill>
                  <a:schemeClr val="bg1"/>
                </a:solidFill>
                <a:latin typeface="Arial" pitchFamily="34" charset="0"/>
              </a:defRPr>
            </a:lvl5pPr>
            <a:lvl6pPr marL="2514600" indent="-228600" algn="ctr" eaLnBrk="0" fontAlgn="base" hangingPunct="0">
              <a:lnSpc>
                <a:spcPct val="90000"/>
              </a:lnSpc>
              <a:spcBef>
                <a:spcPct val="0"/>
              </a:spcBef>
              <a:spcAft>
                <a:spcPct val="0"/>
              </a:spcAft>
              <a:defRPr sz="3000">
                <a:solidFill>
                  <a:schemeClr val="bg1"/>
                </a:solidFill>
                <a:latin typeface="Arial" pitchFamily="34" charset="0"/>
              </a:defRPr>
            </a:lvl6pPr>
            <a:lvl7pPr marL="2971800" indent="-228600" algn="ctr" eaLnBrk="0" fontAlgn="base" hangingPunct="0">
              <a:lnSpc>
                <a:spcPct val="90000"/>
              </a:lnSpc>
              <a:spcBef>
                <a:spcPct val="0"/>
              </a:spcBef>
              <a:spcAft>
                <a:spcPct val="0"/>
              </a:spcAft>
              <a:defRPr sz="3000">
                <a:solidFill>
                  <a:schemeClr val="bg1"/>
                </a:solidFill>
                <a:latin typeface="Arial" pitchFamily="34" charset="0"/>
              </a:defRPr>
            </a:lvl7pPr>
            <a:lvl8pPr marL="3429000" indent="-228600" algn="ctr" eaLnBrk="0" fontAlgn="base" hangingPunct="0">
              <a:lnSpc>
                <a:spcPct val="90000"/>
              </a:lnSpc>
              <a:spcBef>
                <a:spcPct val="0"/>
              </a:spcBef>
              <a:spcAft>
                <a:spcPct val="0"/>
              </a:spcAft>
              <a:defRPr sz="3000">
                <a:solidFill>
                  <a:schemeClr val="bg1"/>
                </a:solidFill>
                <a:latin typeface="Arial" pitchFamily="34" charset="0"/>
              </a:defRPr>
            </a:lvl8pPr>
            <a:lvl9pPr marL="3886200" indent="-228600" algn="ctr" eaLnBrk="0" fontAlgn="base" hangingPunct="0">
              <a:lnSpc>
                <a:spcPct val="90000"/>
              </a:lnSpc>
              <a:spcBef>
                <a:spcPct val="0"/>
              </a:spcBef>
              <a:spcAft>
                <a:spcPct val="0"/>
              </a:spcAft>
              <a:defRPr sz="3000">
                <a:solidFill>
                  <a:schemeClr val="bg1"/>
                </a:solidFill>
                <a:latin typeface="Arial" pitchFamily="34" charset="0"/>
              </a:defRPr>
            </a:lvl9pPr>
          </a:lstStyle>
          <a:p>
            <a:pPr algn="l" eaLnBrk="1" hangingPunct="1">
              <a:lnSpc>
                <a:spcPct val="100000"/>
              </a:lnSpc>
              <a:spcBef>
                <a:spcPct val="50000"/>
              </a:spcBef>
            </a:pPr>
            <a:r>
              <a:rPr lang="cs-CZ" sz="1000" i="0" dirty="0">
                <a:solidFill>
                  <a:srgbClr val="000000"/>
                </a:solidFill>
                <a:latin typeface="Arial Narrow" pitchFamily="34" charset="0"/>
              </a:rPr>
              <a:t>Zdroj</a:t>
            </a:r>
            <a:r>
              <a:rPr lang="fr-FR" sz="1000" i="0" dirty="0">
                <a:solidFill>
                  <a:srgbClr val="000000"/>
                </a:solidFill>
                <a:latin typeface="Arial Narrow" pitchFamily="34" charset="0"/>
              </a:rPr>
              <a:t>: </a:t>
            </a:r>
            <a:r>
              <a:rPr lang="cs-CZ" sz="1000" i="0" dirty="0">
                <a:solidFill>
                  <a:srgbClr val="000000"/>
                </a:solidFill>
                <a:latin typeface="Arial Narrow" pitchFamily="34" charset="0"/>
              </a:rPr>
              <a:t>NEA </a:t>
            </a:r>
            <a:r>
              <a:rPr lang="en-US" sz="1000" i="0" dirty="0">
                <a:solidFill>
                  <a:srgbClr val="000000"/>
                </a:solidFill>
                <a:latin typeface="Arial Narrow" pitchFamily="34" charset="0"/>
              </a:rPr>
              <a:t>&amp; </a:t>
            </a:r>
            <a:r>
              <a:rPr lang="cs-CZ" sz="1000" i="0" dirty="0">
                <a:solidFill>
                  <a:srgbClr val="000000"/>
                </a:solidFill>
                <a:latin typeface="Arial Narrow" pitchFamily="34" charset="0"/>
              </a:rPr>
              <a:t>MAAE </a:t>
            </a:r>
            <a:r>
              <a:rPr lang="fr-FR" sz="1000" i="0" dirty="0">
                <a:solidFill>
                  <a:srgbClr val="000000"/>
                </a:solidFill>
                <a:latin typeface="Arial Narrow" pitchFamily="34" charset="0"/>
              </a:rPr>
              <a:t>2005</a:t>
            </a:r>
          </a:p>
        </p:txBody>
      </p:sp>
      <p:sp>
        <p:nvSpPr>
          <p:cNvPr id="7" name="Slide Number Placeholder 5"/>
          <p:cNvSpPr txBox="1">
            <a:spLocks/>
          </p:cNvSpPr>
          <p:nvPr/>
        </p:nvSpPr>
        <p:spPr>
          <a:xfrm>
            <a:off x="-4763" y="6510338"/>
            <a:ext cx="523876"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bg2">
                    <a:lumMod val="60000"/>
                    <a:lumOff val="40000"/>
                  </a:schemeClr>
                </a:solidFill>
                <a:latin typeface="Cillian" pitchFamily="50" charset="-18"/>
                <a:ea typeface="ＭＳ Ｐゴシック"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fld id="{8DC3CFA4-B7E3-4271-9B07-7FBEE21321F1}" type="slidenum">
              <a:rPr lang="en-US" smtClean="0"/>
              <a:pPr>
                <a:defRPr/>
              </a:pPr>
              <a:t>6</a:t>
            </a:fld>
            <a:endParaRPr lang="en-US" dirty="0"/>
          </a:p>
        </p:txBody>
      </p:sp>
      <p:sp>
        <p:nvSpPr>
          <p:cNvPr id="8" name="Footer Placeholder 4"/>
          <p:cNvSpPr txBox="1">
            <a:spLocks/>
          </p:cNvSpPr>
          <p:nvPr/>
        </p:nvSpPr>
        <p:spPr>
          <a:xfrm>
            <a:off x="6229350" y="6548438"/>
            <a:ext cx="2895600" cy="365125"/>
          </a:xfrm>
          <a:prstGeom prst="rect">
            <a:avLst/>
          </a:prstGeom>
        </p:spPr>
        <p:txBody>
          <a:bodyPr/>
          <a:lstStyle>
            <a:defPPr>
              <a:defRPr lang="en-US"/>
            </a:defPPr>
            <a:lvl1pPr algn="r" defTabSz="457200" rtl="0" fontAlgn="auto">
              <a:spcBef>
                <a:spcPts val="0"/>
              </a:spcBef>
              <a:spcAft>
                <a:spcPts val="0"/>
              </a:spcAft>
              <a:defRPr sz="1200" kern="1200">
                <a:solidFill>
                  <a:schemeClr val="bg2"/>
                </a:solidFill>
                <a:latin typeface="Cillian" pitchFamily="50" charset="-18"/>
                <a:ea typeface="+mn-ea"/>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a:lstStyle>
          <a:p>
            <a:pPr>
              <a:defRPr/>
            </a:pPr>
            <a:r>
              <a:rPr lang="en-US" smtClean="0"/>
              <a:t>www.vsb.cz</a:t>
            </a:r>
            <a:endParaRPr lang="en-US" dirty="0"/>
          </a:p>
        </p:txBody>
      </p:sp>
      <p:sp>
        <p:nvSpPr>
          <p:cNvPr id="10" name="TextovéPole 9"/>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83409112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Nadpis 1"/>
          <p:cNvSpPr>
            <a:spLocks noGrp="1"/>
          </p:cNvSpPr>
          <p:nvPr>
            <p:ph type="title"/>
          </p:nvPr>
        </p:nvSpPr>
        <p:spPr/>
        <p:txBody>
          <a:bodyPr/>
          <a:lstStyle/>
          <a:p>
            <a:pPr eaLnBrk="1" hangingPunct="1"/>
            <a:r>
              <a:rPr lang="cs-CZ" altLang="cs-CZ" smtClean="0"/>
              <a:t>SG - další postup / aktivity</a:t>
            </a:r>
          </a:p>
        </p:txBody>
      </p:sp>
      <p:sp>
        <p:nvSpPr>
          <p:cNvPr id="36867" name="Zástupný symbol pro obsah 2"/>
          <p:cNvSpPr>
            <a:spLocks noGrp="1"/>
          </p:cNvSpPr>
          <p:nvPr>
            <p:ph idx="1"/>
          </p:nvPr>
        </p:nvSpPr>
        <p:spPr/>
        <p:txBody>
          <a:bodyPr/>
          <a:lstStyle/>
          <a:p>
            <a:pPr eaLnBrk="1" hangingPunct="1"/>
            <a:r>
              <a:rPr lang="cs-CZ" altLang="cs-CZ" dirty="0" smtClean="0"/>
              <a:t>SG standardizace</a:t>
            </a:r>
          </a:p>
          <a:p>
            <a:pPr eaLnBrk="1" hangingPunct="1"/>
            <a:r>
              <a:rPr lang="cs-CZ" altLang="cs-CZ" dirty="0" smtClean="0"/>
              <a:t>Ochrana soukromých dat a bezpečnost systému</a:t>
            </a:r>
          </a:p>
          <a:p>
            <a:pPr eaLnBrk="1" hangingPunct="1"/>
            <a:r>
              <a:rPr lang="cs-CZ" altLang="cs-CZ" dirty="0" smtClean="0"/>
              <a:t>Regulační rámec pro podporu realizace SG zejména pro PDS a PPS</a:t>
            </a:r>
          </a:p>
          <a:p>
            <a:pPr eaLnBrk="1" hangingPunct="1"/>
            <a:r>
              <a:rPr lang="cs-CZ" altLang="cs-CZ" dirty="0" smtClean="0"/>
              <a:t>Garance konkurenceschopnosti služeb poskytovaných SG</a:t>
            </a:r>
          </a:p>
          <a:p>
            <a:pPr eaLnBrk="1" hangingPunct="1"/>
            <a:r>
              <a:rPr lang="cs-CZ" altLang="cs-CZ" dirty="0" smtClean="0"/>
              <a:t>Podpora vědy a rozvoje a realizace SG</a:t>
            </a:r>
          </a:p>
        </p:txBody>
      </p:sp>
      <p:sp>
        <p:nvSpPr>
          <p:cNvPr id="4" name="TextovéPole 3"/>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3514933278"/>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Akumulace</a:t>
            </a:r>
            <a:endParaRPr lang="cs-CZ" dirty="0"/>
          </a:p>
        </p:txBody>
      </p:sp>
      <p:pic>
        <p:nvPicPr>
          <p:cNvPr id="430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2132856"/>
            <a:ext cx="6768752" cy="432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4"/>
          <p:cNvSpPr txBox="1">
            <a:spLocks noChangeArrowheads="1"/>
          </p:cNvSpPr>
          <p:nvPr/>
        </p:nvSpPr>
        <p:spPr>
          <a:xfrm>
            <a:off x="436563" y="1125538"/>
            <a:ext cx="8488362" cy="1106487"/>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457200" eaLnBrk="0" hangingPunct="0">
              <a:buClr>
                <a:schemeClr val="tx2"/>
              </a:buClr>
              <a:buFont typeface="Wingdings" pitchFamily="2" charset="2"/>
              <a:buChar char="§"/>
            </a:pPr>
            <a:r>
              <a:rPr lang="cs-CZ" sz="2000" spc="-100" dirty="0">
                <a:solidFill>
                  <a:srgbClr val="000000"/>
                </a:solidFill>
                <a:ea typeface="ＭＳ Ｐゴシック" pitchFamily="34" charset="-128"/>
              </a:rPr>
              <a:t>Akumulace – nezbytný předpoklad</a:t>
            </a:r>
            <a:endParaRPr lang="en-US" sz="2000" spc="-100" dirty="0">
              <a:solidFill>
                <a:srgbClr val="000000"/>
              </a:solidFill>
              <a:ea typeface="ＭＳ Ｐゴシック" pitchFamily="34" charset="-128"/>
            </a:endParaRPr>
          </a:p>
          <a:p>
            <a:pPr marL="742950" lvl="2" indent="-342900" defTabSz="457200" eaLnBrk="0" hangingPunct="0">
              <a:buClr>
                <a:schemeClr val="tx2"/>
              </a:buClr>
              <a:buFont typeface="Wingdings" pitchFamily="2" charset="2"/>
              <a:buChar char="§"/>
            </a:pPr>
            <a:r>
              <a:rPr lang="cs-CZ" sz="1600" spc="-100" dirty="0">
                <a:solidFill>
                  <a:srgbClr val="000000"/>
                </a:solidFill>
                <a:ea typeface="ＭＳ Ｐゴシック" pitchFamily="34" charset="-128"/>
              </a:rPr>
              <a:t>Výzkum a vývoj (</a:t>
            </a:r>
            <a:r>
              <a:rPr lang="en-US" sz="1600" spc="-100" dirty="0">
                <a:solidFill>
                  <a:srgbClr val="000000"/>
                </a:solidFill>
                <a:ea typeface="ＭＳ Ｐゴシック" pitchFamily="34" charset="-128"/>
              </a:rPr>
              <a:t>Research &amp; Development</a:t>
            </a:r>
            <a:r>
              <a:rPr lang="cs-CZ" sz="1600" spc="-100" dirty="0">
                <a:solidFill>
                  <a:srgbClr val="000000"/>
                </a:solidFill>
                <a:ea typeface="ＭＳ Ｐゴシック" pitchFamily="34" charset="-128"/>
              </a:rPr>
              <a:t>)</a:t>
            </a:r>
            <a:endParaRPr lang="en-US" sz="1600" spc="-100" dirty="0">
              <a:solidFill>
                <a:srgbClr val="000000"/>
              </a:solidFill>
              <a:ea typeface="ＭＳ Ｐゴシック" pitchFamily="34" charset="-128"/>
            </a:endParaRPr>
          </a:p>
          <a:p>
            <a:pPr marL="742950" lvl="2" indent="-342900" defTabSz="457200" eaLnBrk="0" hangingPunct="0">
              <a:buClr>
                <a:schemeClr val="tx2"/>
              </a:buClr>
              <a:buFont typeface="Wingdings" pitchFamily="2" charset="2"/>
              <a:buChar char="§"/>
            </a:pPr>
            <a:r>
              <a:rPr lang="cs-CZ" sz="1600" spc="-100" dirty="0">
                <a:solidFill>
                  <a:srgbClr val="000000"/>
                </a:solidFill>
                <a:ea typeface="ＭＳ Ｐゴシック" pitchFamily="34" charset="-128"/>
              </a:rPr>
              <a:t>Cena a návratnost investic</a:t>
            </a:r>
            <a:endParaRPr lang="en-US" sz="1600" spc="-100" dirty="0">
              <a:solidFill>
                <a:srgbClr val="000000"/>
              </a:solidFill>
              <a:ea typeface="ＭＳ Ｐゴシック" pitchFamily="34" charset="-128"/>
            </a:endParaRPr>
          </a:p>
          <a:p>
            <a:pPr marL="1006475" lvl="1" indent="-339725" defTabSz="900113">
              <a:buClr>
                <a:schemeClr val="hlink"/>
              </a:buClr>
            </a:pPr>
            <a:endParaRPr lang="en-US" sz="1600" dirty="0" smtClean="0">
              <a:solidFill>
                <a:srgbClr val="003399"/>
              </a:solidFill>
              <a:latin typeface="Verdana" pitchFamily="34" charset="0"/>
            </a:endParaRPr>
          </a:p>
          <a:p>
            <a:pPr marL="382588" indent="-382588" defTabSz="900113">
              <a:buClr>
                <a:schemeClr val="hlink"/>
              </a:buClr>
            </a:pPr>
            <a:endParaRPr lang="en-US" sz="1800" b="1" dirty="0" smtClean="0">
              <a:solidFill>
                <a:srgbClr val="003399"/>
              </a:solidFill>
              <a:latin typeface="Verdana" pitchFamily="34" charset="0"/>
            </a:endParaRPr>
          </a:p>
          <a:p>
            <a:pPr marL="382588" indent="-382588" defTabSz="900113">
              <a:buClr>
                <a:schemeClr val="hlink"/>
              </a:buClr>
            </a:pPr>
            <a:endParaRPr lang="en-US" sz="1800" dirty="0" smtClean="0">
              <a:solidFill>
                <a:srgbClr val="003399"/>
              </a:solidFill>
              <a:latin typeface="Verdana" pitchFamily="34" charset="0"/>
            </a:endParaRPr>
          </a:p>
          <a:p>
            <a:pPr marL="382588" indent="-382588" defTabSz="900113">
              <a:buClr>
                <a:schemeClr val="hlink"/>
              </a:buClr>
            </a:pPr>
            <a:endParaRPr lang="en-US" sz="1800" dirty="0" smtClean="0">
              <a:solidFill>
                <a:srgbClr val="003399"/>
              </a:solidFill>
              <a:latin typeface="Verdana" pitchFamily="34" charset="0"/>
            </a:endParaRPr>
          </a:p>
        </p:txBody>
      </p:sp>
      <p:sp>
        <p:nvSpPr>
          <p:cNvPr id="7" name="TextovéPole 6"/>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194593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1000" fill="hold"/>
                                        <p:tgtEl>
                                          <p:spTgt spid="4">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4">
                                            <p:txEl>
                                              <p:pRg st="0" end="0"/>
                                            </p:txEl>
                                          </p:spTgt>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anim calcmode="lin" valueType="num">
                                      <p:cBhvr additive="base">
                                        <p:cTn id="11" dur="1000" fill="hold"/>
                                        <p:tgtEl>
                                          <p:spTgt spid="4">
                                            <p:txEl>
                                              <p:pRg st="1" end="1"/>
                                            </p:txEl>
                                          </p:spTgt>
                                        </p:tgtEl>
                                        <p:attrNameLst>
                                          <p:attrName>ppt_x</p:attrName>
                                        </p:attrNameLst>
                                      </p:cBhvr>
                                      <p:tavLst>
                                        <p:tav tm="0">
                                          <p:val>
                                            <p:strVal val="0-#ppt_w/2"/>
                                          </p:val>
                                        </p:tav>
                                        <p:tav tm="100000">
                                          <p:val>
                                            <p:strVal val="#ppt_x"/>
                                          </p:val>
                                        </p:tav>
                                      </p:tavLst>
                                    </p:anim>
                                    <p:anim calcmode="lin" valueType="num">
                                      <p:cBhvr additive="base">
                                        <p:cTn id="12" dur="1000" fill="hold"/>
                                        <p:tgtEl>
                                          <p:spTgt spid="4">
                                            <p:txEl>
                                              <p:pRg st="1" end="1"/>
                                            </p:txEl>
                                          </p:spTgt>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 calcmode="lin" valueType="num">
                                      <p:cBhvr additive="base">
                                        <p:cTn id="15" dur="1000" fill="hold"/>
                                        <p:tgtEl>
                                          <p:spTgt spid="4">
                                            <p:txEl>
                                              <p:pRg st="2" end="2"/>
                                            </p:txEl>
                                          </p:spTgt>
                                        </p:tgtEl>
                                        <p:attrNameLst>
                                          <p:attrName>ppt_x</p:attrName>
                                        </p:attrNameLst>
                                      </p:cBhvr>
                                      <p:tavLst>
                                        <p:tav tm="0">
                                          <p:val>
                                            <p:strVal val="0-#ppt_w/2"/>
                                          </p:val>
                                        </p:tav>
                                        <p:tav tm="100000">
                                          <p:val>
                                            <p:strVal val="#ppt_x"/>
                                          </p:val>
                                        </p:tav>
                                      </p:tavLst>
                                    </p:anim>
                                    <p:anim calcmode="lin" valueType="num">
                                      <p:cBhvr additive="base">
                                        <p:cTn id="16" dur="1000" fill="hold"/>
                                        <p:tgtEl>
                                          <p:spTgt spid="4">
                                            <p:txEl>
                                              <p:pRg st="2" end="2"/>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p:cNvSpPr>
          <p:nvPr>
            <p:ph type="title"/>
          </p:nvPr>
        </p:nvSpPr>
        <p:spPr>
          <a:xfrm>
            <a:off x="2124075" y="404813"/>
            <a:ext cx="4652963" cy="476250"/>
          </a:xfrm>
        </p:spPr>
        <p:txBody>
          <a:bodyPr/>
          <a:lstStyle/>
          <a:p>
            <a:r>
              <a:rPr lang="cs-CZ" dirty="0" smtClean="0"/>
              <a:t>Akumulace</a:t>
            </a:r>
          </a:p>
        </p:txBody>
      </p:sp>
      <p:sp>
        <p:nvSpPr>
          <p:cNvPr id="58373" name="Text Box 5"/>
          <p:cNvSpPr txBox="1">
            <a:spLocks noChangeArrowheads="1"/>
          </p:cNvSpPr>
          <p:nvPr/>
        </p:nvSpPr>
        <p:spPr bwMode="auto">
          <a:xfrm>
            <a:off x="4403725" y="6613525"/>
            <a:ext cx="320675" cy="225425"/>
          </a:xfrm>
          <a:prstGeom prst="rect">
            <a:avLst/>
          </a:prstGeom>
          <a:noFill/>
          <a:ln w="12700">
            <a:noFill/>
            <a:miter lim="800000"/>
            <a:headEnd/>
            <a:tailEnd/>
          </a:ln>
          <a:effectLst/>
        </p:spPr>
        <p:txBody>
          <a:bodyPr wrap="none" lIns="90488" tIns="44450" rIns="90488" bIns="44450">
            <a:spAutoFit/>
          </a:bodyPr>
          <a:lstStyle/>
          <a:p>
            <a:pPr algn="ctr" defTabSz="900113" eaLnBrk="0" hangingPunct="0">
              <a:lnSpc>
                <a:spcPct val="90000"/>
              </a:lnSpc>
              <a:tabLst>
                <a:tab pos="8001000" algn="l"/>
              </a:tabLst>
            </a:pPr>
            <a:fld id="{79FEC73D-822F-43F1-9A0D-F991EEB9C119}" type="slidenum">
              <a:rPr lang="cs-CZ" sz="1000">
                <a:solidFill>
                  <a:schemeClr val="bg1"/>
                </a:solidFill>
                <a:latin typeface="Arial" pitchFamily="34" charset="0"/>
              </a:rPr>
              <a:pPr algn="ctr" defTabSz="900113" eaLnBrk="0" hangingPunct="0">
                <a:lnSpc>
                  <a:spcPct val="90000"/>
                </a:lnSpc>
                <a:tabLst>
                  <a:tab pos="8001000" algn="l"/>
                </a:tabLst>
              </a:pPr>
              <a:t>62</a:t>
            </a:fld>
            <a:endParaRPr lang="cs-CZ" sz="1000">
              <a:solidFill>
                <a:schemeClr val="bg1"/>
              </a:solidFill>
              <a:latin typeface="Arial" pitchFamily="34" charset="0"/>
            </a:endParaRPr>
          </a:p>
        </p:txBody>
      </p:sp>
      <p:sp>
        <p:nvSpPr>
          <p:cNvPr id="58377" name="Rectangle 9"/>
          <p:cNvSpPr>
            <a:spLocks noGrp="1"/>
          </p:cNvSpPr>
          <p:nvPr>
            <p:ph type="body" idx="1"/>
          </p:nvPr>
        </p:nvSpPr>
        <p:spPr>
          <a:xfrm>
            <a:off x="444500" y="1190766"/>
            <a:ext cx="8388350" cy="965200"/>
          </a:xfrm>
        </p:spPr>
        <p:txBody>
          <a:bodyPr/>
          <a:lstStyle/>
          <a:p>
            <a:r>
              <a:rPr lang="cs-CZ" sz="2000" dirty="0">
                <a:solidFill>
                  <a:srgbClr val="000000"/>
                </a:solidFill>
                <a:latin typeface="+mn-lt"/>
                <a:ea typeface="ＭＳ Ｐゴシック" pitchFamily="34" charset="-128"/>
                <a:cs typeface="+mn-cs"/>
              </a:rPr>
              <a:t>PVE je prozatím jediným známým způsobem akumulace velkých objemů </a:t>
            </a:r>
            <a:r>
              <a:rPr lang="cs-CZ" sz="2000" dirty="0" smtClean="0">
                <a:solidFill>
                  <a:srgbClr val="000000"/>
                </a:solidFill>
                <a:latin typeface="+mn-lt"/>
                <a:ea typeface="ＭＳ Ｐゴシック" pitchFamily="34" charset="-128"/>
                <a:cs typeface="+mn-cs"/>
              </a:rPr>
              <a:t>energie</a:t>
            </a:r>
          </a:p>
          <a:p>
            <a:r>
              <a:rPr lang="cs-CZ" sz="2000" dirty="0" smtClean="0">
                <a:solidFill>
                  <a:srgbClr val="000000"/>
                </a:solidFill>
                <a:latin typeface="+mn-lt"/>
                <a:ea typeface="ＭＳ Ｐゴシック" pitchFamily="34" charset="-128"/>
                <a:cs typeface="+mn-cs"/>
              </a:rPr>
              <a:t>Doba od rozhodnutí, územní plánování, projektování a příprava, výstavba, zkušební provoz až po uvedení do provozu je více než 15 let</a:t>
            </a:r>
          </a:p>
          <a:p>
            <a:r>
              <a:rPr lang="cs-CZ" sz="2000" dirty="0" smtClean="0">
                <a:solidFill>
                  <a:srgbClr val="000000"/>
                </a:solidFill>
                <a:latin typeface="+mn-lt"/>
                <a:ea typeface="ＭＳ Ｐゴシック" pitchFamily="34" charset="-128"/>
                <a:cs typeface="+mn-cs"/>
              </a:rPr>
              <a:t>Dnešní rozhodování se projeví po roce 2025</a:t>
            </a:r>
            <a:endParaRPr lang="cs-CZ" sz="2000" dirty="0">
              <a:solidFill>
                <a:srgbClr val="000000"/>
              </a:solidFill>
              <a:latin typeface="+mn-lt"/>
              <a:ea typeface="ＭＳ Ｐゴシック" pitchFamily="34" charset="-128"/>
              <a:cs typeface="+mn-cs"/>
            </a:endParaRPr>
          </a:p>
        </p:txBody>
      </p:sp>
      <p:pic>
        <p:nvPicPr>
          <p:cNvPr id="20"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9150" y="3070747"/>
            <a:ext cx="4817340" cy="3730300"/>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ovéPole 5"/>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35633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p:cNvSpPr>
          <p:nvPr>
            <p:ph type="title"/>
          </p:nvPr>
        </p:nvSpPr>
        <p:spPr>
          <a:xfrm>
            <a:off x="2124075" y="336573"/>
            <a:ext cx="4652963" cy="476250"/>
          </a:xfrm>
        </p:spPr>
        <p:txBody>
          <a:bodyPr/>
          <a:lstStyle/>
          <a:p>
            <a:r>
              <a:rPr lang="cs-CZ" dirty="0" smtClean="0"/>
              <a:t>Smart </a:t>
            </a:r>
            <a:r>
              <a:rPr lang="cs-CZ" dirty="0" err="1" smtClean="0"/>
              <a:t>Cities</a:t>
            </a:r>
            <a:endParaRPr lang="cs-CZ" dirty="0" smtClean="0"/>
          </a:p>
        </p:txBody>
      </p:sp>
      <p:sp>
        <p:nvSpPr>
          <p:cNvPr id="58373" name="Text Box 5"/>
          <p:cNvSpPr txBox="1">
            <a:spLocks noChangeArrowheads="1"/>
          </p:cNvSpPr>
          <p:nvPr/>
        </p:nvSpPr>
        <p:spPr bwMode="auto">
          <a:xfrm>
            <a:off x="4403725" y="6613525"/>
            <a:ext cx="320675" cy="225425"/>
          </a:xfrm>
          <a:prstGeom prst="rect">
            <a:avLst/>
          </a:prstGeom>
          <a:noFill/>
          <a:ln w="12700">
            <a:noFill/>
            <a:miter lim="800000"/>
            <a:headEnd/>
            <a:tailEnd/>
          </a:ln>
          <a:effectLst/>
        </p:spPr>
        <p:txBody>
          <a:bodyPr wrap="none" lIns="90488" tIns="44450" rIns="90488" bIns="44450">
            <a:spAutoFit/>
          </a:bodyPr>
          <a:lstStyle/>
          <a:p>
            <a:pPr algn="ctr" defTabSz="900113" eaLnBrk="0" hangingPunct="0">
              <a:lnSpc>
                <a:spcPct val="90000"/>
              </a:lnSpc>
              <a:tabLst>
                <a:tab pos="8001000" algn="l"/>
              </a:tabLst>
            </a:pPr>
            <a:fld id="{79FEC73D-822F-43F1-9A0D-F991EEB9C119}" type="slidenum">
              <a:rPr lang="cs-CZ" sz="1000">
                <a:solidFill>
                  <a:schemeClr val="bg1"/>
                </a:solidFill>
                <a:latin typeface="Arial" pitchFamily="34" charset="0"/>
              </a:rPr>
              <a:pPr algn="ctr" defTabSz="900113" eaLnBrk="0" hangingPunct="0">
                <a:lnSpc>
                  <a:spcPct val="90000"/>
                </a:lnSpc>
                <a:tabLst>
                  <a:tab pos="8001000" algn="l"/>
                </a:tabLst>
              </a:pPr>
              <a:t>63</a:t>
            </a:fld>
            <a:endParaRPr lang="cs-CZ" sz="1000">
              <a:solidFill>
                <a:schemeClr val="bg1"/>
              </a:solidFill>
              <a:latin typeface="Arial" pitchFamily="34" charset="0"/>
            </a:endParaRPr>
          </a:p>
        </p:txBody>
      </p:sp>
      <p:sp>
        <p:nvSpPr>
          <p:cNvPr id="6" name="TextovéPole 5"/>
          <p:cNvSpPr txBox="1"/>
          <p:nvPr/>
        </p:nvSpPr>
        <p:spPr>
          <a:xfrm>
            <a:off x="3927889" y="6518129"/>
            <a:ext cx="926857" cy="253916"/>
          </a:xfrm>
          <a:prstGeom prst="rect">
            <a:avLst/>
          </a:prstGeom>
          <a:noFill/>
        </p:spPr>
        <p:txBody>
          <a:bodyPr wrap="none" rtlCol="0">
            <a:spAutoFit/>
          </a:bodyPr>
          <a:lstStyle/>
          <a:p>
            <a:r>
              <a:rPr lang="en-US" sz="1050" dirty="0" smtClean="0">
                <a:solidFill>
                  <a:srgbClr val="000000"/>
                </a:solidFill>
                <a:latin typeface="Arial Narrow" pitchFamily="34" charset="0"/>
              </a:rPr>
              <a:t>5</a:t>
            </a:r>
            <a:r>
              <a:rPr lang="cs-CZ" sz="1050" dirty="0" smtClean="0">
                <a:solidFill>
                  <a:srgbClr val="000000"/>
                </a:solidFill>
                <a:latin typeface="Arial Narrow" pitchFamily="34" charset="0"/>
              </a:rPr>
              <a:t>. Nové aktivity</a:t>
            </a:r>
            <a:endParaRPr lang="cs-CZ" sz="1050" dirty="0">
              <a:solidFill>
                <a:srgbClr val="000000"/>
              </a:solidFill>
              <a:latin typeface="Arial Narrow" pitchFamily="34" charset="0"/>
            </a:endParaRPr>
          </a:p>
        </p:txBody>
      </p:sp>
      <p:pic>
        <p:nvPicPr>
          <p:cNvPr id="143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455" y="1050878"/>
            <a:ext cx="7475687" cy="5513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793861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36171" y="2133134"/>
            <a:ext cx="6117772" cy="1390650"/>
          </a:xfrm>
        </p:spPr>
        <p:txBody>
          <a:bodyPr/>
          <a:lstStyle/>
          <a:p>
            <a:pPr algn="l"/>
            <a:r>
              <a:rPr lang="cs-CZ" sz="4400" dirty="0" smtClean="0"/>
              <a:t>Závěr</a:t>
            </a:r>
            <a:endParaRPr lang="cs-CZ" sz="4400" dirty="0"/>
          </a:p>
        </p:txBody>
      </p:sp>
      <p:sp>
        <p:nvSpPr>
          <p:cNvPr id="4" name="Zástupný symbol pro text 3"/>
          <p:cNvSpPr>
            <a:spLocks noGrp="1"/>
          </p:cNvSpPr>
          <p:nvPr>
            <p:ph type="body" sz="quarter" idx="13"/>
          </p:nvPr>
        </p:nvSpPr>
        <p:spPr/>
        <p:txBody>
          <a:bodyPr/>
          <a:lstStyle/>
          <a:p>
            <a:r>
              <a:rPr lang="cs-CZ" dirty="0" smtClean="0"/>
              <a:t>6</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64</a:t>
            </a:fld>
            <a:endParaRPr lang="cs-CZ"/>
          </a:p>
        </p:txBody>
      </p:sp>
    </p:spTree>
    <p:extLst>
      <p:ext uri="{BB962C8B-B14F-4D97-AF65-F5344CB8AC3E}">
        <p14:creationId xmlns:p14="http://schemas.microsoft.com/office/powerpoint/2010/main" val="141350144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Rectangle 3"/>
          <p:cNvSpPr>
            <a:spLocks noGrp="1"/>
          </p:cNvSpPr>
          <p:nvPr>
            <p:ph type="title"/>
          </p:nvPr>
        </p:nvSpPr>
        <p:spPr/>
        <p:txBody>
          <a:bodyPr/>
          <a:lstStyle/>
          <a:p>
            <a:pPr eaLnBrk="1" hangingPunct="1">
              <a:defRPr/>
            </a:pPr>
            <a:r>
              <a:rPr lang="cs-CZ" sz="2800" dirty="0" smtClean="0">
                <a:effectLst>
                  <a:outerShdw blurRad="38100" dist="38100" dir="2700000" algn="tl">
                    <a:srgbClr val="000000">
                      <a:alpha val="43137"/>
                    </a:srgbClr>
                  </a:outerShdw>
                </a:effectLst>
              </a:rPr>
              <a:t>Shrnutí</a:t>
            </a:r>
            <a:endParaRPr lang="en-US" sz="2800" dirty="0">
              <a:effectLst>
                <a:outerShdw blurRad="38100" dist="38100" dir="2700000" algn="tl">
                  <a:srgbClr val="000000">
                    <a:alpha val="43137"/>
                  </a:srgbClr>
                </a:outerShdw>
              </a:effectLst>
            </a:endParaRPr>
          </a:p>
        </p:txBody>
      </p:sp>
      <p:sp>
        <p:nvSpPr>
          <p:cNvPr id="51204" name="Rectangle 4"/>
          <p:cNvSpPr>
            <a:spLocks noGrp="1" noChangeArrowheads="1"/>
          </p:cNvSpPr>
          <p:nvPr>
            <p:ph idx="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569913" indent="-569913" defTabSz="290513">
              <a:lnSpc>
                <a:spcPct val="90000"/>
              </a:lnSpc>
              <a:spcBef>
                <a:spcPct val="15000"/>
              </a:spcBef>
              <a:spcAft>
                <a:spcPct val="15000"/>
              </a:spcAft>
              <a:buClrTx/>
              <a:buFont typeface="Wingdings" pitchFamily="2" charset="2"/>
              <a:buChar char="§"/>
            </a:pPr>
            <a:r>
              <a:rPr lang="cs-CZ" sz="2000" dirty="0" smtClean="0">
                <a:latin typeface="Verdana" pitchFamily="34" charset="0"/>
              </a:rPr>
              <a:t>Reálné zdroje budou závislé na konkrétním energetickém mixu členských států</a:t>
            </a:r>
          </a:p>
          <a:p>
            <a:pPr marL="569913" indent="-569913" defTabSz="290513">
              <a:lnSpc>
                <a:spcPct val="90000"/>
              </a:lnSpc>
              <a:spcBef>
                <a:spcPct val="15000"/>
              </a:spcBef>
              <a:spcAft>
                <a:spcPct val="15000"/>
              </a:spcAft>
              <a:buClrTx/>
              <a:buFont typeface="Wingdings" pitchFamily="2" charset="2"/>
              <a:buChar char="§"/>
            </a:pPr>
            <a:r>
              <a:rPr lang="cs-CZ" sz="2000" dirty="0" smtClean="0">
                <a:latin typeface="Verdana" pitchFamily="34" charset="0"/>
              </a:rPr>
              <a:t>Rozvoj sítí je podstatný, ale musí respektovat:</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Dostupné technologie </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Vlastnická práva, reálné termíny projednávání a výstavby</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Nákladovou alokaci do místa, které ji vyvolalo </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Provozuschopnost </a:t>
            </a:r>
          </a:p>
          <a:p>
            <a:pPr marL="569913" indent="-569913" defTabSz="290513">
              <a:lnSpc>
                <a:spcPct val="90000"/>
              </a:lnSpc>
              <a:spcBef>
                <a:spcPct val="15000"/>
              </a:spcBef>
              <a:spcAft>
                <a:spcPct val="15000"/>
              </a:spcAft>
              <a:buClrTx/>
            </a:pPr>
            <a:r>
              <a:rPr lang="cs-CZ" sz="2000" dirty="0" smtClean="0">
                <a:latin typeface="Verdana" pitchFamily="34" charset="0"/>
              </a:rPr>
              <a:t>Klíčovým prvkem bude i možnost akumulace (skladování) elektřiny:</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Za přijatelných nákladů (investičních i provozních)</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Na různých napěťových hladinách</a:t>
            </a:r>
          </a:p>
          <a:p>
            <a:pPr marL="1296988" lvl="1" indent="-339725" defTabSz="290513">
              <a:lnSpc>
                <a:spcPct val="90000"/>
              </a:lnSpc>
              <a:spcBef>
                <a:spcPct val="15000"/>
              </a:spcBef>
              <a:spcAft>
                <a:spcPct val="15000"/>
              </a:spcAft>
              <a:buClrTx/>
              <a:buFont typeface="Wingdings" pitchFamily="2" charset="2"/>
              <a:buChar char="§"/>
            </a:pPr>
            <a:r>
              <a:rPr lang="cs-CZ" sz="1800" dirty="0" smtClean="0">
                <a:latin typeface="Verdana" pitchFamily="34" charset="0"/>
              </a:rPr>
              <a:t>Musí být respektována i pravidla bezpečnosti</a:t>
            </a:r>
            <a:endParaRPr lang="en-US" sz="1800" dirty="0">
              <a:latin typeface="Verdana" pitchFamily="34" charset="0"/>
            </a:endParaRPr>
          </a:p>
        </p:txBody>
      </p:sp>
      <p:sp>
        <p:nvSpPr>
          <p:cNvPr id="24580" name="Text Box 5"/>
          <p:cNvSpPr txBox="1">
            <a:spLocks noChangeArrowheads="1"/>
          </p:cNvSpPr>
          <p:nvPr/>
        </p:nvSpPr>
        <p:spPr bwMode="auto">
          <a:xfrm>
            <a:off x="4403725" y="6613525"/>
            <a:ext cx="320675" cy="225425"/>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900113" eaLnBrk="0" hangingPunct="0">
              <a:tabLst>
                <a:tab pos="8001000" algn="l"/>
              </a:tabLst>
              <a:defRPr sz="2400">
                <a:solidFill>
                  <a:schemeClr val="tx1"/>
                </a:solidFill>
                <a:latin typeface="Tahoma" pitchFamily="34" charset="0"/>
                <a:cs typeface="Arial" pitchFamily="34" charset="0"/>
              </a:defRPr>
            </a:lvl1pPr>
            <a:lvl2pPr marL="742950" indent="-285750" defTabSz="900113" eaLnBrk="0" hangingPunct="0">
              <a:tabLst>
                <a:tab pos="8001000" algn="l"/>
              </a:tabLst>
              <a:defRPr sz="2400">
                <a:solidFill>
                  <a:schemeClr val="tx1"/>
                </a:solidFill>
                <a:latin typeface="Tahoma" pitchFamily="34" charset="0"/>
                <a:cs typeface="Arial" pitchFamily="34" charset="0"/>
              </a:defRPr>
            </a:lvl2pPr>
            <a:lvl3pPr marL="1143000" indent="-228600" defTabSz="900113" eaLnBrk="0" hangingPunct="0">
              <a:tabLst>
                <a:tab pos="8001000" algn="l"/>
              </a:tabLst>
              <a:defRPr sz="2400">
                <a:solidFill>
                  <a:schemeClr val="tx1"/>
                </a:solidFill>
                <a:latin typeface="Tahoma" pitchFamily="34" charset="0"/>
                <a:cs typeface="Arial" pitchFamily="34" charset="0"/>
              </a:defRPr>
            </a:lvl3pPr>
            <a:lvl4pPr marL="1600200" indent="-228600" defTabSz="900113" eaLnBrk="0" hangingPunct="0">
              <a:tabLst>
                <a:tab pos="8001000" algn="l"/>
              </a:tabLst>
              <a:defRPr sz="2400">
                <a:solidFill>
                  <a:schemeClr val="tx1"/>
                </a:solidFill>
                <a:latin typeface="Tahoma" pitchFamily="34" charset="0"/>
                <a:cs typeface="Arial" pitchFamily="34" charset="0"/>
              </a:defRPr>
            </a:lvl4pPr>
            <a:lvl5pPr marL="2057400" indent="-228600" defTabSz="900113" eaLnBrk="0" hangingPunct="0">
              <a:tabLst>
                <a:tab pos="8001000" algn="l"/>
              </a:tabLst>
              <a:defRPr sz="2400">
                <a:solidFill>
                  <a:schemeClr val="tx1"/>
                </a:solidFill>
                <a:latin typeface="Tahoma" pitchFamily="34" charset="0"/>
                <a:cs typeface="Arial" pitchFamily="34" charset="0"/>
              </a:defRPr>
            </a:lvl5pPr>
            <a:lvl6pPr marL="2514600" indent="-228600" defTabSz="900113" eaLnBrk="0" fontAlgn="base" hangingPunct="0">
              <a:spcBef>
                <a:spcPct val="0"/>
              </a:spcBef>
              <a:spcAft>
                <a:spcPct val="0"/>
              </a:spcAft>
              <a:tabLst>
                <a:tab pos="8001000" algn="l"/>
              </a:tabLst>
              <a:defRPr sz="2400">
                <a:solidFill>
                  <a:schemeClr val="tx1"/>
                </a:solidFill>
                <a:latin typeface="Tahoma" pitchFamily="34" charset="0"/>
                <a:cs typeface="Arial" pitchFamily="34" charset="0"/>
              </a:defRPr>
            </a:lvl6pPr>
            <a:lvl7pPr marL="2971800" indent="-228600" defTabSz="900113" eaLnBrk="0" fontAlgn="base" hangingPunct="0">
              <a:spcBef>
                <a:spcPct val="0"/>
              </a:spcBef>
              <a:spcAft>
                <a:spcPct val="0"/>
              </a:spcAft>
              <a:tabLst>
                <a:tab pos="8001000" algn="l"/>
              </a:tabLst>
              <a:defRPr sz="2400">
                <a:solidFill>
                  <a:schemeClr val="tx1"/>
                </a:solidFill>
                <a:latin typeface="Tahoma" pitchFamily="34" charset="0"/>
                <a:cs typeface="Arial" pitchFamily="34" charset="0"/>
              </a:defRPr>
            </a:lvl7pPr>
            <a:lvl8pPr marL="3429000" indent="-228600" defTabSz="900113" eaLnBrk="0" fontAlgn="base" hangingPunct="0">
              <a:spcBef>
                <a:spcPct val="0"/>
              </a:spcBef>
              <a:spcAft>
                <a:spcPct val="0"/>
              </a:spcAft>
              <a:tabLst>
                <a:tab pos="8001000" algn="l"/>
              </a:tabLst>
              <a:defRPr sz="2400">
                <a:solidFill>
                  <a:schemeClr val="tx1"/>
                </a:solidFill>
                <a:latin typeface="Tahoma" pitchFamily="34" charset="0"/>
                <a:cs typeface="Arial" pitchFamily="34" charset="0"/>
              </a:defRPr>
            </a:lvl8pPr>
            <a:lvl9pPr marL="3886200" indent="-228600" defTabSz="900113" eaLnBrk="0" fontAlgn="base" hangingPunct="0">
              <a:spcBef>
                <a:spcPct val="0"/>
              </a:spcBef>
              <a:spcAft>
                <a:spcPct val="0"/>
              </a:spcAft>
              <a:tabLst>
                <a:tab pos="8001000" algn="l"/>
              </a:tabLst>
              <a:defRPr sz="2400">
                <a:solidFill>
                  <a:schemeClr val="tx1"/>
                </a:solidFill>
                <a:latin typeface="Tahoma" pitchFamily="34" charset="0"/>
                <a:cs typeface="Arial" pitchFamily="34" charset="0"/>
              </a:defRPr>
            </a:lvl9pPr>
          </a:lstStyle>
          <a:p>
            <a:pPr algn="ctr">
              <a:lnSpc>
                <a:spcPct val="90000"/>
              </a:lnSpc>
            </a:pPr>
            <a:fld id="{6F3AA1BD-5E45-4178-9BE5-8456879CAA24}" type="slidenum">
              <a:rPr lang="cs-CZ" sz="1000">
                <a:solidFill>
                  <a:schemeClr val="bg1"/>
                </a:solidFill>
                <a:latin typeface="Arial" pitchFamily="34" charset="0"/>
              </a:rPr>
              <a:pPr algn="ctr">
                <a:lnSpc>
                  <a:spcPct val="90000"/>
                </a:lnSpc>
              </a:pPr>
              <a:t>65</a:t>
            </a:fld>
            <a:endParaRPr lang="cs-CZ" sz="1000" dirty="0">
              <a:solidFill>
                <a:schemeClr val="bg1"/>
              </a:solidFill>
              <a:latin typeface="Arial" pitchFamily="34" charset="0"/>
            </a:endParaRPr>
          </a:p>
        </p:txBody>
      </p:sp>
      <p:pic>
        <p:nvPicPr>
          <p:cNvPr id="4100" name="Picture 4" descr="C:\Users\por06\AppData\Local\Microsoft\Windows\Temporary Internet Files\Content.IE5\FW5JSZ8A\MP900145813[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07296" y="5358991"/>
            <a:ext cx="1900808" cy="1254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19721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1204">
                                            <p:txEl>
                                              <p:pRg st="0" end="0"/>
                                            </p:txEl>
                                          </p:spTgt>
                                        </p:tgtEl>
                                        <p:attrNameLst>
                                          <p:attrName>style.visibility</p:attrName>
                                        </p:attrNameLst>
                                      </p:cBhvr>
                                      <p:to>
                                        <p:strVal val="visible"/>
                                      </p:to>
                                    </p:set>
                                    <p:anim calcmode="lin" valueType="num">
                                      <p:cBhvr additive="base">
                                        <p:cTn id="7" dur="1000" fill="hold"/>
                                        <p:tgtEl>
                                          <p:spTgt spid="51204">
                                            <p:txEl>
                                              <p:pRg st="0" end="0"/>
                                            </p:tx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51204">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1204">
                                            <p:txEl>
                                              <p:pRg st="1" end="1"/>
                                            </p:txEl>
                                          </p:spTgt>
                                        </p:tgtEl>
                                        <p:attrNameLst>
                                          <p:attrName>style.visibility</p:attrName>
                                        </p:attrNameLst>
                                      </p:cBhvr>
                                      <p:to>
                                        <p:strVal val="visible"/>
                                      </p:to>
                                    </p:set>
                                    <p:anim calcmode="lin" valueType="num">
                                      <p:cBhvr additive="base">
                                        <p:cTn id="13" dur="1000" fill="hold"/>
                                        <p:tgtEl>
                                          <p:spTgt spid="51204">
                                            <p:txEl>
                                              <p:pRg st="1" end="1"/>
                                            </p:txEl>
                                          </p:spTgt>
                                        </p:tgtEl>
                                        <p:attrNameLst>
                                          <p:attrName>ppt_x</p:attrName>
                                        </p:attrNameLst>
                                      </p:cBhvr>
                                      <p:tavLst>
                                        <p:tav tm="0">
                                          <p:val>
                                            <p:strVal val="0-#ppt_w/2"/>
                                          </p:val>
                                        </p:tav>
                                        <p:tav tm="100000">
                                          <p:val>
                                            <p:strVal val="#ppt_x"/>
                                          </p:val>
                                        </p:tav>
                                      </p:tavLst>
                                    </p:anim>
                                    <p:anim calcmode="lin" valueType="num">
                                      <p:cBhvr additive="base">
                                        <p:cTn id="14" dur="1000" fill="hold"/>
                                        <p:tgtEl>
                                          <p:spTgt spid="51204">
                                            <p:txEl>
                                              <p:pRg st="1" end="1"/>
                                            </p:txEl>
                                          </p:spTgt>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51204">
                                            <p:txEl>
                                              <p:pRg st="2" end="2"/>
                                            </p:txEl>
                                          </p:spTgt>
                                        </p:tgtEl>
                                        <p:attrNameLst>
                                          <p:attrName>style.visibility</p:attrName>
                                        </p:attrNameLst>
                                      </p:cBhvr>
                                      <p:to>
                                        <p:strVal val="visible"/>
                                      </p:to>
                                    </p:set>
                                    <p:anim calcmode="lin" valueType="num">
                                      <p:cBhvr additive="base">
                                        <p:cTn id="17" dur="1000" fill="hold"/>
                                        <p:tgtEl>
                                          <p:spTgt spid="51204">
                                            <p:txEl>
                                              <p:pRg st="2" end="2"/>
                                            </p:txEl>
                                          </p:spTgt>
                                        </p:tgtEl>
                                        <p:attrNameLst>
                                          <p:attrName>ppt_x</p:attrName>
                                        </p:attrNameLst>
                                      </p:cBhvr>
                                      <p:tavLst>
                                        <p:tav tm="0">
                                          <p:val>
                                            <p:strVal val="0-#ppt_w/2"/>
                                          </p:val>
                                        </p:tav>
                                        <p:tav tm="100000">
                                          <p:val>
                                            <p:strVal val="#ppt_x"/>
                                          </p:val>
                                        </p:tav>
                                      </p:tavLst>
                                    </p:anim>
                                    <p:anim calcmode="lin" valueType="num">
                                      <p:cBhvr additive="base">
                                        <p:cTn id="18" dur="1000" fill="hold"/>
                                        <p:tgtEl>
                                          <p:spTgt spid="51204">
                                            <p:txEl>
                                              <p:pRg st="2" end="2"/>
                                            </p:txEl>
                                          </p:spTgt>
                                        </p:tgtEl>
                                        <p:attrNameLst>
                                          <p:attrName>ppt_y</p:attrName>
                                        </p:attrNameLst>
                                      </p:cBhvr>
                                      <p:tavLst>
                                        <p:tav tm="0">
                                          <p:val>
                                            <p:strVal val="#ppt_y"/>
                                          </p:val>
                                        </p:tav>
                                        <p:tav tm="100000">
                                          <p:val>
                                            <p:strVal val="#ppt_y"/>
                                          </p:val>
                                        </p:tav>
                                      </p:tavLst>
                                    </p:anim>
                                  </p:childTnLst>
                                </p:cTn>
                              </p:par>
                              <p:par>
                                <p:cTn id="19" presetID="2" presetClass="entr" presetSubtype="8" fill="hold" grpId="0" nodeType="withEffect">
                                  <p:stCondLst>
                                    <p:cond delay="0"/>
                                  </p:stCondLst>
                                  <p:childTnLst>
                                    <p:set>
                                      <p:cBhvr>
                                        <p:cTn id="20" dur="1" fill="hold">
                                          <p:stCondLst>
                                            <p:cond delay="0"/>
                                          </p:stCondLst>
                                        </p:cTn>
                                        <p:tgtEl>
                                          <p:spTgt spid="51204">
                                            <p:txEl>
                                              <p:pRg st="3" end="3"/>
                                            </p:txEl>
                                          </p:spTgt>
                                        </p:tgtEl>
                                        <p:attrNameLst>
                                          <p:attrName>style.visibility</p:attrName>
                                        </p:attrNameLst>
                                      </p:cBhvr>
                                      <p:to>
                                        <p:strVal val="visible"/>
                                      </p:to>
                                    </p:set>
                                    <p:anim calcmode="lin" valueType="num">
                                      <p:cBhvr additive="base">
                                        <p:cTn id="21" dur="1000" fill="hold"/>
                                        <p:tgtEl>
                                          <p:spTgt spid="51204">
                                            <p:txEl>
                                              <p:pRg st="3" end="3"/>
                                            </p:txEl>
                                          </p:spTgt>
                                        </p:tgtEl>
                                        <p:attrNameLst>
                                          <p:attrName>ppt_x</p:attrName>
                                        </p:attrNameLst>
                                      </p:cBhvr>
                                      <p:tavLst>
                                        <p:tav tm="0">
                                          <p:val>
                                            <p:strVal val="0-#ppt_w/2"/>
                                          </p:val>
                                        </p:tav>
                                        <p:tav tm="100000">
                                          <p:val>
                                            <p:strVal val="#ppt_x"/>
                                          </p:val>
                                        </p:tav>
                                      </p:tavLst>
                                    </p:anim>
                                    <p:anim calcmode="lin" valueType="num">
                                      <p:cBhvr additive="base">
                                        <p:cTn id="22" dur="1000" fill="hold"/>
                                        <p:tgtEl>
                                          <p:spTgt spid="51204">
                                            <p:txEl>
                                              <p:pRg st="3" end="3"/>
                                            </p:txEl>
                                          </p:spTgt>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51204">
                                            <p:txEl>
                                              <p:pRg st="4" end="4"/>
                                            </p:txEl>
                                          </p:spTgt>
                                        </p:tgtEl>
                                        <p:attrNameLst>
                                          <p:attrName>style.visibility</p:attrName>
                                        </p:attrNameLst>
                                      </p:cBhvr>
                                      <p:to>
                                        <p:strVal val="visible"/>
                                      </p:to>
                                    </p:set>
                                    <p:anim calcmode="lin" valueType="num">
                                      <p:cBhvr additive="base">
                                        <p:cTn id="25" dur="1000" fill="hold"/>
                                        <p:tgtEl>
                                          <p:spTgt spid="51204">
                                            <p:txEl>
                                              <p:pRg st="4" end="4"/>
                                            </p:txEl>
                                          </p:spTgt>
                                        </p:tgtEl>
                                        <p:attrNameLst>
                                          <p:attrName>ppt_x</p:attrName>
                                        </p:attrNameLst>
                                      </p:cBhvr>
                                      <p:tavLst>
                                        <p:tav tm="0">
                                          <p:val>
                                            <p:strVal val="0-#ppt_w/2"/>
                                          </p:val>
                                        </p:tav>
                                        <p:tav tm="100000">
                                          <p:val>
                                            <p:strVal val="#ppt_x"/>
                                          </p:val>
                                        </p:tav>
                                      </p:tavLst>
                                    </p:anim>
                                    <p:anim calcmode="lin" valueType="num">
                                      <p:cBhvr additive="base">
                                        <p:cTn id="26" dur="1000" fill="hold"/>
                                        <p:tgtEl>
                                          <p:spTgt spid="51204">
                                            <p:txEl>
                                              <p:pRg st="4" end="4"/>
                                            </p:txEl>
                                          </p:spTgt>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51204">
                                            <p:txEl>
                                              <p:pRg st="5" end="5"/>
                                            </p:txEl>
                                          </p:spTgt>
                                        </p:tgtEl>
                                        <p:attrNameLst>
                                          <p:attrName>style.visibility</p:attrName>
                                        </p:attrNameLst>
                                      </p:cBhvr>
                                      <p:to>
                                        <p:strVal val="visible"/>
                                      </p:to>
                                    </p:set>
                                    <p:anim calcmode="lin" valueType="num">
                                      <p:cBhvr additive="base">
                                        <p:cTn id="29" dur="1000" fill="hold"/>
                                        <p:tgtEl>
                                          <p:spTgt spid="51204">
                                            <p:txEl>
                                              <p:pRg st="5" end="5"/>
                                            </p:txEl>
                                          </p:spTgt>
                                        </p:tgtEl>
                                        <p:attrNameLst>
                                          <p:attrName>ppt_x</p:attrName>
                                        </p:attrNameLst>
                                      </p:cBhvr>
                                      <p:tavLst>
                                        <p:tav tm="0">
                                          <p:val>
                                            <p:strVal val="0-#ppt_w/2"/>
                                          </p:val>
                                        </p:tav>
                                        <p:tav tm="100000">
                                          <p:val>
                                            <p:strVal val="#ppt_x"/>
                                          </p:val>
                                        </p:tav>
                                      </p:tavLst>
                                    </p:anim>
                                    <p:anim calcmode="lin" valueType="num">
                                      <p:cBhvr additive="base">
                                        <p:cTn id="30" dur="1000" fill="hold"/>
                                        <p:tgtEl>
                                          <p:spTgt spid="51204">
                                            <p:txEl>
                                              <p:pRg st="5" end="5"/>
                                            </p:txEl>
                                          </p:spTgt>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fill="hold" grpId="0" nodeType="clickEffect">
                                  <p:stCondLst>
                                    <p:cond delay="0"/>
                                  </p:stCondLst>
                                  <p:childTnLst>
                                    <p:set>
                                      <p:cBhvr>
                                        <p:cTn id="34" dur="1" fill="hold">
                                          <p:stCondLst>
                                            <p:cond delay="0"/>
                                          </p:stCondLst>
                                        </p:cTn>
                                        <p:tgtEl>
                                          <p:spTgt spid="51204">
                                            <p:txEl>
                                              <p:pRg st="6" end="6"/>
                                            </p:txEl>
                                          </p:spTgt>
                                        </p:tgtEl>
                                        <p:attrNameLst>
                                          <p:attrName>style.visibility</p:attrName>
                                        </p:attrNameLst>
                                      </p:cBhvr>
                                      <p:to>
                                        <p:strVal val="visible"/>
                                      </p:to>
                                    </p:set>
                                    <p:anim calcmode="lin" valueType="num">
                                      <p:cBhvr additive="base">
                                        <p:cTn id="35" dur="1000" fill="hold"/>
                                        <p:tgtEl>
                                          <p:spTgt spid="51204">
                                            <p:txEl>
                                              <p:pRg st="6" end="6"/>
                                            </p:txEl>
                                          </p:spTgt>
                                        </p:tgtEl>
                                        <p:attrNameLst>
                                          <p:attrName>ppt_x</p:attrName>
                                        </p:attrNameLst>
                                      </p:cBhvr>
                                      <p:tavLst>
                                        <p:tav tm="0">
                                          <p:val>
                                            <p:strVal val="0-#ppt_w/2"/>
                                          </p:val>
                                        </p:tav>
                                        <p:tav tm="100000">
                                          <p:val>
                                            <p:strVal val="#ppt_x"/>
                                          </p:val>
                                        </p:tav>
                                      </p:tavLst>
                                    </p:anim>
                                    <p:anim calcmode="lin" valueType="num">
                                      <p:cBhvr additive="base">
                                        <p:cTn id="36" dur="1000" fill="hold"/>
                                        <p:tgtEl>
                                          <p:spTgt spid="51204">
                                            <p:txEl>
                                              <p:pRg st="6" end="6"/>
                                            </p:txEl>
                                          </p:spTgt>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0"/>
                                  </p:stCondLst>
                                  <p:childTnLst>
                                    <p:set>
                                      <p:cBhvr>
                                        <p:cTn id="38" dur="1" fill="hold">
                                          <p:stCondLst>
                                            <p:cond delay="0"/>
                                          </p:stCondLst>
                                        </p:cTn>
                                        <p:tgtEl>
                                          <p:spTgt spid="51204">
                                            <p:txEl>
                                              <p:pRg st="7" end="7"/>
                                            </p:txEl>
                                          </p:spTgt>
                                        </p:tgtEl>
                                        <p:attrNameLst>
                                          <p:attrName>style.visibility</p:attrName>
                                        </p:attrNameLst>
                                      </p:cBhvr>
                                      <p:to>
                                        <p:strVal val="visible"/>
                                      </p:to>
                                    </p:set>
                                    <p:anim calcmode="lin" valueType="num">
                                      <p:cBhvr additive="base">
                                        <p:cTn id="39" dur="1000" fill="hold"/>
                                        <p:tgtEl>
                                          <p:spTgt spid="51204">
                                            <p:txEl>
                                              <p:pRg st="7" end="7"/>
                                            </p:txEl>
                                          </p:spTgt>
                                        </p:tgtEl>
                                        <p:attrNameLst>
                                          <p:attrName>ppt_x</p:attrName>
                                        </p:attrNameLst>
                                      </p:cBhvr>
                                      <p:tavLst>
                                        <p:tav tm="0">
                                          <p:val>
                                            <p:strVal val="0-#ppt_w/2"/>
                                          </p:val>
                                        </p:tav>
                                        <p:tav tm="100000">
                                          <p:val>
                                            <p:strVal val="#ppt_x"/>
                                          </p:val>
                                        </p:tav>
                                      </p:tavLst>
                                    </p:anim>
                                    <p:anim calcmode="lin" valueType="num">
                                      <p:cBhvr additive="base">
                                        <p:cTn id="40" dur="1000" fill="hold"/>
                                        <p:tgtEl>
                                          <p:spTgt spid="51204">
                                            <p:txEl>
                                              <p:pRg st="7" end="7"/>
                                            </p:txEl>
                                          </p:spTgt>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0"/>
                                  </p:stCondLst>
                                  <p:childTnLst>
                                    <p:set>
                                      <p:cBhvr>
                                        <p:cTn id="42" dur="1" fill="hold">
                                          <p:stCondLst>
                                            <p:cond delay="0"/>
                                          </p:stCondLst>
                                        </p:cTn>
                                        <p:tgtEl>
                                          <p:spTgt spid="51204">
                                            <p:txEl>
                                              <p:pRg st="8" end="8"/>
                                            </p:txEl>
                                          </p:spTgt>
                                        </p:tgtEl>
                                        <p:attrNameLst>
                                          <p:attrName>style.visibility</p:attrName>
                                        </p:attrNameLst>
                                      </p:cBhvr>
                                      <p:to>
                                        <p:strVal val="visible"/>
                                      </p:to>
                                    </p:set>
                                    <p:anim calcmode="lin" valueType="num">
                                      <p:cBhvr additive="base">
                                        <p:cTn id="43" dur="1000" fill="hold"/>
                                        <p:tgtEl>
                                          <p:spTgt spid="51204">
                                            <p:txEl>
                                              <p:pRg st="8" end="8"/>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51204">
                                            <p:txEl>
                                              <p:pRg st="8" end="8"/>
                                            </p:txEl>
                                          </p:spTgt>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51204">
                                            <p:txEl>
                                              <p:pRg st="9" end="9"/>
                                            </p:txEl>
                                          </p:spTgt>
                                        </p:tgtEl>
                                        <p:attrNameLst>
                                          <p:attrName>style.visibility</p:attrName>
                                        </p:attrNameLst>
                                      </p:cBhvr>
                                      <p:to>
                                        <p:strVal val="visible"/>
                                      </p:to>
                                    </p:set>
                                    <p:anim calcmode="lin" valueType="num">
                                      <p:cBhvr additive="base">
                                        <p:cTn id="47" dur="1000" fill="hold"/>
                                        <p:tgtEl>
                                          <p:spTgt spid="51204">
                                            <p:txEl>
                                              <p:pRg st="9" end="9"/>
                                            </p:txEl>
                                          </p:spTgt>
                                        </p:tgtEl>
                                        <p:attrNameLst>
                                          <p:attrName>ppt_x</p:attrName>
                                        </p:attrNameLst>
                                      </p:cBhvr>
                                      <p:tavLst>
                                        <p:tav tm="0">
                                          <p:val>
                                            <p:strVal val="0-#ppt_w/2"/>
                                          </p:val>
                                        </p:tav>
                                        <p:tav tm="100000">
                                          <p:val>
                                            <p:strVal val="#ppt_x"/>
                                          </p:val>
                                        </p:tav>
                                      </p:tavLst>
                                    </p:anim>
                                    <p:anim calcmode="lin" valueType="num">
                                      <p:cBhvr additive="base">
                                        <p:cTn id="48" dur="1000" fill="hold"/>
                                        <p:tgtEl>
                                          <p:spTgt spid="51204">
                                            <p:txEl>
                                              <p:pRg st="9" end="9"/>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204" grpId="0" build="p"/>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idx="1"/>
          </p:nvPr>
        </p:nvSpPr>
        <p:spPr>
          <a:xfrm>
            <a:off x="611560" y="1412776"/>
            <a:ext cx="8075240" cy="3744417"/>
          </a:xfrm>
        </p:spPr>
        <p:txBody>
          <a:bodyPr>
            <a:normAutofit fontScale="85000" lnSpcReduction="20000"/>
          </a:bodyPr>
          <a:lstStyle/>
          <a:p>
            <a:r>
              <a:rPr lang="cs-CZ" dirty="0" smtClean="0"/>
              <a:t>Po dekádě změn v SW (liberalizace, integrace) přichází dekáda transformace HW energetiky</a:t>
            </a:r>
          </a:p>
          <a:p>
            <a:pPr lvl="1"/>
            <a:r>
              <a:rPr lang="cs-CZ" dirty="0" smtClean="0"/>
              <a:t>Obnova výrobních zdrojů se změnou struktury</a:t>
            </a:r>
          </a:p>
          <a:p>
            <a:pPr lvl="1"/>
            <a:r>
              <a:rPr lang="cs-CZ" dirty="0" smtClean="0"/>
              <a:t>Obnova a rozvoj infrastruktury</a:t>
            </a:r>
          </a:p>
          <a:p>
            <a:r>
              <a:rPr lang="cs-CZ" dirty="0" smtClean="0"/>
              <a:t>Vysoké náklady</a:t>
            </a:r>
          </a:p>
          <a:p>
            <a:pPr lvl="1"/>
            <a:r>
              <a:rPr lang="cs-CZ" dirty="0" smtClean="0"/>
              <a:t>Infrastruktura 150 až 200 mld. Kč</a:t>
            </a:r>
          </a:p>
          <a:p>
            <a:pPr lvl="1"/>
            <a:r>
              <a:rPr lang="cs-CZ" dirty="0" smtClean="0"/>
              <a:t>Obnova a transformace zdrojů (400 až 500 mld. Kč)</a:t>
            </a:r>
          </a:p>
          <a:p>
            <a:r>
              <a:rPr lang="cs-CZ" dirty="0" smtClean="0"/>
              <a:t>Vysoká míra nejistot  vnějšího vývoje</a:t>
            </a:r>
          </a:p>
          <a:p>
            <a:pPr lvl="1"/>
            <a:r>
              <a:rPr lang="cs-CZ" dirty="0" smtClean="0"/>
              <a:t>Jasná a stabilní státní politika (SEK a politika)</a:t>
            </a:r>
          </a:p>
          <a:p>
            <a:pPr lvl="1"/>
            <a:r>
              <a:rPr lang="cs-CZ" dirty="0" smtClean="0"/>
              <a:t>Dostatečná míra garancí  vývoje (nástroje státu)</a:t>
            </a:r>
          </a:p>
          <a:p>
            <a:pPr lvl="1"/>
            <a:r>
              <a:rPr lang="cs-CZ" dirty="0" smtClean="0"/>
              <a:t>Aktivní působení v EU (vytváření aliancí, jasný postoj) </a:t>
            </a:r>
            <a:endParaRPr lang="cs-CZ" dirty="0"/>
          </a:p>
        </p:txBody>
      </p:sp>
      <p:sp>
        <p:nvSpPr>
          <p:cNvPr id="2" name="Nadpis 1"/>
          <p:cNvSpPr>
            <a:spLocks noGrp="1"/>
          </p:cNvSpPr>
          <p:nvPr>
            <p:ph type="title"/>
          </p:nvPr>
        </p:nvSpPr>
        <p:spPr/>
        <p:txBody>
          <a:bodyPr/>
          <a:lstStyle/>
          <a:p>
            <a:r>
              <a:rPr lang="cs-CZ" dirty="0"/>
              <a:t>Závěr</a:t>
            </a:r>
          </a:p>
        </p:txBody>
      </p:sp>
      <p:pic>
        <p:nvPicPr>
          <p:cNvPr id="4" name="Picture 12" descr="monju_frdb"/>
          <p:cNvPicPr>
            <a:picLocks noChangeAspect="1" noChangeArrowheads="1"/>
          </p:cNvPicPr>
          <p:nvPr/>
        </p:nvPicPr>
        <p:blipFill>
          <a:blip r:embed="rId2" cstate="print"/>
          <a:srcRect/>
          <a:stretch>
            <a:fillRect/>
          </a:stretch>
        </p:blipFill>
        <p:spPr bwMode="auto">
          <a:xfrm>
            <a:off x="1256035" y="5049360"/>
            <a:ext cx="2159512" cy="1620000"/>
          </a:xfrm>
          <a:prstGeom prst="rect">
            <a:avLst/>
          </a:prstGeom>
          <a:noFill/>
          <a:ln w="9525">
            <a:noFill/>
            <a:miter lim="800000"/>
            <a:headEnd/>
            <a:tailEnd/>
          </a:ln>
          <a:effectLst>
            <a:softEdge rad="63500"/>
          </a:effectLst>
        </p:spPr>
      </p:pic>
      <p:pic>
        <p:nvPicPr>
          <p:cNvPr id="5" name="Picture 6" descr="edu letecky2"/>
          <p:cNvPicPr>
            <a:picLocks noChangeArrowheads="1"/>
          </p:cNvPicPr>
          <p:nvPr/>
        </p:nvPicPr>
        <p:blipFill>
          <a:blip r:embed="rId3" cstate="print">
            <a:extLst>
              <a:ext uri="{28A0092B-C50C-407E-A947-70E740481C1C}">
                <a14:useLocalDpi xmlns:a14="http://schemas.microsoft.com/office/drawing/2010/main" val="0"/>
              </a:ext>
            </a:extLst>
          </a:blip>
          <a:srcRect l="2147" r="14629"/>
          <a:stretch>
            <a:fillRect/>
          </a:stretch>
        </p:blipFill>
        <p:spPr bwMode="auto">
          <a:xfrm>
            <a:off x="4947946" y="5049360"/>
            <a:ext cx="3080438" cy="1620000"/>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36940" y="5049360"/>
            <a:ext cx="1078198" cy="1620000"/>
          </a:xfrm>
          <a:prstGeom prst="rect">
            <a:avLst/>
          </a:prstGeom>
          <a:noFill/>
          <a:ln>
            <a:noFill/>
          </a:ln>
          <a:effectLst>
            <a:outerShdw dist="35921" dir="2700000" algn="ctr" rotWithShape="0">
              <a:schemeClr val="bg2"/>
            </a:outerShdw>
            <a:softEdge rad="63500"/>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3880540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3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symbol pro obsah 5"/>
          <p:cNvSpPr>
            <a:spLocks noGrp="1"/>
          </p:cNvSpPr>
          <p:nvPr>
            <p:ph idx="1"/>
          </p:nvPr>
        </p:nvSpPr>
        <p:spPr>
          <a:xfrm>
            <a:off x="1784733" y="2109621"/>
            <a:ext cx="5618602" cy="622589"/>
          </a:xfrm>
        </p:spPr>
        <p:txBody>
          <a:bodyPr>
            <a:normAutofit lnSpcReduction="10000"/>
          </a:bodyPr>
          <a:lstStyle/>
          <a:p>
            <a:pPr marL="0" indent="0">
              <a:buNone/>
            </a:pPr>
            <a:r>
              <a:rPr lang="cs-CZ" sz="3600" b="1" dirty="0" smtClean="0">
                <a:solidFill>
                  <a:srgbClr val="FF0000"/>
                </a:solidFill>
                <a:effectLst>
                  <a:outerShdw blurRad="38100" dist="38100" dir="2700000" algn="tl">
                    <a:srgbClr val="000000">
                      <a:alpha val="43137"/>
                    </a:srgbClr>
                  </a:outerShdw>
                </a:effectLst>
                <a:latin typeface="Comic Sans MS" pitchFamily="66" charset="0"/>
              </a:rPr>
              <a:t>Děkuji Vám za pozornost</a:t>
            </a:r>
            <a:endParaRPr lang="cs-CZ" sz="3600" b="1" dirty="0">
              <a:solidFill>
                <a:srgbClr val="FF0000"/>
              </a:solidFill>
              <a:effectLst>
                <a:outerShdw blurRad="38100" dist="38100" dir="2700000" algn="tl">
                  <a:srgbClr val="000000">
                    <a:alpha val="43137"/>
                  </a:srgbClr>
                </a:outerShdw>
              </a:effectLst>
              <a:latin typeface="Comic Sans MS" pitchFamily="66" charset="0"/>
            </a:endParaRPr>
          </a:p>
        </p:txBody>
      </p:sp>
      <p:pic>
        <p:nvPicPr>
          <p:cNvPr id="8" name="Picture 2087" descr="D:\moje\Dagmar\Granty\MSMT\Velký projekt\_pomoc-běh\Negoc\final\loga\logo.gif"/>
          <p:cNvPicPr>
            <a:picLocks noChangeAspect="1" noChangeArrowheads="1" noCrop="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84010" y="3248813"/>
            <a:ext cx="2633198" cy="1973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476784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ctrTitle"/>
          </p:nvPr>
        </p:nvSpPr>
        <p:spPr>
          <a:xfrm>
            <a:off x="936171" y="2383506"/>
            <a:ext cx="6117772" cy="1390650"/>
          </a:xfrm>
        </p:spPr>
        <p:txBody>
          <a:bodyPr/>
          <a:lstStyle/>
          <a:p>
            <a:pPr algn="l"/>
            <a:r>
              <a:rPr lang="cs-CZ" sz="4400" dirty="0" smtClean="0"/>
              <a:t>Doplňující oblasti a komentáře</a:t>
            </a:r>
            <a:endParaRPr lang="cs-CZ" sz="4400" dirty="0"/>
          </a:p>
        </p:txBody>
      </p:sp>
      <p:sp>
        <p:nvSpPr>
          <p:cNvPr id="4" name="Zástupný symbol pro text 3"/>
          <p:cNvSpPr>
            <a:spLocks noGrp="1"/>
          </p:cNvSpPr>
          <p:nvPr>
            <p:ph type="body" sz="quarter" idx="13"/>
          </p:nvPr>
        </p:nvSpPr>
        <p:spPr/>
        <p:txBody>
          <a:bodyPr/>
          <a:lstStyle/>
          <a:p>
            <a:r>
              <a:rPr lang="cs-CZ" dirty="0" smtClean="0"/>
              <a:t>7</a:t>
            </a:r>
            <a:endParaRPr lang="cs-CZ" dirty="0"/>
          </a:p>
        </p:txBody>
      </p:sp>
      <p:sp>
        <p:nvSpPr>
          <p:cNvPr id="5" name="Zástupný symbol pro číslo snímku 4"/>
          <p:cNvSpPr>
            <a:spLocks noGrp="1"/>
          </p:cNvSpPr>
          <p:nvPr>
            <p:ph type="sldNum" sz="quarter" idx="14"/>
          </p:nvPr>
        </p:nvSpPr>
        <p:spPr/>
        <p:txBody>
          <a:bodyPr/>
          <a:lstStyle/>
          <a:p>
            <a:pPr>
              <a:defRPr/>
            </a:pPr>
            <a:fld id="{2EB74E38-B7CA-4A1D-907E-9B5C98AB8E61}" type="slidenum">
              <a:rPr lang="cs-CZ" smtClean="0"/>
              <a:pPr>
                <a:defRPr/>
              </a:pPr>
              <a:t>68</a:t>
            </a:fld>
            <a:endParaRPr lang="cs-CZ"/>
          </a:p>
        </p:txBody>
      </p:sp>
    </p:spTree>
    <p:extLst>
      <p:ext uri="{BB962C8B-B14F-4D97-AF65-F5344CB8AC3E}">
        <p14:creationId xmlns:p14="http://schemas.microsoft.com/office/powerpoint/2010/main" val="411366655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5" descr="Endlager Gorleben stopp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096000" cy="406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 name="Picture 8" descr="O_1000_680_680_2wug52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4888" y="0"/>
            <a:ext cx="3059112" cy="450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 name="Picture 12" descr="2540042424447952_BLD_Onli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130675"/>
            <a:ext cx="4067175" cy="272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2607527">
            <a:off x="1116013" y="2349500"/>
            <a:ext cx="5191125"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4" name="Picture 14" descr="Stade_3_HA_Hamburg__545989b"/>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7175" y="4533900"/>
            <a:ext cx="3484563"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5" name="Picture 10" descr="fis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24300" y="2708275"/>
            <a:ext cx="2376488" cy="237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6" name="Picture 16" descr="anti-atom-proteste_greenpeace_ddp"/>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24750" y="4508500"/>
            <a:ext cx="1619250" cy="118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7" name="Picture 18" descr="Atomproteste_fitwidth_15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524750" y="5661025"/>
            <a:ext cx="1619250" cy="1196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9204796"/>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Zástupný symbol pro obsah 2"/>
          <p:cNvSpPr>
            <a:spLocks noGrp="1"/>
          </p:cNvSpPr>
          <p:nvPr>
            <p:ph idx="1"/>
          </p:nvPr>
        </p:nvSpPr>
        <p:spPr>
          <a:xfrm>
            <a:off x="250825" y="1268413"/>
            <a:ext cx="7993063" cy="5172075"/>
          </a:xfrm>
        </p:spPr>
        <p:txBody>
          <a:bodyPr/>
          <a:lstStyle/>
          <a:p>
            <a:r>
              <a:rPr lang="cs-CZ" dirty="0" smtClean="0"/>
              <a:t>Jaká bude role uhlí, která je dána dramatickým vývojem uhelného průmyslu USA po „revoluci“ dané výrobou břidlicového plynu? </a:t>
            </a:r>
          </a:p>
        </p:txBody>
      </p:sp>
      <p:sp>
        <p:nvSpPr>
          <p:cNvPr id="9220" name="Nadpis 1"/>
          <p:cNvSpPr>
            <a:spLocks noGrp="1"/>
          </p:cNvSpPr>
          <p:nvPr>
            <p:ph type="title"/>
          </p:nvPr>
        </p:nvSpPr>
        <p:spPr>
          <a:xfrm>
            <a:off x="1643063" y="274638"/>
            <a:ext cx="6097587" cy="490537"/>
          </a:xfrm>
        </p:spPr>
        <p:txBody>
          <a:bodyPr/>
          <a:lstStyle/>
          <a:p>
            <a:r>
              <a:rPr lang="cs-CZ" dirty="0" smtClean="0"/>
              <a:t>Uhlí – budoucí role využití</a:t>
            </a:r>
          </a:p>
        </p:txBody>
      </p:sp>
      <p:pic>
        <p:nvPicPr>
          <p:cNvPr id="109" name="Picture 8" descr="http://www.okd.cz/images_top/foto_2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140968"/>
            <a:ext cx="9145588" cy="263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ovéPole 6"/>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14193979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5" descr="HEAD_2012_kohlekraftwerke_1010x300px_V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271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Text Box 6"/>
          <p:cNvSpPr txBox="1">
            <a:spLocks noChangeArrowheads="1"/>
          </p:cNvSpPr>
          <p:nvPr/>
        </p:nvSpPr>
        <p:spPr bwMode="auto">
          <a:xfrm>
            <a:off x="179388" y="188913"/>
            <a:ext cx="638469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4400" b="1" i="1">
                <a:solidFill>
                  <a:schemeClr val="tx2"/>
                </a:solidFill>
                <a:latin typeface="Monotype Corsiva" pitchFamily="66" charset="0"/>
                <a:cs typeface="Arial" pitchFamily="34" charset="0"/>
              </a:defRPr>
            </a:lvl1pPr>
            <a:lvl2pPr marL="742950" indent="-285750" eaLnBrk="0" hangingPunct="0">
              <a:defRPr sz="4400" b="1" i="1">
                <a:solidFill>
                  <a:schemeClr val="tx2"/>
                </a:solidFill>
                <a:latin typeface="Monotype Corsiva" pitchFamily="66" charset="0"/>
                <a:cs typeface="Arial" pitchFamily="34" charset="0"/>
              </a:defRPr>
            </a:lvl2pPr>
            <a:lvl3pPr marL="1143000" indent="-228600" eaLnBrk="0" hangingPunct="0">
              <a:defRPr sz="4400" b="1" i="1">
                <a:solidFill>
                  <a:schemeClr val="tx2"/>
                </a:solidFill>
                <a:latin typeface="Monotype Corsiva" pitchFamily="66" charset="0"/>
                <a:cs typeface="Arial" pitchFamily="34" charset="0"/>
              </a:defRPr>
            </a:lvl3pPr>
            <a:lvl4pPr marL="1600200" indent="-228600" eaLnBrk="0" hangingPunct="0">
              <a:defRPr sz="4400" b="1" i="1">
                <a:solidFill>
                  <a:schemeClr val="tx2"/>
                </a:solidFill>
                <a:latin typeface="Monotype Corsiva" pitchFamily="66" charset="0"/>
                <a:cs typeface="Arial" pitchFamily="34" charset="0"/>
              </a:defRPr>
            </a:lvl4pPr>
            <a:lvl5pPr marL="2057400" indent="-228600" eaLnBrk="0" hangingPunct="0">
              <a:defRPr sz="4400" b="1" i="1">
                <a:solidFill>
                  <a:schemeClr val="tx2"/>
                </a:solidFill>
                <a:latin typeface="Monotype Corsiva" pitchFamily="66" charset="0"/>
                <a:cs typeface="Arial" pitchFamily="34" charset="0"/>
              </a:defRPr>
            </a:lvl5pPr>
            <a:lvl6pPr marL="2514600" indent="-228600" eaLnBrk="0" fontAlgn="base" hangingPunct="0">
              <a:spcBef>
                <a:spcPct val="0"/>
              </a:spcBef>
              <a:spcAft>
                <a:spcPct val="0"/>
              </a:spcAft>
              <a:defRPr sz="4400" b="1" i="1">
                <a:solidFill>
                  <a:schemeClr val="tx2"/>
                </a:solidFill>
                <a:latin typeface="Monotype Corsiva" pitchFamily="66" charset="0"/>
                <a:cs typeface="Arial" pitchFamily="34" charset="0"/>
              </a:defRPr>
            </a:lvl6pPr>
            <a:lvl7pPr marL="2971800" indent="-228600" eaLnBrk="0" fontAlgn="base" hangingPunct="0">
              <a:spcBef>
                <a:spcPct val="0"/>
              </a:spcBef>
              <a:spcAft>
                <a:spcPct val="0"/>
              </a:spcAft>
              <a:defRPr sz="4400" b="1" i="1">
                <a:solidFill>
                  <a:schemeClr val="tx2"/>
                </a:solidFill>
                <a:latin typeface="Monotype Corsiva" pitchFamily="66" charset="0"/>
                <a:cs typeface="Arial" pitchFamily="34" charset="0"/>
              </a:defRPr>
            </a:lvl7pPr>
            <a:lvl8pPr marL="3429000" indent="-228600" eaLnBrk="0" fontAlgn="base" hangingPunct="0">
              <a:spcBef>
                <a:spcPct val="0"/>
              </a:spcBef>
              <a:spcAft>
                <a:spcPct val="0"/>
              </a:spcAft>
              <a:defRPr sz="4400" b="1" i="1">
                <a:solidFill>
                  <a:schemeClr val="tx2"/>
                </a:solidFill>
                <a:latin typeface="Monotype Corsiva" pitchFamily="66" charset="0"/>
                <a:cs typeface="Arial" pitchFamily="34" charset="0"/>
              </a:defRPr>
            </a:lvl8pPr>
            <a:lvl9pPr marL="3886200" indent="-228600" eaLnBrk="0" fontAlgn="base" hangingPunct="0">
              <a:spcBef>
                <a:spcPct val="0"/>
              </a:spcBef>
              <a:spcAft>
                <a:spcPct val="0"/>
              </a:spcAft>
              <a:defRPr sz="4400" b="1" i="1">
                <a:solidFill>
                  <a:schemeClr val="tx2"/>
                </a:solidFill>
                <a:latin typeface="Monotype Corsiva" pitchFamily="66" charset="0"/>
                <a:cs typeface="Arial" pitchFamily="34" charset="0"/>
              </a:defRPr>
            </a:lvl9pPr>
          </a:lstStyle>
          <a:p>
            <a:pPr algn="ctr" eaLnBrk="1" hangingPunct="1">
              <a:spcBef>
                <a:spcPct val="50000"/>
              </a:spcBef>
            </a:pPr>
            <a:r>
              <a:rPr lang="cs-CZ" sz="3200" dirty="0" smtClean="0">
                <a:solidFill>
                  <a:srgbClr val="000000"/>
                </a:solidFill>
                <a:latin typeface="Comic Sans MS" pitchFamily="66" charset="0"/>
              </a:rPr>
              <a:t>Žádné další tepelné elektrárny</a:t>
            </a:r>
            <a:endParaRPr lang="en-US" sz="3200" dirty="0">
              <a:solidFill>
                <a:srgbClr val="000000"/>
              </a:solidFill>
              <a:latin typeface="Comic Sans MS" pitchFamily="66" charset="0"/>
            </a:endParaRPr>
          </a:p>
        </p:txBody>
      </p:sp>
      <p:pic>
        <p:nvPicPr>
          <p:cNvPr id="8196" name="Picture 9" descr="Kohle-Kar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825" y="3068638"/>
            <a:ext cx="2257425" cy="333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11" descr="7c27cfa086"/>
          <p:cNvPicPr>
            <a:picLocks noChangeAspect="1" noChangeArrowheads="1"/>
          </p:cNvPicPr>
          <p:nvPr/>
        </p:nvPicPr>
        <p:blipFill>
          <a:blip r:embed="rId4">
            <a:clrChange>
              <a:clrFrom>
                <a:srgbClr val="FFFEFF"/>
              </a:clrFrom>
              <a:clrTo>
                <a:srgbClr val="FFFEFF">
                  <a:alpha val="0"/>
                </a:srgbClr>
              </a:clrTo>
            </a:clrChange>
            <a:extLst>
              <a:ext uri="{28A0092B-C50C-407E-A947-70E740481C1C}">
                <a14:useLocalDpi xmlns:a14="http://schemas.microsoft.com/office/drawing/2010/main" val="0"/>
              </a:ext>
            </a:extLst>
          </a:blip>
          <a:srcRect/>
          <a:stretch>
            <a:fillRect/>
          </a:stretch>
        </p:blipFill>
        <p:spPr bwMode="auto">
          <a:xfrm>
            <a:off x="250825" y="765175"/>
            <a:ext cx="952500" cy="96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8" name="Picture 15" descr="Banner-kohle-protest">
            <a:hlinkClick r:id="rId5"/>
          </p:cNvPr>
          <p:cNvPicPr>
            <a:picLocks noChangeAspect="1" noChangeArrowheads="1"/>
          </p:cNvPicPr>
          <p:nvPr/>
        </p:nvPicPr>
        <p:blipFill>
          <a:blip r:embed="rId6">
            <a:clrChange>
              <a:clrFrom>
                <a:srgbClr val="0066CC"/>
              </a:clrFrom>
              <a:clrTo>
                <a:srgbClr val="0066CC">
                  <a:alpha val="0"/>
                </a:srgbClr>
              </a:clrTo>
            </a:clrChange>
            <a:extLst>
              <a:ext uri="{28A0092B-C50C-407E-A947-70E740481C1C}">
                <a14:useLocalDpi xmlns:a14="http://schemas.microsoft.com/office/drawing/2010/main" val="0"/>
              </a:ext>
            </a:extLst>
          </a:blip>
          <a:srcRect/>
          <a:stretch>
            <a:fillRect/>
          </a:stretch>
        </p:blipFill>
        <p:spPr bwMode="auto">
          <a:xfrm>
            <a:off x="5292725" y="2997200"/>
            <a:ext cx="36195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9" name="Picture 21" descr="Bild"/>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55875" y="4365625"/>
            <a:ext cx="1655763" cy="963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0" name="Picture 23" descr="www.kohleprotest.de">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55875" y="3068638"/>
            <a:ext cx="2838450" cy="89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1" name="Picture 25" descr="kohlekraftwerk105_v-contentgross"/>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48263" y="4508500"/>
            <a:ext cx="3609975" cy="203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2" name="Picture 17" descr="Banner-120x190px_01-1">
            <a:hlinkClick r:id="rId11"/>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85013" y="4149725"/>
            <a:ext cx="1809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3" name="Picture 19" descr="gruende-schmal">
            <a:hlinkClick r:id="rId13"/>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339975" y="5876925"/>
            <a:ext cx="3286125"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04" name="Picture 13" descr="Banner120x120">
            <a:hlinkClick r:id="rId15" tooltip="NEIN ZU DATTELN 4! besuchen"/>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356100" y="4076700"/>
            <a:ext cx="1584325"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4412513"/>
      </p:ext>
    </p:extLst>
  </p:cSld>
  <p:clrMapOvr>
    <a:masterClrMapping/>
  </p:clrMapOvr>
  <p:transition spd="med">
    <p:fad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12" descr="Windkraft"/>
          <p:cNvPicPr>
            <a:picLocks noChangeAspect="1" noChangeArrowheads="1"/>
          </p:cNvPicPr>
          <p:nvPr/>
        </p:nvPicPr>
        <p:blipFill>
          <a:blip r:embed="rId3">
            <a:clrChange>
              <a:clrFrom>
                <a:srgbClr val="DFDEDA"/>
              </a:clrFrom>
              <a:clrTo>
                <a:srgbClr val="DFDEDA">
                  <a:alpha val="0"/>
                </a:srgbClr>
              </a:clrTo>
            </a:clrChange>
            <a:extLst>
              <a:ext uri="{28A0092B-C50C-407E-A947-70E740481C1C}">
                <a14:useLocalDpi xmlns:a14="http://schemas.microsoft.com/office/drawing/2010/main" val="0"/>
              </a:ext>
            </a:extLst>
          </a:blip>
          <a:srcRect/>
          <a:stretch>
            <a:fillRect/>
          </a:stretch>
        </p:blipFill>
        <p:spPr bwMode="auto">
          <a:xfrm>
            <a:off x="6548438" y="2924175"/>
            <a:ext cx="2595562" cy="393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0" name="Picture 14" descr="mewindrae-nein-500p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924175"/>
            <a:ext cx="305911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1" name="Picture 20" descr="_wsb_181x178_BI-Logo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87900" y="3068638"/>
            <a:ext cx="1584325" cy="156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Picture 25"/>
          <p:cNvPicPr>
            <a:picLocks noChangeAspect="1" noChangeArrowheads="1"/>
          </p:cNvPicPr>
          <p:nvPr/>
        </p:nvPicPr>
        <p:blipFill>
          <a:blip r:embed="rId6">
            <a:clrChange>
              <a:clrFrom>
                <a:srgbClr val="D6CDCE"/>
              </a:clrFrom>
              <a:clrTo>
                <a:srgbClr val="D6CDCE">
                  <a:alpha val="0"/>
                </a:srgbClr>
              </a:clrTo>
            </a:clrChange>
            <a:extLst>
              <a:ext uri="{28A0092B-C50C-407E-A947-70E740481C1C}">
                <a14:useLocalDpi xmlns:a14="http://schemas.microsoft.com/office/drawing/2010/main" val="0"/>
              </a:ext>
            </a:extLst>
          </a:blip>
          <a:srcRect/>
          <a:stretch>
            <a:fillRect/>
          </a:stretch>
        </p:blipFill>
        <p:spPr bwMode="auto">
          <a:xfrm>
            <a:off x="4356100" y="4787900"/>
            <a:ext cx="2087563" cy="207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3" name="Picture 27" descr="21482_New_130470126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4005263"/>
            <a:ext cx="4284663" cy="285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4" name="Picture 8" descr="get_the_facts_rectangle_magnet"/>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627313" y="2420938"/>
            <a:ext cx="1573212" cy="157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5" name="Picture 10" descr="Get the Facts">
            <a:hlinkClick r:id="rId9" tooltip="Buy pins, stickers, and more"/>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95738" y="2924175"/>
            <a:ext cx="9525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6" name="Picture 28" descr="3-blattani"/>
          <p:cNvPicPr>
            <a:picLocks noChangeAspect="1" noChangeArrowheads="1" noCrop="1"/>
          </p:cNvPicPr>
          <p:nvPr/>
        </p:nvPicPr>
        <p:blipFill>
          <a:blip r:embed="rId11">
            <a:extLst>
              <a:ext uri="{28A0092B-C50C-407E-A947-70E740481C1C}">
                <a14:useLocalDpi xmlns:a14="http://schemas.microsoft.com/office/drawing/2010/main" val="0"/>
              </a:ext>
            </a:extLst>
          </a:blip>
          <a:srcRect/>
          <a:stretch>
            <a:fillRect/>
          </a:stretch>
        </p:blipFill>
        <p:spPr bwMode="auto">
          <a:xfrm>
            <a:off x="539750" y="620713"/>
            <a:ext cx="1038225" cy="108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1709605"/>
      </p:ext>
    </p:extLst>
  </p:cSld>
  <p:clrMapOvr>
    <a:masterClrMapping/>
  </p:clrMapOvr>
  <p:transition spd="med">
    <p:fade/>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39214"/>
            <a:ext cx="9144000" cy="6534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4" name="Text Box 7"/>
          <p:cNvSpPr txBox="1">
            <a:spLocks noChangeArrowheads="1"/>
          </p:cNvSpPr>
          <p:nvPr/>
        </p:nvSpPr>
        <p:spPr bwMode="auto">
          <a:xfrm rot="-2136021">
            <a:off x="4665663" y="4902200"/>
            <a:ext cx="3924300" cy="457200"/>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400" b="1" i="1">
                <a:solidFill>
                  <a:schemeClr val="tx2"/>
                </a:solidFill>
                <a:latin typeface="Monotype Corsiva" pitchFamily="66" charset="0"/>
                <a:cs typeface="Arial" pitchFamily="34" charset="0"/>
              </a:defRPr>
            </a:lvl1pPr>
            <a:lvl2pPr marL="742950" indent="-285750" eaLnBrk="0" hangingPunct="0">
              <a:defRPr sz="4400" b="1" i="1">
                <a:solidFill>
                  <a:schemeClr val="tx2"/>
                </a:solidFill>
                <a:latin typeface="Monotype Corsiva" pitchFamily="66" charset="0"/>
                <a:cs typeface="Arial" pitchFamily="34" charset="0"/>
              </a:defRPr>
            </a:lvl2pPr>
            <a:lvl3pPr marL="1143000" indent="-228600" eaLnBrk="0" hangingPunct="0">
              <a:defRPr sz="4400" b="1" i="1">
                <a:solidFill>
                  <a:schemeClr val="tx2"/>
                </a:solidFill>
                <a:latin typeface="Monotype Corsiva" pitchFamily="66" charset="0"/>
                <a:cs typeface="Arial" pitchFamily="34" charset="0"/>
              </a:defRPr>
            </a:lvl3pPr>
            <a:lvl4pPr marL="1600200" indent="-228600" eaLnBrk="0" hangingPunct="0">
              <a:defRPr sz="4400" b="1" i="1">
                <a:solidFill>
                  <a:schemeClr val="tx2"/>
                </a:solidFill>
                <a:latin typeface="Monotype Corsiva" pitchFamily="66" charset="0"/>
                <a:cs typeface="Arial" pitchFamily="34" charset="0"/>
              </a:defRPr>
            </a:lvl4pPr>
            <a:lvl5pPr marL="2057400" indent="-228600" eaLnBrk="0" hangingPunct="0">
              <a:defRPr sz="4400" b="1" i="1">
                <a:solidFill>
                  <a:schemeClr val="tx2"/>
                </a:solidFill>
                <a:latin typeface="Monotype Corsiva" pitchFamily="66" charset="0"/>
                <a:cs typeface="Arial" pitchFamily="34" charset="0"/>
              </a:defRPr>
            </a:lvl5pPr>
            <a:lvl6pPr marL="2514600" indent="-228600" eaLnBrk="0" fontAlgn="base" hangingPunct="0">
              <a:spcBef>
                <a:spcPct val="0"/>
              </a:spcBef>
              <a:spcAft>
                <a:spcPct val="0"/>
              </a:spcAft>
              <a:defRPr sz="4400" b="1" i="1">
                <a:solidFill>
                  <a:schemeClr val="tx2"/>
                </a:solidFill>
                <a:latin typeface="Monotype Corsiva" pitchFamily="66" charset="0"/>
                <a:cs typeface="Arial" pitchFamily="34" charset="0"/>
              </a:defRPr>
            </a:lvl6pPr>
            <a:lvl7pPr marL="2971800" indent="-228600" eaLnBrk="0" fontAlgn="base" hangingPunct="0">
              <a:spcBef>
                <a:spcPct val="0"/>
              </a:spcBef>
              <a:spcAft>
                <a:spcPct val="0"/>
              </a:spcAft>
              <a:defRPr sz="4400" b="1" i="1">
                <a:solidFill>
                  <a:schemeClr val="tx2"/>
                </a:solidFill>
                <a:latin typeface="Monotype Corsiva" pitchFamily="66" charset="0"/>
                <a:cs typeface="Arial" pitchFamily="34" charset="0"/>
              </a:defRPr>
            </a:lvl7pPr>
            <a:lvl8pPr marL="3429000" indent="-228600" eaLnBrk="0" fontAlgn="base" hangingPunct="0">
              <a:spcBef>
                <a:spcPct val="0"/>
              </a:spcBef>
              <a:spcAft>
                <a:spcPct val="0"/>
              </a:spcAft>
              <a:defRPr sz="4400" b="1" i="1">
                <a:solidFill>
                  <a:schemeClr val="tx2"/>
                </a:solidFill>
                <a:latin typeface="Monotype Corsiva" pitchFamily="66" charset="0"/>
                <a:cs typeface="Arial" pitchFamily="34" charset="0"/>
              </a:defRPr>
            </a:lvl8pPr>
            <a:lvl9pPr marL="3886200" indent="-228600" eaLnBrk="0" fontAlgn="base" hangingPunct="0">
              <a:spcBef>
                <a:spcPct val="0"/>
              </a:spcBef>
              <a:spcAft>
                <a:spcPct val="0"/>
              </a:spcAft>
              <a:defRPr sz="4400" b="1" i="1">
                <a:solidFill>
                  <a:schemeClr val="tx2"/>
                </a:solidFill>
                <a:latin typeface="Monotype Corsiva" pitchFamily="66" charset="0"/>
                <a:cs typeface="Arial" pitchFamily="34" charset="0"/>
              </a:defRPr>
            </a:lvl9pPr>
          </a:lstStyle>
          <a:p>
            <a:pPr algn="ctr" eaLnBrk="1" hangingPunct="1">
              <a:spcBef>
                <a:spcPct val="50000"/>
              </a:spcBef>
            </a:pPr>
            <a:r>
              <a:rPr lang="de-DE" sz="2400" dirty="0">
                <a:solidFill>
                  <a:schemeClr val="bg1"/>
                </a:solidFill>
                <a:latin typeface="Comic Sans MS" pitchFamily="66" charset="0"/>
              </a:rPr>
              <a:t>Wutbürger unter Strom</a:t>
            </a:r>
            <a:r>
              <a:rPr lang="de-DE" sz="2400" dirty="0">
                <a:solidFill>
                  <a:schemeClr val="bg1"/>
                </a:solidFill>
              </a:rPr>
              <a:t> </a:t>
            </a:r>
          </a:p>
        </p:txBody>
      </p:sp>
      <p:sp>
        <p:nvSpPr>
          <p:cNvPr id="10245" name="Text Box 8"/>
          <p:cNvSpPr txBox="1">
            <a:spLocks noChangeArrowheads="1"/>
          </p:cNvSpPr>
          <p:nvPr/>
        </p:nvSpPr>
        <p:spPr bwMode="auto">
          <a:xfrm rot="516877">
            <a:off x="900113" y="5516563"/>
            <a:ext cx="3743325" cy="701675"/>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4400" b="1" i="1">
                <a:solidFill>
                  <a:schemeClr val="tx2"/>
                </a:solidFill>
                <a:latin typeface="Monotype Corsiva" pitchFamily="66" charset="0"/>
                <a:cs typeface="Arial" pitchFamily="34" charset="0"/>
              </a:defRPr>
            </a:lvl1pPr>
            <a:lvl2pPr marL="742950" indent="-285750" eaLnBrk="0" hangingPunct="0">
              <a:defRPr sz="4400" b="1" i="1">
                <a:solidFill>
                  <a:schemeClr val="tx2"/>
                </a:solidFill>
                <a:latin typeface="Monotype Corsiva" pitchFamily="66" charset="0"/>
                <a:cs typeface="Arial" pitchFamily="34" charset="0"/>
              </a:defRPr>
            </a:lvl2pPr>
            <a:lvl3pPr marL="1143000" indent="-228600" eaLnBrk="0" hangingPunct="0">
              <a:defRPr sz="4400" b="1" i="1">
                <a:solidFill>
                  <a:schemeClr val="tx2"/>
                </a:solidFill>
                <a:latin typeface="Monotype Corsiva" pitchFamily="66" charset="0"/>
                <a:cs typeface="Arial" pitchFamily="34" charset="0"/>
              </a:defRPr>
            </a:lvl3pPr>
            <a:lvl4pPr marL="1600200" indent="-228600" eaLnBrk="0" hangingPunct="0">
              <a:defRPr sz="4400" b="1" i="1">
                <a:solidFill>
                  <a:schemeClr val="tx2"/>
                </a:solidFill>
                <a:latin typeface="Monotype Corsiva" pitchFamily="66" charset="0"/>
                <a:cs typeface="Arial" pitchFamily="34" charset="0"/>
              </a:defRPr>
            </a:lvl4pPr>
            <a:lvl5pPr marL="2057400" indent="-228600" eaLnBrk="0" hangingPunct="0">
              <a:defRPr sz="4400" b="1" i="1">
                <a:solidFill>
                  <a:schemeClr val="tx2"/>
                </a:solidFill>
                <a:latin typeface="Monotype Corsiva" pitchFamily="66" charset="0"/>
                <a:cs typeface="Arial" pitchFamily="34" charset="0"/>
              </a:defRPr>
            </a:lvl5pPr>
            <a:lvl6pPr marL="2514600" indent="-228600" eaLnBrk="0" fontAlgn="base" hangingPunct="0">
              <a:spcBef>
                <a:spcPct val="0"/>
              </a:spcBef>
              <a:spcAft>
                <a:spcPct val="0"/>
              </a:spcAft>
              <a:defRPr sz="4400" b="1" i="1">
                <a:solidFill>
                  <a:schemeClr val="tx2"/>
                </a:solidFill>
                <a:latin typeface="Monotype Corsiva" pitchFamily="66" charset="0"/>
                <a:cs typeface="Arial" pitchFamily="34" charset="0"/>
              </a:defRPr>
            </a:lvl6pPr>
            <a:lvl7pPr marL="2971800" indent="-228600" eaLnBrk="0" fontAlgn="base" hangingPunct="0">
              <a:spcBef>
                <a:spcPct val="0"/>
              </a:spcBef>
              <a:spcAft>
                <a:spcPct val="0"/>
              </a:spcAft>
              <a:defRPr sz="4400" b="1" i="1">
                <a:solidFill>
                  <a:schemeClr val="tx2"/>
                </a:solidFill>
                <a:latin typeface="Monotype Corsiva" pitchFamily="66" charset="0"/>
                <a:cs typeface="Arial" pitchFamily="34" charset="0"/>
              </a:defRPr>
            </a:lvl7pPr>
            <a:lvl8pPr marL="3429000" indent="-228600" eaLnBrk="0" fontAlgn="base" hangingPunct="0">
              <a:spcBef>
                <a:spcPct val="0"/>
              </a:spcBef>
              <a:spcAft>
                <a:spcPct val="0"/>
              </a:spcAft>
              <a:defRPr sz="4400" b="1" i="1">
                <a:solidFill>
                  <a:schemeClr val="tx2"/>
                </a:solidFill>
                <a:latin typeface="Monotype Corsiva" pitchFamily="66" charset="0"/>
                <a:cs typeface="Arial" pitchFamily="34" charset="0"/>
              </a:defRPr>
            </a:lvl8pPr>
            <a:lvl9pPr marL="3886200" indent="-228600" eaLnBrk="0" fontAlgn="base" hangingPunct="0">
              <a:spcBef>
                <a:spcPct val="0"/>
              </a:spcBef>
              <a:spcAft>
                <a:spcPct val="0"/>
              </a:spcAft>
              <a:defRPr sz="4400" b="1" i="1">
                <a:solidFill>
                  <a:schemeClr val="tx2"/>
                </a:solidFill>
                <a:latin typeface="Monotype Corsiva" pitchFamily="66" charset="0"/>
                <a:cs typeface="Arial" pitchFamily="34" charset="0"/>
              </a:defRPr>
            </a:lvl9pPr>
          </a:lstStyle>
          <a:p>
            <a:pPr algn="ctr" eaLnBrk="1" hangingPunct="1">
              <a:spcBef>
                <a:spcPct val="50000"/>
              </a:spcBef>
            </a:pPr>
            <a:r>
              <a:rPr lang="de-DE" sz="2000">
                <a:solidFill>
                  <a:schemeClr val="bg1"/>
                </a:solidFill>
                <a:latin typeface="Comix"/>
              </a:rPr>
              <a:t>Die Angst vor neuen Monstermasten</a:t>
            </a:r>
          </a:p>
        </p:txBody>
      </p:sp>
      <p:pic>
        <p:nvPicPr>
          <p:cNvPr id="10246" name="Picture 10" descr="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5250" y="5483225"/>
            <a:ext cx="1428750"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2" name="Picture 5" descr="Banner%20oben%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9144000"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102833"/>
      </p:ext>
    </p:extLst>
  </p:cSld>
  <p:clrMapOvr>
    <a:masterClrMapping/>
  </p:clrMapOvr>
  <p:transition spd="med">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Nadpis 1"/>
          <p:cNvSpPr>
            <a:spLocks noGrp="1"/>
          </p:cNvSpPr>
          <p:nvPr>
            <p:ph type="title"/>
          </p:nvPr>
        </p:nvSpPr>
        <p:spPr/>
        <p:txBody>
          <a:bodyPr/>
          <a:lstStyle/>
          <a:p>
            <a:r>
              <a:rPr lang="cs-CZ" dirty="0" smtClean="0"/>
              <a:t>Dovětek</a:t>
            </a:r>
          </a:p>
        </p:txBody>
      </p:sp>
      <p:pic>
        <p:nvPicPr>
          <p:cNvPr id="5" name="Picture 13" descr="vyrok tydn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1138" y="303213"/>
            <a:ext cx="3644900" cy="6257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4221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ChangeArrowheads="1"/>
          </p:cNvSpPr>
          <p:nvPr/>
        </p:nvSpPr>
        <p:spPr bwMode="auto">
          <a:xfrm>
            <a:off x="0" y="-1455705"/>
            <a:ext cx="9144000" cy="9750362"/>
          </a:xfrm>
          <a:prstGeom prst="rect">
            <a:avLst/>
          </a:prstGeom>
          <a:solidFill>
            <a:srgbClr val="000000"/>
          </a:solidFill>
          <a:ln w="9525">
            <a:solidFill>
              <a:schemeClr val="tx1"/>
            </a:solidFill>
            <a:miter lim="800000"/>
            <a:headEnd/>
            <a:tailEnd/>
          </a:ln>
          <a:effectLst/>
          <a:extLst/>
        </p:spPr>
        <p:txBody>
          <a:bodyPr anchor="ctr">
            <a:spAutoFit/>
          </a:bodyPr>
          <a:lstStyle/>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lnSpc>
                <a:spcPct val="90000"/>
              </a:lnSpc>
              <a:tabLst>
                <a:tab pos="8001000" algn="l"/>
              </a:tabLst>
            </a:pPr>
            <a:endParaRPr lang="cs-CZ" sz="3000" dirty="0">
              <a:solidFill>
                <a:schemeClr val="bg1"/>
              </a:solidFill>
              <a:latin typeface="Arial" pitchFamily="34" charset="0"/>
            </a:endParaRPr>
          </a:p>
          <a:p>
            <a:pPr defTabSz="900113" eaLnBrk="0" hangingPunct="0">
              <a:tabLst>
                <a:tab pos="8001000" algn="l"/>
              </a:tabLst>
            </a:pPr>
            <a:endParaRPr lang="cs-CZ" sz="2000" dirty="0" smtClean="0">
              <a:solidFill>
                <a:schemeClr val="bg1"/>
              </a:solidFill>
            </a:endParaRPr>
          </a:p>
          <a:p>
            <a:pPr defTabSz="900113" eaLnBrk="0" hangingPunct="0">
              <a:tabLst>
                <a:tab pos="8001000" algn="l"/>
              </a:tabLst>
            </a:pPr>
            <a:r>
              <a:rPr lang="cs-CZ" sz="2000" dirty="0" smtClean="0">
                <a:solidFill>
                  <a:schemeClr val="bg1"/>
                </a:solidFill>
              </a:rPr>
              <a:t>„Ve </a:t>
            </a:r>
            <a:r>
              <a:rPr lang="cs-CZ" sz="2000" dirty="0">
                <a:solidFill>
                  <a:schemeClr val="bg1"/>
                </a:solidFill>
              </a:rPr>
              <a:t>středoevropském časovém pásmu přestala elektrická energie fungovat v 15 hodin 16 minut 22 vteřin letního času. Byl pátek 17.dubna, datum od kterého se měla počítat nová historie lidstva.“</a:t>
            </a:r>
          </a:p>
          <a:p>
            <a:pPr defTabSz="900113" eaLnBrk="0" hangingPunct="0">
              <a:tabLst>
                <a:tab pos="8001000" algn="l"/>
              </a:tabLst>
            </a:pPr>
            <a:r>
              <a:rPr lang="cs-CZ" sz="2000" i="1" dirty="0">
                <a:solidFill>
                  <a:schemeClr val="bg1"/>
                </a:solidFill>
              </a:rPr>
              <a:t>Ondřej Neff, TMA</a:t>
            </a:r>
          </a:p>
          <a:p>
            <a:pPr defTabSz="900113" eaLnBrk="0" hangingPunct="0">
              <a:tabLst>
                <a:tab pos="8001000" algn="l"/>
              </a:tabLst>
            </a:pPr>
            <a:endParaRPr lang="cs-CZ" sz="2000" i="1" dirty="0">
              <a:solidFill>
                <a:schemeClr val="bg1"/>
              </a:solidFill>
            </a:endParaRPr>
          </a:p>
          <a:p>
            <a:pPr algn="just" defTabSz="900113" eaLnBrk="0" hangingPunct="0">
              <a:tabLst>
                <a:tab pos="8001000" algn="l"/>
              </a:tabLst>
            </a:pPr>
            <a:r>
              <a:rPr lang="cs-CZ" dirty="0">
                <a:solidFill>
                  <a:schemeClr val="bg1"/>
                </a:solidFill>
              </a:rPr>
              <a:t>Román, který od svého vzniku budí pozornost. Autor vykresluje barvitý obraz společenských katastrof, které by nastaly, kdyby ze světa zmizela elektřina jako technicky fungující síla. Budování obnoveného středověku, ve kterém vítězí pověra nad věděním je onou „tmou“ a ukazuje, jak křehká je naše civilizace a jak snadno by se mohla zhroutit.</a:t>
            </a:r>
          </a:p>
          <a:p>
            <a:pPr defTabSz="900113" eaLnBrk="0" hangingPunct="0">
              <a:lnSpc>
                <a:spcPct val="90000"/>
              </a:lnSpc>
              <a:tabLst>
                <a:tab pos="8001000" algn="l"/>
              </a:tabLst>
            </a:pPr>
            <a:endParaRPr lang="en-US" i="1" dirty="0" smtClean="0">
              <a:solidFill>
                <a:schemeClr val="bg1"/>
              </a:solidFill>
              <a:latin typeface="Arial" pitchFamily="34" charset="0"/>
            </a:endParaRPr>
          </a:p>
          <a:p>
            <a:pPr defTabSz="900113" eaLnBrk="0" hangingPunct="0">
              <a:lnSpc>
                <a:spcPct val="90000"/>
              </a:lnSpc>
              <a:tabLst>
                <a:tab pos="8001000" algn="l"/>
              </a:tabLst>
            </a:pPr>
            <a:endParaRPr lang="en-US" i="1" dirty="0">
              <a:solidFill>
                <a:schemeClr val="bg1"/>
              </a:solidFill>
              <a:latin typeface="Arial" pitchFamily="34" charset="0"/>
            </a:endParaRPr>
          </a:p>
          <a:p>
            <a:pPr defTabSz="900113" eaLnBrk="0" hangingPunct="0">
              <a:lnSpc>
                <a:spcPct val="90000"/>
              </a:lnSpc>
              <a:tabLst>
                <a:tab pos="8001000" algn="l"/>
              </a:tabLst>
            </a:pPr>
            <a:endParaRPr lang="cs-CZ" i="1" dirty="0" smtClean="0">
              <a:solidFill>
                <a:schemeClr val="bg1"/>
              </a:solidFill>
              <a:latin typeface="Arial" pitchFamily="34" charset="0"/>
            </a:endParaRPr>
          </a:p>
          <a:p>
            <a:pPr defTabSz="900113" eaLnBrk="0" hangingPunct="0">
              <a:lnSpc>
                <a:spcPct val="90000"/>
              </a:lnSpc>
              <a:tabLst>
                <a:tab pos="8001000" algn="l"/>
              </a:tabLst>
            </a:pPr>
            <a:endParaRPr lang="cs-CZ" i="1" dirty="0" smtClean="0">
              <a:solidFill>
                <a:schemeClr val="bg1"/>
              </a:solidFill>
              <a:latin typeface="Arial" pitchFamily="34" charset="0"/>
            </a:endParaRPr>
          </a:p>
          <a:p>
            <a:pPr defTabSz="900113" eaLnBrk="0" hangingPunct="0">
              <a:lnSpc>
                <a:spcPct val="90000"/>
              </a:lnSpc>
              <a:tabLst>
                <a:tab pos="8001000" algn="l"/>
              </a:tabLst>
            </a:pPr>
            <a:endParaRPr lang="cs-CZ" i="1" dirty="0">
              <a:solidFill>
                <a:schemeClr val="bg1"/>
              </a:solidFill>
              <a:latin typeface="Arial" pitchFamily="34" charset="0"/>
            </a:endParaRPr>
          </a:p>
          <a:p>
            <a:pPr defTabSz="900113" eaLnBrk="0" hangingPunct="0">
              <a:lnSpc>
                <a:spcPct val="90000"/>
              </a:lnSpc>
              <a:tabLst>
                <a:tab pos="8001000" algn="l"/>
              </a:tabLst>
            </a:pPr>
            <a:endParaRPr lang="cs-CZ" i="1" dirty="0" smtClean="0">
              <a:solidFill>
                <a:schemeClr val="bg1"/>
              </a:solidFill>
              <a:latin typeface="Arial" pitchFamily="34" charset="0"/>
            </a:endParaRPr>
          </a:p>
          <a:p>
            <a:pPr defTabSz="900113" eaLnBrk="0" hangingPunct="0">
              <a:lnSpc>
                <a:spcPct val="90000"/>
              </a:lnSpc>
              <a:tabLst>
                <a:tab pos="8001000" algn="l"/>
              </a:tabLst>
            </a:pPr>
            <a:endParaRPr lang="cs-CZ" i="1" dirty="0">
              <a:solidFill>
                <a:schemeClr val="bg1"/>
              </a:solidFill>
              <a:latin typeface="Arial" pitchFamily="34" charset="0"/>
            </a:endParaRPr>
          </a:p>
          <a:p>
            <a:pPr defTabSz="900113" eaLnBrk="0" hangingPunct="0">
              <a:lnSpc>
                <a:spcPct val="90000"/>
              </a:lnSpc>
              <a:tabLst>
                <a:tab pos="8001000" algn="l"/>
              </a:tabLst>
            </a:pPr>
            <a:endParaRPr lang="cs-CZ" i="1" dirty="0">
              <a:solidFill>
                <a:schemeClr val="bg1"/>
              </a:solidFill>
              <a:latin typeface="Arial" pitchFamily="34" charset="0"/>
            </a:endParaRPr>
          </a:p>
          <a:p>
            <a:pPr defTabSz="900113" eaLnBrk="0" hangingPunct="0">
              <a:lnSpc>
                <a:spcPct val="90000"/>
              </a:lnSpc>
              <a:tabLst>
                <a:tab pos="8001000" algn="l"/>
              </a:tabLst>
            </a:pPr>
            <a:endParaRPr lang="cs-CZ" sz="2000" dirty="0">
              <a:solidFill>
                <a:schemeClr val="bg1"/>
              </a:solidFill>
              <a:latin typeface="Arial" pitchFamily="34" charset="0"/>
            </a:endParaRPr>
          </a:p>
        </p:txBody>
      </p:sp>
      <p:grpSp>
        <p:nvGrpSpPr>
          <p:cNvPr id="25603" name="Group 3"/>
          <p:cNvGrpSpPr>
            <a:grpSpLocks/>
          </p:cNvGrpSpPr>
          <p:nvPr/>
        </p:nvGrpSpPr>
        <p:grpSpPr bwMode="auto">
          <a:xfrm>
            <a:off x="762000" y="1773238"/>
            <a:ext cx="1447800" cy="914400"/>
            <a:chOff x="1536" y="1488"/>
            <a:chExt cx="912" cy="576"/>
          </a:xfrm>
        </p:grpSpPr>
        <p:sp>
          <p:nvSpPr>
            <p:cNvPr id="25607" name="Oval 4"/>
            <p:cNvSpPr>
              <a:spLocks noChangeArrowheads="1"/>
            </p:cNvSpPr>
            <p:nvPr/>
          </p:nvSpPr>
          <p:spPr bwMode="auto">
            <a:xfrm>
              <a:off x="1536" y="1488"/>
              <a:ext cx="912" cy="576"/>
            </a:xfrm>
            <a:prstGeom prst="ellipse">
              <a:avLst/>
            </a:prstGeom>
            <a:solidFill>
              <a:schemeClr val="bg1"/>
            </a:solidFill>
            <a:ln>
              <a:noFill/>
            </a:ln>
            <a:effectLst/>
            <a:extLst>
              <a:ext uri="{91240B29-F687-4F45-9708-019B960494DF}">
                <a14:hiddenLine xmlns:a14="http://schemas.microsoft.com/office/drawing/2010/main" w="9525">
                  <a:solidFill>
                    <a:srgbClr val="FFCC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cs-CZ"/>
            </a:p>
          </p:txBody>
        </p:sp>
        <p:sp>
          <p:nvSpPr>
            <p:cNvPr id="25608" name="Oval 5"/>
            <p:cNvSpPr>
              <a:spLocks noChangeArrowheads="1"/>
            </p:cNvSpPr>
            <p:nvPr/>
          </p:nvSpPr>
          <p:spPr bwMode="auto">
            <a:xfrm>
              <a:off x="1824" y="1632"/>
              <a:ext cx="384" cy="336"/>
            </a:xfrm>
            <a:prstGeom prst="ellipse">
              <a:avLst/>
            </a:prstGeom>
            <a:solidFill>
              <a:srgbClr val="000000"/>
            </a:solidFill>
            <a:ln>
              <a:noFill/>
            </a:ln>
            <a:effectLst/>
            <a:extLst>
              <a:ext uri="{91240B29-F687-4F45-9708-019B960494DF}">
                <a14:hiddenLine xmlns:a14="http://schemas.microsoft.com/office/drawing/2010/main" w="9525">
                  <a:solidFill>
                    <a:srgbClr val="FFCC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cs-CZ"/>
            </a:p>
          </p:txBody>
        </p:sp>
      </p:grpSp>
      <p:grpSp>
        <p:nvGrpSpPr>
          <p:cNvPr id="25604" name="Group 6"/>
          <p:cNvGrpSpPr>
            <a:grpSpLocks/>
          </p:cNvGrpSpPr>
          <p:nvPr/>
        </p:nvGrpSpPr>
        <p:grpSpPr bwMode="auto">
          <a:xfrm>
            <a:off x="2819400" y="1773238"/>
            <a:ext cx="1447800" cy="914400"/>
            <a:chOff x="1536" y="1488"/>
            <a:chExt cx="912" cy="576"/>
          </a:xfrm>
        </p:grpSpPr>
        <p:sp>
          <p:nvSpPr>
            <p:cNvPr id="25605" name="Oval 7"/>
            <p:cNvSpPr>
              <a:spLocks noChangeArrowheads="1"/>
            </p:cNvSpPr>
            <p:nvPr/>
          </p:nvSpPr>
          <p:spPr bwMode="auto">
            <a:xfrm>
              <a:off x="1536" y="1488"/>
              <a:ext cx="912" cy="576"/>
            </a:xfrm>
            <a:prstGeom prst="ellipse">
              <a:avLst/>
            </a:prstGeom>
            <a:solidFill>
              <a:schemeClr val="bg1"/>
            </a:solidFill>
            <a:ln>
              <a:noFill/>
            </a:ln>
            <a:effectLst/>
            <a:extLst>
              <a:ext uri="{91240B29-F687-4F45-9708-019B960494DF}">
                <a14:hiddenLine xmlns:a14="http://schemas.microsoft.com/office/drawing/2010/main" w="9525">
                  <a:solidFill>
                    <a:srgbClr val="FFCC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cs-CZ"/>
            </a:p>
          </p:txBody>
        </p:sp>
        <p:sp>
          <p:nvSpPr>
            <p:cNvPr id="25606" name="Oval 8"/>
            <p:cNvSpPr>
              <a:spLocks noChangeArrowheads="1"/>
            </p:cNvSpPr>
            <p:nvPr/>
          </p:nvSpPr>
          <p:spPr bwMode="auto">
            <a:xfrm>
              <a:off x="1824" y="1632"/>
              <a:ext cx="384" cy="336"/>
            </a:xfrm>
            <a:prstGeom prst="ellipse">
              <a:avLst/>
            </a:prstGeom>
            <a:solidFill>
              <a:srgbClr val="000000"/>
            </a:solidFill>
            <a:ln>
              <a:noFill/>
            </a:ln>
            <a:effectLst/>
            <a:extLst>
              <a:ext uri="{91240B29-F687-4F45-9708-019B960494DF}">
                <a14:hiddenLine xmlns:a14="http://schemas.microsoft.com/office/drawing/2010/main" w="9525">
                  <a:solidFill>
                    <a:srgbClr val="FFCC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cs-CZ"/>
            </a:p>
          </p:txBody>
        </p:sp>
      </p:grpSp>
    </p:spTree>
    <p:extLst>
      <p:ext uri="{BB962C8B-B14F-4D97-AF65-F5344CB8AC3E}">
        <p14:creationId xmlns:p14="http://schemas.microsoft.com/office/powerpoint/2010/main" val="1001576414"/>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mph" presetSubtype="0" fill="hold" grpId="0" nodeType="clickEffect">
                                  <p:stCondLst>
                                    <p:cond delay="0"/>
                                  </p:stCondLst>
                                  <p:childTnLst>
                                    <p:anim calcmode="discrete" valueType="str">
                                      <p:cBhvr override="childStyle">
                                        <p:cTn id="6" dur="2000" fill="hold"/>
                                        <p:tgtEl>
                                          <p:spTgt spid="67586"/>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60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60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586"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ástupný symbol pro obsah 5"/>
          <p:cNvSpPr>
            <a:spLocks noGrp="1"/>
          </p:cNvSpPr>
          <p:nvPr>
            <p:ph idx="1"/>
          </p:nvPr>
        </p:nvSpPr>
        <p:spPr>
          <a:xfrm>
            <a:off x="1784733" y="2109621"/>
            <a:ext cx="5618602" cy="622589"/>
          </a:xfrm>
        </p:spPr>
        <p:txBody>
          <a:bodyPr>
            <a:normAutofit lnSpcReduction="10000"/>
          </a:bodyPr>
          <a:lstStyle/>
          <a:p>
            <a:pPr marL="0" indent="0">
              <a:buNone/>
            </a:pPr>
            <a:r>
              <a:rPr lang="cs-CZ" sz="3600" b="1" dirty="0" smtClean="0">
                <a:solidFill>
                  <a:srgbClr val="FF0000"/>
                </a:solidFill>
                <a:effectLst>
                  <a:outerShdw blurRad="38100" dist="38100" dir="2700000" algn="tl">
                    <a:srgbClr val="000000">
                      <a:alpha val="43137"/>
                    </a:srgbClr>
                  </a:outerShdw>
                </a:effectLst>
                <a:latin typeface="Comic Sans MS" pitchFamily="66" charset="0"/>
              </a:rPr>
              <a:t>Děkuji Vám za trpělivost</a:t>
            </a:r>
            <a:endParaRPr lang="cs-CZ" sz="3600" b="1" dirty="0">
              <a:solidFill>
                <a:srgbClr val="FF0000"/>
              </a:solidFill>
              <a:effectLst>
                <a:outerShdw blurRad="38100" dist="38100" dir="2700000" algn="tl">
                  <a:srgbClr val="000000">
                    <a:alpha val="43137"/>
                  </a:srgbClr>
                </a:outerShdw>
              </a:effectLst>
              <a:latin typeface="Comic Sans MS" pitchFamily="66" charset="0"/>
            </a:endParaRPr>
          </a:p>
        </p:txBody>
      </p:sp>
      <p:pic>
        <p:nvPicPr>
          <p:cNvPr id="8" name="Picture 2087" descr="D:\moje\Dagmar\Granty\MSMT\Velký projekt\_pomoc-běh\Negoc\final\loga\logo.gif"/>
          <p:cNvPicPr>
            <a:picLocks noChangeAspect="1" noChangeArrowheads="1" noCrop="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84010" y="3248813"/>
            <a:ext cx="2633198" cy="1973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61785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4"/>
          <p:cNvGraphicFramePr>
            <a:graphicFrameLocks/>
          </p:cNvGraphicFramePr>
          <p:nvPr>
            <p:extLst>
              <p:ext uri="{D42A27DB-BD31-4B8C-83A1-F6EECF244321}">
                <p14:modId xmlns:p14="http://schemas.microsoft.com/office/powerpoint/2010/main" val="3148849197"/>
              </p:ext>
            </p:extLst>
          </p:nvPr>
        </p:nvGraphicFramePr>
        <p:xfrm>
          <a:off x="-227013" y="977900"/>
          <a:ext cx="5845176" cy="4502150"/>
        </p:xfrm>
        <a:graphic>
          <a:graphicData uri="http://schemas.openxmlformats.org/presentationml/2006/ole">
            <mc:AlternateContent xmlns:mc="http://schemas.openxmlformats.org/markup-compatibility/2006">
              <mc:Choice xmlns:v="urn:schemas-microsoft-com:vml" Requires="v">
                <p:oleObj spid="_x0000_s11280" r:id="rId3" imgW="5846571" imgH="4505334" progId="Excel.Chart.8">
                  <p:embed/>
                </p:oleObj>
              </mc:Choice>
              <mc:Fallback>
                <p:oleObj r:id="rId3" imgW="5846571" imgH="4505334" progId="Excel.Char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7013" y="977900"/>
                        <a:ext cx="5845176" cy="450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20" name="Nadpis 1"/>
          <p:cNvSpPr>
            <a:spLocks noGrp="1"/>
          </p:cNvSpPr>
          <p:nvPr>
            <p:ph type="title"/>
          </p:nvPr>
        </p:nvSpPr>
        <p:spPr>
          <a:xfrm>
            <a:off x="1643063" y="274638"/>
            <a:ext cx="6097587" cy="490537"/>
          </a:xfrm>
        </p:spPr>
        <p:txBody>
          <a:bodyPr/>
          <a:lstStyle/>
          <a:p>
            <a:r>
              <a:rPr lang="cs-CZ" dirty="0" smtClean="0"/>
              <a:t>Trendy produkce ve světě</a:t>
            </a:r>
          </a:p>
        </p:txBody>
      </p:sp>
      <p:sp>
        <p:nvSpPr>
          <p:cNvPr id="8" name="TextBox 16"/>
          <p:cNvSpPr txBox="1"/>
          <p:nvPr/>
        </p:nvSpPr>
        <p:spPr>
          <a:xfrm>
            <a:off x="4282559" y="1028700"/>
            <a:ext cx="369332" cy="1429046"/>
          </a:xfrm>
          <a:prstGeom prst="rect">
            <a:avLst/>
          </a:prstGeom>
          <a:noFill/>
        </p:spPr>
        <p:txBody>
          <a:bodyPr vert="vert270" wrap="none">
            <a:spAutoFit/>
          </a:bodyPr>
          <a:lstStyle/>
          <a:p>
            <a:pPr>
              <a:defRPr/>
            </a:pPr>
            <a:r>
              <a:rPr lang="en-US" sz="1200" b="1" dirty="0"/>
              <a:t>Million Short Tons</a:t>
            </a:r>
          </a:p>
        </p:txBody>
      </p:sp>
      <p:sp>
        <p:nvSpPr>
          <p:cNvPr id="9" name="TextBox 1"/>
          <p:cNvSpPr txBox="1">
            <a:spLocks noChangeArrowheads="1"/>
          </p:cNvSpPr>
          <p:nvPr/>
        </p:nvSpPr>
        <p:spPr bwMode="auto">
          <a:xfrm>
            <a:off x="0" y="5245000"/>
            <a:ext cx="46513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cs-CZ" b="1" dirty="0" smtClean="0"/>
              <a:t>Světová produkce uhlí </a:t>
            </a:r>
            <a:r>
              <a:rPr lang="en-US" b="1" dirty="0" smtClean="0"/>
              <a:t>2011</a:t>
            </a:r>
            <a:r>
              <a:rPr lang="en-US" b="1" dirty="0"/>
              <a:t>:</a:t>
            </a:r>
          </a:p>
        </p:txBody>
      </p:sp>
      <p:sp>
        <p:nvSpPr>
          <p:cNvPr id="10" name="TextBox 1"/>
          <p:cNvSpPr txBox="1">
            <a:spLocks noChangeArrowheads="1"/>
          </p:cNvSpPr>
          <p:nvPr/>
        </p:nvSpPr>
        <p:spPr bwMode="auto">
          <a:xfrm>
            <a:off x="0" y="5497413"/>
            <a:ext cx="46513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2800" b="1" u="sng" dirty="0">
                <a:latin typeface="Times New Roman" pitchFamily="18" charset="0"/>
                <a:cs typeface="Times New Roman" pitchFamily="18" charset="0"/>
              </a:rPr>
              <a:t>7 </a:t>
            </a:r>
            <a:r>
              <a:rPr lang="cs-CZ" sz="2800" b="1" u="sng" dirty="0" smtClean="0">
                <a:latin typeface="Times New Roman" pitchFamily="18" charset="0"/>
                <a:cs typeface="Times New Roman" pitchFamily="18" charset="0"/>
              </a:rPr>
              <a:t>mld. m</a:t>
            </a:r>
            <a:r>
              <a:rPr lang="en-US" sz="2800" b="1" u="sng" dirty="0" err="1" smtClean="0">
                <a:latin typeface="Times New Roman" pitchFamily="18" charset="0"/>
                <a:cs typeface="Times New Roman" pitchFamily="18" charset="0"/>
              </a:rPr>
              <a:t>etric</a:t>
            </a:r>
            <a:r>
              <a:rPr lang="cs-CZ" sz="2800" b="1" u="sng" dirty="0" err="1" smtClean="0">
                <a:latin typeface="Times New Roman" pitchFamily="18" charset="0"/>
                <a:cs typeface="Times New Roman" pitchFamily="18" charset="0"/>
              </a:rPr>
              <a:t>kých</a:t>
            </a:r>
            <a:r>
              <a:rPr lang="cs-CZ" sz="2800" b="1" u="sng" dirty="0" smtClean="0">
                <a:latin typeface="Times New Roman" pitchFamily="18" charset="0"/>
                <a:cs typeface="Times New Roman" pitchFamily="18" charset="0"/>
              </a:rPr>
              <a:t> tun</a:t>
            </a:r>
            <a:endParaRPr lang="en-US" sz="2800" b="1" u="sng" dirty="0">
              <a:latin typeface="Times New Roman" pitchFamily="18" charset="0"/>
              <a:cs typeface="Times New Roman" pitchFamily="18" charset="0"/>
            </a:endParaRPr>
          </a:p>
        </p:txBody>
      </p:sp>
      <p:graphicFrame>
        <p:nvGraphicFramePr>
          <p:cNvPr id="11" name="Chart 13"/>
          <p:cNvGraphicFramePr>
            <a:graphicFrameLocks/>
          </p:cNvGraphicFramePr>
          <p:nvPr/>
        </p:nvGraphicFramePr>
        <p:xfrm>
          <a:off x="4522788" y="977900"/>
          <a:ext cx="4622800" cy="5541963"/>
        </p:xfrm>
        <a:graphic>
          <a:graphicData uri="http://schemas.openxmlformats.org/presentationml/2006/ole">
            <mc:AlternateContent xmlns:mc="http://schemas.openxmlformats.org/markup-compatibility/2006">
              <mc:Choice xmlns:v="urn:schemas-microsoft-com:vml" Requires="v">
                <p:oleObj spid="_x0000_s11281" r:id="rId5" imgW="4676037" imgH="5547841" progId="Excel.Chart.8">
                  <p:embed/>
                </p:oleObj>
              </mc:Choice>
              <mc:Fallback>
                <p:oleObj r:id="rId5" imgW="4676037" imgH="5547841" progId="Excel.Char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22788" y="977900"/>
                        <a:ext cx="4622800" cy="554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ovéPole 13"/>
          <p:cNvSpPr txBox="1">
            <a:spLocks noChangeArrowheads="1"/>
          </p:cNvSpPr>
          <p:nvPr/>
        </p:nvSpPr>
        <p:spPr bwMode="auto">
          <a:xfrm>
            <a:off x="251520" y="6165304"/>
            <a:ext cx="26828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smtClean="0">
                <a:latin typeface="Arial Narrow" pitchFamily="34" charset="0"/>
              </a:rPr>
              <a:t>Zdroj: US Energy Information Administration (EIA)</a:t>
            </a:r>
            <a:endParaRPr lang="en-US" sz="1000">
              <a:latin typeface="Arial Narrow" pitchFamily="34" charset="0"/>
            </a:endParaRPr>
          </a:p>
        </p:txBody>
      </p:sp>
      <p:sp>
        <p:nvSpPr>
          <p:cNvPr id="14" name="TextovéPole 13"/>
          <p:cNvSpPr txBox="1">
            <a:spLocks noChangeArrowheads="1"/>
          </p:cNvSpPr>
          <p:nvPr/>
        </p:nvSpPr>
        <p:spPr bwMode="auto">
          <a:xfrm>
            <a:off x="8123238" y="1155700"/>
            <a:ext cx="7953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US" sz="800" dirty="0"/>
              <a:t>China 3523</a:t>
            </a:r>
            <a:endParaRPr lang="cs-CZ" sz="800" dirty="0"/>
          </a:p>
        </p:txBody>
      </p:sp>
      <p:sp>
        <p:nvSpPr>
          <p:cNvPr id="15" name="TextovéPole 14"/>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20494810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20" name="Nadpis 1"/>
          <p:cNvSpPr>
            <a:spLocks noGrp="1"/>
          </p:cNvSpPr>
          <p:nvPr>
            <p:ph type="title"/>
          </p:nvPr>
        </p:nvSpPr>
        <p:spPr>
          <a:xfrm>
            <a:off x="1643063" y="274638"/>
            <a:ext cx="6097587" cy="490537"/>
          </a:xfrm>
        </p:spPr>
        <p:txBody>
          <a:bodyPr/>
          <a:lstStyle/>
          <a:p>
            <a:r>
              <a:rPr lang="cs-CZ" dirty="0" smtClean="0"/>
              <a:t>Analýza trendů</a:t>
            </a:r>
          </a:p>
        </p:txBody>
      </p:sp>
      <p:sp>
        <p:nvSpPr>
          <p:cNvPr id="13" name="TextovéPole 13"/>
          <p:cNvSpPr txBox="1">
            <a:spLocks noChangeArrowheads="1"/>
          </p:cNvSpPr>
          <p:nvPr/>
        </p:nvSpPr>
        <p:spPr bwMode="auto">
          <a:xfrm>
            <a:off x="251520" y="6165304"/>
            <a:ext cx="26828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defTabSz="947738"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47738"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47738"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47738"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000" dirty="0" err="1" smtClean="0">
                <a:latin typeface="Arial Narrow" pitchFamily="34" charset="0"/>
              </a:rPr>
              <a:t>Zdroj</a:t>
            </a:r>
            <a:r>
              <a:rPr lang="en-US" sz="1000" dirty="0" smtClean="0">
                <a:latin typeface="Arial Narrow" pitchFamily="34" charset="0"/>
              </a:rPr>
              <a:t>: US Energy Information Administration (EIA)</a:t>
            </a:r>
            <a:endParaRPr lang="en-US" sz="1000" dirty="0">
              <a:latin typeface="Arial Narrow" pitchFamily="34" charset="0"/>
            </a:endParaRPr>
          </a:p>
        </p:txBody>
      </p:sp>
      <p:graphicFrame>
        <p:nvGraphicFramePr>
          <p:cNvPr id="15" name="Tabulka 11"/>
          <p:cNvGraphicFramePr>
            <a:graphicFrameLocks noGrp="1"/>
          </p:cNvGraphicFramePr>
          <p:nvPr>
            <p:extLst>
              <p:ext uri="{D42A27DB-BD31-4B8C-83A1-F6EECF244321}">
                <p14:modId xmlns:p14="http://schemas.microsoft.com/office/powerpoint/2010/main" val="3375731312"/>
              </p:ext>
            </p:extLst>
          </p:nvPr>
        </p:nvGraphicFramePr>
        <p:xfrm>
          <a:off x="238125" y="1233587"/>
          <a:ext cx="8656638" cy="385762"/>
        </p:xfrm>
        <a:graphic>
          <a:graphicData uri="http://schemas.openxmlformats.org/drawingml/2006/table">
            <a:tbl>
              <a:tblPr/>
              <a:tblGrid>
                <a:gridCol w="796269"/>
                <a:gridCol w="949308"/>
                <a:gridCol w="985598"/>
                <a:gridCol w="973724"/>
                <a:gridCol w="973723"/>
                <a:gridCol w="961849"/>
                <a:gridCol w="985598"/>
                <a:gridCol w="1021222"/>
                <a:gridCol w="1009347"/>
              </a:tblGrid>
              <a:tr h="190484">
                <a:tc rowSpan="2">
                  <a:txBody>
                    <a:bodyPr/>
                    <a:lstStyle/>
                    <a:p>
                      <a:pPr marL="85725" lvl="0" indent="0" algn="l" fontAlgn="b"/>
                      <a:r>
                        <a:rPr lang="en-US" sz="900" b="1" i="0" u="none" strike="noStrike" baseline="0" noProof="0" dirty="0" smtClean="0">
                          <a:solidFill>
                            <a:srgbClr val="006600"/>
                          </a:solidFill>
                          <a:latin typeface="Arial"/>
                        </a:rPr>
                        <a:t>World </a:t>
                      </a:r>
                    </a:p>
                    <a:p>
                      <a:pPr marL="85725" indent="0" algn="l" fontAlgn="b"/>
                      <a:r>
                        <a:rPr lang="en-US" sz="900" b="1" i="0" u="none" strike="noStrike" baseline="0" noProof="0" dirty="0" smtClean="0">
                          <a:solidFill>
                            <a:srgbClr val="006600"/>
                          </a:solidFill>
                          <a:latin typeface="Arial"/>
                        </a:rPr>
                        <a:t>GDP growth</a:t>
                      </a:r>
                      <a:endParaRPr lang="en-US" sz="9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200" b="1" i="0" u="none" strike="noStrike" noProof="0" dirty="0" smtClean="0">
                          <a:solidFill>
                            <a:srgbClr val="006600"/>
                          </a:solidFill>
                          <a:latin typeface="Arial"/>
                        </a:rPr>
                        <a:t>2003</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4</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5</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6</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7</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8</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09</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noProof="0" dirty="0" smtClean="0">
                          <a:solidFill>
                            <a:srgbClr val="006600"/>
                          </a:solidFill>
                          <a:latin typeface="Arial"/>
                        </a:rPr>
                        <a:t>2010</a:t>
                      </a:r>
                      <a:endParaRPr lang="en-US" sz="1200" b="1" i="0" u="none" strike="noStrike"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noFill/>
                  </a:tcPr>
                </a:tc>
              </a:tr>
              <a:tr h="195278">
                <a:tc vMerge="1">
                  <a:txBody>
                    <a:bodyPr/>
                    <a:lstStyle/>
                    <a:p>
                      <a:pPr algn="l" fontAlgn="b"/>
                      <a:endParaRPr lang="cs-CZ" sz="1400" b="1" i="0" u="none" strike="noStrike" baseline="0" dirty="0">
                        <a:solidFill>
                          <a:schemeClr val="tx1"/>
                        </a:solidFill>
                        <a:latin typeface="Arial"/>
                      </a:endParaRPr>
                    </a:p>
                  </a:txBody>
                  <a:tcPr marL="7620" marR="7620" marT="762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1200" b="1" i="0" u="none" strike="noStrike" baseline="0" noProof="0" dirty="0" smtClean="0">
                          <a:solidFill>
                            <a:srgbClr val="006600"/>
                          </a:solidFill>
                          <a:latin typeface="Arial"/>
                        </a:rPr>
                        <a:t>2.73%</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3.99%</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3.46%</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4.00%</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3.93%</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1.33%</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2.24%</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baseline="0" noProof="0" dirty="0" smtClean="0">
                          <a:solidFill>
                            <a:srgbClr val="006600"/>
                          </a:solidFill>
                          <a:latin typeface="Arial"/>
                        </a:rPr>
                        <a:t>4.33%</a:t>
                      </a:r>
                      <a:endParaRPr lang="en-US" sz="1200" b="1" i="0" u="none" strike="noStrike" baseline="0" noProof="0" dirty="0">
                        <a:solidFill>
                          <a:srgbClr val="006600"/>
                        </a:solidFill>
                        <a:latin typeface="Arial"/>
                      </a:endParaRPr>
                    </a:p>
                  </a:txBody>
                  <a:tcPr marL="7620" marR="7620" marT="7604"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6" name="Rectangle 8"/>
          <p:cNvSpPr>
            <a:spLocks noChangeArrowheads="1"/>
          </p:cNvSpPr>
          <p:nvPr/>
        </p:nvSpPr>
        <p:spPr bwMode="auto">
          <a:xfrm>
            <a:off x="0" y="836712"/>
            <a:ext cx="914558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cs-CZ" b="1" i="1" dirty="0" smtClean="0"/>
              <a:t>Skutečnost 1: Rostoucí produkce uhlí koresponduje s ekonomickým růstem ve světě!</a:t>
            </a:r>
          </a:p>
        </p:txBody>
      </p:sp>
      <p:sp>
        <p:nvSpPr>
          <p:cNvPr id="17" name="Rectangle 9"/>
          <p:cNvSpPr>
            <a:spLocks noChangeArrowheads="1"/>
          </p:cNvSpPr>
          <p:nvPr/>
        </p:nvSpPr>
        <p:spPr bwMode="auto">
          <a:xfrm>
            <a:off x="195263" y="3732312"/>
            <a:ext cx="87534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cs-CZ" b="1" i="1" dirty="0" smtClean="0"/>
              <a:t>Skutečnost  2: Snižující se těžba uhlí v Evropě je kompenzována rostoucím dovozem!</a:t>
            </a:r>
          </a:p>
        </p:txBody>
      </p:sp>
      <p:sp>
        <p:nvSpPr>
          <p:cNvPr id="18" name="TextBox 11"/>
          <p:cNvSpPr txBox="1"/>
          <p:nvPr/>
        </p:nvSpPr>
        <p:spPr>
          <a:xfrm>
            <a:off x="195263" y="2081517"/>
            <a:ext cx="338554" cy="839332"/>
          </a:xfrm>
          <a:prstGeom prst="rect">
            <a:avLst/>
          </a:prstGeom>
          <a:noFill/>
        </p:spPr>
        <p:txBody>
          <a:bodyPr vert="vert270" wrap="none">
            <a:spAutoFit/>
          </a:bodyPr>
          <a:lstStyle/>
          <a:p>
            <a:pPr>
              <a:defRPr/>
            </a:pPr>
            <a:r>
              <a:rPr lang="en-US" sz="1000" b="1" dirty="0"/>
              <a:t>Million Tons</a:t>
            </a:r>
          </a:p>
        </p:txBody>
      </p:sp>
      <p:graphicFrame>
        <p:nvGraphicFramePr>
          <p:cNvPr id="19" name="Chart 13"/>
          <p:cNvGraphicFramePr>
            <a:graphicFrameLocks/>
          </p:cNvGraphicFramePr>
          <p:nvPr>
            <p:extLst>
              <p:ext uri="{D42A27DB-BD31-4B8C-83A1-F6EECF244321}">
                <p14:modId xmlns:p14="http://schemas.microsoft.com/office/powerpoint/2010/main" val="2459717022"/>
              </p:ext>
            </p:extLst>
          </p:nvPr>
        </p:nvGraphicFramePr>
        <p:xfrm>
          <a:off x="144463" y="1744762"/>
          <a:ext cx="8967787" cy="1930400"/>
        </p:xfrm>
        <a:graphic>
          <a:graphicData uri="http://schemas.openxmlformats.org/presentationml/2006/ole">
            <mc:AlternateContent xmlns:mc="http://schemas.openxmlformats.org/markup-compatibility/2006">
              <mc:Choice xmlns:v="urn:schemas-microsoft-com:vml" Requires="v">
                <p:oleObj spid="_x0000_s12304" r:id="rId3" imgW="8967993" imgH="1932599" progId="Excel.Chart.8">
                  <p:embed/>
                </p:oleObj>
              </mc:Choice>
              <mc:Fallback>
                <p:oleObj r:id="rId3" imgW="8967993" imgH="1932599" progId="Excel.Char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463" y="1744762"/>
                        <a:ext cx="8967787" cy="193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20" name="Chart 14"/>
          <p:cNvGraphicFramePr>
            <a:graphicFrameLocks/>
          </p:cNvGraphicFramePr>
          <p:nvPr>
            <p:extLst>
              <p:ext uri="{D42A27DB-BD31-4B8C-83A1-F6EECF244321}">
                <p14:modId xmlns:p14="http://schemas.microsoft.com/office/powerpoint/2010/main" val="509610571"/>
              </p:ext>
            </p:extLst>
          </p:nvPr>
        </p:nvGraphicFramePr>
        <p:xfrm>
          <a:off x="144463" y="4051399"/>
          <a:ext cx="8855075" cy="2159000"/>
        </p:xfrm>
        <a:graphic>
          <a:graphicData uri="http://schemas.openxmlformats.org/presentationml/2006/ole">
            <mc:AlternateContent xmlns:mc="http://schemas.openxmlformats.org/markup-compatibility/2006">
              <mc:Choice xmlns:v="urn:schemas-microsoft-com:vml" Requires="v">
                <p:oleObj spid="_x0000_s12305" r:id="rId5" imgW="8852159" imgH="2158171" progId="Excel.Chart.8">
                  <p:embed/>
                </p:oleObj>
              </mc:Choice>
              <mc:Fallback>
                <p:oleObj r:id="rId5" imgW="8852159" imgH="2158171" progId="Excel.Char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4463" y="4051399"/>
                        <a:ext cx="8855075" cy="215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 name="TextBox 15"/>
          <p:cNvSpPr txBox="1"/>
          <p:nvPr/>
        </p:nvSpPr>
        <p:spPr>
          <a:xfrm>
            <a:off x="-33137" y="4632733"/>
            <a:ext cx="338554" cy="839332"/>
          </a:xfrm>
          <a:prstGeom prst="rect">
            <a:avLst/>
          </a:prstGeom>
          <a:noFill/>
        </p:spPr>
        <p:txBody>
          <a:bodyPr vert="vert270" wrap="none">
            <a:spAutoFit/>
          </a:bodyPr>
          <a:lstStyle/>
          <a:p>
            <a:pPr>
              <a:defRPr/>
            </a:pPr>
            <a:r>
              <a:rPr lang="en-US" sz="1000" b="1" dirty="0"/>
              <a:t>Million Tons</a:t>
            </a:r>
          </a:p>
        </p:txBody>
      </p:sp>
      <p:sp>
        <p:nvSpPr>
          <p:cNvPr id="14" name="TextovéPole 13"/>
          <p:cNvSpPr txBox="1"/>
          <p:nvPr/>
        </p:nvSpPr>
        <p:spPr>
          <a:xfrm>
            <a:off x="3647863" y="6510336"/>
            <a:ext cx="1151277" cy="253916"/>
          </a:xfrm>
          <a:prstGeom prst="rect">
            <a:avLst/>
          </a:prstGeom>
          <a:noFill/>
        </p:spPr>
        <p:txBody>
          <a:bodyPr wrap="none" rtlCol="0">
            <a:spAutoFit/>
          </a:bodyPr>
          <a:lstStyle/>
          <a:p>
            <a:r>
              <a:rPr lang="cs-CZ" sz="1050" dirty="0" smtClean="0">
                <a:solidFill>
                  <a:srgbClr val="000000"/>
                </a:solidFill>
                <a:latin typeface="Arial Narrow" pitchFamily="34" charset="0"/>
              </a:rPr>
              <a:t>1. </a:t>
            </a:r>
            <a:r>
              <a:rPr lang="cs-CZ" sz="1050" dirty="0">
                <a:solidFill>
                  <a:srgbClr val="000000"/>
                </a:solidFill>
                <a:latin typeface="Arial Narrow" pitchFamily="34" charset="0"/>
              </a:rPr>
              <a:t>Mezinárodní </a:t>
            </a:r>
            <a:r>
              <a:rPr lang="cs-CZ" sz="1050" dirty="0" smtClean="0">
                <a:solidFill>
                  <a:srgbClr val="000000"/>
                </a:solidFill>
                <a:latin typeface="Arial Narrow" pitchFamily="34" charset="0"/>
              </a:rPr>
              <a:t>vlivy</a:t>
            </a:r>
            <a:endParaRPr lang="cs-CZ" sz="1050" dirty="0">
              <a:solidFill>
                <a:srgbClr val="000000"/>
              </a:solidFill>
              <a:latin typeface="Arial Narrow" pitchFamily="34" charset="0"/>
            </a:endParaRPr>
          </a:p>
        </p:txBody>
      </p:sp>
    </p:spTree>
    <p:extLst>
      <p:ext uri="{BB962C8B-B14F-4D97-AF65-F5344CB8AC3E}">
        <p14:creationId xmlns:p14="http://schemas.microsoft.com/office/powerpoint/2010/main" val="4489346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EzfBPHHmGkObYfTJrEBKtQ"/>
</p:tagLst>
</file>

<file path=ppt/theme/theme1.xml><?xml version="1.0" encoding="utf-8"?>
<a:theme xmlns:a="http://schemas.openxmlformats.org/drawingml/2006/main" name="VSB">
  <a:themeElements>
    <a:clrScheme name="VŠB-TUO New Style">
      <a:dk1>
        <a:srgbClr val="107732"/>
      </a:dk1>
      <a:lt1>
        <a:srgbClr val="FFFFFF"/>
      </a:lt1>
      <a:dk2>
        <a:srgbClr val="EB6A0A"/>
      </a:dk2>
      <a:lt2>
        <a:srgbClr val="4D4D4D"/>
      </a:lt2>
      <a:accent1>
        <a:srgbClr val="4F81BD"/>
      </a:accent1>
      <a:accent2>
        <a:srgbClr val="C0504D"/>
      </a:accent2>
      <a:accent3>
        <a:srgbClr val="9BBB59"/>
      </a:accent3>
      <a:accent4>
        <a:srgbClr val="8064A2"/>
      </a:accent4>
      <a:accent5>
        <a:srgbClr val="4BACC6"/>
      </a:accent5>
      <a:accent6>
        <a:srgbClr val="F79646"/>
      </a:accent6>
      <a:hlink>
        <a:srgbClr val="EB6A0A"/>
      </a:hlink>
      <a:folHlink>
        <a:srgbClr val="EB6A0A"/>
      </a:folHlink>
    </a:clrScheme>
    <a:fontScheme name="VŠB-TUO New Style">
      <a:majorFont>
        <a:latin typeface="Cillian"/>
        <a:ea typeface=""/>
        <a:cs typeface=""/>
      </a:majorFont>
      <a:minorFont>
        <a:latin typeface="Cilli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lgn="r">
          <a:defRPr sz="19900" b="1" dirty="0" smtClean="0">
            <a:solidFill>
              <a:schemeClr val="bg2">
                <a:lumMod val="20000"/>
                <a:lumOff val="80000"/>
              </a:schemeClr>
            </a:solidFill>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VSB.potx</Template>
  <TotalTime>6802</TotalTime>
  <Words>2911</Words>
  <Application>Microsoft Office PowerPoint</Application>
  <PresentationFormat>Předvádění na obrazovce (4:3)</PresentationFormat>
  <Paragraphs>673</Paragraphs>
  <Slides>75</Slides>
  <Notes>4</Notes>
  <HiddenSlides>15</HiddenSlides>
  <MMClips>0</MMClips>
  <ScaleCrop>false</ScaleCrop>
  <HeadingPairs>
    <vt:vector size="6" baseType="variant">
      <vt:variant>
        <vt:lpstr>Motiv</vt:lpstr>
      </vt:variant>
      <vt:variant>
        <vt:i4>1</vt:i4>
      </vt:variant>
      <vt:variant>
        <vt:lpstr>Vložené servery OLE</vt:lpstr>
      </vt:variant>
      <vt:variant>
        <vt:i4>2</vt:i4>
      </vt:variant>
      <vt:variant>
        <vt:lpstr>Nadpisy snímků</vt:lpstr>
      </vt:variant>
      <vt:variant>
        <vt:i4>75</vt:i4>
      </vt:variant>
    </vt:vector>
  </HeadingPairs>
  <TitlesOfParts>
    <vt:vector size="78" baseType="lpstr">
      <vt:lpstr>VSB</vt:lpstr>
      <vt:lpstr>Graf aplikace Microsoft Excel</vt:lpstr>
      <vt:lpstr>Graf</vt:lpstr>
      <vt:lpstr>Energetika ČR – Quo Vadis? </vt:lpstr>
      <vt:lpstr>Obsah </vt:lpstr>
      <vt:lpstr>Mezinárodní vlivy</vt:lpstr>
      <vt:lpstr>Scénáře pro udržitelný rozvoj</vt:lpstr>
      <vt:lpstr>IEA IDR Recommendation</vt:lpstr>
      <vt:lpstr>Struktura výrobních nákladů</vt:lpstr>
      <vt:lpstr>Uhlí – budoucí role využití</vt:lpstr>
      <vt:lpstr>Trendy produkce ve světě</vt:lpstr>
      <vt:lpstr>Analýza trendů</vt:lpstr>
      <vt:lpstr>Uhlí v Evropě 2011</vt:lpstr>
      <vt:lpstr>Fakta a čísla</vt:lpstr>
      <vt:lpstr>Břidlicový plyn – nový hráč</vt:lpstr>
      <vt:lpstr>Výroba elektřiny, plyn nebo uhlí</vt:lpstr>
      <vt:lpstr>Pokles spotřeby ZP v EU</vt:lpstr>
      <vt:lpstr>Pokrytí spotřeby ZP v EU</vt:lpstr>
      <vt:lpstr>Závěry IEA</vt:lpstr>
      <vt:lpstr>Evropské vazby</vt:lpstr>
      <vt:lpstr>Evropská energetická politika</vt:lpstr>
      <vt:lpstr>EU a národní koncepce</vt:lpstr>
      <vt:lpstr>Bezemisní výroba elektřiny</vt:lpstr>
      <vt:lpstr>EU na rozcestí</vt:lpstr>
      <vt:lpstr>Podíl EU na  světových emisích</vt:lpstr>
      <vt:lpstr>Výrobní mix pro  různé varianty OZE</vt:lpstr>
      <vt:lpstr>Vliv OZE na rozvoj  evropské PS</vt:lpstr>
      <vt:lpstr>Priority evropské  infrastruktury</vt:lpstr>
      <vt:lpstr>Rozmístění OZE v DE</vt:lpstr>
      <vt:lpstr>Prezentace aplikace PowerPoint</vt:lpstr>
      <vt:lpstr>21.3.2011 vyšší výroba</vt:lpstr>
      <vt:lpstr>3.3.2011 nižší výroba</vt:lpstr>
      <vt:lpstr>Ambice Bruselu</vt:lpstr>
      <vt:lpstr>Tuzemské možnosti</vt:lpstr>
      <vt:lpstr>Východiska pro ČR</vt:lpstr>
      <vt:lpstr>Bilance elektřiny v regionu</vt:lpstr>
      <vt:lpstr>Vliv okolních zemí na ES ČR</vt:lpstr>
      <vt:lpstr>Vliv VTE v Německu na ES ČR</vt:lpstr>
      <vt:lpstr>Vztah k jaderné energetice</vt:lpstr>
      <vt:lpstr>Fosilní paliva</vt:lpstr>
      <vt:lpstr>Plynná paliva</vt:lpstr>
      <vt:lpstr>Kapalná paliva</vt:lpstr>
      <vt:lpstr>Obnovitelné zdroje energie</vt:lpstr>
      <vt:lpstr>Jaderné palivo</vt:lpstr>
      <vt:lpstr>Možnosti využívání odpadu</vt:lpstr>
      <vt:lpstr>Státní energetická koncepce ČR</vt:lpstr>
      <vt:lpstr>Strategické priority energetiky</vt:lpstr>
      <vt:lpstr>Energetická bezpečnost ČR</vt:lpstr>
      <vt:lpstr>Domácí spotřeba primárních energetických zdrojů do roku 2050</vt:lpstr>
      <vt:lpstr>Snížení energetické náročnosti</vt:lpstr>
      <vt:lpstr>Snížení emisí CO2</vt:lpstr>
      <vt:lpstr>Snížení emisí Nox a SO2</vt:lpstr>
      <vt:lpstr>Energetický mix PEZ v r. 2050</vt:lpstr>
      <vt:lpstr>Elektromobilita vs. výroba elektřiny</vt:lpstr>
      <vt:lpstr>Dopady na energetický mix</vt:lpstr>
      <vt:lpstr>Dovoz elektřiny</vt:lpstr>
      <vt:lpstr>Struktura výroby elektřiny 2030</vt:lpstr>
      <vt:lpstr>Diverzifikace přepravních tras ZP</vt:lpstr>
      <vt:lpstr>Vazby SEK a dalších politik</vt:lpstr>
      <vt:lpstr>Nové aktivity</vt:lpstr>
      <vt:lpstr>Smart řešení</vt:lpstr>
      <vt:lpstr>Model Smart Grids</vt:lpstr>
      <vt:lpstr>SG - další postup / aktivity</vt:lpstr>
      <vt:lpstr>Akumulace</vt:lpstr>
      <vt:lpstr>Akumulace</vt:lpstr>
      <vt:lpstr>Smart Cities</vt:lpstr>
      <vt:lpstr>Závěr</vt:lpstr>
      <vt:lpstr>Shrnutí</vt:lpstr>
      <vt:lpstr>Závěr</vt:lpstr>
      <vt:lpstr>Prezentace aplikace PowerPoint</vt:lpstr>
      <vt:lpstr>Doplňující oblasti a komentáře</vt:lpstr>
      <vt:lpstr>Prezentace aplikace PowerPoint</vt:lpstr>
      <vt:lpstr>Prezentace aplikace PowerPoint</vt:lpstr>
      <vt:lpstr>Prezentace aplikace PowerPoint</vt:lpstr>
      <vt:lpstr>Prezentace aplikace PowerPoint</vt:lpstr>
      <vt:lpstr>Dovětek</vt:lpstr>
      <vt:lpstr>Prezentace aplikace PowerPoint</vt:lpstr>
      <vt:lpstr>Prezentace aplikace PowerPoint</vt:lpstr>
    </vt:vector>
  </TitlesOfParts>
  <Company>Fakulta elektrotechniky a informatik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radiční zdroje</dc:title>
  <dc:creator>Ing. Ivo Vondrák CSc.;Ing. Roman Portužák;CSc.</dc:creator>
  <cp:lastModifiedBy>Portužák</cp:lastModifiedBy>
  <cp:revision>402</cp:revision>
  <dcterms:created xsi:type="dcterms:W3CDTF">2010-07-20T05:44:03Z</dcterms:created>
  <dcterms:modified xsi:type="dcterms:W3CDTF">2013-10-07T13:00:13Z</dcterms:modified>
</cp:coreProperties>
</file>